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63.xml" ContentType="application/vnd.openxmlformats-officedocument.presentationml.tags+xml"/>
  <Override PartName="/ppt/notesSlides/notesSlide8.xml" ContentType="application/vnd.openxmlformats-officedocument.presentationml.notesSlide+xml"/>
  <Override PartName="/ppt/tags/tag16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4">
  <p:sldMasterIdLst>
    <p:sldMasterId id="2147483714" r:id="rId4"/>
  </p:sldMasterIdLst>
  <p:notesMasterIdLst>
    <p:notesMasterId r:id="rId21"/>
  </p:notesMasterIdLst>
  <p:handoutMasterIdLst>
    <p:handoutMasterId r:id="rId22"/>
  </p:handoutMasterIdLst>
  <p:sldIdLst>
    <p:sldId id="2088197568" r:id="rId5"/>
    <p:sldId id="1295" r:id="rId6"/>
    <p:sldId id="2088197553" r:id="rId7"/>
    <p:sldId id="1263" r:id="rId8"/>
    <p:sldId id="2088197555" r:id="rId9"/>
    <p:sldId id="2088197534" r:id="rId10"/>
    <p:sldId id="2088197557" r:id="rId11"/>
    <p:sldId id="2088197543" r:id="rId12"/>
    <p:sldId id="2088197531" r:id="rId13"/>
    <p:sldId id="2088197563" r:id="rId14"/>
    <p:sldId id="2088197519" r:id="rId15"/>
    <p:sldId id="2088197566" r:id="rId16"/>
    <p:sldId id="2088197549" r:id="rId17"/>
    <p:sldId id="2088197550" r:id="rId18"/>
    <p:sldId id="2088197551" r:id="rId19"/>
    <p:sldId id="2088197567" r:id="rId20"/>
  </p:sldIdLst>
  <p:sldSz cx="12192000" cy="6858000"/>
  <p:notesSz cx="7010400" cy="9296400"/>
  <p:custDataLst>
    <p:tags r:id="rId23"/>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76E316-E287-0ABA-29E0-951DD9598A09}" name="Molina Ledesma, Alfredo" initials="MLA" userId="S::amolinaledesma@deloittemx.com::0001b35f-38b0-4ad1-9884-5f015d13c272" providerId="AD"/>
  <p188:author id="{BD9F85DF-C25E-7D29-9F2F-49F36C916726}" name="Gutierrez, Ixchell" initials="GI" userId="S::ixgutierrez@deloittemx.com::ac34d26a-7313-4952-877f-d51973eb8a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jluf, Abraham Haim" initials="MAH" lastIdx="1" clrIdx="0">
    <p:extLst>
      <p:ext uri="{19B8F6BF-5375-455C-9EA6-DF929625EA0E}">
        <p15:presenceInfo xmlns:p15="http://schemas.microsoft.com/office/powerpoint/2012/main" xmlns="" userId="S::amajluf@deloittemx.com::498d3a35-384b-42bd-bed7-e2876b689668" providerId="AD"/>
      </p:ext>
    </p:extLst>
  </p:cmAuthor>
  <p:cmAuthor id="2" name="Davila, Jesus Octavio" initials="DJO" lastIdx="1" clrIdx="1">
    <p:extLst>
      <p:ext uri="{19B8F6BF-5375-455C-9EA6-DF929625EA0E}">
        <p15:presenceInfo xmlns:p15="http://schemas.microsoft.com/office/powerpoint/2012/main" xmlns="" userId="S::jedavila@deloittemx.com::60df80f6-c282-4701-9d4b-1c997b9d73b5" providerId="AD"/>
      </p:ext>
    </p:extLst>
  </p:cmAuthor>
  <p:cmAuthor id="3" name="Javier Raul Miranda Vargas" initials="JRMV" lastIdx="2" clrIdx="2">
    <p:extLst>
      <p:ext uri="{19B8F6BF-5375-455C-9EA6-DF929625EA0E}">
        <p15:presenceInfo xmlns:p15="http://schemas.microsoft.com/office/powerpoint/2012/main" xmlns="" userId="S-1-5-21-3809319638-4251603565-1219074467-12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F101"/>
    <a:srgbClr val="26890D"/>
    <a:srgbClr val="86BC25"/>
    <a:srgbClr val="FF66FF"/>
    <a:srgbClr val="AEE8A1"/>
    <a:srgbClr val="009A44"/>
    <a:srgbClr val="45B577"/>
    <a:srgbClr val="33AE69"/>
    <a:srgbClr val="7CC86A"/>
    <a:srgbClr val="9AC8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94660"/>
  </p:normalViewPr>
  <p:slideViewPr>
    <p:cSldViewPr snapToGrid="0">
      <p:cViewPr>
        <p:scale>
          <a:sx n="70" d="100"/>
          <a:sy n="70" d="100"/>
        </p:scale>
        <p:origin x="-616"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binaria_de_Microsoft_Excel1.xlsb"/></Relationships>
</file>

<file path=ppt/charts/_rels/chart10.xml.rels><?xml version="1.0" encoding="UTF-8" standalone="yes"?>
<Relationships xmlns="http://schemas.openxmlformats.org/package/2006/relationships"><Relationship Id="rId1" Type="http://schemas.openxmlformats.org/officeDocument/2006/relationships/package" Target="../embeddings/Hoja_de_c_lculo_binaria_de_Microsoft_Excel10.xlsb"/></Relationships>
</file>

<file path=ppt/charts/_rels/chart11.xml.rels><?xml version="1.0" encoding="UTF-8" standalone="yes"?>
<Relationships xmlns="http://schemas.openxmlformats.org/package/2006/relationships"><Relationship Id="rId1" Type="http://schemas.openxmlformats.org/officeDocument/2006/relationships/package" Target="../embeddings/Hoja_de_c_lculo_binaria_de_Microsoft_Excel11.xlsb"/></Relationships>
</file>

<file path=ppt/charts/_rels/chart12.xml.rels><?xml version="1.0" encoding="UTF-8" standalone="yes"?>
<Relationships xmlns="http://schemas.openxmlformats.org/package/2006/relationships"><Relationship Id="rId1" Type="http://schemas.openxmlformats.org/officeDocument/2006/relationships/package" Target="../embeddings/Hoja_de_c_lculo_binaria_de_Microsoft_Excel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binaria_de_Microsoft_Excel2.xlsb"/></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binaria_de_Microsoft_Excel3.xlsb"/></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binaria_de_Microsoft_Excel4.xlsb"/></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binaria_de_Microsoft_Excel5.xlsb"/></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binaria_de_Microsoft_Excel6.xlsb"/></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binaria_de_Microsoft_Excel7.xlsb"/></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binaria_de_Microsoft_Excel8.xlsb"/></Relationships>
</file>

<file path=ppt/charts/_rels/chart9.xml.rels><?xml version="1.0" encoding="UTF-8" standalone="yes"?>
<Relationships xmlns="http://schemas.openxmlformats.org/package/2006/relationships"><Relationship Id="rId1" Type="http://schemas.openxmlformats.org/officeDocument/2006/relationships/package" Target="../embeddings/Hoja_de_c_lculo_binaria_de_Microsoft_Excel9.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602368866328256E-2"/>
          <c:y val="4.3082021541010769E-2"/>
          <c:w val="0.8076706147772138"/>
          <c:h val="0.76139188069594033"/>
        </c:manualLayout>
      </c:layout>
      <c:barChart>
        <c:barDir val="bar"/>
        <c:grouping val="stacked"/>
        <c:varyColors val="0"/>
        <c:ser>
          <c:idx val="0"/>
          <c:order val="0"/>
          <c:spPr>
            <a:solidFill>
              <a:srgbClr val="FFFFFF"/>
            </a:solidFill>
            <a:ln>
              <a:noFill/>
            </a:ln>
          </c:spPr>
          <c:invertIfNegative val="0"/>
          <c:val>
            <c:numRef>
              <c:f>Sheet1!$A$1:$B$1</c:f>
              <c:numCache>
                <c:formatCode>General</c:formatCode>
                <c:ptCount val="2"/>
                <c:pt idx="0">
                  <c:v>90</c:v>
                </c:pt>
                <c:pt idx="1">
                  <c:v>81</c:v>
                </c:pt>
              </c:numCache>
            </c:numRef>
          </c:val>
          <c:extLst xmlns:c16r2="http://schemas.microsoft.com/office/drawing/2015/06/chart">
            <c:ext xmlns:c16="http://schemas.microsoft.com/office/drawing/2014/chart" uri="{C3380CC4-5D6E-409C-BE32-E72D297353CC}">
              <c16:uniqueId val="{00000000-FF44-4031-9E54-3233E5CE7B9D}"/>
            </c:ext>
          </c:extLst>
        </c:ser>
        <c:ser>
          <c:idx val="1"/>
          <c:order val="1"/>
          <c:spPr>
            <a:solidFill>
              <a:schemeClr val="accent1"/>
            </a:solidFill>
            <a:ln>
              <a:noFill/>
            </a:ln>
          </c:spPr>
          <c:invertIfNegative val="0"/>
          <c:val>
            <c:numRef>
              <c:f>Sheet1!$A$2:$B$2</c:f>
              <c:numCache>
                <c:formatCode>General</c:formatCode>
                <c:ptCount val="2"/>
                <c:pt idx="0">
                  <c:v>9.9999999999999982</c:v>
                </c:pt>
                <c:pt idx="1">
                  <c:v>18.999999999999993</c:v>
                </c:pt>
              </c:numCache>
            </c:numRef>
          </c:val>
          <c:extLst xmlns:c16r2="http://schemas.microsoft.com/office/drawing/2015/06/chart">
            <c:ext xmlns:c16="http://schemas.microsoft.com/office/drawing/2014/chart" uri="{C3380CC4-5D6E-409C-BE32-E72D297353CC}">
              <c16:uniqueId val="{00000001-FF44-4031-9E54-3233E5CE7B9D}"/>
            </c:ext>
          </c:extLst>
        </c:ser>
        <c:dLbls>
          <c:showLegendKey val="0"/>
          <c:showVal val="0"/>
          <c:showCatName val="0"/>
          <c:showSerName val="0"/>
          <c:showPercent val="0"/>
          <c:showBubbleSize val="0"/>
        </c:dLbls>
        <c:gapWidth val="80"/>
        <c:overlap val="100"/>
        <c:axId val="130379136"/>
        <c:axId val="131417216"/>
      </c:barChart>
      <c:catAx>
        <c:axId val="130379136"/>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131417216"/>
        <c:crosses val="min"/>
        <c:auto val="0"/>
        <c:lblAlgn val="ctr"/>
        <c:lblOffset val="100"/>
        <c:noMultiLvlLbl val="0"/>
      </c:catAx>
      <c:valAx>
        <c:axId val="131417216"/>
        <c:scaling>
          <c:orientation val="minMax"/>
          <c:max val="100"/>
          <c:min val="0"/>
        </c:scaling>
        <c:delete val="0"/>
        <c:axPos val="b"/>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alibri Light"/>
                <a:ea typeface="+mn-ea"/>
                <a:cs typeface="Calibri Light"/>
                <a:sym typeface="Calibri Light"/>
              </a:defRPr>
            </a:pPr>
            <a:endParaRPr lang="es-BO"/>
          </a:p>
        </c:txPr>
        <c:crossAx val="130379136"/>
        <c:crosses val="max"/>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93641073951956E-2"/>
          <c:y val="9.4373865698729589E-2"/>
          <c:w val="0.95101271785209607"/>
          <c:h val="0.81125226860254085"/>
        </c:manualLayout>
      </c:layout>
      <c:barChart>
        <c:barDir val="col"/>
        <c:grouping val="stacked"/>
        <c:varyColors val="0"/>
        <c:ser>
          <c:idx val="0"/>
          <c:order val="0"/>
          <c:spPr>
            <a:solidFill>
              <a:srgbClr val="86BC25"/>
            </a:solidFill>
            <a:ln>
              <a:noFill/>
            </a:ln>
          </c:spPr>
          <c:invertIfNegative val="0"/>
          <c:val>
            <c:numRef>
              <c:f>Sheet1!$A$1:$C$1</c:f>
              <c:numCache>
                <c:formatCode>General</c:formatCode>
                <c:ptCount val="3"/>
                <c:pt idx="0">
                  <c:v>0.35</c:v>
                </c:pt>
                <c:pt idx="1">
                  <c:v>2.8</c:v>
                </c:pt>
                <c:pt idx="2">
                  <c:v>7.95</c:v>
                </c:pt>
              </c:numCache>
            </c:numRef>
          </c:val>
          <c:extLst xmlns:c16r2="http://schemas.microsoft.com/office/drawing/2015/06/chart">
            <c:ext xmlns:c16="http://schemas.microsoft.com/office/drawing/2014/chart" uri="{C3380CC4-5D6E-409C-BE32-E72D297353CC}">
              <c16:uniqueId val="{00000000-C295-48BC-8B74-0EDD49755328}"/>
            </c:ext>
          </c:extLst>
        </c:ser>
        <c:dLbls>
          <c:showLegendKey val="0"/>
          <c:showVal val="0"/>
          <c:showCatName val="0"/>
          <c:showSerName val="0"/>
          <c:showPercent val="0"/>
          <c:showBubbleSize val="0"/>
        </c:dLbls>
        <c:gapWidth val="80"/>
        <c:overlap val="100"/>
        <c:axId val="277863424"/>
        <c:axId val="278274816"/>
      </c:barChart>
      <c:lineChart>
        <c:grouping val="standard"/>
        <c:varyColors val="0"/>
        <c:ser>
          <c:idx val="1"/>
          <c:order val="1"/>
          <c:spPr>
            <a:ln w="6350" cmpd="sng" algn="ctr">
              <a:solidFill>
                <a:schemeClr val="accent4"/>
              </a:solidFill>
              <a:prstDash val="lgDash"/>
            </a:ln>
          </c:spPr>
          <c:marker>
            <c:symbol val="none"/>
          </c:marker>
          <c:val>
            <c:numRef>
              <c:f>Sheet1!$A$2:$C$2</c:f>
              <c:numCache>
                <c:formatCode>General</c:formatCode>
                <c:ptCount val="3"/>
                <c:pt idx="0">
                  <c:v>7</c:v>
                </c:pt>
                <c:pt idx="1">
                  <c:v>56</c:v>
                </c:pt>
                <c:pt idx="2">
                  <c:v>159</c:v>
                </c:pt>
              </c:numCache>
            </c:numRef>
          </c:val>
          <c:smooth val="0"/>
          <c:extLst xmlns:c16r2="http://schemas.microsoft.com/office/drawing/2015/06/chart">
            <c:ext xmlns:c16="http://schemas.microsoft.com/office/drawing/2014/chart" uri="{C3380CC4-5D6E-409C-BE32-E72D297353CC}">
              <c16:uniqueId val="{00000001-C295-48BC-8B74-0EDD49755328}"/>
            </c:ext>
          </c:extLst>
        </c:ser>
        <c:dLbls>
          <c:showLegendKey val="0"/>
          <c:showVal val="0"/>
          <c:showCatName val="0"/>
          <c:showSerName val="0"/>
          <c:showPercent val="0"/>
          <c:showBubbleSize val="0"/>
        </c:dLbls>
        <c:marker val="1"/>
        <c:smooth val="0"/>
        <c:axId val="277863424"/>
        <c:axId val="278274816"/>
      </c:lineChart>
      <c:catAx>
        <c:axId val="2778634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8274816"/>
        <c:crosses val="min"/>
        <c:auto val="0"/>
        <c:lblAlgn val="ctr"/>
        <c:lblOffset val="100"/>
        <c:noMultiLvlLbl val="0"/>
      </c:catAx>
      <c:valAx>
        <c:axId val="278274816"/>
        <c:scaling>
          <c:orientation val="minMax"/>
          <c:max val="159"/>
          <c:min val="0"/>
        </c:scaling>
        <c:delete val="1"/>
        <c:axPos val="r"/>
        <c:numFmt formatCode="General" sourceLinked="1"/>
        <c:majorTickMark val="out"/>
        <c:minorTickMark val="none"/>
        <c:tickLblPos val="nextTo"/>
        <c:crossAx val="277863424"/>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018475750577369E-2"/>
          <c:y val="0.21392405063291139"/>
          <c:w val="0.95196304849884528"/>
          <c:h val="0.63797468354430376"/>
        </c:manualLayout>
      </c:layout>
      <c:barChart>
        <c:barDir val="col"/>
        <c:grouping val="clustered"/>
        <c:varyColors val="0"/>
        <c:ser>
          <c:idx val="0"/>
          <c:order val="0"/>
          <c:spPr>
            <a:solidFill>
              <a:srgbClr val="86BC25"/>
            </a:solidFill>
            <a:ln>
              <a:noFill/>
            </a:ln>
          </c:spPr>
          <c:invertIfNegative val="0"/>
          <c:dLbls>
            <c:dLbl>
              <c:idx val="0"/>
              <c:layout>
                <c:manualLayout>
                  <c:x val="0"/>
                  <c:y val="-2.5316455696202531E-2"/>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86-4F5E-9C60-5859CAC8133C}"/>
                </c:ext>
              </c:extLst>
            </c:dLbl>
            <c:dLbl>
              <c:idx val="1"/>
              <c:layout>
                <c:manualLayout>
                  <c:x val="0"/>
                  <c:y val="-0.21392405063291139"/>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86-4F5E-9C60-5859CAC8133C}"/>
                </c:ext>
              </c:extLst>
            </c:dLbl>
            <c:dLbl>
              <c:idx val="2"/>
              <c:layout>
                <c:manualLayout>
                  <c:x val="0"/>
                  <c:y val="-0.30886075949367087"/>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86-4F5E-9C60-5859CAC8133C}"/>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C$1</c:f>
              <c:numCache>
                <c:formatCode>General</c:formatCode>
                <c:ptCount val="3"/>
                <c:pt idx="0">
                  <c:v>2.915</c:v>
                </c:pt>
                <c:pt idx="1">
                  <c:v>15.768000000000001</c:v>
                </c:pt>
                <c:pt idx="2">
                  <c:v>26.076000000000001</c:v>
                </c:pt>
              </c:numCache>
            </c:numRef>
          </c:val>
          <c:extLst xmlns:c16r2="http://schemas.microsoft.com/office/drawing/2015/06/chart">
            <c:ext xmlns:c16="http://schemas.microsoft.com/office/drawing/2014/chart" uri="{C3380CC4-5D6E-409C-BE32-E72D297353CC}">
              <c16:uniqueId val="{00000003-C186-4F5E-9C60-5859CAC8133C}"/>
            </c:ext>
          </c:extLst>
        </c:ser>
        <c:ser>
          <c:idx val="1"/>
          <c:order val="1"/>
          <c:spPr>
            <a:solidFill>
              <a:srgbClr val="046A38"/>
            </a:solidFill>
            <a:ln>
              <a:noFill/>
            </a:ln>
          </c:spPr>
          <c:invertIfNegative val="0"/>
          <c:dLbls>
            <c:dLbl>
              <c:idx val="0"/>
              <c:layout>
                <c:manualLayout>
                  <c:x val="0"/>
                  <c:y val="-4.1772151898734178E-2"/>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86-4F5E-9C60-5859CAC8133C}"/>
                </c:ext>
              </c:extLst>
            </c:dLbl>
            <c:dLbl>
              <c:idx val="1"/>
              <c:layout>
                <c:manualLayout>
                  <c:x val="0"/>
                  <c:y val="-0.26075949367088608"/>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86-4F5E-9C60-5859CAC8133C}"/>
                </c:ext>
              </c:extLst>
            </c:dLbl>
            <c:dLbl>
              <c:idx val="2"/>
              <c:layout>
                <c:manualLayout>
                  <c:x val="0"/>
                  <c:y val="-0.38607594936708861"/>
                </c:manualLayout>
              </c:layout>
              <c:numFmt formatCode="#,##0.000;&quot;-&quot;#,##0.00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86-4F5E-9C60-5859CAC8133C}"/>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C$2</c:f>
              <c:numCache>
                <c:formatCode>General</c:formatCode>
                <c:ptCount val="3"/>
                <c:pt idx="0">
                  <c:v>3.85</c:v>
                </c:pt>
                <c:pt idx="1">
                  <c:v>20.824999999999999</c:v>
                </c:pt>
                <c:pt idx="2">
                  <c:v>34.44</c:v>
                </c:pt>
              </c:numCache>
            </c:numRef>
          </c:val>
          <c:extLst xmlns:c16r2="http://schemas.microsoft.com/office/drawing/2015/06/chart">
            <c:ext xmlns:c16="http://schemas.microsoft.com/office/drawing/2014/chart" uri="{C3380CC4-5D6E-409C-BE32-E72D297353CC}">
              <c16:uniqueId val="{00000007-C186-4F5E-9C60-5859CAC8133C}"/>
            </c:ext>
          </c:extLst>
        </c:ser>
        <c:dLbls>
          <c:showLegendKey val="0"/>
          <c:showVal val="0"/>
          <c:showCatName val="0"/>
          <c:showSerName val="0"/>
          <c:showPercent val="0"/>
          <c:showBubbleSize val="0"/>
        </c:dLbls>
        <c:gapWidth val="150"/>
        <c:axId val="278136704"/>
        <c:axId val="278138240"/>
      </c:barChart>
      <c:catAx>
        <c:axId val="2781367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8138240"/>
        <c:crosses val="min"/>
        <c:auto val="0"/>
        <c:lblAlgn val="ctr"/>
        <c:lblOffset val="100"/>
        <c:noMultiLvlLbl val="0"/>
      </c:catAx>
      <c:valAx>
        <c:axId val="278138240"/>
        <c:scaling>
          <c:orientation val="minMax"/>
          <c:max val="34.44"/>
          <c:min val="0"/>
        </c:scaling>
        <c:delete val="1"/>
        <c:axPos val="l"/>
        <c:numFmt formatCode="General" sourceLinked="1"/>
        <c:majorTickMark val="out"/>
        <c:minorTickMark val="none"/>
        <c:tickLblPos val="nextTo"/>
        <c:crossAx val="27813670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05183788878417E-2"/>
          <c:y val="0.15853658536585366"/>
          <c:w val="0.95098963242224321"/>
          <c:h val="0.68292682926829273"/>
        </c:manualLayout>
      </c:layout>
      <c:barChart>
        <c:barDir val="col"/>
        <c:grouping val="stacked"/>
        <c:varyColors val="0"/>
        <c:ser>
          <c:idx val="0"/>
          <c:order val="0"/>
          <c:spPr>
            <a:solidFill>
              <a:srgbClr val="86BC25"/>
            </a:solidFill>
            <a:ln>
              <a:noFill/>
            </a:ln>
          </c:spPr>
          <c:invertIfNegative val="0"/>
          <c:dLbls>
            <c:dLbl>
              <c:idx val="0"/>
              <c:layout>
                <c:manualLayout>
                  <c:x val="0"/>
                  <c:y val="-0.10840108401084012"/>
                </c:manualLayout>
              </c:layout>
              <c:numFmt formatCode="#,##0;&quot;-&quot;#,##0" sourceLinked="0"/>
              <c:spPr>
                <a:noFill/>
                <a:ln>
                  <a:noFill/>
                </a:ln>
              </c:spPr>
              <c:txPr>
                <a:bodyPr wrap="none"/>
                <a:lstStyle/>
                <a:p>
                  <a:pPr>
                    <a:defRPr sz="800" kern="1200">
                      <a:solidFill>
                        <a:schemeClr val="tx1"/>
                      </a:solidFill>
                      <a:latin typeface="Calibri Light"/>
                      <a:ea typeface="+mn-ea"/>
                      <a:cs typeface="Calibri Light"/>
                    </a:defRPr>
                  </a:pPr>
                  <a:endParaRPr lang="es-BO"/>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E6-417C-BB59-3D6EFA33390D}"/>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C$1</c:f>
              <c:numCache>
                <c:formatCode>General</c:formatCode>
                <c:ptCount val="3"/>
                <c:pt idx="0">
                  <c:v>875</c:v>
                </c:pt>
                <c:pt idx="1">
                  <c:v>4900</c:v>
                </c:pt>
                <c:pt idx="2">
                  <c:v>7950</c:v>
                </c:pt>
              </c:numCache>
            </c:numRef>
          </c:val>
          <c:extLst xmlns:c16r2="http://schemas.microsoft.com/office/drawing/2015/06/chart">
            <c:ext xmlns:c16="http://schemas.microsoft.com/office/drawing/2014/chart" uri="{C3380CC4-5D6E-409C-BE32-E72D297353CC}">
              <c16:uniqueId val="{00000001-A1E6-417C-BB59-3D6EFA33390D}"/>
            </c:ext>
          </c:extLst>
        </c:ser>
        <c:dLbls>
          <c:showLegendKey val="0"/>
          <c:showVal val="0"/>
          <c:showCatName val="0"/>
          <c:showSerName val="0"/>
          <c:showPercent val="0"/>
          <c:showBubbleSize val="0"/>
        </c:dLbls>
        <c:gapWidth val="150"/>
        <c:overlap val="100"/>
        <c:axId val="278217856"/>
        <c:axId val="278219392"/>
      </c:barChart>
      <c:catAx>
        <c:axId val="2782178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8219392"/>
        <c:crosses val="min"/>
        <c:auto val="0"/>
        <c:lblAlgn val="ctr"/>
        <c:lblOffset val="100"/>
        <c:noMultiLvlLbl val="0"/>
      </c:catAx>
      <c:valAx>
        <c:axId val="278219392"/>
        <c:scaling>
          <c:orientation val="minMax"/>
          <c:max val="7950"/>
          <c:min val="0"/>
        </c:scaling>
        <c:delete val="1"/>
        <c:axPos val="l"/>
        <c:numFmt formatCode="General" sourceLinked="1"/>
        <c:majorTickMark val="out"/>
        <c:minorTickMark val="none"/>
        <c:tickLblPos val="nextTo"/>
        <c:crossAx val="2782178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23705722070849E-2"/>
          <c:y val="7.2423398328690811E-2"/>
          <c:w val="0.80871934604904627"/>
          <c:h val="0.58635097493036215"/>
        </c:manualLayout>
      </c:layout>
      <c:barChart>
        <c:barDir val="bar"/>
        <c:grouping val="stacked"/>
        <c:varyColors val="0"/>
        <c:ser>
          <c:idx val="0"/>
          <c:order val="0"/>
          <c:spPr>
            <a:solidFill>
              <a:srgbClr val="FFFFFF"/>
            </a:solidFill>
            <a:ln>
              <a:noFill/>
            </a:ln>
          </c:spPr>
          <c:invertIfNegative val="0"/>
          <c:val>
            <c:numRef>
              <c:f>Sheet1!$A$1</c:f>
              <c:numCache>
                <c:formatCode>General</c:formatCode>
                <c:ptCount val="1"/>
                <c:pt idx="0">
                  <c:v>78</c:v>
                </c:pt>
              </c:numCache>
            </c:numRef>
          </c:val>
          <c:extLst xmlns:c16r2="http://schemas.microsoft.com/office/drawing/2015/06/chart">
            <c:ext xmlns:c16="http://schemas.microsoft.com/office/drawing/2014/chart" uri="{C3380CC4-5D6E-409C-BE32-E72D297353CC}">
              <c16:uniqueId val="{00000000-6F8F-4552-9D61-7522EC6D1C2B}"/>
            </c:ext>
          </c:extLst>
        </c:ser>
        <c:ser>
          <c:idx val="1"/>
          <c:order val="1"/>
          <c:spPr>
            <a:solidFill>
              <a:schemeClr val="accent1"/>
            </a:solidFill>
            <a:ln>
              <a:noFill/>
            </a:ln>
          </c:spPr>
          <c:invertIfNegative val="0"/>
          <c:val>
            <c:numRef>
              <c:f>Sheet1!$A$2</c:f>
              <c:numCache>
                <c:formatCode>General</c:formatCode>
                <c:ptCount val="1"/>
                <c:pt idx="0">
                  <c:v>21.999999999999996</c:v>
                </c:pt>
              </c:numCache>
            </c:numRef>
          </c:val>
          <c:extLst xmlns:c16r2="http://schemas.microsoft.com/office/drawing/2015/06/chart">
            <c:ext xmlns:c16="http://schemas.microsoft.com/office/drawing/2014/chart" uri="{C3380CC4-5D6E-409C-BE32-E72D297353CC}">
              <c16:uniqueId val="{00000001-6F8F-4552-9D61-7522EC6D1C2B}"/>
            </c:ext>
          </c:extLst>
        </c:ser>
        <c:dLbls>
          <c:showLegendKey val="0"/>
          <c:showVal val="0"/>
          <c:showCatName val="0"/>
          <c:showSerName val="0"/>
          <c:showPercent val="0"/>
          <c:showBubbleSize val="0"/>
        </c:dLbls>
        <c:gapWidth val="80"/>
        <c:overlap val="100"/>
        <c:axId val="131424640"/>
        <c:axId val="131426176"/>
      </c:barChart>
      <c:catAx>
        <c:axId val="131424640"/>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131426176"/>
        <c:crosses val="min"/>
        <c:auto val="0"/>
        <c:lblAlgn val="ctr"/>
        <c:lblOffset val="100"/>
        <c:noMultiLvlLbl val="0"/>
      </c:catAx>
      <c:valAx>
        <c:axId val="131426176"/>
        <c:scaling>
          <c:orientation val="minMax"/>
          <c:max val="100"/>
          <c:min val="0"/>
        </c:scaling>
        <c:delete val="0"/>
        <c:axPos val="b"/>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Calibri Light"/>
                <a:ea typeface="Calibri Light"/>
                <a:cs typeface="Calibri Light"/>
                <a:sym typeface="Calibri Light"/>
              </a:defRPr>
            </a:pPr>
            <a:endParaRPr lang="es-BO"/>
          </a:p>
        </c:txPr>
        <c:crossAx val="131424640"/>
        <c:crosses val="max"/>
        <c:crossBetween val="between"/>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191919191919191"/>
          <c:y val="9.193245778611632E-2"/>
          <c:w val="0.76430976430976427"/>
          <c:h val="0.81613508442776739"/>
        </c:manualLayout>
      </c:layout>
      <c:barChart>
        <c:barDir val="col"/>
        <c:grouping val="stacked"/>
        <c:varyColors val="0"/>
        <c:ser>
          <c:idx val="0"/>
          <c:order val="0"/>
          <c:spPr>
            <a:noFill/>
            <a:ln>
              <a:noFill/>
            </a:ln>
          </c:spPr>
          <c:invertIfNegative val="0"/>
          <c:dPt>
            <c:idx val="0"/>
            <c:invertIfNegative val="0"/>
            <c:bubble3D val="0"/>
            <c:spPr>
              <a:solidFill>
                <a:srgbClr val="53565A"/>
              </a:solidFill>
              <a:ln>
                <a:noFill/>
              </a:ln>
            </c:spPr>
            <c:extLst xmlns:c16r2="http://schemas.microsoft.com/office/drawing/2015/06/chart">
              <c:ext xmlns:c16="http://schemas.microsoft.com/office/drawing/2014/chart" uri="{C3380CC4-5D6E-409C-BE32-E72D297353CC}">
                <c16:uniqueId val="{00000000-A621-4486-91C7-AAB1BC427567}"/>
              </c:ext>
            </c:extLst>
          </c:dPt>
          <c:dPt>
            <c:idx val="2"/>
            <c:invertIfNegative val="0"/>
            <c:bubble3D val="0"/>
            <c:spPr>
              <a:solidFill>
                <a:srgbClr val="A0DCFF"/>
              </a:solidFill>
              <a:ln>
                <a:noFill/>
              </a:ln>
            </c:spPr>
            <c:extLst xmlns:c16r2="http://schemas.microsoft.com/office/drawing/2015/06/chart">
              <c:ext xmlns:c16="http://schemas.microsoft.com/office/drawing/2014/chart" uri="{C3380CC4-5D6E-409C-BE32-E72D297353CC}">
                <c16:uniqueId val="{00000001-A621-4486-91C7-AAB1BC427567}"/>
              </c:ext>
            </c:extLst>
          </c:dPt>
          <c:val>
            <c:numRef>
              <c:f>Sheet1!$A$1:$C$1</c:f>
              <c:numCache>
                <c:formatCode>General</c:formatCode>
                <c:ptCount val="3"/>
                <c:pt idx="0">
                  <c:v>20.68403099659032</c:v>
                </c:pt>
                <c:pt idx="1">
                  <c:v>20.255269075927917</c:v>
                </c:pt>
                <c:pt idx="2">
                  <c:v>20.255269075927917</c:v>
                </c:pt>
              </c:numCache>
            </c:numRef>
          </c:val>
          <c:extLst xmlns:c16r2="http://schemas.microsoft.com/office/drawing/2015/06/chart">
            <c:ext xmlns:c16="http://schemas.microsoft.com/office/drawing/2014/chart" uri="{C3380CC4-5D6E-409C-BE32-E72D297353CC}">
              <c16:uniqueId val="{00000002-A621-4486-91C7-AAB1BC427567}"/>
            </c:ext>
          </c:extLst>
        </c:ser>
        <c:ser>
          <c:idx val="1"/>
          <c:order val="1"/>
          <c:spPr>
            <a:solidFill>
              <a:srgbClr val="CB057C"/>
            </a:solidFill>
            <a:ln>
              <a:noFill/>
            </a:ln>
          </c:spPr>
          <c:invertIfNegative val="0"/>
          <c:val>
            <c:numRef>
              <c:f>Sheet1!$A$2:$C$2</c:f>
              <c:numCache>
                <c:formatCode>General</c:formatCode>
                <c:ptCount val="3"/>
                <c:pt idx="1">
                  <c:v>0.14287533269865804</c:v>
                </c:pt>
              </c:numCache>
            </c:numRef>
          </c:val>
          <c:extLst xmlns:c16r2="http://schemas.microsoft.com/office/drawing/2015/06/chart">
            <c:ext xmlns:c16="http://schemas.microsoft.com/office/drawing/2014/chart" uri="{C3380CC4-5D6E-409C-BE32-E72D297353CC}">
              <c16:uniqueId val="{00000003-A621-4486-91C7-AAB1BC427567}"/>
            </c:ext>
          </c:extLst>
        </c:ser>
        <c:ser>
          <c:idx val="2"/>
          <c:order val="2"/>
          <c:spPr>
            <a:solidFill>
              <a:srgbClr val="A3D7D2"/>
            </a:solidFill>
            <a:ln>
              <a:noFill/>
            </a:ln>
          </c:spPr>
          <c:invertIfNegative val="0"/>
          <c:val>
            <c:numRef>
              <c:f>Sheet1!$A$3:$C$3</c:f>
              <c:numCache>
                <c:formatCode>General</c:formatCode>
                <c:ptCount val="3"/>
                <c:pt idx="1">
                  <c:v>0.15470521612685317</c:v>
                </c:pt>
              </c:numCache>
            </c:numRef>
          </c:val>
          <c:extLst xmlns:c16r2="http://schemas.microsoft.com/office/drawing/2015/06/chart">
            <c:ext xmlns:c16="http://schemas.microsoft.com/office/drawing/2014/chart" uri="{C3380CC4-5D6E-409C-BE32-E72D297353CC}">
              <c16:uniqueId val="{00000004-A621-4486-91C7-AAB1BC427567}"/>
            </c:ext>
          </c:extLst>
        </c:ser>
        <c:ser>
          <c:idx val="3"/>
          <c:order val="3"/>
          <c:spPr>
            <a:solidFill>
              <a:srgbClr val="9B6836"/>
            </a:solidFill>
            <a:ln>
              <a:noFill/>
            </a:ln>
          </c:spPr>
          <c:invertIfNegative val="0"/>
          <c:val>
            <c:numRef>
              <c:f>Sheet1!$A$4:$C$4</c:f>
              <c:numCache>
                <c:formatCode>General</c:formatCode>
                <c:ptCount val="3"/>
                <c:pt idx="1">
                  <c:v>0.13118137183689171</c:v>
                </c:pt>
              </c:numCache>
            </c:numRef>
          </c:val>
          <c:extLst xmlns:c16r2="http://schemas.microsoft.com/office/drawing/2015/06/chart">
            <c:ext xmlns:c16="http://schemas.microsoft.com/office/drawing/2014/chart" uri="{C3380CC4-5D6E-409C-BE32-E72D297353CC}">
              <c16:uniqueId val="{00000005-A621-4486-91C7-AAB1BC427567}"/>
            </c:ext>
          </c:extLst>
        </c:ser>
        <c:dLbls>
          <c:showLegendKey val="0"/>
          <c:showVal val="0"/>
          <c:showCatName val="0"/>
          <c:showSerName val="0"/>
          <c:showPercent val="0"/>
          <c:showBubbleSize val="0"/>
        </c:dLbls>
        <c:gapWidth val="80"/>
        <c:overlap val="100"/>
        <c:axId val="277187200"/>
        <c:axId val="277188992"/>
      </c:barChart>
      <c:catAx>
        <c:axId val="27718720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700" kern="1200">
                <a:latin typeface="+mn-lt"/>
                <a:ea typeface="+mn-ea"/>
                <a:cs typeface="+mn-cs"/>
                <a:sym typeface="Calibri Light"/>
              </a:defRPr>
            </a:pPr>
            <a:endParaRPr lang="es-BO"/>
          </a:p>
        </c:txPr>
        <c:crossAx val="277188992"/>
        <c:crosses val="min"/>
        <c:auto val="0"/>
        <c:lblAlgn val="ctr"/>
        <c:lblOffset val="100"/>
        <c:noMultiLvlLbl val="0"/>
      </c:catAx>
      <c:valAx>
        <c:axId val="277188992"/>
        <c:scaling>
          <c:orientation val="minMax"/>
          <c:max val="3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Calibri Light"/>
              </a:defRPr>
            </a:pPr>
            <a:endParaRPr lang="es-BO"/>
          </a:p>
        </c:txPr>
        <c:crossAx val="277187200"/>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0242872228086E-2"/>
          <c:y val="5.3388090349075976E-2"/>
          <c:w val="0.89017951425554387"/>
          <c:h val="0.89322381930184802"/>
        </c:manualLayout>
      </c:layout>
      <c:barChart>
        <c:barDir val="col"/>
        <c:grouping val="stacked"/>
        <c:varyColors val="0"/>
        <c:ser>
          <c:idx val="0"/>
          <c:order val="0"/>
          <c:spPr>
            <a:noFill/>
            <a:ln>
              <a:noFill/>
            </a:ln>
          </c:spPr>
          <c:invertIfNegative val="0"/>
          <c:dPt>
            <c:idx val="0"/>
            <c:invertIfNegative val="0"/>
            <c:bubble3D val="0"/>
            <c:spPr>
              <a:solidFill>
                <a:srgbClr val="53565A"/>
              </a:solidFill>
              <a:ln>
                <a:noFill/>
              </a:ln>
            </c:spPr>
            <c:extLst xmlns:c16r2="http://schemas.microsoft.com/office/drawing/2015/06/chart">
              <c:ext xmlns:c16="http://schemas.microsoft.com/office/drawing/2014/chart" uri="{C3380CC4-5D6E-409C-BE32-E72D297353CC}">
                <c16:uniqueId val="{00000000-11BA-4493-81B9-B9C7C7154501}"/>
              </c:ext>
            </c:extLst>
          </c:dPt>
          <c:dPt>
            <c:idx val="2"/>
            <c:invertIfNegative val="0"/>
            <c:bubble3D val="0"/>
            <c:spPr>
              <a:solidFill>
                <a:srgbClr val="A0DCFF"/>
              </a:solidFill>
              <a:ln>
                <a:noFill/>
              </a:ln>
            </c:spPr>
            <c:extLst xmlns:c16r2="http://schemas.microsoft.com/office/drawing/2015/06/chart">
              <c:ext xmlns:c16="http://schemas.microsoft.com/office/drawing/2014/chart" uri="{C3380CC4-5D6E-409C-BE32-E72D297353CC}">
                <c16:uniqueId val="{00000001-11BA-4493-81B9-B9C7C7154501}"/>
              </c:ext>
            </c:extLst>
          </c:dPt>
          <c:val>
            <c:numRef>
              <c:f>Sheet1!$A$1:$C$1</c:f>
              <c:numCache>
                <c:formatCode>General</c:formatCode>
                <c:ptCount val="3"/>
                <c:pt idx="0">
                  <c:v>26.6</c:v>
                </c:pt>
                <c:pt idx="1">
                  <c:v>23.029640213231637</c:v>
                </c:pt>
                <c:pt idx="2">
                  <c:v>23.029640213231637</c:v>
                </c:pt>
              </c:numCache>
            </c:numRef>
          </c:val>
          <c:extLst xmlns:c16r2="http://schemas.microsoft.com/office/drawing/2015/06/chart">
            <c:ext xmlns:c16="http://schemas.microsoft.com/office/drawing/2014/chart" uri="{C3380CC4-5D6E-409C-BE32-E72D297353CC}">
              <c16:uniqueId val="{00000002-11BA-4493-81B9-B9C7C7154501}"/>
            </c:ext>
          </c:extLst>
        </c:ser>
        <c:ser>
          <c:idx val="1"/>
          <c:order val="1"/>
          <c:spPr>
            <a:solidFill>
              <a:srgbClr val="CB057C"/>
            </a:solidFill>
            <a:ln>
              <a:noFill/>
            </a:ln>
          </c:spPr>
          <c:invertIfNegative val="0"/>
          <c:val>
            <c:numRef>
              <c:f>Sheet1!$A$2:$C$2</c:f>
              <c:numCache>
                <c:formatCode>General</c:formatCode>
                <c:ptCount val="3"/>
                <c:pt idx="1">
                  <c:v>1.4193400542277956</c:v>
                </c:pt>
              </c:numCache>
            </c:numRef>
          </c:val>
          <c:extLst xmlns:c16r2="http://schemas.microsoft.com/office/drawing/2015/06/chart">
            <c:ext xmlns:c16="http://schemas.microsoft.com/office/drawing/2014/chart" uri="{C3380CC4-5D6E-409C-BE32-E72D297353CC}">
              <c16:uniqueId val="{00000003-11BA-4493-81B9-B9C7C7154501}"/>
            </c:ext>
          </c:extLst>
        </c:ser>
        <c:ser>
          <c:idx val="2"/>
          <c:order val="2"/>
          <c:spPr>
            <a:solidFill>
              <a:srgbClr val="A3D7D2"/>
            </a:solidFill>
            <a:ln>
              <a:noFill/>
            </a:ln>
          </c:spPr>
          <c:invertIfNegative val="0"/>
          <c:val>
            <c:numRef>
              <c:f>Sheet1!$A$3:$C$3</c:f>
              <c:numCache>
                <c:formatCode>General</c:formatCode>
                <c:ptCount val="3"/>
                <c:pt idx="1">
                  <c:v>1.463275667536081</c:v>
                </c:pt>
              </c:numCache>
            </c:numRef>
          </c:val>
          <c:extLst xmlns:c16r2="http://schemas.microsoft.com/office/drawing/2015/06/chart">
            <c:ext xmlns:c16="http://schemas.microsoft.com/office/drawing/2014/chart" uri="{C3380CC4-5D6E-409C-BE32-E72D297353CC}">
              <c16:uniqueId val="{00000004-11BA-4493-81B9-B9C7C7154501}"/>
            </c:ext>
          </c:extLst>
        </c:ser>
        <c:ser>
          <c:idx val="3"/>
          <c:order val="3"/>
          <c:spPr>
            <a:solidFill>
              <a:srgbClr val="9B6836"/>
            </a:solidFill>
            <a:ln>
              <a:noFill/>
            </a:ln>
          </c:spPr>
          <c:invertIfNegative val="0"/>
          <c:val>
            <c:numRef>
              <c:f>Sheet1!$A$4:$C$4</c:f>
              <c:numCache>
                <c:formatCode>General</c:formatCode>
                <c:ptCount val="3"/>
                <c:pt idx="1">
                  <c:v>0.68774406500448748</c:v>
                </c:pt>
              </c:numCache>
            </c:numRef>
          </c:val>
          <c:extLst xmlns:c16r2="http://schemas.microsoft.com/office/drawing/2015/06/chart">
            <c:ext xmlns:c16="http://schemas.microsoft.com/office/drawing/2014/chart" uri="{C3380CC4-5D6E-409C-BE32-E72D297353CC}">
              <c16:uniqueId val="{00000005-11BA-4493-81B9-B9C7C7154501}"/>
            </c:ext>
          </c:extLst>
        </c:ser>
        <c:dLbls>
          <c:showLegendKey val="0"/>
          <c:showVal val="0"/>
          <c:showCatName val="0"/>
          <c:showSerName val="0"/>
          <c:showPercent val="0"/>
          <c:showBubbleSize val="0"/>
        </c:dLbls>
        <c:gapWidth val="80"/>
        <c:overlap val="100"/>
        <c:axId val="277505152"/>
        <c:axId val="277506688"/>
      </c:barChart>
      <c:catAx>
        <c:axId val="2775051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700" kern="1200">
                <a:latin typeface="+mn-lt"/>
                <a:ea typeface="+mn-ea"/>
                <a:cs typeface="+mn-cs"/>
                <a:sym typeface="Calibri Light"/>
              </a:defRPr>
            </a:pPr>
            <a:endParaRPr lang="es-BO"/>
          </a:p>
        </c:txPr>
        <c:crossAx val="277506688"/>
        <c:crosses val="min"/>
        <c:auto val="0"/>
        <c:lblAlgn val="ctr"/>
        <c:lblOffset val="100"/>
        <c:noMultiLvlLbl val="0"/>
      </c:catAx>
      <c:valAx>
        <c:axId val="277506688"/>
        <c:scaling>
          <c:orientation val="minMax"/>
          <c:max val="35"/>
          <c:min val="0"/>
        </c:scaling>
        <c:delete val="1"/>
        <c:axPos val="l"/>
        <c:numFmt formatCode="General" sourceLinked="1"/>
        <c:majorTickMark val="out"/>
        <c:minorTickMark val="none"/>
        <c:tickLblPos val="nextTo"/>
        <c:crossAx val="27750515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918156161806212E-2"/>
          <c:y val="5.3388090349075976E-2"/>
          <c:w val="0.90216368767638755"/>
          <c:h val="0.89322381930184802"/>
        </c:manualLayout>
      </c:layout>
      <c:barChart>
        <c:barDir val="col"/>
        <c:grouping val="stacked"/>
        <c:varyColors val="0"/>
        <c:ser>
          <c:idx val="0"/>
          <c:order val="0"/>
          <c:spPr>
            <a:noFill/>
            <a:ln>
              <a:noFill/>
            </a:ln>
          </c:spPr>
          <c:invertIfNegative val="0"/>
          <c:dPt>
            <c:idx val="0"/>
            <c:invertIfNegative val="0"/>
            <c:bubble3D val="0"/>
            <c:spPr>
              <a:solidFill>
                <a:srgbClr val="53565A"/>
              </a:solidFill>
              <a:ln>
                <a:noFill/>
              </a:ln>
            </c:spPr>
            <c:extLst xmlns:c16r2="http://schemas.microsoft.com/office/drawing/2015/06/chart">
              <c:ext xmlns:c16="http://schemas.microsoft.com/office/drawing/2014/chart" uri="{C3380CC4-5D6E-409C-BE32-E72D297353CC}">
                <c16:uniqueId val="{00000000-16BA-4D66-BCF6-3E85C9B340A6}"/>
              </c:ext>
            </c:extLst>
          </c:dPt>
          <c:dPt>
            <c:idx val="2"/>
            <c:invertIfNegative val="0"/>
            <c:bubble3D val="0"/>
            <c:spPr>
              <a:solidFill>
                <a:srgbClr val="A0DCFF"/>
              </a:solidFill>
              <a:ln>
                <a:noFill/>
              </a:ln>
            </c:spPr>
            <c:extLst xmlns:c16r2="http://schemas.microsoft.com/office/drawing/2015/06/chart">
              <c:ext xmlns:c16="http://schemas.microsoft.com/office/drawing/2014/chart" uri="{C3380CC4-5D6E-409C-BE32-E72D297353CC}">
                <c16:uniqueId val="{00000001-16BA-4D66-BCF6-3E85C9B340A6}"/>
              </c:ext>
            </c:extLst>
          </c:dPt>
          <c:val>
            <c:numRef>
              <c:f>Sheet1!$A$1:$C$1</c:f>
              <c:numCache>
                <c:formatCode>General</c:formatCode>
                <c:ptCount val="3"/>
                <c:pt idx="0">
                  <c:v>32.643272639464399</c:v>
                </c:pt>
                <c:pt idx="1">
                  <c:v>22.420935322440428</c:v>
                </c:pt>
                <c:pt idx="2">
                  <c:v>22.420935322440428</c:v>
                </c:pt>
              </c:numCache>
            </c:numRef>
          </c:val>
          <c:extLst xmlns:c16r2="http://schemas.microsoft.com/office/drawing/2015/06/chart">
            <c:ext xmlns:c16="http://schemas.microsoft.com/office/drawing/2014/chart" uri="{C3380CC4-5D6E-409C-BE32-E72D297353CC}">
              <c16:uniqueId val="{00000002-16BA-4D66-BCF6-3E85C9B340A6}"/>
            </c:ext>
          </c:extLst>
        </c:ser>
        <c:ser>
          <c:idx val="1"/>
          <c:order val="1"/>
          <c:spPr>
            <a:solidFill>
              <a:srgbClr val="CB057C"/>
            </a:solidFill>
            <a:ln>
              <a:noFill/>
            </a:ln>
          </c:spPr>
          <c:invertIfNegative val="0"/>
          <c:val>
            <c:numRef>
              <c:f>Sheet1!$A$2:$C$2</c:f>
              <c:numCache>
                <c:formatCode>General</c:formatCode>
                <c:ptCount val="3"/>
                <c:pt idx="1">
                  <c:v>4.4177877830391132</c:v>
                </c:pt>
              </c:numCache>
            </c:numRef>
          </c:val>
          <c:extLst xmlns:c16r2="http://schemas.microsoft.com/office/drawing/2015/06/chart">
            <c:ext xmlns:c16="http://schemas.microsoft.com/office/drawing/2014/chart" uri="{C3380CC4-5D6E-409C-BE32-E72D297353CC}">
              <c16:uniqueId val="{00000003-16BA-4D66-BCF6-3E85C9B340A6}"/>
            </c:ext>
          </c:extLst>
        </c:ser>
        <c:ser>
          <c:idx val="2"/>
          <c:order val="2"/>
          <c:spPr>
            <a:solidFill>
              <a:srgbClr val="A3D7D2"/>
            </a:solidFill>
            <a:ln>
              <a:noFill/>
            </a:ln>
          </c:spPr>
          <c:invertIfNegative val="0"/>
          <c:val>
            <c:numRef>
              <c:f>Sheet1!$A$3:$C$3</c:f>
              <c:numCache>
                <c:formatCode>General</c:formatCode>
                <c:ptCount val="3"/>
                <c:pt idx="1">
                  <c:v>4.4156555353019407</c:v>
                </c:pt>
              </c:numCache>
            </c:numRef>
          </c:val>
          <c:extLst xmlns:c16r2="http://schemas.microsoft.com/office/drawing/2015/06/chart">
            <c:ext xmlns:c16="http://schemas.microsoft.com/office/drawing/2014/chart" uri="{C3380CC4-5D6E-409C-BE32-E72D297353CC}">
              <c16:uniqueId val="{00000004-16BA-4D66-BCF6-3E85C9B340A6}"/>
            </c:ext>
          </c:extLst>
        </c:ser>
        <c:ser>
          <c:idx val="3"/>
          <c:order val="3"/>
          <c:spPr>
            <a:solidFill>
              <a:srgbClr val="9B6836"/>
            </a:solidFill>
            <a:ln>
              <a:noFill/>
            </a:ln>
          </c:spPr>
          <c:invertIfNegative val="0"/>
          <c:val>
            <c:numRef>
              <c:f>Sheet1!$A$4:$C$4</c:f>
              <c:numCache>
                <c:formatCode>General</c:formatCode>
                <c:ptCount val="3"/>
                <c:pt idx="1">
                  <c:v>1.3888939986829172</c:v>
                </c:pt>
              </c:numCache>
            </c:numRef>
          </c:val>
          <c:extLst xmlns:c16r2="http://schemas.microsoft.com/office/drawing/2015/06/chart">
            <c:ext xmlns:c16="http://schemas.microsoft.com/office/drawing/2014/chart" uri="{C3380CC4-5D6E-409C-BE32-E72D297353CC}">
              <c16:uniqueId val="{00000005-16BA-4D66-BCF6-3E85C9B340A6}"/>
            </c:ext>
          </c:extLst>
        </c:ser>
        <c:dLbls>
          <c:showLegendKey val="0"/>
          <c:showVal val="0"/>
          <c:showCatName val="0"/>
          <c:showSerName val="0"/>
          <c:showPercent val="0"/>
          <c:showBubbleSize val="0"/>
        </c:dLbls>
        <c:gapWidth val="80"/>
        <c:overlap val="100"/>
        <c:axId val="277253504"/>
        <c:axId val="277255296"/>
      </c:barChart>
      <c:catAx>
        <c:axId val="2772535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700" kern="1200">
                <a:latin typeface="+mn-lt"/>
                <a:ea typeface="+mn-ea"/>
                <a:cs typeface="+mn-cs"/>
                <a:sym typeface="Calibri Light"/>
              </a:defRPr>
            </a:pPr>
            <a:endParaRPr lang="es-BO"/>
          </a:p>
        </c:txPr>
        <c:crossAx val="277255296"/>
        <c:crosses val="min"/>
        <c:auto val="0"/>
        <c:lblAlgn val="ctr"/>
        <c:lblOffset val="100"/>
        <c:noMultiLvlLbl val="0"/>
      </c:catAx>
      <c:valAx>
        <c:axId val="277255296"/>
        <c:scaling>
          <c:orientation val="minMax"/>
          <c:max val="35"/>
          <c:min val="0"/>
        </c:scaling>
        <c:delete val="1"/>
        <c:axPos val="l"/>
        <c:numFmt formatCode="General" sourceLinked="1"/>
        <c:majorTickMark val="out"/>
        <c:minorTickMark val="none"/>
        <c:tickLblPos val="nextTo"/>
        <c:crossAx val="27725350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82042494859493E-2"/>
          <c:y val="3.3986928104575161E-2"/>
          <c:w val="0.96435915010281015"/>
          <c:h val="0.93202614379084969"/>
        </c:manualLayout>
      </c:layout>
      <c:barChart>
        <c:barDir val="col"/>
        <c:grouping val="stacked"/>
        <c:varyColors val="0"/>
        <c:ser>
          <c:idx val="0"/>
          <c:order val="0"/>
          <c:spPr>
            <a:solidFill>
              <a:srgbClr val="CCCCCC"/>
            </a:solidFill>
            <a:ln>
              <a:noFill/>
            </a:ln>
          </c:spPr>
          <c:invertIfNegative val="0"/>
          <c:val>
            <c:numRef>
              <c:f>Sheet1!$A$1:$C$1</c:f>
              <c:numCache>
                <c:formatCode>General</c:formatCode>
                <c:ptCount val="3"/>
                <c:pt idx="0">
                  <c:v>13974646</c:v>
                </c:pt>
                <c:pt idx="1">
                  <c:v>30867802.875</c:v>
                </c:pt>
                <c:pt idx="2">
                  <c:v>40831910.82</c:v>
                </c:pt>
              </c:numCache>
            </c:numRef>
          </c:val>
          <c:extLst xmlns:c16r2="http://schemas.microsoft.com/office/drawing/2015/06/chart">
            <c:ext xmlns:c16="http://schemas.microsoft.com/office/drawing/2014/chart" uri="{C3380CC4-5D6E-409C-BE32-E72D297353CC}">
              <c16:uniqueId val="{00000000-6136-40C7-A3E7-F0E4DCC00472}"/>
            </c:ext>
          </c:extLst>
        </c:ser>
        <c:ser>
          <c:idx val="1"/>
          <c:order val="1"/>
          <c:spPr>
            <a:solidFill>
              <a:schemeClr val="accent4"/>
            </a:solidFill>
            <a:ln>
              <a:noFill/>
            </a:ln>
          </c:spPr>
          <c:invertIfNegative val="0"/>
          <c:val>
            <c:numRef>
              <c:f>Sheet1!$A$2:$C$2</c:f>
              <c:numCache>
                <c:formatCode>General</c:formatCode>
                <c:ptCount val="3"/>
                <c:pt idx="0">
                  <c:v>84354</c:v>
                </c:pt>
                <c:pt idx="1">
                  <c:v>791482.125</c:v>
                </c:pt>
                <c:pt idx="2">
                  <c:v>2606292.1799999997</c:v>
                </c:pt>
              </c:numCache>
            </c:numRef>
          </c:val>
          <c:extLst xmlns:c16r2="http://schemas.microsoft.com/office/drawing/2015/06/chart">
            <c:ext xmlns:c16="http://schemas.microsoft.com/office/drawing/2014/chart" uri="{C3380CC4-5D6E-409C-BE32-E72D297353CC}">
              <c16:uniqueId val="{00000001-6136-40C7-A3E7-F0E4DCC00472}"/>
            </c:ext>
          </c:extLst>
        </c:ser>
        <c:dLbls>
          <c:showLegendKey val="0"/>
          <c:showVal val="0"/>
          <c:showCatName val="0"/>
          <c:showSerName val="0"/>
          <c:showPercent val="0"/>
          <c:showBubbleSize val="0"/>
        </c:dLbls>
        <c:gapWidth val="80"/>
        <c:overlap val="100"/>
        <c:axId val="276985344"/>
        <c:axId val="276986880"/>
      </c:barChart>
      <c:catAx>
        <c:axId val="2769853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Calibri Light"/>
                <a:ea typeface="Calibri Light"/>
                <a:cs typeface="Calibri Light"/>
                <a:sym typeface="Calibri Light"/>
              </a:defRPr>
            </a:pPr>
            <a:endParaRPr lang="es-BO"/>
          </a:p>
        </c:txPr>
        <c:crossAx val="276986880"/>
        <c:crosses val="min"/>
        <c:auto val="0"/>
        <c:lblAlgn val="ctr"/>
        <c:lblOffset val="100"/>
        <c:noMultiLvlLbl val="0"/>
      </c:catAx>
      <c:valAx>
        <c:axId val="276986880"/>
        <c:scaling>
          <c:orientation val="minMax"/>
          <c:max val="43438203"/>
          <c:min val="0"/>
        </c:scaling>
        <c:delete val="1"/>
        <c:axPos val="l"/>
        <c:numFmt formatCode="General" sourceLinked="1"/>
        <c:majorTickMark val="out"/>
        <c:minorTickMark val="none"/>
        <c:tickLblPos val="nextTo"/>
        <c:crossAx val="27698534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0.10655737704918032"/>
          <c:w val="0.94825870646766164"/>
          <c:h val="0.78688524590163933"/>
        </c:manualLayout>
      </c:layout>
      <c:barChart>
        <c:barDir val="col"/>
        <c:grouping val="stacked"/>
        <c:varyColors val="0"/>
        <c:ser>
          <c:idx val="0"/>
          <c:order val="0"/>
          <c:spPr>
            <a:solidFill>
              <a:srgbClr val="86BC25"/>
            </a:solidFill>
            <a:ln>
              <a:noFill/>
            </a:ln>
          </c:spPr>
          <c:invertIfNegative val="0"/>
          <c:val>
            <c:numRef>
              <c:f>Sheet1!$A$1:$C$1</c:f>
              <c:numCache>
                <c:formatCode>General</c:formatCode>
                <c:ptCount val="3"/>
                <c:pt idx="0">
                  <c:v>84354</c:v>
                </c:pt>
                <c:pt idx="1">
                  <c:v>791482</c:v>
                </c:pt>
                <c:pt idx="2">
                  <c:v>2606292</c:v>
                </c:pt>
              </c:numCache>
            </c:numRef>
          </c:val>
          <c:extLst xmlns:c16r2="http://schemas.microsoft.com/office/drawing/2015/06/chart">
            <c:ext xmlns:c16="http://schemas.microsoft.com/office/drawing/2014/chart" uri="{C3380CC4-5D6E-409C-BE32-E72D297353CC}">
              <c16:uniqueId val="{00000000-A3B7-4A1F-B72B-39DFB8EB3CAB}"/>
            </c:ext>
          </c:extLst>
        </c:ser>
        <c:ser>
          <c:idx val="1"/>
          <c:order val="1"/>
          <c:spPr>
            <a:solidFill>
              <a:srgbClr val="046A38"/>
            </a:solidFill>
            <a:ln>
              <a:noFill/>
            </a:ln>
          </c:spPr>
          <c:invertIfNegative val="0"/>
          <c:val>
            <c:numRef>
              <c:f>Sheet1!$A$2:$C$2</c:f>
              <c:numCache>
                <c:formatCode>General</c:formatCode>
                <c:ptCount val="3"/>
                <c:pt idx="0">
                  <c:v>63229</c:v>
                </c:pt>
                <c:pt idx="1">
                  <c:v>531689</c:v>
                </c:pt>
                <c:pt idx="2">
                  <c:v>1580494</c:v>
                </c:pt>
              </c:numCache>
            </c:numRef>
          </c:val>
          <c:extLst xmlns:c16r2="http://schemas.microsoft.com/office/drawing/2015/06/chart">
            <c:ext xmlns:c16="http://schemas.microsoft.com/office/drawing/2014/chart" uri="{C3380CC4-5D6E-409C-BE32-E72D297353CC}">
              <c16:uniqueId val="{00000001-A3B7-4A1F-B72B-39DFB8EB3CAB}"/>
            </c:ext>
          </c:extLst>
        </c:ser>
        <c:dLbls>
          <c:showLegendKey val="0"/>
          <c:showVal val="0"/>
          <c:showCatName val="0"/>
          <c:showSerName val="0"/>
          <c:showPercent val="0"/>
          <c:showBubbleSize val="0"/>
        </c:dLbls>
        <c:gapWidth val="80"/>
        <c:overlap val="100"/>
        <c:axId val="277422464"/>
        <c:axId val="277424000"/>
      </c:barChart>
      <c:catAx>
        <c:axId val="2774224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7424000"/>
        <c:crosses val="min"/>
        <c:auto val="0"/>
        <c:lblAlgn val="ctr"/>
        <c:lblOffset val="100"/>
        <c:noMultiLvlLbl val="0"/>
      </c:catAx>
      <c:valAx>
        <c:axId val="277424000"/>
        <c:scaling>
          <c:orientation val="minMax"/>
          <c:max val="4186786"/>
          <c:min val="0"/>
        </c:scaling>
        <c:delete val="1"/>
        <c:axPos val="l"/>
        <c:numFmt formatCode="General" sourceLinked="1"/>
        <c:majorTickMark val="out"/>
        <c:minorTickMark val="none"/>
        <c:tickLblPos val="nextTo"/>
        <c:crossAx val="27742246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93641073951956E-2"/>
          <c:y val="9.4373865698729589E-2"/>
          <c:w val="0.95101271785209607"/>
          <c:h val="0.81125226860254085"/>
        </c:manualLayout>
      </c:layout>
      <c:barChart>
        <c:barDir val="col"/>
        <c:grouping val="stacked"/>
        <c:varyColors val="0"/>
        <c:ser>
          <c:idx val="0"/>
          <c:order val="0"/>
          <c:spPr>
            <a:solidFill>
              <a:srgbClr val="86BC25"/>
            </a:solidFill>
            <a:ln>
              <a:noFill/>
            </a:ln>
          </c:spPr>
          <c:invertIfNegative val="0"/>
          <c:val>
            <c:numRef>
              <c:f>Sheet1!$A$1:$C$1</c:f>
              <c:numCache>
                <c:formatCode>General</c:formatCode>
                <c:ptCount val="3"/>
                <c:pt idx="0">
                  <c:v>1.1000000000000001</c:v>
                </c:pt>
                <c:pt idx="1">
                  <c:v>8.5</c:v>
                </c:pt>
                <c:pt idx="2">
                  <c:v>24.6</c:v>
                </c:pt>
              </c:numCache>
            </c:numRef>
          </c:val>
          <c:extLst xmlns:c16r2="http://schemas.microsoft.com/office/drawing/2015/06/chart">
            <c:ext xmlns:c16="http://schemas.microsoft.com/office/drawing/2014/chart" uri="{C3380CC4-5D6E-409C-BE32-E72D297353CC}">
              <c16:uniqueId val="{00000000-4E6D-44D7-9AFF-A0DA3E70CF58}"/>
            </c:ext>
          </c:extLst>
        </c:ser>
        <c:dLbls>
          <c:showLegendKey val="0"/>
          <c:showVal val="0"/>
          <c:showCatName val="0"/>
          <c:showSerName val="0"/>
          <c:showPercent val="0"/>
          <c:showBubbleSize val="0"/>
        </c:dLbls>
        <c:gapWidth val="80"/>
        <c:overlap val="100"/>
        <c:axId val="277826560"/>
        <c:axId val="277832448"/>
      </c:barChart>
      <c:lineChart>
        <c:grouping val="standard"/>
        <c:varyColors val="0"/>
        <c:ser>
          <c:idx val="1"/>
          <c:order val="1"/>
          <c:spPr>
            <a:ln w="6350" cmpd="sng" algn="ctr">
              <a:solidFill>
                <a:schemeClr val="accent4"/>
              </a:solidFill>
              <a:prstDash val="lgDash"/>
            </a:ln>
          </c:spPr>
          <c:marker>
            <c:symbol val="none"/>
          </c:marker>
          <c:val>
            <c:numRef>
              <c:f>Sheet1!$A$2:$C$2</c:f>
              <c:numCache>
                <c:formatCode>General</c:formatCode>
                <c:ptCount val="3"/>
                <c:pt idx="0">
                  <c:v>11</c:v>
                </c:pt>
                <c:pt idx="1">
                  <c:v>85</c:v>
                </c:pt>
                <c:pt idx="2">
                  <c:v>246</c:v>
                </c:pt>
              </c:numCache>
            </c:numRef>
          </c:val>
          <c:smooth val="0"/>
          <c:extLst xmlns:c16r2="http://schemas.microsoft.com/office/drawing/2015/06/chart">
            <c:ext xmlns:c16="http://schemas.microsoft.com/office/drawing/2014/chart" uri="{C3380CC4-5D6E-409C-BE32-E72D297353CC}">
              <c16:uniqueId val="{00000001-4E6D-44D7-9AFF-A0DA3E70CF58}"/>
            </c:ext>
          </c:extLst>
        </c:ser>
        <c:dLbls>
          <c:showLegendKey val="0"/>
          <c:showVal val="0"/>
          <c:showCatName val="0"/>
          <c:showSerName val="0"/>
          <c:showPercent val="0"/>
          <c:showBubbleSize val="0"/>
        </c:dLbls>
        <c:marker val="1"/>
        <c:smooth val="0"/>
        <c:axId val="277826560"/>
        <c:axId val="277832448"/>
      </c:lineChart>
      <c:catAx>
        <c:axId val="27782656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7832448"/>
        <c:crosses val="min"/>
        <c:auto val="0"/>
        <c:lblAlgn val="ctr"/>
        <c:lblOffset val="100"/>
        <c:noMultiLvlLbl val="0"/>
      </c:catAx>
      <c:valAx>
        <c:axId val="277832448"/>
        <c:scaling>
          <c:orientation val="minMax"/>
          <c:max val="246"/>
          <c:min val="0"/>
        </c:scaling>
        <c:delete val="1"/>
        <c:axPos val="r"/>
        <c:numFmt formatCode="General" sourceLinked="1"/>
        <c:majorTickMark val="out"/>
        <c:minorTickMark val="none"/>
        <c:tickLblPos val="nextTo"/>
        <c:crossAx val="277826560"/>
        <c:crosses val="max"/>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B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0.11791383219954649"/>
          <c:w val="0.94825870646766164"/>
          <c:h val="0.76417233560090703"/>
        </c:manualLayout>
      </c:layout>
      <c:barChart>
        <c:barDir val="col"/>
        <c:grouping val="stacked"/>
        <c:varyColors val="0"/>
        <c:ser>
          <c:idx val="0"/>
          <c:order val="0"/>
          <c:spPr>
            <a:solidFill>
              <a:srgbClr val="86BC25"/>
            </a:solidFill>
            <a:ln>
              <a:noFill/>
            </a:ln>
          </c:spPr>
          <c:invertIfNegative val="0"/>
          <c:val>
            <c:numRef>
              <c:f>Sheet1!$A$1:$C$1</c:f>
              <c:numCache>
                <c:formatCode>General</c:formatCode>
                <c:ptCount val="3"/>
                <c:pt idx="0">
                  <c:v>0.04</c:v>
                </c:pt>
                <c:pt idx="1">
                  <c:v>0.43</c:v>
                </c:pt>
                <c:pt idx="2">
                  <c:v>1.33</c:v>
                </c:pt>
              </c:numCache>
            </c:numRef>
          </c:val>
          <c:extLst xmlns:c16r2="http://schemas.microsoft.com/office/drawing/2015/06/chart">
            <c:ext xmlns:c16="http://schemas.microsoft.com/office/drawing/2014/chart" uri="{C3380CC4-5D6E-409C-BE32-E72D297353CC}">
              <c16:uniqueId val="{00000000-503A-4E18-A857-A764583651FF}"/>
            </c:ext>
          </c:extLst>
        </c:ser>
        <c:dLbls>
          <c:showLegendKey val="0"/>
          <c:showVal val="0"/>
          <c:showCatName val="0"/>
          <c:showSerName val="0"/>
          <c:showPercent val="0"/>
          <c:showBubbleSize val="0"/>
        </c:dLbls>
        <c:gapWidth val="80"/>
        <c:overlap val="100"/>
        <c:axId val="277938944"/>
        <c:axId val="277940480"/>
      </c:barChart>
      <c:catAx>
        <c:axId val="2779389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Calibri Light"/>
                <a:ea typeface="Calibri Light"/>
                <a:cs typeface="Calibri Light"/>
                <a:sym typeface="Calibri Light"/>
              </a:defRPr>
            </a:pPr>
            <a:endParaRPr lang="es-BO"/>
          </a:p>
        </c:txPr>
        <c:crossAx val="277940480"/>
        <c:crosses val="min"/>
        <c:auto val="0"/>
        <c:lblAlgn val="ctr"/>
        <c:lblOffset val="100"/>
        <c:noMultiLvlLbl val="0"/>
      </c:catAx>
      <c:valAx>
        <c:axId val="277940480"/>
        <c:scaling>
          <c:orientation val="minMax"/>
          <c:max val="1.33"/>
          <c:min val="0"/>
        </c:scaling>
        <c:delete val="1"/>
        <c:axPos val="l"/>
        <c:numFmt formatCode="General" sourceLinked="1"/>
        <c:majorTickMark val="out"/>
        <c:minorTickMark val="none"/>
        <c:tickLblPos val="nextTo"/>
        <c:crossAx val="27793894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MX"/>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8BC8067C-3308-4679-A892-52C4242A77EC}" type="datetimeFigureOut">
              <a:rPr lang="es-MX" smtClean="0"/>
              <a:t>01/10/2025</a:t>
            </a:fld>
            <a:endParaRPr lang="es-MX"/>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s-MX"/>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6A272C05-4B6D-4F22-BC15-9C3948E168DD}" type="slidenum">
              <a:rPr lang="es-MX" smtClean="0"/>
              <a:t>‹Nº›</a:t>
            </a:fld>
            <a:endParaRPr lang="es-MX"/>
          </a:p>
        </p:txBody>
      </p:sp>
    </p:spTree>
    <p:extLst>
      <p:ext uri="{BB962C8B-B14F-4D97-AF65-F5344CB8AC3E}">
        <p14:creationId xmlns:p14="http://schemas.microsoft.com/office/powerpoint/2010/main" val="23761513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rtl="0">
              <a:defRPr sz="1200"/>
            </a:lvl1pPr>
          </a:lstStyle>
          <a:p>
            <a:endParaRPr lang="es-419"/>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rtl="0">
              <a:defRPr sz="1200"/>
            </a:lvl1pPr>
          </a:lstStyle>
          <a:p>
            <a:fld id="{029BFE57-3A4F-4FE3-BFDF-794A025AE0E9}" type="datetimeFigureOut">
              <a:rPr lang="es-419" smtClean="0"/>
              <a:pPr/>
              <a:t>1/10/2025</a:t>
            </a:fld>
            <a:endParaRPr lang="es-419"/>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s-MX"/>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s-419"/>
              <a:t>Click to edit Master text styles</a:t>
            </a:r>
          </a:p>
          <a:p>
            <a:pPr lvl="1"/>
            <a:r>
              <a:rPr lang="es-419"/>
              <a:t>Second level</a:t>
            </a:r>
          </a:p>
          <a:p>
            <a:pPr lvl="2"/>
            <a:r>
              <a:rPr lang="es-419"/>
              <a:t>Third level</a:t>
            </a:r>
          </a:p>
          <a:p>
            <a:pPr lvl="3"/>
            <a:r>
              <a:rPr lang="es-419"/>
              <a:t>Fourth level</a:t>
            </a:r>
          </a:p>
          <a:p>
            <a:pPr lvl="4"/>
            <a:r>
              <a:rPr lang="es-419"/>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rtl="0">
              <a:defRPr sz="1200"/>
            </a:lvl1pPr>
          </a:lstStyle>
          <a:p>
            <a:endParaRPr lang="es-419"/>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rtl="0">
              <a:defRPr sz="1200"/>
            </a:lvl1pPr>
          </a:lstStyle>
          <a:p>
            <a:fld id="{3EF9E0DB-A031-41B0-A6BB-BE29B55DE161}" type="slidenum">
              <a:rPr lang="es-419" smtClean="0"/>
              <a:pPr/>
              <a:t>‹Nº›</a:t>
            </a:fld>
            <a:endParaRPr lang="es-419"/>
          </a:p>
        </p:txBody>
      </p:sp>
    </p:spTree>
    <p:extLst>
      <p:ext uri="{BB962C8B-B14F-4D97-AF65-F5344CB8AC3E}">
        <p14:creationId xmlns:p14="http://schemas.microsoft.com/office/powerpoint/2010/main" val="976417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a:t>Slide</a:t>
            </a:r>
          </a:p>
        </p:txBody>
      </p:sp>
      <p:sp>
        <p:nvSpPr>
          <p:cNvPr id="4" name="Slide Number Placeholder 3"/>
          <p:cNvSpPr>
            <a:spLocks noGrp="1"/>
          </p:cNvSpPr>
          <p:nvPr>
            <p:ph type="sldNum" sz="quarter" idx="5"/>
          </p:nvPr>
        </p:nvSpPr>
        <p:spPr/>
        <p:txBody>
          <a:bodyPr/>
          <a:lstStyle/>
          <a:p>
            <a:fld id="{3EF9E0DB-A031-41B0-A6BB-BE29B55DE161}" type="slidenum">
              <a:rPr lang="es-419" smtClean="0"/>
              <a:pPr/>
              <a:t>2</a:t>
            </a:fld>
            <a:endParaRPr lang="es-419"/>
          </a:p>
        </p:txBody>
      </p:sp>
    </p:spTree>
    <p:extLst>
      <p:ext uri="{BB962C8B-B14F-4D97-AF65-F5344CB8AC3E}">
        <p14:creationId xmlns:p14="http://schemas.microsoft.com/office/powerpoint/2010/main" val="1874823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A01EF4B-D3C3-E009-E948-DBA4F90F31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56FECC14-DBC4-2C53-8804-812ECA2905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DEF4BFCD-6394-682A-5783-F89BE057F96C}"/>
              </a:ext>
            </a:extLst>
          </p:cNvPr>
          <p:cNvSpPr>
            <a:spLocks noGrp="1"/>
          </p:cNvSpPr>
          <p:nvPr>
            <p:ph type="body" idx="1"/>
          </p:nvPr>
        </p:nvSpPr>
        <p:spPr/>
        <p:txBody>
          <a:bodyPr/>
          <a:lstStyle/>
          <a:p>
            <a:endParaRPr lang="es-419"/>
          </a:p>
        </p:txBody>
      </p:sp>
      <p:sp>
        <p:nvSpPr>
          <p:cNvPr id="4" name="Slide Number Placeholder 3">
            <a:extLst>
              <a:ext uri="{FF2B5EF4-FFF2-40B4-BE49-F238E27FC236}">
                <a16:creationId xmlns:a16="http://schemas.microsoft.com/office/drawing/2014/main" xmlns="" id="{CDF7F1A5-8B1B-5DD4-62B3-C82CC71BB76A}"/>
              </a:ext>
            </a:extLst>
          </p:cNvPr>
          <p:cNvSpPr>
            <a:spLocks noGrp="1"/>
          </p:cNvSpPr>
          <p:nvPr>
            <p:ph type="sldNum" sz="quarter" idx="5"/>
          </p:nvPr>
        </p:nvSpPr>
        <p:spPr/>
        <p:txBody>
          <a:bodyPr/>
          <a:lstStyle/>
          <a:p>
            <a:fld id="{3EF9E0DB-A031-41B0-A6BB-BE29B55DE161}" type="slidenum">
              <a:rPr lang="es-419" smtClean="0"/>
              <a:pPr/>
              <a:t>3</a:t>
            </a:fld>
            <a:endParaRPr lang="es-419"/>
          </a:p>
        </p:txBody>
      </p:sp>
    </p:spTree>
    <p:extLst>
      <p:ext uri="{BB962C8B-B14F-4D97-AF65-F5344CB8AC3E}">
        <p14:creationId xmlns:p14="http://schemas.microsoft.com/office/powerpoint/2010/main" val="3878061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a:p>
        </p:txBody>
      </p:sp>
      <p:sp>
        <p:nvSpPr>
          <p:cNvPr id="4" name="Slide Number Placeholder 3"/>
          <p:cNvSpPr>
            <a:spLocks noGrp="1"/>
          </p:cNvSpPr>
          <p:nvPr>
            <p:ph type="sldNum" sz="quarter" idx="5"/>
          </p:nvPr>
        </p:nvSpPr>
        <p:spPr/>
        <p:txBody>
          <a:bodyPr/>
          <a:lstStyle/>
          <a:p>
            <a:fld id="{3EF9E0DB-A031-41B0-A6BB-BE29B55DE161}" type="slidenum">
              <a:rPr lang="es-419" smtClean="0"/>
              <a:pPr/>
              <a:t>4</a:t>
            </a:fld>
            <a:endParaRPr lang="es-419"/>
          </a:p>
        </p:txBody>
      </p:sp>
    </p:spTree>
    <p:extLst>
      <p:ext uri="{BB962C8B-B14F-4D97-AF65-F5344CB8AC3E}">
        <p14:creationId xmlns:p14="http://schemas.microsoft.com/office/powerpoint/2010/main" val="1030987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EB29417-19EA-0FA5-84DB-7749C1FAA3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D942AFBE-37A4-E8B6-9A38-36473C7C73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CB438CFE-D528-0F5F-D342-AD30E14437F8}"/>
              </a:ext>
            </a:extLst>
          </p:cNvPr>
          <p:cNvSpPr>
            <a:spLocks noGrp="1"/>
          </p:cNvSpPr>
          <p:nvPr>
            <p:ph type="body" idx="1"/>
          </p:nvPr>
        </p:nvSpPr>
        <p:spPr/>
        <p:txBody>
          <a:bodyPr/>
          <a:lstStyle/>
          <a:p>
            <a:endParaRPr lang="es-419"/>
          </a:p>
        </p:txBody>
      </p:sp>
      <p:sp>
        <p:nvSpPr>
          <p:cNvPr id="4" name="Slide Number Placeholder 3">
            <a:extLst>
              <a:ext uri="{FF2B5EF4-FFF2-40B4-BE49-F238E27FC236}">
                <a16:creationId xmlns:a16="http://schemas.microsoft.com/office/drawing/2014/main" xmlns="" id="{A1CFDF58-25D8-F0FC-AFC9-8A40D54F15D9}"/>
              </a:ext>
            </a:extLst>
          </p:cNvPr>
          <p:cNvSpPr>
            <a:spLocks noGrp="1"/>
          </p:cNvSpPr>
          <p:nvPr>
            <p:ph type="sldNum" sz="quarter" idx="5"/>
          </p:nvPr>
        </p:nvSpPr>
        <p:spPr/>
        <p:txBody>
          <a:bodyPr/>
          <a:lstStyle/>
          <a:p>
            <a:fld id="{3EF9E0DB-A031-41B0-A6BB-BE29B55DE161}" type="slidenum">
              <a:rPr lang="es-419" smtClean="0"/>
              <a:pPr/>
              <a:t>5</a:t>
            </a:fld>
            <a:endParaRPr lang="es-419"/>
          </a:p>
        </p:txBody>
      </p:sp>
    </p:spTree>
    <p:extLst>
      <p:ext uri="{BB962C8B-B14F-4D97-AF65-F5344CB8AC3E}">
        <p14:creationId xmlns:p14="http://schemas.microsoft.com/office/powerpoint/2010/main" val="4115991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a:p>
        </p:txBody>
      </p:sp>
      <p:sp>
        <p:nvSpPr>
          <p:cNvPr id="4" name="Slide Number Placeholder 3"/>
          <p:cNvSpPr>
            <a:spLocks noGrp="1"/>
          </p:cNvSpPr>
          <p:nvPr>
            <p:ph type="sldNum" sz="quarter" idx="5"/>
          </p:nvPr>
        </p:nvSpPr>
        <p:spPr/>
        <p:txBody>
          <a:bodyPr/>
          <a:lstStyle/>
          <a:p>
            <a:fld id="{3EF9E0DB-A031-41B0-A6BB-BE29B55DE161}" type="slidenum">
              <a:rPr lang="es-419" smtClean="0"/>
              <a:pPr/>
              <a:t>6</a:t>
            </a:fld>
            <a:endParaRPr lang="es-419"/>
          </a:p>
        </p:txBody>
      </p:sp>
    </p:spTree>
    <p:extLst>
      <p:ext uri="{BB962C8B-B14F-4D97-AF65-F5344CB8AC3E}">
        <p14:creationId xmlns:p14="http://schemas.microsoft.com/office/powerpoint/2010/main" val="3030371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927B6FE-071B-C983-48E7-996B899935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0C1F3910-BEE7-68BA-C5F5-B5DAAB2F73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BB998D53-C893-4E72-4AF6-CC6CEBB14EBF}"/>
              </a:ext>
            </a:extLst>
          </p:cNvPr>
          <p:cNvSpPr>
            <a:spLocks noGrp="1"/>
          </p:cNvSpPr>
          <p:nvPr>
            <p:ph type="body" idx="1"/>
          </p:nvPr>
        </p:nvSpPr>
        <p:spPr/>
        <p:txBody>
          <a:bodyPr/>
          <a:lstStyle/>
          <a:p>
            <a:endParaRPr lang="es-419"/>
          </a:p>
        </p:txBody>
      </p:sp>
      <p:sp>
        <p:nvSpPr>
          <p:cNvPr id="4" name="Slide Number Placeholder 3">
            <a:extLst>
              <a:ext uri="{FF2B5EF4-FFF2-40B4-BE49-F238E27FC236}">
                <a16:creationId xmlns:a16="http://schemas.microsoft.com/office/drawing/2014/main" xmlns="" id="{CF0D29C4-D5CA-26FD-24E1-FF864FB155E8}"/>
              </a:ext>
            </a:extLst>
          </p:cNvPr>
          <p:cNvSpPr>
            <a:spLocks noGrp="1"/>
          </p:cNvSpPr>
          <p:nvPr>
            <p:ph type="sldNum" sz="quarter" idx="5"/>
          </p:nvPr>
        </p:nvSpPr>
        <p:spPr/>
        <p:txBody>
          <a:bodyPr/>
          <a:lstStyle/>
          <a:p>
            <a:fld id="{3EF9E0DB-A031-41B0-A6BB-BE29B55DE161}" type="slidenum">
              <a:rPr lang="es-419" smtClean="0"/>
              <a:pPr/>
              <a:t>7</a:t>
            </a:fld>
            <a:endParaRPr lang="es-419"/>
          </a:p>
        </p:txBody>
      </p:sp>
    </p:spTree>
    <p:extLst>
      <p:ext uri="{BB962C8B-B14F-4D97-AF65-F5344CB8AC3E}">
        <p14:creationId xmlns:p14="http://schemas.microsoft.com/office/powerpoint/2010/main" val="532029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s-419">
              <a:solidFill>
                <a:srgbClr val="FF0000"/>
              </a:solidFill>
            </a:endParaRPr>
          </a:p>
        </p:txBody>
      </p:sp>
      <p:sp>
        <p:nvSpPr>
          <p:cNvPr id="4" name="Slide Number Placeholder 3"/>
          <p:cNvSpPr>
            <a:spLocks noGrp="1"/>
          </p:cNvSpPr>
          <p:nvPr>
            <p:ph type="sldNum" sz="quarter" idx="5"/>
          </p:nvPr>
        </p:nvSpPr>
        <p:spPr/>
        <p:txBody>
          <a:bodyPr/>
          <a:lstStyle/>
          <a:p>
            <a:fld id="{3EF9E0DB-A031-41B0-A6BB-BE29B55DE161}" type="slidenum">
              <a:rPr lang="es-419" smtClean="0"/>
              <a:pPr/>
              <a:t>8</a:t>
            </a:fld>
            <a:endParaRPr lang="es-419"/>
          </a:p>
        </p:txBody>
      </p:sp>
    </p:spTree>
    <p:extLst>
      <p:ext uri="{BB962C8B-B14F-4D97-AF65-F5344CB8AC3E}">
        <p14:creationId xmlns:p14="http://schemas.microsoft.com/office/powerpoint/2010/main" val="2775846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a:p>
        </p:txBody>
      </p:sp>
      <p:sp>
        <p:nvSpPr>
          <p:cNvPr id="4" name="Slide Number Placeholder 3"/>
          <p:cNvSpPr>
            <a:spLocks noGrp="1"/>
          </p:cNvSpPr>
          <p:nvPr>
            <p:ph type="sldNum" sz="quarter" idx="5"/>
          </p:nvPr>
        </p:nvSpPr>
        <p:spPr/>
        <p:txBody>
          <a:bodyPr/>
          <a:lstStyle/>
          <a:p>
            <a:fld id="{3EF9E0DB-A031-41B0-A6BB-BE29B55DE161}" type="slidenum">
              <a:rPr lang="es-MX" smtClean="0"/>
              <a:pPr/>
              <a:t>9</a:t>
            </a:fld>
            <a:endParaRPr lang="es-MX"/>
          </a:p>
        </p:txBody>
      </p:sp>
    </p:spTree>
    <p:extLst>
      <p:ext uri="{BB962C8B-B14F-4D97-AF65-F5344CB8AC3E}">
        <p14:creationId xmlns:p14="http://schemas.microsoft.com/office/powerpoint/2010/main" val="3034150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a:p>
        </p:txBody>
      </p:sp>
      <p:sp>
        <p:nvSpPr>
          <p:cNvPr id="4" name="Slide Number Placeholder 3"/>
          <p:cNvSpPr>
            <a:spLocks noGrp="1"/>
          </p:cNvSpPr>
          <p:nvPr>
            <p:ph type="sldNum" sz="quarter" idx="5"/>
          </p:nvPr>
        </p:nvSpPr>
        <p:spPr/>
        <p:txBody>
          <a:bodyPr/>
          <a:lstStyle/>
          <a:p>
            <a:fld id="{3EF9E0DB-A031-41B0-A6BB-BE29B55DE161}" type="slidenum">
              <a:rPr lang="es-419" smtClean="0"/>
              <a:pPr/>
              <a:t>11</a:t>
            </a:fld>
            <a:endParaRPr lang="es-419"/>
          </a:p>
        </p:txBody>
      </p:sp>
    </p:spTree>
    <p:extLst>
      <p:ext uri="{BB962C8B-B14F-4D97-AF65-F5344CB8AC3E}">
        <p14:creationId xmlns:p14="http://schemas.microsoft.com/office/powerpoint/2010/main" val="3528524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236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8">
            <a:extLst>
              <a:ext uri="{FF2B5EF4-FFF2-40B4-BE49-F238E27FC236}">
                <a16:creationId xmlns:a16="http://schemas.microsoft.com/office/drawing/2014/main" xmlns="" id="{87B79BE0-CE1B-4395-BC6E-138747D01364}"/>
              </a:ext>
            </a:extLst>
          </p:cNvPr>
          <p:cNvSpPr>
            <a:spLocks noGrp="1"/>
          </p:cNvSpPr>
          <p:nvPr>
            <p:ph type="pic" sz="quarter" idx="11" hasCustomPrompt="1"/>
          </p:nvPr>
        </p:nvSpPr>
        <p:spPr>
          <a:xfrm>
            <a:off x="1" y="1"/>
            <a:ext cx="12191999" cy="6857999"/>
          </a:xfrm>
          <a:prstGeom prst="rect">
            <a:avLst/>
          </a:prstGeom>
          <a:noFill/>
        </p:spPr>
        <p:txBody>
          <a:bodyPr/>
          <a:lstStyle>
            <a:lvl1pPr rtl="0">
              <a:defRPr/>
            </a:lvl1pPr>
          </a:lstStyle>
          <a:p>
            <a:r>
              <a:rPr lang="es-419" noProof="0"/>
              <a:t>Diseñar de acuerdo a la temática</a:t>
            </a:r>
          </a:p>
        </p:txBody>
      </p:sp>
    </p:spTree>
    <p:extLst>
      <p:ext uri="{BB962C8B-B14F-4D97-AF65-F5344CB8AC3E}">
        <p14:creationId xmlns:p14="http://schemas.microsoft.com/office/powerpoint/2010/main" val="9783792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claimer propuest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EB7B6AC-7F5B-42FA-95E2-BF8AE7369C8D}"/>
              </a:ext>
            </a:extLst>
          </p:cNvPr>
          <p:cNvGraphicFramePr>
            <a:graphicFrameLocks noChangeAspect="1"/>
          </p:cNvGraphicFramePr>
          <p:nvPr userDrawn="1">
            <p:custDataLst>
              <p:tags r:id="rId2"/>
            </p:custDataLst>
            <p:extLst>
              <p:ext uri="{D42A27DB-BD31-4B8C-83A1-F6EECF244321}">
                <p14:modId xmlns:p14="http://schemas.microsoft.com/office/powerpoint/2010/main" val="167244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xmlns="" id="{3EB7B6AC-7F5B-42FA-95E2-BF8AE7369C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xmlns="" id="{38BE7AB5-9C11-4BEF-9612-147A7BE6A087}"/>
              </a:ext>
            </a:extLst>
          </p:cNvPr>
          <p:cNvSpPr>
            <a:spLocks noGrp="1"/>
          </p:cNvSpPr>
          <p:nvPr>
            <p:ph type="pic" sz="quarter" idx="11" hasCustomPrompt="1"/>
          </p:nvPr>
        </p:nvSpPr>
        <p:spPr>
          <a:xfrm>
            <a:off x="1" y="549275"/>
            <a:ext cx="12191999" cy="5759450"/>
          </a:xfrm>
          <a:prstGeom prst="rect">
            <a:avLst/>
          </a:prstGeom>
          <a:noFill/>
        </p:spPr>
        <p:txBody>
          <a:bodyPr/>
          <a:lstStyle>
            <a:lvl1pPr rtl="0">
              <a:defRPr/>
            </a:lvl1pPr>
          </a:lstStyle>
          <a:p>
            <a:r>
              <a:rPr lang="es-419" noProof="0"/>
              <a:t>Diseñar de acuerdo con la temática</a:t>
            </a:r>
          </a:p>
        </p:txBody>
      </p:sp>
      <p:sp>
        <p:nvSpPr>
          <p:cNvPr id="3" name="Slide Number Placeholder 2">
            <a:extLst>
              <a:ext uri="{FF2B5EF4-FFF2-40B4-BE49-F238E27FC236}">
                <a16:creationId xmlns:a16="http://schemas.microsoft.com/office/drawing/2014/main" xmlns="" id="{37F75C64-611B-461B-92D9-D6FF1990ED62}"/>
              </a:ext>
            </a:extLst>
          </p:cNvPr>
          <p:cNvSpPr>
            <a:spLocks noGrp="1"/>
          </p:cNvSpPr>
          <p:nvPr>
            <p:ph type="sldNum" sz="quarter" idx="10"/>
          </p:nvPr>
        </p:nvSpPr>
        <p:spPr/>
        <p:txBody>
          <a:bodyPr/>
          <a:lstStyle>
            <a:lvl1pPr rtl="0">
              <a:defRPr/>
            </a:lvl1pPr>
          </a:lstStyle>
          <a:p>
            <a:fld id="{A8E5AD78-C39A-47FF-83FF-0E69177E1F7C}" type="slidenum">
              <a:rPr lang="es-419" smtClean="0"/>
              <a:pPr/>
              <a:t>‹Nº›</a:t>
            </a:fld>
            <a:endParaRPr lang="es-419"/>
          </a:p>
        </p:txBody>
      </p:sp>
      <p:sp>
        <p:nvSpPr>
          <p:cNvPr id="6" name="Text Placeholder 43">
            <a:extLst>
              <a:ext uri="{FF2B5EF4-FFF2-40B4-BE49-F238E27FC236}">
                <a16:creationId xmlns:a16="http://schemas.microsoft.com/office/drawing/2014/main" xmlns="" id="{B398CBF4-BBD6-45A4-A6C0-B2BFB30D52BF}"/>
              </a:ext>
            </a:extLst>
          </p:cNvPr>
          <p:cNvSpPr>
            <a:spLocks noGrp="1"/>
          </p:cNvSpPr>
          <p:nvPr>
            <p:ph type="body" sz="quarter" idx="12" hasCustomPrompt="1"/>
          </p:nvPr>
        </p:nvSpPr>
        <p:spPr>
          <a:xfrm>
            <a:off x="1092200" y="1439036"/>
            <a:ext cx="4216401" cy="4216401"/>
          </a:xfrm>
          <a:prstGeom prst="ellipse">
            <a:avLst/>
          </a:prstGeom>
          <a:solidFill>
            <a:schemeClr val="bg1"/>
          </a:solidFill>
        </p:spPr>
        <p:txBody>
          <a:bodyPr/>
          <a:lstStyle>
            <a:lvl1pPr algn="l" rtl="0">
              <a:defRPr sz="1050" baseline="0">
                <a:latin typeface="Calibri Light" panose="020F0302020204030204" pitchFamily="34" charset="0"/>
                <a:cs typeface="Calibri Light" panose="020F0302020204030204" pitchFamily="34" charset="0"/>
              </a:defRPr>
            </a:lvl1pPr>
          </a:lstStyle>
          <a:p>
            <a:pPr lvl="0"/>
            <a:r>
              <a:rPr lang="es-419"/>
              <a:t>Insertar disclaimer sobre el contenido de la propuesta (Contenido a la izquierda)</a:t>
            </a:r>
          </a:p>
        </p:txBody>
      </p:sp>
    </p:spTree>
    <p:extLst>
      <p:ext uri="{BB962C8B-B14F-4D97-AF65-F5344CB8AC3E}">
        <p14:creationId xmlns:p14="http://schemas.microsoft.com/office/powerpoint/2010/main" val="10678295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ido y separador">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A8CAAFF8-09AD-44E3-9EAA-FF8C0CA3923A}"/>
              </a:ext>
            </a:extLst>
          </p:cNvPr>
          <p:cNvGraphicFramePr>
            <a:graphicFrameLocks noChangeAspect="1"/>
          </p:cNvGraphicFramePr>
          <p:nvPr userDrawn="1">
            <p:custDataLst>
              <p:tags r:id="rId2"/>
            </p:custDataLst>
            <p:extLst>
              <p:ext uri="{D42A27DB-BD31-4B8C-83A1-F6EECF244321}">
                <p14:modId xmlns:p14="http://schemas.microsoft.com/office/powerpoint/2010/main" val="24591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xmlns="" id="{A8CAAFF8-09AD-44E3-9EAA-FF8C0CA392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Picture Placeholder 8">
            <a:extLst>
              <a:ext uri="{FF2B5EF4-FFF2-40B4-BE49-F238E27FC236}">
                <a16:creationId xmlns:a16="http://schemas.microsoft.com/office/drawing/2014/main" xmlns="" id="{F7879A55-FC03-49FB-8E62-C84BF5DF0107}"/>
              </a:ext>
            </a:extLst>
          </p:cNvPr>
          <p:cNvSpPr>
            <a:spLocks noGrp="1"/>
          </p:cNvSpPr>
          <p:nvPr>
            <p:ph type="pic" sz="quarter" idx="11" hasCustomPrompt="1"/>
          </p:nvPr>
        </p:nvSpPr>
        <p:spPr>
          <a:xfrm>
            <a:off x="5351646" y="0"/>
            <a:ext cx="6840354" cy="6858000"/>
          </a:xfrm>
          <a:prstGeom prst="rect">
            <a:avLst/>
          </a:prstGeom>
          <a:noFill/>
        </p:spPr>
        <p:txBody>
          <a:bodyPr/>
          <a:lstStyle>
            <a:lvl1pPr rtl="0">
              <a:defRPr/>
            </a:lvl1pPr>
          </a:lstStyle>
          <a:p>
            <a:r>
              <a:rPr lang="es-419" noProof="0"/>
              <a:t>Diseñar de acuerdo con la temática</a:t>
            </a:r>
          </a:p>
        </p:txBody>
      </p:sp>
      <p:sp>
        <p:nvSpPr>
          <p:cNvPr id="11" name="Slide Number Placeholder 4">
            <a:extLst>
              <a:ext uri="{FF2B5EF4-FFF2-40B4-BE49-F238E27FC236}">
                <a16:creationId xmlns:a16="http://schemas.microsoft.com/office/drawing/2014/main" xmlns="" id="{2AB88FFE-754A-4637-B682-9DDC85B69583}"/>
              </a:ext>
            </a:extLst>
          </p:cNvPr>
          <p:cNvSpPr>
            <a:spLocks noGrp="1"/>
          </p:cNvSpPr>
          <p:nvPr>
            <p:ph type="sldNum" sz="quarter" idx="4"/>
          </p:nvPr>
        </p:nvSpPr>
        <p:spPr>
          <a:xfrm>
            <a:off x="11365133" y="6512057"/>
            <a:ext cx="289497" cy="153888"/>
          </a:xfrm>
          <a:prstGeom prst="rect">
            <a:avLst/>
          </a:prstGeom>
        </p:spPr>
        <p:txBody>
          <a:bodyPr vert="horz" wrap="square" lIns="0" tIns="0" rIns="0" bIns="0" rtlCol="0" anchor="ctr">
            <a:spAutoFit/>
          </a:bodyPr>
          <a:lstStyle>
            <a:lvl1pPr algn="r" rtl="0">
              <a:defRPr sz="1000" b="1">
                <a:solidFill>
                  <a:schemeClr val="tx1"/>
                </a:solidFill>
                <a:latin typeface="+mj-lt"/>
                <a:cs typeface="Calibri Light" panose="020F0302020204030204" pitchFamily="34" charset="0"/>
              </a:defRPr>
            </a:lvl1pPr>
          </a:lstStyle>
          <a:p>
            <a:fld id="{A8E5AD78-C39A-47FF-83FF-0E69177E1F7C}" type="slidenum">
              <a:rPr lang="es-419" smtClean="0"/>
              <a:pPr/>
              <a:t>‹Nº›</a:t>
            </a:fld>
            <a:endParaRPr lang="es-419"/>
          </a:p>
        </p:txBody>
      </p:sp>
    </p:spTree>
    <p:extLst>
      <p:ext uri="{BB962C8B-B14F-4D97-AF65-F5344CB8AC3E}">
        <p14:creationId xmlns:p14="http://schemas.microsoft.com/office/powerpoint/2010/main" val="22907079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erp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A8CAAFF8-09AD-44E3-9EAA-FF8C0CA3923A}"/>
              </a:ext>
            </a:extLst>
          </p:cNvPr>
          <p:cNvGraphicFramePr>
            <a:graphicFrameLocks noChangeAspect="1"/>
          </p:cNvGraphicFramePr>
          <p:nvPr userDrawn="1">
            <p:custDataLst>
              <p:tags r:id="rId2"/>
            </p:custDataLst>
            <p:extLst>
              <p:ext uri="{D42A27DB-BD31-4B8C-83A1-F6EECF244321}">
                <p14:modId xmlns:p14="http://schemas.microsoft.com/office/powerpoint/2010/main" val="218103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xmlns="" id="{A8CAAFF8-09AD-44E3-9EAA-FF8C0CA392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Slide Number Placeholder 4">
            <a:extLst>
              <a:ext uri="{FF2B5EF4-FFF2-40B4-BE49-F238E27FC236}">
                <a16:creationId xmlns:a16="http://schemas.microsoft.com/office/drawing/2014/main" xmlns="" id="{2AB88FFE-754A-4637-B682-9DDC85B69583}"/>
              </a:ext>
            </a:extLst>
          </p:cNvPr>
          <p:cNvSpPr>
            <a:spLocks noGrp="1"/>
          </p:cNvSpPr>
          <p:nvPr>
            <p:ph type="sldNum" sz="quarter" idx="4"/>
          </p:nvPr>
        </p:nvSpPr>
        <p:spPr>
          <a:xfrm>
            <a:off x="11365133" y="6512057"/>
            <a:ext cx="289497" cy="153888"/>
          </a:xfrm>
          <a:prstGeom prst="rect">
            <a:avLst/>
          </a:prstGeom>
        </p:spPr>
        <p:txBody>
          <a:bodyPr vert="horz" wrap="square" lIns="0" tIns="0" rIns="0" bIns="0" rtlCol="0" anchor="ctr">
            <a:spAutoFit/>
          </a:bodyPr>
          <a:lstStyle>
            <a:lvl1pPr algn="r" rtl="0">
              <a:defRPr sz="1000" b="1">
                <a:solidFill>
                  <a:schemeClr val="tx1"/>
                </a:solidFill>
                <a:latin typeface="+mj-lt"/>
                <a:cs typeface="Calibri Light" panose="020F0302020204030204" pitchFamily="34" charset="0"/>
              </a:defRPr>
            </a:lvl1pPr>
          </a:lstStyle>
          <a:p>
            <a:fld id="{A8E5AD78-C39A-47FF-83FF-0E69177E1F7C}" type="slidenum">
              <a:rPr lang="es-419" smtClean="0"/>
              <a:pPr/>
              <a:t>‹Nº›</a:t>
            </a:fld>
            <a:endParaRPr lang="es-419"/>
          </a:p>
        </p:txBody>
      </p:sp>
      <p:sp>
        <p:nvSpPr>
          <p:cNvPr id="5" name="Title Placeholder 1">
            <a:extLst>
              <a:ext uri="{FF2B5EF4-FFF2-40B4-BE49-F238E27FC236}">
                <a16:creationId xmlns:a16="http://schemas.microsoft.com/office/drawing/2014/main" xmlns="" id="{01D847CE-9C7D-42E2-8A5F-870BECAD1B93}"/>
              </a:ext>
            </a:extLst>
          </p:cNvPr>
          <p:cNvSpPr>
            <a:spLocks noGrp="1"/>
          </p:cNvSpPr>
          <p:nvPr>
            <p:ph type="title" hasCustomPrompt="1"/>
          </p:nvPr>
        </p:nvSpPr>
        <p:spPr>
          <a:xfrm>
            <a:off x="515938" y="337261"/>
            <a:ext cx="5940425" cy="212807"/>
          </a:xfrm>
          <a:prstGeom prst="rect">
            <a:avLst/>
          </a:prstGeom>
        </p:spPr>
        <p:txBody>
          <a:bodyPr vert="horz" lIns="0" tIns="0" rIns="0" bIns="0" rtlCol="0" anchor="ctr">
            <a:noAutofit/>
          </a:bodyPr>
          <a:lstStyle>
            <a:lvl1pPr rtl="0">
              <a:defRPr lang="es-MX" sz="1200" b="1" cap="small" baseline="0" noProof="0" dirty="0">
                <a:solidFill>
                  <a:schemeClr val="tx1"/>
                </a:solidFill>
                <a:latin typeface="+mj-lt"/>
              </a:defRPr>
            </a:lvl1pPr>
          </a:lstStyle>
          <a:p>
            <a:pPr lvl="0"/>
            <a:r>
              <a:rPr lang="es-419" noProof="0"/>
              <a:t>Nombre sección | Contenido de diapositiva</a:t>
            </a:r>
          </a:p>
        </p:txBody>
      </p:sp>
      <p:sp>
        <p:nvSpPr>
          <p:cNvPr id="8" name="Text Placeholder 8">
            <a:extLst>
              <a:ext uri="{FF2B5EF4-FFF2-40B4-BE49-F238E27FC236}">
                <a16:creationId xmlns:a16="http://schemas.microsoft.com/office/drawing/2014/main" xmlns="" id="{4AF5D5C3-1406-4E42-A077-0DF31ECFC997}"/>
              </a:ext>
            </a:extLst>
          </p:cNvPr>
          <p:cNvSpPr>
            <a:spLocks noGrp="1"/>
          </p:cNvSpPr>
          <p:nvPr>
            <p:ph type="body" sz="quarter" idx="13" hasCustomPrompt="1"/>
          </p:nvPr>
        </p:nvSpPr>
        <p:spPr>
          <a:xfrm>
            <a:off x="515938" y="549276"/>
            <a:ext cx="11160125" cy="719137"/>
          </a:xfrm>
          <a:prstGeom prst="rect">
            <a:avLst/>
          </a:prstGeom>
        </p:spPr>
        <p:txBody>
          <a:bodyPr lIns="0" tIns="0" rIns="0" bIns="0" anchor="ctr">
            <a:noAutofit/>
          </a:bodyPr>
          <a:lstStyle>
            <a:lvl1pPr marL="0" indent="0" rtl="0">
              <a:buNone/>
              <a:defRPr sz="2000" b="1" baseline="0">
                <a:solidFill>
                  <a:schemeClr val="tx1"/>
                </a:solidFill>
                <a:latin typeface="+mj-lt"/>
                <a:cs typeface="Calibri Light" panose="020F0302020204030204" pitchFamily="34" charset="0"/>
              </a:defRPr>
            </a:lvl1pPr>
          </a:lstStyle>
          <a:p>
            <a:pPr lvl="0"/>
            <a:r>
              <a:rPr lang="es-419" noProof="0"/>
              <a:t>Header</a:t>
            </a:r>
            <a:br>
              <a:rPr lang="es-419" noProof="0"/>
            </a:br>
            <a:r>
              <a:rPr lang="es-419" noProof="0"/>
              <a:t>Header</a:t>
            </a:r>
          </a:p>
        </p:txBody>
      </p:sp>
      <p:cxnSp>
        <p:nvCxnSpPr>
          <p:cNvPr id="3" name="Straight Connector 2">
            <a:extLst>
              <a:ext uri="{FF2B5EF4-FFF2-40B4-BE49-F238E27FC236}">
                <a16:creationId xmlns:a16="http://schemas.microsoft.com/office/drawing/2014/main" xmlns="" id="{F16766DE-B32A-4219-AB05-CDDCAD38A29C}"/>
              </a:ext>
            </a:extLst>
          </p:cNvPr>
          <p:cNvCxnSpPr/>
          <p:nvPr userDrawn="1"/>
        </p:nvCxnSpPr>
        <p:spPr>
          <a:xfrm>
            <a:off x="515938" y="6104153"/>
            <a:ext cx="594042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10">
            <a:extLst>
              <a:ext uri="{FF2B5EF4-FFF2-40B4-BE49-F238E27FC236}">
                <a16:creationId xmlns:a16="http://schemas.microsoft.com/office/drawing/2014/main" xmlns="" id="{BBE495DB-55BA-49F6-9999-BCE23B965C7E}"/>
              </a:ext>
            </a:extLst>
          </p:cNvPr>
          <p:cNvSpPr>
            <a:spLocks noGrp="1"/>
          </p:cNvSpPr>
          <p:nvPr>
            <p:ph type="body" sz="quarter" idx="14" hasCustomPrompt="1"/>
          </p:nvPr>
        </p:nvSpPr>
        <p:spPr>
          <a:xfrm>
            <a:off x="515937" y="6104154"/>
            <a:ext cx="11160125" cy="153888"/>
          </a:xfrm>
          <a:prstGeom prst="rect">
            <a:avLst/>
          </a:prstGeom>
        </p:spPr>
        <p:txBody>
          <a:bodyPr wrap="square" lIns="0" tIns="0" rIns="0" bIns="0">
            <a:spAutoFit/>
          </a:bodyPr>
          <a:lstStyle>
            <a:lvl1pPr rtl="0">
              <a:spcAft>
                <a:spcPts val="0"/>
              </a:spcAft>
              <a:defRPr sz="1000" i="1">
                <a:latin typeface="Calibri Light" panose="020F0302020204030204" pitchFamily="34" charset="0"/>
                <a:cs typeface="Calibri Light" panose="020F0302020204030204" pitchFamily="34" charset="0"/>
              </a:defRPr>
            </a:lvl1pPr>
            <a:lvl2pPr>
              <a:defRPr sz="600">
                <a:latin typeface="Calibri Light" panose="020F0302020204030204" pitchFamily="34" charset="0"/>
                <a:cs typeface="Calibri Light" panose="020F0302020204030204" pitchFamily="34" charset="0"/>
              </a:defRPr>
            </a:lvl2pPr>
            <a:lvl3pPr>
              <a:defRPr sz="600">
                <a:latin typeface="Calibri Light" panose="020F0302020204030204" pitchFamily="34" charset="0"/>
                <a:cs typeface="Calibri Light" panose="020F0302020204030204" pitchFamily="34" charset="0"/>
              </a:defRPr>
            </a:lvl3pPr>
            <a:lvl4pPr>
              <a:defRPr sz="600">
                <a:latin typeface="Calibri Light" panose="020F0302020204030204" pitchFamily="34" charset="0"/>
                <a:cs typeface="Calibri Light" panose="020F0302020204030204" pitchFamily="34" charset="0"/>
              </a:defRPr>
            </a:lvl4pPr>
            <a:lvl5pPr>
              <a:defRPr sz="600">
                <a:latin typeface="Calibri Light" panose="020F0302020204030204" pitchFamily="34" charset="0"/>
                <a:cs typeface="Calibri Light" panose="020F0302020204030204" pitchFamily="34" charset="0"/>
              </a:defRPr>
            </a:lvl5pPr>
          </a:lstStyle>
          <a:p>
            <a:pPr lvl="0"/>
            <a:r>
              <a:rPr lang="es-419"/>
              <a:t>Fuente:</a:t>
            </a:r>
          </a:p>
        </p:txBody>
      </p:sp>
      <p:sp>
        <p:nvSpPr>
          <p:cNvPr id="23" name="Text Placeholder 10">
            <a:extLst>
              <a:ext uri="{FF2B5EF4-FFF2-40B4-BE49-F238E27FC236}">
                <a16:creationId xmlns:a16="http://schemas.microsoft.com/office/drawing/2014/main" xmlns="" id="{CE55CBB5-2D03-486F-8C93-E2D362FAB3B3}"/>
              </a:ext>
            </a:extLst>
          </p:cNvPr>
          <p:cNvSpPr>
            <a:spLocks noGrp="1"/>
          </p:cNvSpPr>
          <p:nvPr>
            <p:ph type="body" sz="quarter" idx="15" hasCustomPrompt="1"/>
          </p:nvPr>
        </p:nvSpPr>
        <p:spPr>
          <a:xfrm>
            <a:off x="515937" y="6259728"/>
            <a:ext cx="11160125" cy="246221"/>
          </a:xfrm>
          <a:prstGeom prst="rect">
            <a:avLst/>
          </a:prstGeom>
        </p:spPr>
        <p:txBody>
          <a:bodyPr wrap="square" lIns="0" tIns="0" rIns="0" bIns="0">
            <a:spAutoFit/>
          </a:bodyPr>
          <a:lstStyle>
            <a:lvl1pPr rtl="0">
              <a:spcAft>
                <a:spcPts val="0"/>
              </a:spcAft>
              <a:defRPr sz="800" i="1">
                <a:latin typeface="Calibri Light" panose="020F0302020204030204" pitchFamily="34" charset="0"/>
                <a:cs typeface="Calibri Light" panose="020F0302020204030204" pitchFamily="34" charset="0"/>
              </a:defRPr>
            </a:lvl1pPr>
            <a:lvl2pPr>
              <a:defRPr sz="600">
                <a:latin typeface="Calibri Light" panose="020F0302020204030204" pitchFamily="34" charset="0"/>
                <a:cs typeface="Calibri Light" panose="020F0302020204030204" pitchFamily="34" charset="0"/>
              </a:defRPr>
            </a:lvl2pPr>
            <a:lvl3pPr>
              <a:defRPr sz="600">
                <a:latin typeface="Calibri Light" panose="020F0302020204030204" pitchFamily="34" charset="0"/>
                <a:cs typeface="Calibri Light" panose="020F0302020204030204" pitchFamily="34" charset="0"/>
              </a:defRPr>
            </a:lvl3pPr>
            <a:lvl4pPr>
              <a:defRPr sz="600">
                <a:latin typeface="Calibri Light" panose="020F0302020204030204" pitchFamily="34" charset="0"/>
                <a:cs typeface="Calibri Light" panose="020F0302020204030204" pitchFamily="34" charset="0"/>
              </a:defRPr>
            </a:lvl4pPr>
            <a:lvl5pPr>
              <a:defRPr sz="600">
                <a:latin typeface="Calibri Light" panose="020F0302020204030204" pitchFamily="34" charset="0"/>
                <a:cs typeface="Calibri Light" panose="020F0302020204030204" pitchFamily="34" charset="0"/>
              </a:defRPr>
            </a:lvl5pPr>
          </a:lstStyle>
          <a:p>
            <a:pPr lvl="0"/>
            <a:r>
              <a:rPr lang="es-419"/>
              <a:t>Notas:</a:t>
            </a:r>
            <a:br>
              <a:rPr lang="es-419"/>
            </a:br>
            <a:r>
              <a:rPr lang="es-419"/>
              <a:t>Notas:</a:t>
            </a:r>
          </a:p>
        </p:txBody>
      </p:sp>
    </p:spTree>
    <p:extLst>
      <p:ext uri="{BB962C8B-B14F-4D97-AF65-F5344CB8AC3E}">
        <p14:creationId xmlns:p14="http://schemas.microsoft.com/office/powerpoint/2010/main" val="2929500132"/>
      </p:ext>
    </p:extLst>
  </p:cSld>
  <p:clrMapOvr>
    <a:masterClrMapping/>
  </p:clrMapOvr>
  <p:transition>
    <p:fade/>
  </p:transition>
  <p:extLst>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87DF122-79E7-4255-97DA-A42F89B6C3C9}"/>
              </a:ext>
            </a:extLst>
          </p:cNvPr>
          <p:cNvSpPr>
            <a:spLocks noGrp="1"/>
          </p:cNvSpPr>
          <p:nvPr>
            <p:ph type="title"/>
          </p:nvPr>
        </p:nvSpPr>
        <p:spPr>
          <a:xfrm>
            <a:off x="2377440" y="365125"/>
            <a:ext cx="8976360" cy="1325563"/>
          </a:xfrm>
        </p:spPr>
        <p:txBody>
          <a:bodyPr/>
          <a:lstStyle>
            <a:lvl1pPr>
              <a:defRPr>
                <a:latin typeface="Roboto" pitchFamily="2" charset="0"/>
                <a:ea typeface="Roboto" pitchFamily="2" charset="0"/>
              </a:defRPr>
            </a:lvl1pPr>
          </a:lstStyle>
          <a:p>
            <a:r>
              <a:rPr lang="es-ES"/>
              <a:t>Haga clic para modificar el estilo de título del patrón</a:t>
            </a:r>
            <a:endParaRPr lang="es-BO" dirty="0"/>
          </a:p>
        </p:txBody>
      </p:sp>
      <p:sp>
        <p:nvSpPr>
          <p:cNvPr id="3" name="Marcador de contenido 2">
            <a:extLst>
              <a:ext uri="{FF2B5EF4-FFF2-40B4-BE49-F238E27FC236}">
                <a16:creationId xmlns:a16="http://schemas.microsoft.com/office/drawing/2014/main" xmlns="" id="{CE23BC44-B8DF-4231-8194-38CFE5B29552}"/>
              </a:ext>
            </a:extLst>
          </p:cNvPr>
          <p:cNvSpPr>
            <a:spLocks noGrp="1"/>
          </p:cNvSpPr>
          <p:nvPr>
            <p:ph idx="1"/>
          </p:nvPr>
        </p:nvSpPr>
        <p:spPr>
          <a:xfrm>
            <a:off x="838200" y="2223083"/>
            <a:ext cx="10515600" cy="3953880"/>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BO" dirty="0"/>
          </a:p>
        </p:txBody>
      </p:sp>
      <p:sp>
        <p:nvSpPr>
          <p:cNvPr id="4" name="Marcador de fecha 3">
            <a:extLst>
              <a:ext uri="{FF2B5EF4-FFF2-40B4-BE49-F238E27FC236}">
                <a16:creationId xmlns:a16="http://schemas.microsoft.com/office/drawing/2014/main" xmlns="" id="{DA3BEDA7-9FBD-4D33-9B1B-970CE6AA0FA1}"/>
              </a:ext>
            </a:extLst>
          </p:cNvPr>
          <p:cNvSpPr>
            <a:spLocks noGrp="1"/>
          </p:cNvSpPr>
          <p:nvPr>
            <p:ph type="dt" sz="half" idx="10"/>
          </p:nvPr>
        </p:nvSpPr>
        <p:spPr/>
        <p:txBody>
          <a:bodyPr/>
          <a:lstStyle/>
          <a:p>
            <a:fld id="{2470F8A7-17AC-4E3E-8E9E-B910E669EC08}" type="datetimeFigureOut">
              <a:rPr lang="es-BO" smtClean="0"/>
              <a:t>1/10/2025</a:t>
            </a:fld>
            <a:endParaRPr lang="es-BO"/>
          </a:p>
        </p:txBody>
      </p:sp>
      <p:sp>
        <p:nvSpPr>
          <p:cNvPr id="5" name="Marcador de pie de página 4">
            <a:extLst>
              <a:ext uri="{FF2B5EF4-FFF2-40B4-BE49-F238E27FC236}">
                <a16:creationId xmlns:a16="http://schemas.microsoft.com/office/drawing/2014/main" xmlns="" id="{11D931F0-720B-4F2D-85C6-F3CFB0ADA03B}"/>
              </a:ext>
            </a:extLst>
          </p:cNvPr>
          <p:cNvSpPr>
            <a:spLocks noGrp="1"/>
          </p:cNvSpPr>
          <p:nvPr>
            <p:ph type="ftr" sz="quarter" idx="11"/>
          </p:nvPr>
        </p:nvSpPr>
        <p:spPr/>
        <p:txBody>
          <a:bodyPr/>
          <a:lstStyle/>
          <a:p>
            <a:endParaRPr lang="es-BO"/>
          </a:p>
        </p:txBody>
      </p:sp>
      <p:sp>
        <p:nvSpPr>
          <p:cNvPr id="6" name="Marcador de número de diapositiva 5">
            <a:extLst>
              <a:ext uri="{FF2B5EF4-FFF2-40B4-BE49-F238E27FC236}">
                <a16:creationId xmlns:a16="http://schemas.microsoft.com/office/drawing/2014/main" xmlns="" id="{F88A9A48-178A-4E09-BDFF-D824CF750821}"/>
              </a:ext>
            </a:extLst>
          </p:cNvPr>
          <p:cNvSpPr>
            <a:spLocks noGrp="1"/>
          </p:cNvSpPr>
          <p:nvPr>
            <p:ph type="sldNum" sz="quarter" idx="12"/>
          </p:nvPr>
        </p:nvSpPr>
        <p:spPr/>
        <p:txBody>
          <a:bodyPr/>
          <a:lstStyle/>
          <a:p>
            <a:fld id="{5B87182A-A143-40AF-9598-3C90D66BC74D}" type="slidenum">
              <a:rPr lang="es-BO" smtClean="0"/>
              <a:t>‹Nº›</a:t>
            </a:fld>
            <a:endParaRPr lang="es-BO"/>
          </a:p>
        </p:txBody>
      </p:sp>
      <p:pic>
        <p:nvPicPr>
          <p:cNvPr id="9" name="Imagen 8">
            <a:extLst>
              <a:ext uri="{FF2B5EF4-FFF2-40B4-BE49-F238E27FC236}">
                <a16:creationId xmlns:a16="http://schemas.microsoft.com/office/drawing/2014/main" xmlns="" id="{A05D998E-30AF-6E44-08C0-9130AD8D42E3}"/>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75843" y="124531"/>
            <a:ext cx="1339567" cy="1251945"/>
          </a:xfrm>
          <a:prstGeom prst="rect">
            <a:avLst/>
          </a:prstGeom>
          <a:noFill/>
          <a:ln>
            <a:noFill/>
          </a:ln>
        </p:spPr>
      </p:pic>
      <p:pic>
        <p:nvPicPr>
          <p:cNvPr id="11" name="Imagen 10">
            <a:extLst>
              <a:ext uri="{FF2B5EF4-FFF2-40B4-BE49-F238E27FC236}">
                <a16:creationId xmlns:a16="http://schemas.microsoft.com/office/drawing/2014/main" xmlns="" id="{40F81C55-2392-C23F-12A1-3BDAD1282C9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363"/>
          <a:stretch/>
        </p:blipFill>
        <p:spPr>
          <a:xfrm>
            <a:off x="674857" y="26456"/>
            <a:ext cx="1452115" cy="1448094"/>
          </a:xfrm>
          <a:prstGeom prst="rect">
            <a:avLst/>
          </a:prstGeom>
        </p:spPr>
      </p:pic>
      <p:pic>
        <p:nvPicPr>
          <p:cNvPr id="12" name="Imagen 11">
            <a:extLst>
              <a:ext uri="{FF2B5EF4-FFF2-40B4-BE49-F238E27FC236}">
                <a16:creationId xmlns:a16="http://schemas.microsoft.com/office/drawing/2014/main" xmlns="" id="{78825C1F-0276-AB5E-5F2F-C9FADBA06670}"/>
              </a:ext>
            </a:extLst>
          </p:cNvPr>
          <p:cNvPicPr preferRelativeResize="0">
            <a:picLocks noChangeAspect="1"/>
          </p:cNvPicPr>
          <p:nvPr userDrawn="1"/>
        </p:nvPicPr>
        <p:blipFill rotWithShape="1">
          <a:blip r:embed="rId4">
            <a:alphaModFix amt="20000"/>
          </a:blip>
          <a:srcRect r="37060" b="39562"/>
          <a:stretch/>
        </p:blipFill>
        <p:spPr>
          <a:xfrm>
            <a:off x="8207023" y="4238633"/>
            <a:ext cx="3981364" cy="2615627"/>
          </a:xfrm>
          <a:prstGeom prst="rect">
            <a:avLst/>
          </a:prstGeom>
        </p:spPr>
      </p:pic>
    </p:spTree>
    <p:extLst>
      <p:ext uri="{BB962C8B-B14F-4D97-AF65-F5344CB8AC3E}">
        <p14:creationId xmlns:p14="http://schemas.microsoft.com/office/powerpoint/2010/main" val="892929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7640565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xmlns="" id="{F7B40030-4000-4442-9A94-B25689FAA0B9}"/>
              </a:ext>
            </a:extLst>
          </p:cNvPr>
          <p:cNvSpPr>
            <a:spLocks noGrp="1"/>
          </p:cNvSpPr>
          <p:nvPr>
            <p:ph type="sldNum" sz="quarter" idx="4"/>
          </p:nvPr>
        </p:nvSpPr>
        <p:spPr>
          <a:xfrm>
            <a:off x="11365133" y="6511540"/>
            <a:ext cx="289497" cy="153888"/>
          </a:xfrm>
          <a:prstGeom prst="rect">
            <a:avLst/>
          </a:prstGeom>
        </p:spPr>
        <p:txBody>
          <a:bodyPr vert="horz" wrap="square" lIns="0" tIns="0" rIns="0" bIns="0" rtlCol="0" anchor="ctr">
            <a:spAutoFit/>
          </a:bodyPr>
          <a:lstStyle>
            <a:lvl1pPr algn="r" rtl="0">
              <a:defRPr sz="1000" b="1">
                <a:solidFill>
                  <a:schemeClr val="tx1"/>
                </a:solidFill>
                <a:latin typeface="Calibri Light" panose="020F0302020204030204" pitchFamily="34" charset="0"/>
                <a:cs typeface="Calibri Light" panose="020F0302020204030204" pitchFamily="34" charset="0"/>
              </a:defRPr>
            </a:lvl1pPr>
          </a:lstStyle>
          <a:p>
            <a:fld id="{A8E5AD78-C39A-47FF-83FF-0E69177E1F7C}" type="slidenum">
              <a:rPr lang="es-419" smtClean="0"/>
              <a:pPr/>
              <a:t>‹Nº›</a:t>
            </a:fld>
            <a:endParaRPr lang="es-419"/>
          </a:p>
        </p:txBody>
      </p:sp>
    </p:spTree>
    <p:extLst>
      <p:ext uri="{BB962C8B-B14F-4D97-AF65-F5344CB8AC3E}">
        <p14:creationId xmlns:p14="http://schemas.microsoft.com/office/powerpoint/2010/main" val="78158441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16" r:id="rId3"/>
    <p:sldLayoutId id="2147483721" r:id="rId4"/>
    <p:sldLayoutId id="2147483726" r:id="rId5"/>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2" pos="7355" userDrawn="1">
          <p15:clr>
            <a:srgbClr val="F26B43"/>
          </p15:clr>
        </p15:guide>
        <p15:guide id="3" orient="horz" pos="346" userDrawn="1">
          <p15:clr>
            <a:srgbClr val="F26B43"/>
          </p15:clr>
        </p15:guide>
        <p15:guide id="4" orient="horz" pos="3974" userDrawn="1">
          <p15:clr>
            <a:srgbClr val="F26B43"/>
          </p15:clr>
        </p15:guide>
        <p15:guide id="5" pos="3840" userDrawn="1">
          <p15:clr>
            <a:srgbClr val="F26B43"/>
          </p15:clr>
        </p15:guide>
        <p15:guide id="7" pos="2933" userDrawn="1">
          <p15:clr>
            <a:srgbClr val="F26B43"/>
          </p15:clr>
        </p15:guide>
        <p15:guide id="8" orient="horz" pos="2160" userDrawn="1">
          <p15:clr>
            <a:srgbClr val="F26B43"/>
          </p15:clr>
        </p15:guide>
        <p15:guide id="9" orient="horz" pos="799" userDrawn="1">
          <p15:clr>
            <a:srgbClr val="F26B43"/>
          </p15:clr>
        </p15:guide>
        <p15:guide id="10" orient="horz" pos="3680" userDrawn="1">
          <p15:clr>
            <a:srgbClr val="F26B43"/>
          </p15:clr>
        </p15:guide>
        <p15:guide id="11" pos="325" userDrawn="1">
          <p15:clr>
            <a:srgbClr val="F26B43"/>
          </p15:clr>
        </p15:guide>
        <p15:guide id="12" orient="horz" pos="845" userDrawn="1">
          <p15:clr>
            <a:srgbClr val="F26B43"/>
          </p15:clr>
        </p15:guide>
        <p15:guide id="13" pos="3046" userDrawn="1">
          <p15:clr>
            <a:srgbClr val="F26B43"/>
          </p15:clr>
        </p15:guide>
        <p15:guide id="14" orient="horz" pos="1139" userDrawn="1">
          <p15:clr>
            <a:srgbClr val="F26B43"/>
          </p15:clr>
        </p15:guide>
        <p15:guide id="15"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29.png"/><Relationship Id="rId18" Type="http://schemas.microsoft.com/office/2007/relationships/hdphoto" Target="../media/hdphoto2.wdp"/><Relationship Id="rId3" Type="http://schemas.openxmlformats.org/officeDocument/2006/relationships/slideLayout" Target="../slideLayouts/slideLayout4.xml"/><Relationship Id="rId7" Type="http://schemas.openxmlformats.org/officeDocument/2006/relationships/image" Target="../media/image26.png"/><Relationship Id="rId12" Type="http://schemas.openxmlformats.org/officeDocument/2006/relationships/image" Target="../media/image30.svg"/><Relationship Id="rId17" Type="http://schemas.openxmlformats.org/officeDocument/2006/relationships/image" Target="../media/image31.png"/><Relationship Id="rId2" Type="http://schemas.openxmlformats.org/officeDocument/2006/relationships/tags" Target="../tags/tag164.xml"/><Relationship Id="rId16" Type="http://schemas.microsoft.com/office/2007/relationships/hdphoto" Target="../media/hdphoto1.wdp"/><Relationship Id="rId1" Type="http://schemas.openxmlformats.org/officeDocument/2006/relationships/vmlDrawing" Target="../drawings/vmlDrawing14.vml"/><Relationship Id="rId6" Type="http://schemas.openxmlformats.org/officeDocument/2006/relationships/image" Target="../media/image9.emf"/><Relationship Id="rId11" Type="http://schemas.openxmlformats.org/officeDocument/2006/relationships/image" Target="../media/image28.png"/><Relationship Id="rId5" Type="http://schemas.openxmlformats.org/officeDocument/2006/relationships/oleObject" Target="../embeddings/oleObject14.bin"/><Relationship Id="rId15" Type="http://schemas.openxmlformats.org/officeDocument/2006/relationships/image" Target="../media/image30.png"/><Relationship Id="rId10" Type="http://schemas.openxmlformats.org/officeDocument/2006/relationships/image" Target="../media/image28.svg"/><Relationship Id="rId4" Type="http://schemas.openxmlformats.org/officeDocument/2006/relationships/notesSlide" Target="../notesSlides/notesSlide9.xml"/><Relationship Id="rId9" Type="http://schemas.openxmlformats.org/officeDocument/2006/relationships/image" Target="../media/image27.png"/><Relationship Id="rId14" Type="http://schemas.openxmlformats.org/officeDocument/2006/relationships/image" Target="../media/image32.sv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2.png"/><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40.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11" Type="http://schemas.openxmlformats.org/officeDocument/2006/relationships/image" Target="../media/image14.png"/><Relationship Id="rId5" Type="http://schemas.openxmlformats.org/officeDocument/2006/relationships/oleObject" Target="../embeddings/oleObject7.bin"/><Relationship Id="rId10" Type="http://schemas.openxmlformats.org/officeDocument/2006/relationships/image" Target="../media/image13.png"/><Relationship Id="rId4" Type="http://schemas.openxmlformats.org/officeDocument/2006/relationships/notesSlide" Target="../notesSlides/notesSlide2.xml"/><Relationship Id="rId9" Type="http://schemas.openxmlformats.org/officeDocument/2006/relationships/image" Target="../media/image12.emf"/></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chart" Target="../charts/chart2.xml"/><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slideLayout" Target="../slideLayouts/slideLayout4.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chart" Target="../charts/chart1.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image" Target="../media/image9.emf"/><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oleObject" Target="../embeddings/oleObject8.bin"/><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oleObject" Target="../embeddings/oleObject10.bin"/><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chart" Target="../charts/chart4.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notesSlide" Target="../notesSlides/notesSlide5.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41" Type="http://schemas.openxmlformats.org/officeDocument/2006/relationships/chart" Target="../charts/chart3.xml"/><Relationship Id="rId1" Type="http://schemas.openxmlformats.org/officeDocument/2006/relationships/vmlDrawing" Target="../drawings/vmlDrawing10.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slideLayout" Target="../slideLayouts/slideLayout4.xml"/><Relationship Id="rId40" Type="http://schemas.openxmlformats.org/officeDocument/2006/relationships/image" Target="../media/image9.emf"/><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chart" Target="../charts/chart5.xml"/></Relationships>
</file>

<file path=ppt/slides/_rels/slide7.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notesSlide" Target="../notesSlides/notesSlide6.xml"/><Relationship Id="rId3" Type="http://schemas.openxmlformats.org/officeDocument/2006/relationships/tags" Target="../tags/tag78.xml"/><Relationship Id="rId21" Type="http://schemas.openxmlformats.org/officeDocument/2006/relationships/chart" Target="../charts/chart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slideLayout" Target="../slideLayouts/slideLayout4.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9.emf"/><Relationship Id="rId1" Type="http://schemas.openxmlformats.org/officeDocument/2006/relationships/vmlDrawing" Target="../drawings/vmlDrawing11.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oleObject" Target="../embeddings/oleObject11.bin"/><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15.png"/></Relationships>
</file>

<file path=ppt/slides/_rels/slide8.xml.rels><?xml version="1.0" encoding="UTF-8" standalone="yes"?>
<Relationships xmlns="http://schemas.openxmlformats.org/package/2006/relationships"><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9" Type="http://schemas.openxmlformats.org/officeDocument/2006/relationships/tags" Target="../tags/tag129.xml"/><Relationship Id="rId21" Type="http://schemas.openxmlformats.org/officeDocument/2006/relationships/tags" Target="../tags/tag111.xml"/><Relationship Id="rId34" Type="http://schemas.openxmlformats.org/officeDocument/2006/relationships/tags" Target="../tags/tag124.xml"/><Relationship Id="rId42" Type="http://schemas.openxmlformats.org/officeDocument/2006/relationships/tags" Target="../tags/tag132.xml"/><Relationship Id="rId47" Type="http://schemas.openxmlformats.org/officeDocument/2006/relationships/tags" Target="../tags/tag137.xml"/><Relationship Id="rId50" Type="http://schemas.openxmlformats.org/officeDocument/2006/relationships/tags" Target="../tags/tag140.xml"/><Relationship Id="rId55" Type="http://schemas.openxmlformats.org/officeDocument/2006/relationships/tags" Target="../tags/tag145.xml"/><Relationship Id="rId63" Type="http://schemas.openxmlformats.org/officeDocument/2006/relationships/tags" Target="../tags/tag153.xml"/><Relationship Id="rId68" Type="http://schemas.openxmlformats.org/officeDocument/2006/relationships/tags" Target="../tags/tag158.xml"/><Relationship Id="rId76" Type="http://schemas.openxmlformats.org/officeDocument/2006/relationships/image" Target="../media/image9.emf"/><Relationship Id="rId7" Type="http://schemas.openxmlformats.org/officeDocument/2006/relationships/tags" Target="../tags/tag97.xml"/><Relationship Id="rId71" Type="http://schemas.openxmlformats.org/officeDocument/2006/relationships/tags" Target="../tags/tag161.xml"/><Relationship Id="rId2" Type="http://schemas.openxmlformats.org/officeDocument/2006/relationships/tags" Target="../tags/tag92.xml"/><Relationship Id="rId16" Type="http://schemas.openxmlformats.org/officeDocument/2006/relationships/tags" Target="../tags/tag106.xml"/><Relationship Id="rId29" Type="http://schemas.openxmlformats.org/officeDocument/2006/relationships/tags" Target="../tags/tag119.xml"/><Relationship Id="rId11" Type="http://schemas.openxmlformats.org/officeDocument/2006/relationships/tags" Target="../tags/tag101.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tags" Target="../tags/tag130.xml"/><Relationship Id="rId45" Type="http://schemas.openxmlformats.org/officeDocument/2006/relationships/tags" Target="../tags/tag135.xml"/><Relationship Id="rId53" Type="http://schemas.openxmlformats.org/officeDocument/2006/relationships/tags" Target="../tags/tag143.xml"/><Relationship Id="rId58" Type="http://schemas.openxmlformats.org/officeDocument/2006/relationships/tags" Target="../tags/tag148.xml"/><Relationship Id="rId66" Type="http://schemas.openxmlformats.org/officeDocument/2006/relationships/tags" Target="../tags/tag156.xml"/><Relationship Id="rId74" Type="http://schemas.openxmlformats.org/officeDocument/2006/relationships/notesSlide" Target="../notesSlides/notesSlide7.xml"/><Relationship Id="rId79" Type="http://schemas.openxmlformats.org/officeDocument/2006/relationships/chart" Target="../charts/chart9.xml"/><Relationship Id="rId5" Type="http://schemas.openxmlformats.org/officeDocument/2006/relationships/tags" Target="../tags/tag95.xml"/><Relationship Id="rId61" Type="http://schemas.openxmlformats.org/officeDocument/2006/relationships/tags" Target="../tags/tag151.xml"/><Relationship Id="rId82" Type="http://schemas.openxmlformats.org/officeDocument/2006/relationships/chart" Target="../charts/chart12.xml"/><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tags" Target="../tags/tag121.xml"/><Relationship Id="rId44" Type="http://schemas.openxmlformats.org/officeDocument/2006/relationships/tags" Target="../tags/tag134.xml"/><Relationship Id="rId52" Type="http://schemas.openxmlformats.org/officeDocument/2006/relationships/tags" Target="../tags/tag142.xml"/><Relationship Id="rId60" Type="http://schemas.openxmlformats.org/officeDocument/2006/relationships/tags" Target="../tags/tag150.xml"/><Relationship Id="rId65" Type="http://schemas.openxmlformats.org/officeDocument/2006/relationships/tags" Target="../tags/tag155.xml"/><Relationship Id="rId73" Type="http://schemas.openxmlformats.org/officeDocument/2006/relationships/slideLayout" Target="../slideLayouts/slideLayout4.xml"/><Relationship Id="rId78" Type="http://schemas.openxmlformats.org/officeDocument/2006/relationships/chart" Target="../charts/chart8.xml"/><Relationship Id="rId81" Type="http://schemas.openxmlformats.org/officeDocument/2006/relationships/chart" Target="../charts/chart11.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48" Type="http://schemas.openxmlformats.org/officeDocument/2006/relationships/tags" Target="../tags/tag138.xml"/><Relationship Id="rId56" Type="http://schemas.openxmlformats.org/officeDocument/2006/relationships/tags" Target="../tags/tag146.xml"/><Relationship Id="rId64" Type="http://schemas.openxmlformats.org/officeDocument/2006/relationships/tags" Target="../tags/tag154.xml"/><Relationship Id="rId69" Type="http://schemas.openxmlformats.org/officeDocument/2006/relationships/tags" Target="../tags/tag159.xml"/><Relationship Id="rId77" Type="http://schemas.openxmlformats.org/officeDocument/2006/relationships/chart" Target="../charts/chart7.xml"/><Relationship Id="rId8" Type="http://schemas.openxmlformats.org/officeDocument/2006/relationships/tags" Target="../tags/tag98.xml"/><Relationship Id="rId51" Type="http://schemas.openxmlformats.org/officeDocument/2006/relationships/tags" Target="../tags/tag141.xml"/><Relationship Id="rId72" Type="http://schemas.openxmlformats.org/officeDocument/2006/relationships/tags" Target="../tags/tag162.xml"/><Relationship Id="rId80" Type="http://schemas.openxmlformats.org/officeDocument/2006/relationships/chart" Target="../charts/chart10.xml"/><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tags" Target="../tags/tag136.xml"/><Relationship Id="rId59" Type="http://schemas.openxmlformats.org/officeDocument/2006/relationships/tags" Target="../tags/tag149.xml"/><Relationship Id="rId67" Type="http://schemas.openxmlformats.org/officeDocument/2006/relationships/tags" Target="../tags/tag157.xml"/><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tags" Target="../tags/tag144.xml"/><Relationship Id="rId62" Type="http://schemas.openxmlformats.org/officeDocument/2006/relationships/tags" Target="../tags/tag152.xml"/><Relationship Id="rId70" Type="http://schemas.openxmlformats.org/officeDocument/2006/relationships/tags" Target="../tags/tag160.xml"/><Relationship Id="rId75"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tags" Target="../tags/tag139.xml"/><Relationship Id="rId57" Type="http://schemas.openxmlformats.org/officeDocument/2006/relationships/tags" Target="../tags/tag147.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4.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163.xml"/><Relationship Id="rId1" Type="http://schemas.openxmlformats.org/officeDocument/2006/relationships/vmlDrawing" Target="../drawings/vmlDrawing13.vml"/><Relationship Id="rId6" Type="http://schemas.openxmlformats.org/officeDocument/2006/relationships/image" Target="../media/image9.emf"/><Relationship Id="rId11" Type="http://schemas.openxmlformats.org/officeDocument/2006/relationships/image" Target="../media/image20.png"/><Relationship Id="rId5" Type="http://schemas.openxmlformats.org/officeDocument/2006/relationships/oleObject" Target="../embeddings/oleObject13.bin"/><Relationship Id="rId10" Type="http://schemas.openxmlformats.org/officeDocument/2006/relationships/image" Target="../media/image19.png"/><Relationship Id="rId4" Type="http://schemas.openxmlformats.org/officeDocument/2006/relationships/notesSlide" Target="../notesSlides/notesSlide8.xml"/><Relationship Id="rId9" Type="http://schemas.openxmlformats.org/officeDocument/2006/relationships/image" Target="../media/image18.png"/><Relationship Id="rId1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11A9A31-2FA0-09C0-3F05-58A5044E993E}"/>
            </a:ext>
          </a:extLst>
        </p:cNvPr>
        <p:cNvGrpSpPr/>
        <p:nvPr/>
      </p:nvGrpSpPr>
      <p:grpSpPr>
        <a:xfrm>
          <a:off x="0" y="0"/>
          <a:ext cx="0" cy="0"/>
          <a:chOff x="0" y="0"/>
          <a:chExt cx="0" cy="0"/>
        </a:xfrm>
      </p:grpSpPr>
      <p:sp>
        <p:nvSpPr>
          <p:cNvPr id="3" name="Oval 2">
            <a:extLst>
              <a:ext uri="{FF2B5EF4-FFF2-40B4-BE49-F238E27FC236}">
                <a16:creationId xmlns:a16="http://schemas.microsoft.com/office/drawing/2014/main" xmlns="" id="{58E38CFB-EDD8-5EEC-6F17-49CF19F5946C}"/>
              </a:ext>
            </a:extLst>
          </p:cNvPr>
          <p:cNvSpPr/>
          <p:nvPr/>
        </p:nvSpPr>
        <p:spPr bwMode="gray">
          <a:xfrm>
            <a:off x="1609778" y="4712889"/>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 name="Rectangle: Rounded Corners 1">
            <a:extLst>
              <a:ext uri="{FF2B5EF4-FFF2-40B4-BE49-F238E27FC236}">
                <a16:creationId xmlns:a16="http://schemas.microsoft.com/office/drawing/2014/main" xmlns="" id="{8557E8F5-EC92-5FFB-8718-9755F83323D6}"/>
              </a:ext>
            </a:extLst>
          </p:cNvPr>
          <p:cNvSpPr/>
          <p:nvPr/>
        </p:nvSpPr>
        <p:spPr bwMode="gray">
          <a:xfrm>
            <a:off x="2873642" y="2010374"/>
            <a:ext cx="9954084" cy="2523744"/>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pic>
        <p:nvPicPr>
          <p:cNvPr id="4" name="Picture 3">
            <a:extLst>
              <a:ext uri="{FF2B5EF4-FFF2-40B4-BE49-F238E27FC236}">
                <a16:creationId xmlns:a16="http://schemas.microsoft.com/office/drawing/2014/main" xmlns="" id="{D872C405-DF56-4E64-4697-69F78C3FFE86}"/>
              </a:ext>
            </a:extLst>
          </p:cNvPr>
          <p:cNvPicPr>
            <a:picLocks noChangeAspect="1"/>
          </p:cNvPicPr>
          <p:nvPr/>
        </p:nvPicPr>
        <p:blipFill>
          <a:blip r:embed="rId2"/>
          <a:stretch>
            <a:fillRect/>
          </a:stretch>
        </p:blipFill>
        <p:spPr>
          <a:xfrm>
            <a:off x="577265" y="1573182"/>
            <a:ext cx="3681597" cy="3548775"/>
          </a:xfrm>
          <a:prstGeom prst="rect">
            <a:avLst/>
          </a:prstGeom>
          <a:ln>
            <a:noFill/>
          </a:ln>
          <a:effectLst>
            <a:outerShdw blurRad="292100" dist="139700" dir="2700000" algn="tl" rotWithShape="0">
              <a:srgbClr val="333333">
                <a:alpha val="65000"/>
              </a:srgbClr>
            </a:outerShdw>
          </a:effectLst>
        </p:spPr>
      </p:pic>
      <p:sp>
        <p:nvSpPr>
          <p:cNvPr id="5" name="Google Shape;497;p8">
            <a:extLst>
              <a:ext uri="{FF2B5EF4-FFF2-40B4-BE49-F238E27FC236}">
                <a16:creationId xmlns:a16="http://schemas.microsoft.com/office/drawing/2014/main" xmlns="" id="{8DE11DEB-4539-E2AA-8DF0-AC3000107F2B}"/>
              </a:ext>
            </a:extLst>
          </p:cNvPr>
          <p:cNvSpPr txBox="1"/>
          <p:nvPr/>
        </p:nvSpPr>
        <p:spPr>
          <a:xfrm>
            <a:off x="4141028" y="2459031"/>
            <a:ext cx="7807131" cy="612988"/>
          </a:xfrm>
          <a:prstGeom prst="rect">
            <a:avLst/>
          </a:prstGeom>
          <a:noFill/>
          <a:ln>
            <a:noFill/>
          </a:ln>
        </p:spPr>
        <p:txBody>
          <a:bodyPr spcFirstLastPara="1" wrap="square" lIns="0" tIns="12700" rIns="0" bIns="0" anchor="t" anchorCtr="0">
            <a:spAutoFit/>
          </a:bodyPr>
          <a:lstStyle/>
          <a:p>
            <a:pPr marL="12700" marR="5080" algn="ctr">
              <a:spcBef>
                <a:spcPts val="300"/>
              </a:spcBef>
              <a:spcAft>
                <a:spcPts val="300"/>
              </a:spcAft>
            </a:pPr>
            <a:r>
              <a:rPr lang="es-BO" sz="3400" b="1" noProof="0" dirty="0">
                <a:solidFill>
                  <a:schemeClr val="bg1"/>
                </a:solidFill>
                <a:effectLst>
                  <a:outerShdw blurRad="38100" dist="38100" dir="2700000" algn="tl">
                    <a:srgbClr val="000000">
                      <a:alpha val="43137"/>
                    </a:srgbClr>
                  </a:outerShdw>
                </a:effectLst>
                <a:latin typeface="+mj-lt"/>
                <a:ea typeface="Calibri"/>
                <a:cs typeface="Calibri Light" panose="020F0302020204030204" pitchFamily="34" charset="0"/>
                <a:sym typeface="Calibri"/>
              </a:rPr>
              <a:t>HOJA DE RUTA Y ESTRATEGIA NACIONAL</a:t>
            </a:r>
            <a:endParaRPr lang="es-BO" sz="3400" b="1" noProof="0" dirty="0">
              <a:solidFill>
                <a:srgbClr val="FFFFFF"/>
              </a:solidFill>
              <a:effectLst>
                <a:outerShdw blurRad="38100" dist="38100" dir="2700000" algn="tl">
                  <a:srgbClr val="000000">
                    <a:alpha val="43137"/>
                  </a:srgbClr>
                </a:outerShdw>
              </a:effectLst>
              <a:latin typeface="Calibri Light" panose="020F0302020204030204" pitchFamily="34" charset="0"/>
              <a:ea typeface="Calibri"/>
              <a:cs typeface="Calibri Light" panose="020F0302020204030204" pitchFamily="34" charset="0"/>
              <a:sym typeface="Calibri"/>
            </a:endParaRPr>
          </a:p>
        </p:txBody>
      </p:sp>
      <p:sp>
        <p:nvSpPr>
          <p:cNvPr id="6" name="Google Shape;497;p8">
            <a:extLst>
              <a:ext uri="{FF2B5EF4-FFF2-40B4-BE49-F238E27FC236}">
                <a16:creationId xmlns:a16="http://schemas.microsoft.com/office/drawing/2014/main" xmlns="" id="{C0D93BA2-FEAB-964F-C7A2-AABBF0BE70F1}"/>
              </a:ext>
            </a:extLst>
          </p:cNvPr>
          <p:cNvSpPr txBox="1"/>
          <p:nvPr/>
        </p:nvSpPr>
        <p:spPr>
          <a:xfrm>
            <a:off x="4504431" y="3105739"/>
            <a:ext cx="7178999" cy="1333698"/>
          </a:xfrm>
          <a:prstGeom prst="rect">
            <a:avLst/>
          </a:prstGeom>
          <a:noFill/>
          <a:ln>
            <a:noFill/>
          </a:ln>
        </p:spPr>
        <p:txBody>
          <a:bodyPr spcFirstLastPara="1" wrap="square" lIns="0" tIns="12700" rIns="0" bIns="0" anchor="t" anchorCtr="0">
            <a:spAutoFit/>
          </a:bodyPr>
          <a:lstStyle/>
          <a:p>
            <a:pPr marL="12700" marR="5080" algn="ctr">
              <a:spcBef>
                <a:spcPts val="300"/>
              </a:spcBef>
              <a:spcAft>
                <a:spcPts val="300"/>
              </a:spcAft>
            </a:pPr>
            <a:r>
              <a:rPr lang="es-BO" sz="2600" b="1" noProof="0" dirty="0">
                <a:solidFill>
                  <a:schemeClr val="bg1"/>
                </a:solidFill>
                <a:latin typeface="+mj-lt"/>
                <a:ea typeface="Calibri"/>
                <a:cs typeface="Calibri Light" panose="020F0302020204030204" pitchFamily="34" charset="0"/>
                <a:sym typeface="Calibri"/>
              </a:rPr>
              <a:t>PARA LA PRODUCCIÓN Y USO DE HIDRÓGENO VERDE Y DE BAJAS EMISIONES DE CO</a:t>
            </a:r>
            <a:r>
              <a:rPr lang="es-BO" sz="2600" b="1" baseline="-25000" noProof="0" dirty="0">
                <a:solidFill>
                  <a:schemeClr val="bg1"/>
                </a:solidFill>
                <a:latin typeface="+mj-lt"/>
                <a:ea typeface="Calibri"/>
                <a:cs typeface="Calibri Light" panose="020F0302020204030204" pitchFamily="34" charset="0"/>
                <a:sym typeface="Calibri"/>
              </a:rPr>
              <a:t>2</a:t>
            </a:r>
            <a:r>
              <a:rPr lang="es-BO" sz="2600" b="1" noProof="0" dirty="0">
                <a:solidFill>
                  <a:schemeClr val="bg1"/>
                </a:solidFill>
                <a:latin typeface="+mj-lt"/>
                <a:ea typeface="Calibri"/>
                <a:cs typeface="Calibri Light" panose="020F0302020204030204" pitchFamily="34" charset="0"/>
                <a:sym typeface="Calibri"/>
              </a:rPr>
              <a:t> EN BOLIVIA</a:t>
            </a:r>
          </a:p>
          <a:p>
            <a:pPr marL="12700" marR="5080" algn="ctr">
              <a:spcBef>
                <a:spcPts val="100"/>
              </a:spcBef>
            </a:pPr>
            <a:endParaRPr lang="es-BO" sz="2800" b="1" noProof="0" dirty="0">
              <a:solidFill>
                <a:srgbClr val="FFFFFF"/>
              </a:solidFill>
              <a:latin typeface="Calibri Light" panose="020F0302020204030204" pitchFamily="34" charset="0"/>
              <a:ea typeface="Calibri"/>
              <a:cs typeface="Calibri Light" panose="020F0302020204030204" pitchFamily="34" charset="0"/>
              <a:sym typeface="Calibri"/>
            </a:endParaRPr>
          </a:p>
        </p:txBody>
      </p:sp>
      <p:sp>
        <p:nvSpPr>
          <p:cNvPr id="7" name="AutoShape 2" descr="3.800+ Bandera Boliviana Fotografías de stock, fotos e ..."/>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BO"/>
          </a:p>
        </p:txBody>
      </p:sp>
      <p:sp>
        <p:nvSpPr>
          <p:cNvPr id="8" name="AutoShape 4" descr="3.800+ Bandera Boliviana Fotografías de stock, fotos e ..."/>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BO"/>
          </a:p>
        </p:txBody>
      </p:sp>
      <p:pic>
        <p:nvPicPr>
          <p:cNvPr id="1030" name="Picture 6" descr="ilustraciones, imágenes clip art, dibujos animados e iconos de stock de bandera de bolivia - bandera bolivian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70106" y="330720"/>
            <a:ext cx="1896508" cy="1286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422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4231940-BFA9-6763-2521-D57ACDA1CE8E}"/>
            </a:ext>
          </a:extLst>
        </p:cNvPr>
        <p:cNvGrpSpPr/>
        <p:nvPr/>
      </p:nvGrpSpPr>
      <p:grpSpPr>
        <a:xfrm>
          <a:off x="0" y="0"/>
          <a:ext cx="0" cy="0"/>
          <a:chOff x="0" y="0"/>
          <a:chExt cx="0" cy="0"/>
        </a:xfrm>
      </p:grpSpPr>
      <p:sp>
        <p:nvSpPr>
          <p:cNvPr id="7" name="Rectangle: Rounded Corners 1">
            <a:extLst>
              <a:ext uri="{FF2B5EF4-FFF2-40B4-BE49-F238E27FC236}">
                <a16:creationId xmlns:a16="http://schemas.microsoft.com/office/drawing/2014/main" xmlns="" id="{A0203A7D-E376-9D3B-5D28-DD6288416EC8}"/>
              </a:ext>
            </a:extLst>
          </p:cNvPr>
          <p:cNvSpPr/>
          <p:nvPr/>
        </p:nvSpPr>
        <p:spPr bwMode="gray">
          <a:xfrm>
            <a:off x="2855858" y="1893483"/>
            <a:ext cx="9954084" cy="1926268"/>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12" name="Rectángulo 11">
            <a:extLst>
              <a:ext uri="{FF2B5EF4-FFF2-40B4-BE49-F238E27FC236}">
                <a16:creationId xmlns:a16="http://schemas.microsoft.com/office/drawing/2014/main" xmlns="" id="{C76B3D67-D7DC-C6D7-D611-99725D9340C2}"/>
              </a:ext>
            </a:extLst>
          </p:cNvPr>
          <p:cNvSpPr/>
          <p:nvPr/>
        </p:nvSpPr>
        <p:spPr bwMode="gray">
          <a:xfrm>
            <a:off x="722811" y="1680754"/>
            <a:ext cx="4876800" cy="4812121"/>
          </a:xfrm>
          <a:prstGeom prst="rect">
            <a:avLst/>
          </a:prstGeom>
          <a:solidFill>
            <a:srgbClr val="FFFFFF"/>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dirty="0" err="1">
              <a:latin typeface="Calibri Light" panose="020F0302020204030204" pitchFamily="34" charset="0"/>
              <a:cs typeface="Calibri Light" panose="020F0302020204030204" pitchFamily="34" charset="0"/>
            </a:endParaRPr>
          </a:p>
        </p:txBody>
      </p:sp>
      <p:sp>
        <p:nvSpPr>
          <p:cNvPr id="3" name="Oval 2">
            <a:extLst>
              <a:ext uri="{FF2B5EF4-FFF2-40B4-BE49-F238E27FC236}">
                <a16:creationId xmlns:a16="http://schemas.microsoft.com/office/drawing/2014/main" xmlns="" id="{5A2E3170-C99B-DF50-06D5-D2C93FDD1BAC}"/>
              </a:ext>
            </a:extLst>
          </p:cNvPr>
          <p:cNvSpPr/>
          <p:nvPr/>
        </p:nvSpPr>
        <p:spPr bwMode="gray">
          <a:xfrm>
            <a:off x="1609778" y="4712889"/>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6" name="Imagen 8">
            <a:extLst>
              <a:ext uri="{FF2B5EF4-FFF2-40B4-BE49-F238E27FC236}">
                <a16:creationId xmlns:a16="http://schemas.microsoft.com/office/drawing/2014/main" xmlns="" id="{217FDB25-5895-5C7A-F1FD-FDBDEBAFBE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2435" y="1086998"/>
            <a:ext cx="5048068" cy="5159829"/>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xmlns="" id="{0F7B6CD6-AF87-8D51-5E9E-6BAEEC342B76}"/>
              </a:ext>
            </a:extLst>
          </p:cNvPr>
          <p:cNvPicPr>
            <a:picLocks noChangeAspect="1"/>
          </p:cNvPicPr>
          <p:nvPr/>
        </p:nvPicPr>
        <p:blipFill>
          <a:blip r:embed="rId3">
            <a:duotone>
              <a:schemeClr val="accent2">
                <a:shade val="45000"/>
                <a:satMod val="135000"/>
              </a:schemeClr>
              <a:prstClr val="white"/>
            </a:duotone>
          </a:blip>
          <a:stretch>
            <a:fillRect/>
          </a:stretch>
        </p:blipFill>
        <p:spPr>
          <a:xfrm>
            <a:off x="3453417" y="3273644"/>
            <a:ext cx="1040885" cy="664396"/>
          </a:xfrm>
          <a:prstGeom prst="rect">
            <a:avLst/>
          </a:prstGeom>
        </p:spPr>
      </p:pic>
      <p:pic>
        <p:nvPicPr>
          <p:cNvPr id="10" name="Picture 9">
            <a:extLst>
              <a:ext uri="{FF2B5EF4-FFF2-40B4-BE49-F238E27FC236}">
                <a16:creationId xmlns:a16="http://schemas.microsoft.com/office/drawing/2014/main" xmlns="" id="{6D61AED8-BADB-DFEC-0568-5154B6E0D102}"/>
              </a:ext>
            </a:extLst>
          </p:cNvPr>
          <p:cNvPicPr>
            <a:picLocks noChangeAspect="1"/>
          </p:cNvPicPr>
          <p:nvPr/>
        </p:nvPicPr>
        <p:blipFill>
          <a:blip r:embed="rId3">
            <a:duotone>
              <a:schemeClr val="accent2">
                <a:shade val="45000"/>
                <a:satMod val="135000"/>
              </a:schemeClr>
              <a:prstClr val="white"/>
            </a:duotone>
          </a:blip>
          <a:stretch>
            <a:fillRect/>
          </a:stretch>
        </p:blipFill>
        <p:spPr>
          <a:xfrm>
            <a:off x="1814973" y="3624376"/>
            <a:ext cx="1040885" cy="664396"/>
          </a:xfrm>
          <a:prstGeom prst="rect">
            <a:avLst/>
          </a:prstGeom>
        </p:spPr>
      </p:pic>
      <p:pic>
        <p:nvPicPr>
          <p:cNvPr id="11" name="Picture 10">
            <a:extLst>
              <a:ext uri="{FF2B5EF4-FFF2-40B4-BE49-F238E27FC236}">
                <a16:creationId xmlns:a16="http://schemas.microsoft.com/office/drawing/2014/main" xmlns="" id="{AFCAC6EE-EA96-39AD-AEA8-A77FCC96E144}"/>
              </a:ext>
            </a:extLst>
          </p:cNvPr>
          <p:cNvPicPr>
            <a:picLocks noChangeAspect="1"/>
          </p:cNvPicPr>
          <p:nvPr/>
        </p:nvPicPr>
        <p:blipFill>
          <a:blip r:embed="rId3">
            <a:duotone>
              <a:schemeClr val="accent2">
                <a:shade val="45000"/>
                <a:satMod val="135000"/>
              </a:schemeClr>
              <a:prstClr val="white"/>
            </a:duotone>
          </a:blip>
          <a:stretch>
            <a:fillRect/>
          </a:stretch>
        </p:blipFill>
        <p:spPr>
          <a:xfrm>
            <a:off x="2517835" y="4784672"/>
            <a:ext cx="1040885" cy="664396"/>
          </a:xfrm>
          <a:prstGeom prst="rect">
            <a:avLst/>
          </a:prstGeom>
        </p:spPr>
      </p:pic>
      <p:sp>
        <p:nvSpPr>
          <p:cNvPr id="9" name="Google Shape;497;p8">
            <a:extLst>
              <a:ext uri="{FF2B5EF4-FFF2-40B4-BE49-F238E27FC236}">
                <a16:creationId xmlns:a16="http://schemas.microsoft.com/office/drawing/2014/main" xmlns="" id="{3FE7D758-0624-1D59-F11E-B19840A7DF25}"/>
              </a:ext>
            </a:extLst>
          </p:cNvPr>
          <p:cNvSpPr txBox="1"/>
          <p:nvPr/>
        </p:nvSpPr>
        <p:spPr>
          <a:xfrm>
            <a:off x="4228114" y="2427012"/>
            <a:ext cx="7807131" cy="859210"/>
          </a:xfrm>
          <a:prstGeom prst="rect">
            <a:avLst/>
          </a:prstGeom>
          <a:noFill/>
          <a:ln>
            <a:noFill/>
          </a:ln>
        </p:spPr>
        <p:txBody>
          <a:bodyPr spcFirstLastPara="1" wrap="square" lIns="0" tIns="12700" rIns="0" bIns="0" anchor="t" anchorCtr="0">
            <a:spAutoFit/>
          </a:bodyPr>
          <a:lstStyle/>
          <a:p>
            <a:pPr marL="12700" marR="5080" algn="ctr">
              <a:spcBef>
                <a:spcPts val="300"/>
              </a:spcBef>
              <a:spcAft>
                <a:spcPts val="300"/>
              </a:spcAft>
            </a:pPr>
            <a:r>
              <a:rPr lang="es-BO" sz="5000" b="1" noProof="0" dirty="0">
                <a:solidFill>
                  <a:schemeClr val="bg1"/>
                </a:solidFill>
                <a:effectLst>
                  <a:outerShdw blurRad="38100" dist="38100" dir="2700000" algn="tl">
                    <a:srgbClr val="000000">
                      <a:alpha val="43137"/>
                    </a:srgbClr>
                  </a:outerShdw>
                </a:effectLst>
                <a:latin typeface="+mj-lt"/>
                <a:ea typeface="Calibri"/>
                <a:cs typeface="Calibri Light" panose="020F0302020204030204" pitchFamily="34" charset="0"/>
                <a:sym typeface="Calibri"/>
              </a:rPr>
              <a:t>RESULTADOS</a:t>
            </a:r>
            <a:endParaRPr lang="es-BO" sz="5000" b="1" noProof="0" dirty="0">
              <a:solidFill>
                <a:srgbClr val="FFFFFF"/>
              </a:solidFill>
              <a:effectLst>
                <a:outerShdw blurRad="38100" dist="38100" dir="2700000" algn="tl">
                  <a:srgbClr val="000000">
                    <a:alpha val="43137"/>
                  </a:srgbClr>
                </a:outerShdw>
              </a:effectLst>
              <a:latin typeface="Calibri Light" panose="020F0302020204030204" pitchFamily="34" charset="0"/>
              <a:ea typeface="Calibri"/>
              <a:cs typeface="Calibri Light" panose="020F0302020204030204" pitchFamily="34" charset="0"/>
              <a:sym typeface="Calibri"/>
            </a:endParaRPr>
          </a:p>
        </p:txBody>
      </p:sp>
    </p:spTree>
    <p:extLst>
      <p:ext uri="{BB962C8B-B14F-4D97-AF65-F5344CB8AC3E}">
        <p14:creationId xmlns:p14="http://schemas.microsoft.com/office/powerpoint/2010/main" val="24882888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xmlns="" id="{9FF94C2D-EA55-D78F-8D2A-2A189D9A1243}"/>
              </a:ext>
            </a:extLst>
          </p:cNvPr>
          <p:cNvSpPr/>
          <p:nvPr/>
        </p:nvSpPr>
        <p:spPr bwMode="gray">
          <a:xfrm>
            <a:off x="-1514679" y="805611"/>
            <a:ext cx="11806313" cy="705441"/>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1A80EE2E-7927-4351-BBDC-3CAD663723AD}"/>
              </a:ext>
            </a:extLst>
          </p:cNvPr>
          <p:cNvGraphicFramePr>
            <a:graphicFrameLocks noChangeAspect="1"/>
          </p:cNvGraphicFramePr>
          <p:nvPr>
            <p:custDataLst>
              <p:tags r:id="rId2"/>
            </p:custDataLst>
            <p:extLst>
              <p:ext uri="{D42A27DB-BD31-4B8C-83A1-F6EECF244321}">
                <p14:modId xmlns:p14="http://schemas.microsoft.com/office/powerpoint/2010/main" val="4117223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xmlns="" id="{1A80EE2E-7927-4351-BBDC-3CAD663723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xmlns="" id="{31740E28-CE8D-154E-EA18-5D51FFFC1698}"/>
              </a:ext>
            </a:extLst>
          </p:cNvPr>
          <p:cNvSpPr>
            <a:spLocks noGrp="1"/>
          </p:cNvSpPr>
          <p:nvPr>
            <p:ph type="title"/>
          </p:nvPr>
        </p:nvSpPr>
        <p:spPr>
          <a:xfrm>
            <a:off x="515937" y="336469"/>
            <a:ext cx="5940425" cy="212807"/>
          </a:xfrm>
        </p:spPr>
        <p:txBody>
          <a:bodyPr vert="horz"/>
          <a:lstStyle/>
          <a:p>
            <a:r>
              <a:rPr lang="es-BO" noProof="0" dirty="0"/>
              <a:t>Hoja de Ruta y estrategia Nacional| Resultados</a:t>
            </a:r>
          </a:p>
        </p:txBody>
      </p:sp>
      <p:sp>
        <p:nvSpPr>
          <p:cNvPr id="4" name="Text Placeholder 3">
            <a:extLst>
              <a:ext uri="{FF2B5EF4-FFF2-40B4-BE49-F238E27FC236}">
                <a16:creationId xmlns:a16="http://schemas.microsoft.com/office/drawing/2014/main" xmlns="" id="{8459939A-CF18-4DAA-9E5A-9252C9BD0084}"/>
              </a:ext>
            </a:extLst>
          </p:cNvPr>
          <p:cNvSpPr>
            <a:spLocks noGrp="1"/>
          </p:cNvSpPr>
          <p:nvPr>
            <p:ph type="body" sz="quarter" idx="13"/>
          </p:nvPr>
        </p:nvSpPr>
        <p:spPr>
          <a:xfrm>
            <a:off x="876299" y="749967"/>
            <a:ext cx="11160125" cy="719137"/>
          </a:xfrm>
        </p:spPr>
        <p:txBody>
          <a:bodyPr anchor="ctr"/>
          <a:lstStyle/>
          <a:p>
            <a:r>
              <a:rPr lang="es-ES" noProof="0" dirty="0">
                <a:solidFill>
                  <a:schemeClr val="bg1"/>
                </a:solidFill>
              </a:rPr>
              <a:t>Bolivia y su </a:t>
            </a:r>
            <a:r>
              <a:rPr lang="es-ES" dirty="0">
                <a:solidFill>
                  <a:schemeClr val="bg1"/>
                </a:solidFill>
              </a:rPr>
              <a:t>p</a:t>
            </a:r>
            <a:r>
              <a:rPr lang="es-ES" noProof="0" dirty="0" err="1">
                <a:solidFill>
                  <a:schemeClr val="bg1"/>
                </a:solidFill>
              </a:rPr>
              <a:t>otencial</a:t>
            </a:r>
            <a:r>
              <a:rPr lang="es-ES" noProof="0" dirty="0">
                <a:solidFill>
                  <a:schemeClr val="bg1"/>
                </a:solidFill>
              </a:rPr>
              <a:t> para la generación y exportación de hidrógeno </a:t>
            </a:r>
            <a:r>
              <a:rPr lang="es-ES" dirty="0">
                <a:solidFill>
                  <a:schemeClr val="bg1"/>
                </a:solidFill>
              </a:rPr>
              <a:t>v</a:t>
            </a:r>
            <a:r>
              <a:rPr lang="es-ES" noProof="0" dirty="0" err="1">
                <a:solidFill>
                  <a:schemeClr val="bg1"/>
                </a:solidFill>
              </a:rPr>
              <a:t>erde</a:t>
            </a:r>
            <a:endParaRPr lang="es-BO" noProof="0" dirty="0">
              <a:solidFill>
                <a:schemeClr val="bg1"/>
              </a:solidFill>
            </a:endParaRPr>
          </a:p>
        </p:txBody>
      </p:sp>
      <p:sp>
        <p:nvSpPr>
          <p:cNvPr id="265" name="TextBox 264">
            <a:extLst>
              <a:ext uri="{FF2B5EF4-FFF2-40B4-BE49-F238E27FC236}">
                <a16:creationId xmlns:a16="http://schemas.microsoft.com/office/drawing/2014/main" xmlns="" id="{13BB2CA1-10E5-840F-2631-D1CF6924E9E2}"/>
              </a:ext>
            </a:extLst>
          </p:cNvPr>
          <p:cNvSpPr txBox="1"/>
          <p:nvPr/>
        </p:nvSpPr>
        <p:spPr>
          <a:xfrm>
            <a:off x="3284030" y="2212292"/>
            <a:ext cx="1833227" cy="292388"/>
          </a:xfrm>
          <a:prstGeom prst="rect">
            <a:avLst/>
          </a:prstGeom>
          <a:noFill/>
        </p:spPr>
        <p:txBody>
          <a:bodyPr wrap="square" lIns="0" tIns="0" rIns="0" bIns="0" rtlCol="0">
            <a:spAutoFit/>
          </a:bodyPr>
          <a:lstStyle/>
          <a:p>
            <a:pPr algn="ctr">
              <a:buSzPct val="100000"/>
            </a:pPr>
            <a:r>
              <a:rPr lang="es-BO" sz="1900" b="1" noProof="0" dirty="0">
                <a:solidFill>
                  <a:schemeClr val="accent3"/>
                </a:solidFill>
                <a:latin typeface="Calibri Light" panose="020F0302020204030204" pitchFamily="34" charset="0"/>
                <a:cs typeface="Calibri Light" panose="020F0302020204030204" pitchFamily="34" charset="0"/>
              </a:rPr>
              <a:t>Demanda H2V</a:t>
            </a:r>
          </a:p>
        </p:txBody>
      </p:sp>
      <p:grpSp>
        <p:nvGrpSpPr>
          <p:cNvPr id="977" name="Group 976">
            <a:extLst>
              <a:ext uri="{FF2B5EF4-FFF2-40B4-BE49-F238E27FC236}">
                <a16:creationId xmlns:a16="http://schemas.microsoft.com/office/drawing/2014/main" xmlns="" id="{77CCBB23-26F2-B70D-C1EA-4C5AAE3EB059}"/>
              </a:ext>
            </a:extLst>
          </p:cNvPr>
          <p:cNvGrpSpPr/>
          <p:nvPr/>
        </p:nvGrpSpPr>
        <p:grpSpPr>
          <a:xfrm>
            <a:off x="1535950" y="4251308"/>
            <a:ext cx="619883" cy="623283"/>
            <a:chOff x="383985" y="3632735"/>
            <a:chExt cx="825064" cy="829589"/>
          </a:xfrm>
        </p:grpSpPr>
        <p:sp>
          <p:nvSpPr>
            <p:cNvPr id="9" name="Oval 8">
              <a:extLst>
                <a:ext uri="{FF2B5EF4-FFF2-40B4-BE49-F238E27FC236}">
                  <a16:creationId xmlns:a16="http://schemas.microsoft.com/office/drawing/2014/main" xmlns="" id="{258F7C87-4F31-3B02-4687-B99661C74552}"/>
                </a:ext>
              </a:extLst>
            </p:cNvPr>
            <p:cNvSpPr/>
            <p:nvPr/>
          </p:nvSpPr>
          <p:spPr>
            <a:xfrm>
              <a:off x="383985" y="3632735"/>
              <a:ext cx="825064" cy="825064"/>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Oval 9">
              <a:extLst>
                <a:ext uri="{FF2B5EF4-FFF2-40B4-BE49-F238E27FC236}">
                  <a16:creationId xmlns:a16="http://schemas.microsoft.com/office/drawing/2014/main" xmlns="" id="{1BBE8C16-42F7-57EE-5514-C18CC7EFC637}"/>
                </a:ext>
              </a:extLst>
            </p:cNvPr>
            <p:cNvSpPr/>
            <p:nvPr/>
          </p:nvSpPr>
          <p:spPr>
            <a:xfrm>
              <a:off x="383985" y="3637260"/>
              <a:ext cx="825064" cy="825064"/>
            </a:xfrm>
            <a:prstGeom prst="ellipse">
              <a:avLst/>
            </a:prstGeom>
            <a:no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Text Placeholder 5">
              <a:extLst>
                <a:ext uri="{FF2B5EF4-FFF2-40B4-BE49-F238E27FC236}">
                  <a16:creationId xmlns:a16="http://schemas.microsoft.com/office/drawing/2014/main" xmlns="" id="{7BDE2C23-7423-F63B-A536-766D22A3B1DB}"/>
                </a:ext>
              </a:extLst>
            </p:cNvPr>
            <p:cNvSpPr txBox="1">
              <a:spLocks/>
            </p:cNvSpPr>
            <p:nvPr/>
          </p:nvSpPr>
          <p:spPr>
            <a:xfrm>
              <a:off x="545635" y="3928178"/>
              <a:ext cx="501764" cy="18469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s-BO" sz="1200" b="1" i="0" u="none" strike="noStrike" kern="1200" cap="none" spc="-30" normalizeH="0" baseline="0" noProof="0" dirty="0">
                  <a:ln>
                    <a:noFill/>
                  </a:ln>
                  <a:solidFill>
                    <a:srgbClr val="43B02A"/>
                  </a:solidFill>
                  <a:effectLst/>
                  <a:uLnTx/>
                  <a:uFillTx/>
                  <a:latin typeface="Open Sans"/>
                  <a:ea typeface="Chronicle Display Black" charset="0"/>
                  <a:cs typeface="Chronicle Display Black" charset="0"/>
                </a:rPr>
                <a:t>2040</a:t>
              </a:r>
            </a:p>
          </p:txBody>
        </p:sp>
      </p:grpSp>
      <p:grpSp>
        <p:nvGrpSpPr>
          <p:cNvPr id="976" name="Group 975">
            <a:extLst>
              <a:ext uri="{FF2B5EF4-FFF2-40B4-BE49-F238E27FC236}">
                <a16:creationId xmlns:a16="http://schemas.microsoft.com/office/drawing/2014/main" xmlns="" id="{33F4A10E-0A86-B646-EB68-F56E83CBB38A}"/>
              </a:ext>
            </a:extLst>
          </p:cNvPr>
          <p:cNvGrpSpPr/>
          <p:nvPr/>
        </p:nvGrpSpPr>
        <p:grpSpPr>
          <a:xfrm>
            <a:off x="1535950" y="3467085"/>
            <a:ext cx="619883" cy="619883"/>
            <a:chOff x="383985" y="2703647"/>
            <a:chExt cx="825064" cy="825064"/>
          </a:xfrm>
        </p:grpSpPr>
        <p:sp>
          <p:nvSpPr>
            <p:cNvPr id="7" name="Oval 6">
              <a:extLst>
                <a:ext uri="{FF2B5EF4-FFF2-40B4-BE49-F238E27FC236}">
                  <a16:creationId xmlns:a16="http://schemas.microsoft.com/office/drawing/2014/main" xmlns="" id="{D726C93F-3EAC-541D-BA6D-B3F73A63D4C2}"/>
                </a:ext>
              </a:extLst>
            </p:cNvPr>
            <p:cNvSpPr/>
            <p:nvPr/>
          </p:nvSpPr>
          <p:spPr>
            <a:xfrm>
              <a:off x="383985" y="2703647"/>
              <a:ext cx="825064" cy="825064"/>
            </a:xfrm>
            <a:prstGeom prst="ellipse">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xmlns="" id="{E51D3D1D-CE65-FED5-1253-DF5A50F17FF4}"/>
                </a:ext>
              </a:extLst>
            </p:cNvPr>
            <p:cNvSpPr/>
            <p:nvPr/>
          </p:nvSpPr>
          <p:spPr>
            <a:xfrm>
              <a:off x="407028" y="2734519"/>
              <a:ext cx="778978" cy="7789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Text Placeholder 5">
              <a:extLst>
                <a:ext uri="{FF2B5EF4-FFF2-40B4-BE49-F238E27FC236}">
                  <a16:creationId xmlns:a16="http://schemas.microsoft.com/office/drawing/2014/main" xmlns="" id="{A07CEA73-6784-CAC4-0B84-308D8800587A}"/>
                </a:ext>
              </a:extLst>
            </p:cNvPr>
            <p:cNvSpPr txBox="1">
              <a:spLocks/>
            </p:cNvSpPr>
            <p:nvPr/>
          </p:nvSpPr>
          <p:spPr>
            <a:xfrm>
              <a:off x="545635" y="2984090"/>
              <a:ext cx="501764" cy="18469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s-BO" sz="1200" b="1" i="0" u="none" strike="noStrike" kern="1200" cap="none" spc="-30" normalizeH="0" baseline="0" noProof="0" dirty="0">
                  <a:ln>
                    <a:noFill/>
                  </a:ln>
                  <a:solidFill>
                    <a:srgbClr val="86BC25"/>
                  </a:solidFill>
                  <a:effectLst/>
                  <a:uLnTx/>
                  <a:uFillTx/>
                  <a:latin typeface="Open Sans"/>
                  <a:ea typeface="Chronicle Display Black" charset="0"/>
                  <a:cs typeface="Chronicle Display Black" charset="0"/>
                </a:rPr>
                <a:t>2030</a:t>
              </a:r>
            </a:p>
          </p:txBody>
        </p:sp>
      </p:grpSp>
      <p:grpSp>
        <p:nvGrpSpPr>
          <p:cNvPr id="978" name="Group 977">
            <a:extLst>
              <a:ext uri="{FF2B5EF4-FFF2-40B4-BE49-F238E27FC236}">
                <a16:creationId xmlns:a16="http://schemas.microsoft.com/office/drawing/2014/main" xmlns="" id="{23A99115-E85D-704E-321E-3624A2252B29}"/>
              </a:ext>
            </a:extLst>
          </p:cNvPr>
          <p:cNvGrpSpPr/>
          <p:nvPr/>
        </p:nvGrpSpPr>
        <p:grpSpPr>
          <a:xfrm>
            <a:off x="1535950" y="5009436"/>
            <a:ext cx="619883" cy="619883"/>
            <a:chOff x="383985" y="4590129"/>
            <a:chExt cx="825064" cy="825064"/>
          </a:xfrm>
        </p:grpSpPr>
        <p:sp>
          <p:nvSpPr>
            <p:cNvPr id="6" name="Oval 5">
              <a:extLst>
                <a:ext uri="{FF2B5EF4-FFF2-40B4-BE49-F238E27FC236}">
                  <a16:creationId xmlns:a16="http://schemas.microsoft.com/office/drawing/2014/main" xmlns="" id="{ADAECC4D-D1DA-CB10-343D-FC496BF9517A}"/>
                </a:ext>
              </a:extLst>
            </p:cNvPr>
            <p:cNvSpPr/>
            <p:nvPr/>
          </p:nvSpPr>
          <p:spPr>
            <a:xfrm>
              <a:off x="407028" y="4610436"/>
              <a:ext cx="778978" cy="7789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xmlns="" id="{FDEBE1C9-687B-4DD6-1765-D1E9048C2993}"/>
                </a:ext>
              </a:extLst>
            </p:cNvPr>
            <p:cNvSpPr/>
            <p:nvPr/>
          </p:nvSpPr>
          <p:spPr>
            <a:xfrm>
              <a:off x="383985" y="4590129"/>
              <a:ext cx="825064" cy="825064"/>
            </a:xfrm>
            <a:prstGeom prst="ellipse">
              <a:avLst/>
            </a:prstGeom>
            <a:noFill/>
            <a:ln w="889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BO"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Text Placeholder 5">
              <a:extLst>
                <a:ext uri="{FF2B5EF4-FFF2-40B4-BE49-F238E27FC236}">
                  <a16:creationId xmlns:a16="http://schemas.microsoft.com/office/drawing/2014/main" xmlns="" id="{2215B854-FCC9-0900-15F8-635DA9F23437}"/>
                </a:ext>
              </a:extLst>
            </p:cNvPr>
            <p:cNvSpPr txBox="1">
              <a:spLocks/>
            </p:cNvSpPr>
            <p:nvPr/>
          </p:nvSpPr>
          <p:spPr>
            <a:xfrm>
              <a:off x="545636" y="4899132"/>
              <a:ext cx="501764" cy="18469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s-BO" sz="1200" b="1" i="0" u="none" strike="noStrike" kern="1200" cap="none" spc="-30" normalizeH="0" baseline="0" noProof="0" dirty="0">
                  <a:ln>
                    <a:noFill/>
                  </a:ln>
                  <a:solidFill>
                    <a:srgbClr val="26890D"/>
                  </a:solidFill>
                  <a:effectLst/>
                  <a:uLnTx/>
                  <a:uFillTx/>
                  <a:latin typeface="Open Sans"/>
                  <a:ea typeface="Chronicle Display Black" charset="0"/>
                  <a:cs typeface="Chronicle Display Black" charset="0"/>
                </a:rPr>
                <a:t>2050</a:t>
              </a:r>
            </a:p>
          </p:txBody>
        </p:sp>
      </p:grpSp>
      <p:sp>
        <p:nvSpPr>
          <p:cNvPr id="44" name="TextBox 43">
            <a:extLst>
              <a:ext uri="{FF2B5EF4-FFF2-40B4-BE49-F238E27FC236}">
                <a16:creationId xmlns:a16="http://schemas.microsoft.com/office/drawing/2014/main" xmlns="" id="{4BA11A96-54A0-EF77-5932-61E12A8B96CF}"/>
              </a:ext>
            </a:extLst>
          </p:cNvPr>
          <p:cNvSpPr txBox="1"/>
          <p:nvPr/>
        </p:nvSpPr>
        <p:spPr>
          <a:xfrm flipH="1">
            <a:off x="2692258" y="5119322"/>
            <a:ext cx="895460" cy="400110"/>
          </a:xfrm>
          <a:prstGeom prst="rect">
            <a:avLst/>
          </a:prstGeom>
          <a:noFill/>
        </p:spPr>
        <p:txBody>
          <a:bodyPr wrap="square" rtlCol="0">
            <a:spAutoFit/>
          </a:bodyPr>
          <a:lstStyle/>
          <a:p>
            <a:pPr algn="ctr"/>
            <a:r>
              <a:rPr lang="es-BO" sz="2000" b="1" noProof="0" dirty="0">
                <a:solidFill>
                  <a:srgbClr val="26890D"/>
                </a:solidFill>
              </a:rPr>
              <a:t>4,19</a:t>
            </a:r>
          </a:p>
        </p:txBody>
      </p:sp>
      <p:sp>
        <p:nvSpPr>
          <p:cNvPr id="45" name="TextBox 44">
            <a:extLst>
              <a:ext uri="{FF2B5EF4-FFF2-40B4-BE49-F238E27FC236}">
                <a16:creationId xmlns:a16="http://schemas.microsoft.com/office/drawing/2014/main" xmlns="" id="{216AFE8C-BFE6-C28B-5327-4635345D91DA}"/>
              </a:ext>
            </a:extLst>
          </p:cNvPr>
          <p:cNvSpPr txBox="1"/>
          <p:nvPr/>
        </p:nvSpPr>
        <p:spPr>
          <a:xfrm flipH="1">
            <a:off x="2692258" y="4362894"/>
            <a:ext cx="895460" cy="400110"/>
          </a:xfrm>
          <a:prstGeom prst="rect">
            <a:avLst/>
          </a:prstGeom>
          <a:noFill/>
        </p:spPr>
        <p:txBody>
          <a:bodyPr wrap="square" rtlCol="0">
            <a:spAutoFit/>
          </a:bodyPr>
          <a:lstStyle/>
          <a:p>
            <a:pPr algn="ctr"/>
            <a:r>
              <a:rPr lang="es-BO" sz="2000" b="1" noProof="0" dirty="0">
                <a:solidFill>
                  <a:srgbClr val="43B02A"/>
                </a:solidFill>
              </a:rPr>
              <a:t>1,32</a:t>
            </a:r>
          </a:p>
        </p:txBody>
      </p:sp>
      <p:sp>
        <p:nvSpPr>
          <p:cNvPr id="48" name="TextBox 47">
            <a:extLst>
              <a:ext uri="{FF2B5EF4-FFF2-40B4-BE49-F238E27FC236}">
                <a16:creationId xmlns:a16="http://schemas.microsoft.com/office/drawing/2014/main" xmlns="" id="{8D3E2696-A647-A99E-8764-90512DD738BE}"/>
              </a:ext>
            </a:extLst>
          </p:cNvPr>
          <p:cNvSpPr txBox="1"/>
          <p:nvPr/>
        </p:nvSpPr>
        <p:spPr>
          <a:xfrm>
            <a:off x="4174846" y="5211655"/>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26890D"/>
                </a:solidFill>
                <a:latin typeface="Calibri Light" panose="020F0302020204030204" pitchFamily="34" charset="0"/>
                <a:cs typeface="Calibri Light" panose="020F0302020204030204" pitchFamily="34" charset="0"/>
              </a:rPr>
              <a:t>1,58</a:t>
            </a:r>
          </a:p>
        </p:txBody>
      </p:sp>
      <p:pic>
        <p:nvPicPr>
          <p:cNvPr id="51" name="Graphic 50" descr="Earth globe: Americas with solid fill">
            <a:extLst>
              <a:ext uri="{FF2B5EF4-FFF2-40B4-BE49-F238E27FC236}">
                <a16:creationId xmlns:a16="http://schemas.microsoft.com/office/drawing/2014/main" xmlns="" id="{2A90FF12-0696-63EF-A170-71486B5073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445558" y="3051365"/>
            <a:ext cx="397395" cy="397395"/>
          </a:xfrm>
          <a:prstGeom prst="rect">
            <a:avLst/>
          </a:prstGeom>
        </p:spPr>
      </p:pic>
      <p:sp>
        <p:nvSpPr>
          <p:cNvPr id="53" name="TextBox 52">
            <a:extLst>
              <a:ext uri="{FF2B5EF4-FFF2-40B4-BE49-F238E27FC236}">
                <a16:creationId xmlns:a16="http://schemas.microsoft.com/office/drawing/2014/main" xmlns="" id="{6E88C1F5-F99D-6D36-1597-75268AAE91AB}"/>
              </a:ext>
            </a:extLst>
          </p:cNvPr>
          <p:cNvSpPr txBox="1"/>
          <p:nvPr/>
        </p:nvSpPr>
        <p:spPr>
          <a:xfrm>
            <a:off x="5215633" y="2837515"/>
            <a:ext cx="829961" cy="169277"/>
          </a:xfrm>
          <a:prstGeom prst="rect">
            <a:avLst/>
          </a:prstGeom>
          <a:noFill/>
        </p:spPr>
        <p:txBody>
          <a:bodyPr wrap="square" lIns="0" tIns="0" rIns="0" bIns="0" rtlCol="0">
            <a:spAutoFit/>
          </a:bodyPr>
          <a:lstStyle/>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Exportación</a:t>
            </a:r>
          </a:p>
        </p:txBody>
      </p:sp>
      <p:sp>
        <p:nvSpPr>
          <p:cNvPr id="56" name="TextBox 55">
            <a:extLst>
              <a:ext uri="{FF2B5EF4-FFF2-40B4-BE49-F238E27FC236}">
                <a16:creationId xmlns:a16="http://schemas.microsoft.com/office/drawing/2014/main" xmlns="" id="{1399A921-D88A-DE25-A450-CF08168A9F2A}"/>
              </a:ext>
            </a:extLst>
          </p:cNvPr>
          <p:cNvSpPr txBox="1"/>
          <p:nvPr/>
        </p:nvSpPr>
        <p:spPr>
          <a:xfrm>
            <a:off x="3754854" y="2837515"/>
            <a:ext cx="1215146" cy="169277"/>
          </a:xfrm>
          <a:prstGeom prst="rect">
            <a:avLst/>
          </a:prstGeom>
          <a:noFill/>
        </p:spPr>
        <p:txBody>
          <a:bodyPr wrap="square" lIns="0" tIns="0" rIns="0" bIns="0" rtlCol="0">
            <a:spAutoFit/>
          </a:bodyPr>
          <a:lstStyle/>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Demanda interna</a:t>
            </a:r>
          </a:p>
        </p:txBody>
      </p:sp>
      <p:cxnSp>
        <p:nvCxnSpPr>
          <p:cNvPr id="60" name="Straight Connector 59">
            <a:extLst>
              <a:ext uri="{FF2B5EF4-FFF2-40B4-BE49-F238E27FC236}">
                <a16:creationId xmlns:a16="http://schemas.microsoft.com/office/drawing/2014/main" xmlns="" id="{70C64D38-3699-973C-5005-4F9BD965E308}"/>
              </a:ext>
            </a:extLst>
          </p:cNvPr>
          <p:cNvCxnSpPr>
            <a:cxnSpLocks/>
          </p:cNvCxnSpPr>
          <p:nvPr/>
        </p:nvCxnSpPr>
        <p:spPr>
          <a:xfrm>
            <a:off x="5027217" y="3051474"/>
            <a:ext cx="0" cy="2484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xmlns="" id="{C2E167B4-5F35-5F73-EF11-0C7F9C21724B}"/>
              </a:ext>
            </a:extLst>
          </p:cNvPr>
          <p:cNvSpPr txBox="1"/>
          <p:nvPr/>
        </p:nvSpPr>
        <p:spPr>
          <a:xfrm>
            <a:off x="5436973" y="5211655"/>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26890D"/>
                </a:solidFill>
                <a:latin typeface="Calibri Light" panose="020F0302020204030204" pitchFamily="34" charset="0"/>
                <a:cs typeface="Calibri Light" panose="020F0302020204030204" pitchFamily="34" charset="0"/>
              </a:rPr>
              <a:t>2,61</a:t>
            </a:r>
          </a:p>
        </p:txBody>
      </p:sp>
      <p:sp>
        <p:nvSpPr>
          <p:cNvPr id="458" name="TextBox 457">
            <a:extLst>
              <a:ext uri="{FF2B5EF4-FFF2-40B4-BE49-F238E27FC236}">
                <a16:creationId xmlns:a16="http://schemas.microsoft.com/office/drawing/2014/main" xmlns="" id="{C6218738-6781-A7A0-5DA7-38C3C3B70E62}"/>
              </a:ext>
            </a:extLst>
          </p:cNvPr>
          <p:cNvSpPr txBox="1"/>
          <p:nvPr/>
        </p:nvSpPr>
        <p:spPr>
          <a:xfrm>
            <a:off x="4174846" y="4455227"/>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43B02A"/>
                </a:solidFill>
                <a:latin typeface="Calibri Light" panose="020F0302020204030204" pitchFamily="34" charset="0"/>
                <a:cs typeface="Calibri Light" panose="020F0302020204030204" pitchFamily="34" charset="0"/>
              </a:rPr>
              <a:t>0,53</a:t>
            </a:r>
          </a:p>
        </p:txBody>
      </p:sp>
      <p:sp>
        <p:nvSpPr>
          <p:cNvPr id="459" name="TextBox 458">
            <a:extLst>
              <a:ext uri="{FF2B5EF4-FFF2-40B4-BE49-F238E27FC236}">
                <a16:creationId xmlns:a16="http://schemas.microsoft.com/office/drawing/2014/main" xmlns="" id="{58B2915B-559F-2460-A0A1-28BE74D2CD72}"/>
              </a:ext>
            </a:extLst>
          </p:cNvPr>
          <p:cNvSpPr txBox="1"/>
          <p:nvPr/>
        </p:nvSpPr>
        <p:spPr>
          <a:xfrm>
            <a:off x="5436973" y="4455227"/>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43B02A"/>
                </a:solidFill>
                <a:latin typeface="Calibri Light" panose="020F0302020204030204" pitchFamily="34" charset="0"/>
                <a:cs typeface="Calibri Light" panose="020F0302020204030204" pitchFamily="34" charset="0"/>
              </a:rPr>
              <a:t>0,79</a:t>
            </a:r>
          </a:p>
        </p:txBody>
      </p:sp>
      <p:sp>
        <p:nvSpPr>
          <p:cNvPr id="493" name="TextBox 492">
            <a:extLst>
              <a:ext uri="{FF2B5EF4-FFF2-40B4-BE49-F238E27FC236}">
                <a16:creationId xmlns:a16="http://schemas.microsoft.com/office/drawing/2014/main" xmlns="" id="{91A6B9FF-1690-AD7C-B2E1-35AF3C4377C4}"/>
              </a:ext>
            </a:extLst>
          </p:cNvPr>
          <p:cNvSpPr txBox="1"/>
          <p:nvPr/>
        </p:nvSpPr>
        <p:spPr>
          <a:xfrm>
            <a:off x="2557297" y="2837515"/>
            <a:ext cx="1215146" cy="169277"/>
          </a:xfrm>
          <a:prstGeom prst="rect">
            <a:avLst/>
          </a:prstGeom>
          <a:noFill/>
        </p:spPr>
        <p:txBody>
          <a:bodyPr wrap="square" lIns="0" tIns="0" rIns="0" bIns="0" rtlCol="0">
            <a:spAutoFit/>
          </a:bodyPr>
          <a:lstStyle/>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Demanda objetivo</a:t>
            </a:r>
          </a:p>
        </p:txBody>
      </p:sp>
      <p:cxnSp>
        <p:nvCxnSpPr>
          <p:cNvPr id="494" name="Straight Connector 493">
            <a:extLst>
              <a:ext uri="{FF2B5EF4-FFF2-40B4-BE49-F238E27FC236}">
                <a16:creationId xmlns:a16="http://schemas.microsoft.com/office/drawing/2014/main" xmlns="" id="{27DBAD41-F8EC-FCC1-82BF-17B2BD89521D}"/>
              </a:ext>
            </a:extLst>
          </p:cNvPr>
          <p:cNvCxnSpPr>
            <a:cxnSpLocks/>
          </p:cNvCxnSpPr>
          <p:nvPr/>
        </p:nvCxnSpPr>
        <p:spPr>
          <a:xfrm>
            <a:off x="3720129" y="3051474"/>
            <a:ext cx="0" cy="2484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496" name="Graphic 495" descr="Bullseye outline">
            <a:extLst>
              <a:ext uri="{FF2B5EF4-FFF2-40B4-BE49-F238E27FC236}">
                <a16:creationId xmlns:a16="http://schemas.microsoft.com/office/drawing/2014/main" xmlns="" id="{1246F377-8E47-DFDD-02D5-05F7D3DE04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930254" y="3051365"/>
            <a:ext cx="486203" cy="486203"/>
          </a:xfrm>
          <a:prstGeom prst="rect">
            <a:avLst/>
          </a:prstGeom>
        </p:spPr>
      </p:pic>
      <p:cxnSp>
        <p:nvCxnSpPr>
          <p:cNvPr id="499" name="Straight Connector 498">
            <a:extLst>
              <a:ext uri="{FF2B5EF4-FFF2-40B4-BE49-F238E27FC236}">
                <a16:creationId xmlns:a16="http://schemas.microsoft.com/office/drawing/2014/main" xmlns="" id="{97AA56F1-A344-C86E-1FAB-3B459C4B21D9}"/>
              </a:ext>
            </a:extLst>
          </p:cNvPr>
          <p:cNvCxnSpPr/>
          <p:nvPr/>
        </p:nvCxnSpPr>
        <p:spPr>
          <a:xfrm>
            <a:off x="6753187" y="2380329"/>
            <a:ext cx="0" cy="32400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0" name="TextBox 499">
            <a:extLst>
              <a:ext uri="{FF2B5EF4-FFF2-40B4-BE49-F238E27FC236}">
                <a16:creationId xmlns:a16="http://schemas.microsoft.com/office/drawing/2014/main" xmlns="" id="{FDDDDB3C-C953-A0B0-971F-D458BD11BFB5}"/>
              </a:ext>
            </a:extLst>
          </p:cNvPr>
          <p:cNvSpPr txBox="1"/>
          <p:nvPr/>
        </p:nvSpPr>
        <p:spPr>
          <a:xfrm>
            <a:off x="7543319" y="2185224"/>
            <a:ext cx="2080018" cy="584775"/>
          </a:xfrm>
          <a:prstGeom prst="rect">
            <a:avLst/>
          </a:prstGeom>
          <a:noFill/>
        </p:spPr>
        <p:txBody>
          <a:bodyPr wrap="square" lIns="0" tIns="0" rIns="0" bIns="0" rtlCol="0">
            <a:spAutoFit/>
          </a:bodyPr>
          <a:lstStyle/>
          <a:p>
            <a:pPr algn="ctr">
              <a:buSzPct val="100000"/>
            </a:pPr>
            <a:r>
              <a:rPr lang="es-BO" sz="1900" b="1" noProof="0" dirty="0">
                <a:solidFill>
                  <a:schemeClr val="accent3"/>
                </a:solidFill>
                <a:latin typeface="Calibri Light" panose="020F0302020204030204" pitchFamily="34" charset="0"/>
                <a:cs typeface="Calibri Light" panose="020F0302020204030204" pitchFamily="34" charset="0"/>
              </a:rPr>
              <a:t>Ingresos anuales por exportación</a:t>
            </a:r>
          </a:p>
        </p:txBody>
      </p:sp>
      <p:pic>
        <p:nvPicPr>
          <p:cNvPr id="501" name="Graphic 500" descr="Money with solid fill">
            <a:extLst>
              <a:ext uri="{FF2B5EF4-FFF2-40B4-BE49-F238E27FC236}">
                <a16:creationId xmlns:a16="http://schemas.microsoft.com/office/drawing/2014/main" xmlns="" id="{4ED2FAE3-3438-D479-24D5-E4D7D94C793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302344" y="1723268"/>
            <a:ext cx="514035" cy="514035"/>
          </a:xfrm>
          <a:prstGeom prst="rect">
            <a:avLst/>
          </a:prstGeom>
        </p:spPr>
      </p:pic>
      <p:sp>
        <p:nvSpPr>
          <p:cNvPr id="963" name="TextBox 962">
            <a:extLst>
              <a:ext uri="{FF2B5EF4-FFF2-40B4-BE49-F238E27FC236}">
                <a16:creationId xmlns:a16="http://schemas.microsoft.com/office/drawing/2014/main" xmlns="" id="{FE7B1F2D-653D-0D65-55C4-B6F68A14163A}"/>
              </a:ext>
            </a:extLst>
          </p:cNvPr>
          <p:cNvSpPr txBox="1"/>
          <p:nvPr/>
        </p:nvSpPr>
        <p:spPr>
          <a:xfrm>
            <a:off x="8845210" y="2837515"/>
            <a:ext cx="938282" cy="415498"/>
          </a:xfrm>
          <a:prstGeom prst="rect">
            <a:avLst/>
          </a:prstGeom>
          <a:noFill/>
        </p:spPr>
        <p:txBody>
          <a:bodyPr wrap="square" lIns="0" tIns="0" rIns="0" bIns="0" rtlCol="0">
            <a:spAutoFit/>
          </a:bodyPr>
          <a:lstStyle/>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Máximo</a:t>
            </a:r>
          </a:p>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LCOH- USD/kg</a:t>
            </a:r>
          </a:p>
        </p:txBody>
      </p:sp>
      <p:cxnSp>
        <p:nvCxnSpPr>
          <p:cNvPr id="965" name="Straight Connector 964">
            <a:extLst>
              <a:ext uri="{FF2B5EF4-FFF2-40B4-BE49-F238E27FC236}">
                <a16:creationId xmlns:a16="http://schemas.microsoft.com/office/drawing/2014/main" xmlns="" id="{6589A80B-D787-F773-109B-4007914699B5}"/>
              </a:ext>
            </a:extLst>
          </p:cNvPr>
          <p:cNvCxnSpPr>
            <a:cxnSpLocks/>
          </p:cNvCxnSpPr>
          <p:nvPr/>
        </p:nvCxnSpPr>
        <p:spPr>
          <a:xfrm>
            <a:off x="8527502" y="3051474"/>
            <a:ext cx="0" cy="2484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966" name="TextBox 965">
            <a:extLst>
              <a:ext uri="{FF2B5EF4-FFF2-40B4-BE49-F238E27FC236}">
                <a16:creationId xmlns:a16="http://schemas.microsoft.com/office/drawing/2014/main" xmlns="" id="{6F97A8C0-E291-9E6A-CB65-F1A3C987DABB}"/>
              </a:ext>
            </a:extLst>
          </p:cNvPr>
          <p:cNvSpPr txBox="1"/>
          <p:nvPr/>
        </p:nvSpPr>
        <p:spPr>
          <a:xfrm flipH="1">
            <a:off x="8858116" y="3576971"/>
            <a:ext cx="895460" cy="400110"/>
          </a:xfrm>
          <a:prstGeom prst="rect">
            <a:avLst/>
          </a:prstGeom>
          <a:noFill/>
        </p:spPr>
        <p:txBody>
          <a:bodyPr wrap="square" rtlCol="0">
            <a:spAutoFit/>
          </a:bodyPr>
          <a:lstStyle/>
          <a:p>
            <a:pPr algn="ctr"/>
            <a:r>
              <a:rPr lang="es-BO" sz="2000" b="1" noProof="0" dirty="0">
                <a:solidFill>
                  <a:srgbClr val="86BC25"/>
                </a:solidFill>
              </a:rPr>
              <a:t>202</a:t>
            </a:r>
          </a:p>
        </p:txBody>
      </p:sp>
      <p:sp>
        <p:nvSpPr>
          <p:cNvPr id="967" name="TextBox 966">
            <a:extLst>
              <a:ext uri="{FF2B5EF4-FFF2-40B4-BE49-F238E27FC236}">
                <a16:creationId xmlns:a16="http://schemas.microsoft.com/office/drawing/2014/main" xmlns="" id="{C9E3D23F-5C97-779A-73CC-DDFCB9D5C216}"/>
              </a:ext>
            </a:extLst>
          </p:cNvPr>
          <p:cNvSpPr txBox="1"/>
          <p:nvPr/>
        </p:nvSpPr>
        <p:spPr>
          <a:xfrm flipH="1">
            <a:off x="7427549" y="3576971"/>
            <a:ext cx="895460" cy="400110"/>
          </a:xfrm>
          <a:prstGeom prst="rect">
            <a:avLst/>
          </a:prstGeom>
          <a:noFill/>
        </p:spPr>
        <p:txBody>
          <a:bodyPr wrap="square" rtlCol="0">
            <a:spAutoFit/>
          </a:bodyPr>
          <a:lstStyle/>
          <a:p>
            <a:pPr algn="ctr"/>
            <a:r>
              <a:rPr lang="es-BO" sz="2000" b="1" noProof="0" dirty="0">
                <a:solidFill>
                  <a:srgbClr val="86BC25"/>
                </a:solidFill>
              </a:rPr>
              <a:t>195</a:t>
            </a:r>
          </a:p>
        </p:txBody>
      </p:sp>
      <p:sp>
        <p:nvSpPr>
          <p:cNvPr id="968" name="TextBox 967">
            <a:extLst>
              <a:ext uri="{FF2B5EF4-FFF2-40B4-BE49-F238E27FC236}">
                <a16:creationId xmlns:a16="http://schemas.microsoft.com/office/drawing/2014/main" xmlns="" id="{4E32264E-2279-D2C1-56BF-3598F1BAE21C}"/>
              </a:ext>
            </a:extLst>
          </p:cNvPr>
          <p:cNvSpPr txBox="1"/>
          <p:nvPr/>
        </p:nvSpPr>
        <p:spPr>
          <a:xfrm flipH="1">
            <a:off x="8858116" y="4362894"/>
            <a:ext cx="895460" cy="400110"/>
          </a:xfrm>
          <a:prstGeom prst="rect">
            <a:avLst/>
          </a:prstGeom>
          <a:noFill/>
        </p:spPr>
        <p:txBody>
          <a:bodyPr wrap="square" rtlCol="0">
            <a:spAutoFit/>
          </a:bodyPr>
          <a:lstStyle/>
          <a:p>
            <a:pPr algn="ctr"/>
            <a:r>
              <a:rPr lang="es-BO" sz="2000" b="1" noProof="0" dirty="0">
                <a:solidFill>
                  <a:srgbClr val="43B02A"/>
                </a:solidFill>
              </a:rPr>
              <a:t>1.420</a:t>
            </a:r>
          </a:p>
        </p:txBody>
      </p:sp>
      <p:sp>
        <p:nvSpPr>
          <p:cNvPr id="969" name="TextBox 968">
            <a:extLst>
              <a:ext uri="{FF2B5EF4-FFF2-40B4-BE49-F238E27FC236}">
                <a16:creationId xmlns:a16="http://schemas.microsoft.com/office/drawing/2014/main" xmlns="" id="{20B660A9-6FB7-4DD7-CC83-2D94F844712D}"/>
              </a:ext>
            </a:extLst>
          </p:cNvPr>
          <p:cNvSpPr txBox="1"/>
          <p:nvPr/>
        </p:nvSpPr>
        <p:spPr>
          <a:xfrm flipH="1">
            <a:off x="7427549" y="4362894"/>
            <a:ext cx="895460" cy="400110"/>
          </a:xfrm>
          <a:prstGeom prst="rect">
            <a:avLst/>
          </a:prstGeom>
          <a:noFill/>
        </p:spPr>
        <p:txBody>
          <a:bodyPr wrap="square" rtlCol="0">
            <a:spAutoFit/>
          </a:bodyPr>
          <a:lstStyle/>
          <a:p>
            <a:pPr algn="ctr"/>
            <a:r>
              <a:rPr lang="es-BO" sz="2000" b="1" noProof="0" dirty="0">
                <a:solidFill>
                  <a:srgbClr val="43B02A"/>
                </a:solidFill>
              </a:rPr>
              <a:t>1.347</a:t>
            </a:r>
          </a:p>
        </p:txBody>
      </p:sp>
      <p:sp>
        <p:nvSpPr>
          <p:cNvPr id="970" name="TextBox 969">
            <a:extLst>
              <a:ext uri="{FF2B5EF4-FFF2-40B4-BE49-F238E27FC236}">
                <a16:creationId xmlns:a16="http://schemas.microsoft.com/office/drawing/2014/main" xmlns="" id="{50C4226E-60AC-6118-F6EC-17A989C452F5}"/>
              </a:ext>
            </a:extLst>
          </p:cNvPr>
          <p:cNvSpPr txBox="1"/>
          <p:nvPr/>
        </p:nvSpPr>
        <p:spPr>
          <a:xfrm flipH="1">
            <a:off x="8858116" y="5119322"/>
            <a:ext cx="895460" cy="400110"/>
          </a:xfrm>
          <a:prstGeom prst="rect">
            <a:avLst/>
          </a:prstGeom>
          <a:noFill/>
        </p:spPr>
        <p:txBody>
          <a:bodyPr wrap="square" rtlCol="0">
            <a:spAutoFit/>
          </a:bodyPr>
          <a:lstStyle/>
          <a:p>
            <a:pPr algn="ctr"/>
            <a:r>
              <a:rPr lang="es-BO" sz="2000" b="1" noProof="0" dirty="0">
                <a:solidFill>
                  <a:srgbClr val="26890D"/>
                </a:solidFill>
              </a:rPr>
              <a:t>3.087</a:t>
            </a:r>
          </a:p>
        </p:txBody>
      </p:sp>
      <p:sp>
        <p:nvSpPr>
          <p:cNvPr id="971" name="TextBox 970">
            <a:extLst>
              <a:ext uri="{FF2B5EF4-FFF2-40B4-BE49-F238E27FC236}">
                <a16:creationId xmlns:a16="http://schemas.microsoft.com/office/drawing/2014/main" xmlns="" id="{71A5C986-3841-2433-A3A9-F41968FA77B9}"/>
              </a:ext>
            </a:extLst>
          </p:cNvPr>
          <p:cNvSpPr txBox="1"/>
          <p:nvPr/>
        </p:nvSpPr>
        <p:spPr>
          <a:xfrm flipH="1">
            <a:off x="7427549" y="5119322"/>
            <a:ext cx="895460" cy="400110"/>
          </a:xfrm>
          <a:prstGeom prst="rect">
            <a:avLst/>
          </a:prstGeom>
          <a:noFill/>
        </p:spPr>
        <p:txBody>
          <a:bodyPr wrap="square" rtlCol="0">
            <a:spAutoFit/>
          </a:bodyPr>
          <a:lstStyle/>
          <a:p>
            <a:pPr algn="ctr"/>
            <a:r>
              <a:rPr lang="es-BO" sz="2000" b="1" noProof="0" dirty="0">
                <a:solidFill>
                  <a:srgbClr val="26890D"/>
                </a:solidFill>
              </a:rPr>
              <a:t>2.847</a:t>
            </a:r>
          </a:p>
        </p:txBody>
      </p:sp>
      <p:grpSp>
        <p:nvGrpSpPr>
          <p:cNvPr id="973" name="Group 972">
            <a:extLst>
              <a:ext uri="{FF2B5EF4-FFF2-40B4-BE49-F238E27FC236}">
                <a16:creationId xmlns:a16="http://schemas.microsoft.com/office/drawing/2014/main" xmlns="" id="{0307367E-ED14-5F05-5849-770B7F996521}"/>
              </a:ext>
            </a:extLst>
          </p:cNvPr>
          <p:cNvGrpSpPr/>
          <p:nvPr/>
        </p:nvGrpSpPr>
        <p:grpSpPr>
          <a:xfrm>
            <a:off x="3943626" y="1777868"/>
            <a:ext cx="514034" cy="514034"/>
            <a:chOff x="2767441" y="1271066"/>
            <a:chExt cx="514034" cy="514034"/>
          </a:xfrm>
        </p:grpSpPr>
        <p:pic>
          <p:nvPicPr>
            <p:cNvPr id="37" name="Graphic 36" descr="Group brainstorm outline">
              <a:extLst>
                <a:ext uri="{FF2B5EF4-FFF2-40B4-BE49-F238E27FC236}">
                  <a16:creationId xmlns:a16="http://schemas.microsoft.com/office/drawing/2014/main" xmlns="" id="{2E188F5A-FE35-EA9A-00EA-8CBBB6899E5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2767441" y="1271066"/>
              <a:ext cx="514034" cy="514034"/>
            </a:xfrm>
            <a:prstGeom prst="rect">
              <a:avLst/>
            </a:prstGeom>
          </p:spPr>
        </p:pic>
        <p:pic>
          <p:nvPicPr>
            <p:cNvPr id="972" name="Picture 971">
              <a:extLst>
                <a:ext uri="{FF2B5EF4-FFF2-40B4-BE49-F238E27FC236}">
                  <a16:creationId xmlns:a16="http://schemas.microsoft.com/office/drawing/2014/main" xmlns="" id="{FE74AE5D-FA23-CC78-CBF9-A21FE5FFE600}"/>
                </a:ext>
              </a:extLst>
            </p:cNvPr>
            <p:cNvPicPr>
              <a:picLocks noChangeAspect="1"/>
            </p:cNvPicPr>
            <p:nvPr/>
          </p:nvPicPr>
          <p:blipFill>
            <a:blip r:embed="rId15">
              <a:duotone>
                <a:schemeClr val="accent2">
                  <a:shade val="45000"/>
                  <a:satMod val="135000"/>
                </a:schemeClr>
                <a:prstClr val="white"/>
              </a:duotone>
              <a:extLst>
                <a:ext uri="{BEBA8EAE-BF5A-486C-A8C5-ECC9F3942E4B}">
                  <a14:imgProps xmlns:a14="http://schemas.microsoft.com/office/drawing/2010/main">
                    <a14:imgLayer r:embed="rId16">
                      <a14:imgEffect>
                        <a14:backgroundRemoval t="5384" b="98789" l="1613" r="98656">
                          <a14:foregroundMark x1="6855" y1="48991" x2="18280" y2="33647"/>
                          <a14:foregroundMark x1="18280" y1="33647" x2="54704" y2="15343"/>
                          <a14:foregroundMark x1="54704" y1="15343" x2="91532" y2="35801"/>
                          <a14:foregroundMark x1="91532" y1="35801" x2="94892" y2="60027"/>
                          <a14:foregroundMark x1="94892" y1="60027" x2="93145" y2="62315"/>
                          <a14:foregroundMark x1="23118" y1="21265" x2="56586" y2="9556"/>
                          <a14:foregroundMark x1="28629" y1="13190" x2="56317" y2="5384"/>
                          <a14:foregroundMark x1="30780" y1="36474" x2="92070" y2="35262"/>
                          <a14:foregroundMark x1="7930" y1="39704" x2="5780" y2="58277"/>
                          <a14:foregroundMark x1="40726" y1="95424" x2="70296" y2="92598"/>
                          <a14:foregroundMark x1="95430" y1="44145" x2="97581" y2="57470"/>
                          <a14:foregroundMark x1="45968" y1="97308" x2="50000" y2="98789"/>
                          <a14:foregroundMark x1="1747" y1="48587" x2="6452" y2="65949"/>
                          <a14:foregroundMark x1="4704" y1="63392" x2="9812" y2="71063"/>
                          <a14:foregroundMark x1="4704" y1="67026" x2="6855" y2="71871"/>
                          <a14:foregroundMark x1="96102" y1="43472" x2="97984" y2="48991"/>
                          <a14:foregroundMark x1="97581" y1="47510" x2="96102" y2="41184"/>
                          <a14:foregroundMark x1="97177" y1="42396" x2="98656" y2="48183"/>
                          <a14:foregroundMark x1="97177" y1="42396" x2="97581" y2="40108"/>
                          <a14:foregroundMark x1="97984" y1="41992" x2="92070" y2="32705"/>
                        </a14:backgroundRemoval>
                      </a14:imgEffect>
                    </a14:imgLayer>
                  </a14:imgProps>
                </a:ext>
              </a:extLst>
            </a:blip>
            <a:stretch>
              <a:fillRect/>
            </a:stretch>
          </p:blipFill>
          <p:spPr>
            <a:xfrm>
              <a:off x="2903015" y="1280371"/>
              <a:ext cx="242886" cy="242716"/>
            </a:xfrm>
            <a:prstGeom prst="rect">
              <a:avLst/>
            </a:prstGeom>
          </p:spPr>
        </p:pic>
      </p:grpSp>
      <p:sp>
        <p:nvSpPr>
          <p:cNvPr id="975" name="TextBox 974">
            <a:extLst>
              <a:ext uri="{FF2B5EF4-FFF2-40B4-BE49-F238E27FC236}">
                <a16:creationId xmlns:a16="http://schemas.microsoft.com/office/drawing/2014/main" xmlns="" id="{6B7B7393-7F88-392C-5730-50D1ACE47E89}"/>
              </a:ext>
            </a:extLst>
          </p:cNvPr>
          <p:cNvSpPr txBox="1"/>
          <p:nvPr/>
        </p:nvSpPr>
        <p:spPr>
          <a:xfrm>
            <a:off x="7364062" y="2837515"/>
            <a:ext cx="938282" cy="415498"/>
          </a:xfrm>
          <a:prstGeom prst="rect">
            <a:avLst/>
          </a:prstGeom>
          <a:noFill/>
        </p:spPr>
        <p:txBody>
          <a:bodyPr wrap="square" lIns="0" tIns="0" rIns="0" bIns="0" rtlCol="0">
            <a:spAutoFit/>
          </a:bodyPr>
          <a:lstStyle/>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Mínimo</a:t>
            </a:r>
          </a:p>
          <a:p>
            <a:pPr algn="ctr">
              <a:spcBef>
                <a:spcPts val="600"/>
              </a:spcBef>
              <a:buSzPct val="100000"/>
            </a:pPr>
            <a:r>
              <a:rPr lang="es-BO" sz="1100" noProof="0" dirty="0">
                <a:solidFill>
                  <a:srgbClr val="313131"/>
                </a:solidFill>
                <a:latin typeface="Calibri Light" panose="020F0302020204030204" pitchFamily="34" charset="0"/>
                <a:cs typeface="Calibri Light" panose="020F0302020204030204" pitchFamily="34" charset="0"/>
              </a:rPr>
              <a:t>LCOH- USD/kg</a:t>
            </a:r>
          </a:p>
        </p:txBody>
      </p:sp>
      <p:sp>
        <p:nvSpPr>
          <p:cNvPr id="2" name="TextBox 1">
            <a:extLst>
              <a:ext uri="{FF2B5EF4-FFF2-40B4-BE49-F238E27FC236}">
                <a16:creationId xmlns:a16="http://schemas.microsoft.com/office/drawing/2014/main" xmlns="" id="{6675CCBA-E2D6-4D32-9017-3CA746D5DFBB}"/>
              </a:ext>
            </a:extLst>
          </p:cNvPr>
          <p:cNvSpPr txBox="1"/>
          <p:nvPr/>
        </p:nvSpPr>
        <p:spPr>
          <a:xfrm flipH="1">
            <a:off x="2692258" y="3576971"/>
            <a:ext cx="895460" cy="400110"/>
          </a:xfrm>
          <a:prstGeom prst="rect">
            <a:avLst/>
          </a:prstGeom>
          <a:noFill/>
        </p:spPr>
        <p:txBody>
          <a:bodyPr wrap="square" rtlCol="0">
            <a:spAutoFit/>
          </a:bodyPr>
          <a:lstStyle/>
          <a:p>
            <a:pPr algn="ctr"/>
            <a:r>
              <a:rPr lang="es-BO" sz="2000" b="1" noProof="0" dirty="0">
                <a:solidFill>
                  <a:srgbClr val="86BC25"/>
                </a:solidFill>
              </a:rPr>
              <a:t>0,15</a:t>
            </a:r>
          </a:p>
        </p:txBody>
      </p:sp>
      <p:sp>
        <p:nvSpPr>
          <p:cNvPr id="17" name="TextBox 16">
            <a:extLst>
              <a:ext uri="{FF2B5EF4-FFF2-40B4-BE49-F238E27FC236}">
                <a16:creationId xmlns:a16="http://schemas.microsoft.com/office/drawing/2014/main" xmlns="" id="{FC118B58-563C-6C36-9B7C-42AE8991F2A0}"/>
              </a:ext>
            </a:extLst>
          </p:cNvPr>
          <p:cNvSpPr txBox="1"/>
          <p:nvPr/>
        </p:nvSpPr>
        <p:spPr>
          <a:xfrm>
            <a:off x="4174846" y="3669304"/>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86BC25"/>
                </a:solidFill>
                <a:latin typeface="Calibri Light" panose="020F0302020204030204" pitchFamily="34" charset="0"/>
                <a:cs typeface="Calibri Light" panose="020F0302020204030204" pitchFamily="34" charset="0"/>
              </a:rPr>
              <a:t>0,06</a:t>
            </a:r>
          </a:p>
        </p:txBody>
      </p:sp>
      <p:sp>
        <p:nvSpPr>
          <p:cNvPr id="18" name="TextBox 17">
            <a:extLst>
              <a:ext uri="{FF2B5EF4-FFF2-40B4-BE49-F238E27FC236}">
                <a16:creationId xmlns:a16="http://schemas.microsoft.com/office/drawing/2014/main" xmlns="" id="{4523C73D-D2A1-9996-FDE1-71B3315A5B9E}"/>
              </a:ext>
            </a:extLst>
          </p:cNvPr>
          <p:cNvSpPr txBox="1"/>
          <p:nvPr/>
        </p:nvSpPr>
        <p:spPr>
          <a:xfrm>
            <a:off x="5436973" y="3669304"/>
            <a:ext cx="427264" cy="215444"/>
          </a:xfrm>
          <a:prstGeom prst="rect">
            <a:avLst/>
          </a:prstGeom>
          <a:noFill/>
        </p:spPr>
        <p:txBody>
          <a:bodyPr wrap="square" lIns="0" tIns="0" rIns="0" bIns="0" rtlCol="0">
            <a:spAutoFit/>
          </a:bodyPr>
          <a:lstStyle/>
          <a:p>
            <a:pPr algn="ctr">
              <a:spcBef>
                <a:spcPts val="600"/>
              </a:spcBef>
              <a:buSzPct val="100000"/>
            </a:pPr>
            <a:r>
              <a:rPr lang="es-BO" sz="1400" b="1" noProof="0" dirty="0">
                <a:solidFill>
                  <a:srgbClr val="86BC25"/>
                </a:solidFill>
                <a:latin typeface="Calibri Light" panose="020F0302020204030204" pitchFamily="34" charset="0"/>
                <a:cs typeface="Calibri Light" panose="020F0302020204030204" pitchFamily="34" charset="0"/>
              </a:rPr>
              <a:t>0,09</a:t>
            </a:r>
          </a:p>
        </p:txBody>
      </p:sp>
      <p:sp>
        <p:nvSpPr>
          <p:cNvPr id="19" name="Slide Number Placeholder 1">
            <a:extLst>
              <a:ext uri="{FF2B5EF4-FFF2-40B4-BE49-F238E27FC236}">
                <a16:creationId xmlns:a16="http://schemas.microsoft.com/office/drawing/2014/main" xmlns="" id="{3536DE10-646A-BC4C-07D6-A2E532FCB268}"/>
              </a:ext>
            </a:extLst>
          </p:cNvPr>
          <p:cNvSpPr>
            <a:spLocks noGrp="1"/>
          </p:cNvSpPr>
          <p:nvPr>
            <p:ph type="sldNum" sz="quarter" idx="4"/>
          </p:nvPr>
        </p:nvSpPr>
        <p:spPr>
          <a:xfrm>
            <a:off x="11365133" y="6512057"/>
            <a:ext cx="289497" cy="153888"/>
          </a:xfrm>
        </p:spPr>
        <p:txBody>
          <a:bodyPr/>
          <a:lstStyle/>
          <a:p>
            <a:fld id="{A8E5AD78-C39A-47FF-83FF-0E69177E1F7C}" type="slidenum">
              <a:rPr lang="es-BO" noProof="0" smtClean="0"/>
              <a:pPr/>
              <a:t>11</a:t>
            </a:fld>
            <a:endParaRPr lang="es-BO" noProof="0" dirty="0"/>
          </a:p>
        </p:txBody>
      </p:sp>
      <p:sp>
        <p:nvSpPr>
          <p:cNvPr id="20" name="Rectangle 19">
            <a:extLst>
              <a:ext uri="{FF2B5EF4-FFF2-40B4-BE49-F238E27FC236}">
                <a16:creationId xmlns:a16="http://schemas.microsoft.com/office/drawing/2014/main" xmlns="" id="{73967027-C31C-B9DE-6981-2245B874A4C8}"/>
              </a:ext>
            </a:extLst>
          </p:cNvPr>
          <p:cNvSpPr/>
          <p:nvPr/>
        </p:nvSpPr>
        <p:spPr bwMode="gray">
          <a:xfrm>
            <a:off x="536593" y="6038281"/>
            <a:ext cx="6372000" cy="12134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pSp>
        <p:nvGrpSpPr>
          <p:cNvPr id="22" name="Group 21">
            <a:extLst>
              <a:ext uri="{FF2B5EF4-FFF2-40B4-BE49-F238E27FC236}">
                <a16:creationId xmlns:a16="http://schemas.microsoft.com/office/drawing/2014/main" xmlns="" id="{A7A2E729-0E97-0C8A-A75C-48FCB1899F59}"/>
              </a:ext>
            </a:extLst>
          </p:cNvPr>
          <p:cNvGrpSpPr/>
          <p:nvPr/>
        </p:nvGrpSpPr>
        <p:grpSpPr>
          <a:xfrm>
            <a:off x="2835239" y="5515577"/>
            <a:ext cx="3513474" cy="544485"/>
            <a:chOff x="1650427" y="5502402"/>
            <a:chExt cx="3312000" cy="544485"/>
          </a:xfrm>
        </p:grpSpPr>
        <p:sp>
          <p:nvSpPr>
            <p:cNvPr id="47" name="TextBox 46">
              <a:extLst>
                <a:ext uri="{FF2B5EF4-FFF2-40B4-BE49-F238E27FC236}">
                  <a16:creationId xmlns:a16="http://schemas.microsoft.com/office/drawing/2014/main" xmlns="" id="{9D473177-D40C-0051-8D53-E6638306A145}"/>
                </a:ext>
              </a:extLst>
            </p:cNvPr>
            <p:cNvSpPr txBox="1"/>
            <p:nvPr/>
          </p:nvSpPr>
          <p:spPr>
            <a:xfrm>
              <a:off x="2061448" y="5800666"/>
              <a:ext cx="2489959" cy="246221"/>
            </a:xfrm>
            <a:prstGeom prst="rect">
              <a:avLst/>
            </a:prstGeom>
            <a:noFill/>
          </p:spPr>
          <p:txBody>
            <a:bodyPr wrap="square" lIns="0" tIns="0" rIns="0" bIns="0" rtlCol="0">
              <a:spAutoFit/>
            </a:bodyPr>
            <a:lstStyle/>
            <a:p>
              <a:pPr algn="ctr">
                <a:spcBef>
                  <a:spcPts val="600"/>
                </a:spcBef>
                <a:buSzPct val="100000"/>
              </a:pPr>
              <a:r>
                <a:rPr lang="es-BO" sz="1600" b="1" noProof="0" dirty="0">
                  <a:solidFill>
                    <a:schemeClr val="tx1">
                      <a:lumMod val="50000"/>
                      <a:lumOff val="50000"/>
                    </a:schemeClr>
                  </a:solidFill>
                  <a:latin typeface="Calibri Light" panose="020F0302020204030204" pitchFamily="34" charset="0"/>
                  <a:cs typeface="Calibri Light" panose="020F0302020204030204" pitchFamily="34" charset="0"/>
                </a:rPr>
                <a:t>Millones de toneladas de H2V</a:t>
              </a:r>
            </a:p>
          </p:txBody>
        </p:sp>
        <p:sp>
          <p:nvSpPr>
            <p:cNvPr id="21" name="Right Brace 20">
              <a:extLst>
                <a:ext uri="{FF2B5EF4-FFF2-40B4-BE49-F238E27FC236}">
                  <a16:creationId xmlns:a16="http://schemas.microsoft.com/office/drawing/2014/main" xmlns="" id="{503BF7C1-0809-CFD0-C52C-74759B1E7CD6}"/>
                </a:ext>
              </a:extLst>
            </p:cNvPr>
            <p:cNvSpPr/>
            <p:nvPr/>
          </p:nvSpPr>
          <p:spPr>
            <a:xfrm rot="5400000">
              <a:off x="3151898" y="4000931"/>
              <a:ext cx="309058" cy="3312000"/>
            </a:xfrm>
            <a:prstGeom prst="righ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BO" noProof="0" dirty="0"/>
            </a:p>
          </p:txBody>
        </p:sp>
      </p:grpSp>
      <p:grpSp>
        <p:nvGrpSpPr>
          <p:cNvPr id="23" name="Group 22">
            <a:extLst>
              <a:ext uri="{FF2B5EF4-FFF2-40B4-BE49-F238E27FC236}">
                <a16:creationId xmlns:a16="http://schemas.microsoft.com/office/drawing/2014/main" xmlns="" id="{7DB1155C-85DC-9CB1-15F0-59D456B7D38D}"/>
              </a:ext>
            </a:extLst>
          </p:cNvPr>
          <p:cNvGrpSpPr/>
          <p:nvPr/>
        </p:nvGrpSpPr>
        <p:grpSpPr>
          <a:xfrm>
            <a:off x="7202889" y="5515577"/>
            <a:ext cx="2781615" cy="544485"/>
            <a:chOff x="1650427" y="5502402"/>
            <a:chExt cx="3312000" cy="544485"/>
          </a:xfrm>
        </p:grpSpPr>
        <p:sp>
          <p:nvSpPr>
            <p:cNvPr id="24" name="TextBox 23">
              <a:extLst>
                <a:ext uri="{FF2B5EF4-FFF2-40B4-BE49-F238E27FC236}">
                  <a16:creationId xmlns:a16="http://schemas.microsoft.com/office/drawing/2014/main" xmlns="" id="{2F648EE7-FF5C-FD16-7C4B-0545950375BC}"/>
                </a:ext>
              </a:extLst>
            </p:cNvPr>
            <p:cNvSpPr txBox="1"/>
            <p:nvPr/>
          </p:nvSpPr>
          <p:spPr>
            <a:xfrm>
              <a:off x="2061448" y="5800666"/>
              <a:ext cx="2489959" cy="246221"/>
            </a:xfrm>
            <a:prstGeom prst="rect">
              <a:avLst/>
            </a:prstGeom>
            <a:noFill/>
          </p:spPr>
          <p:txBody>
            <a:bodyPr wrap="square" lIns="0" tIns="0" rIns="0" bIns="0" rtlCol="0">
              <a:spAutoFit/>
            </a:bodyPr>
            <a:lstStyle/>
            <a:p>
              <a:pPr algn="ctr">
                <a:spcBef>
                  <a:spcPts val="600"/>
                </a:spcBef>
                <a:buSzPct val="100000"/>
              </a:pPr>
              <a:r>
                <a:rPr lang="es-BO" sz="1600" b="1" noProof="0" dirty="0">
                  <a:solidFill>
                    <a:schemeClr val="tx1">
                      <a:lumMod val="50000"/>
                      <a:lumOff val="50000"/>
                    </a:schemeClr>
                  </a:solidFill>
                  <a:latin typeface="Calibri Light" panose="020F0302020204030204" pitchFamily="34" charset="0"/>
                  <a:cs typeface="Calibri Light" panose="020F0302020204030204" pitchFamily="34" charset="0"/>
                </a:rPr>
                <a:t>Millones de USD</a:t>
              </a:r>
            </a:p>
          </p:txBody>
        </p:sp>
        <p:sp>
          <p:nvSpPr>
            <p:cNvPr id="25" name="Right Brace 24">
              <a:extLst>
                <a:ext uri="{FF2B5EF4-FFF2-40B4-BE49-F238E27FC236}">
                  <a16:creationId xmlns:a16="http://schemas.microsoft.com/office/drawing/2014/main" xmlns="" id="{7666F8D8-683E-06F3-E242-DC13C0ED1D08}"/>
                </a:ext>
              </a:extLst>
            </p:cNvPr>
            <p:cNvSpPr/>
            <p:nvPr/>
          </p:nvSpPr>
          <p:spPr>
            <a:xfrm rot="5400000">
              <a:off x="3151898" y="4000931"/>
              <a:ext cx="309058" cy="3312000"/>
            </a:xfrm>
            <a:prstGeom prst="righ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BO" noProof="0" dirty="0"/>
            </a:p>
          </p:txBody>
        </p:sp>
      </p:grpSp>
      <p:pic>
        <p:nvPicPr>
          <p:cNvPr id="1026" name="Picture 2" descr="730+ Blue Map De Bolivia Ilustraciones de Stock, gráficos vectoriales  libres de derechos y clip art - iStock">
            <a:extLst>
              <a:ext uri="{FF2B5EF4-FFF2-40B4-BE49-F238E27FC236}">
                <a16:creationId xmlns:a16="http://schemas.microsoft.com/office/drawing/2014/main" xmlns="" id="{A5F878BA-15FB-01AC-C4D6-F69E95B887D6}"/>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164036" y="3051423"/>
            <a:ext cx="489110" cy="489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258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1D381DA-E87F-88DB-1C0E-8DE6E1A1D9A4}"/>
            </a:ext>
          </a:extLst>
        </p:cNvPr>
        <p:cNvGrpSpPr/>
        <p:nvPr/>
      </p:nvGrpSpPr>
      <p:grpSpPr>
        <a:xfrm>
          <a:off x="0" y="0"/>
          <a:ext cx="0" cy="0"/>
          <a:chOff x="0" y="0"/>
          <a:chExt cx="0" cy="0"/>
        </a:xfrm>
      </p:grpSpPr>
      <p:sp>
        <p:nvSpPr>
          <p:cNvPr id="7" name="Rectangle: Rounded Corners 1">
            <a:extLst>
              <a:ext uri="{FF2B5EF4-FFF2-40B4-BE49-F238E27FC236}">
                <a16:creationId xmlns:a16="http://schemas.microsoft.com/office/drawing/2014/main" xmlns="" id="{8D61CB68-FCC0-E12D-6DCF-58EE66144F34}"/>
              </a:ext>
            </a:extLst>
          </p:cNvPr>
          <p:cNvSpPr/>
          <p:nvPr/>
        </p:nvSpPr>
        <p:spPr bwMode="gray">
          <a:xfrm>
            <a:off x="2720658" y="1893483"/>
            <a:ext cx="9954084" cy="1926268"/>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12" name="Rectángulo 11">
            <a:extLst>
              <a:ext uri="{FF2B5EF4-FFF2-40B4-BE49-F238E27FC236}">
                <a16:creationId xmlns:a16="http://schemas.microsoft.com/office/drawing/2014/main" xmlns="" id="{9F43756A-DCC6-A3C3-03EA-6BA0C779C3F2}"/>
              </a:ext>
            </a:extLst>
          </p:cNvPr>
          <p:cNvSpPr/>
          <p:nvPr/>
        </p:nvSpPr>
        <p:spPr bwMode="gray">
          <a:xfrm>
            <a:off x="722811" y="1593669"/>
            <a:ext cx="4876800" cy="4899206"/>
          </a:xfrm>
          <a:prstGeom prst="rect">
            <a:avLst/>
          </a:prstGeom>
          <a:solidFill>
            <a:srgbClr val="FFFFFF"/>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dirty="0" err="1">
              <a:latin typeface="Calibri Light" panose="020F0302020204030204" pitchFamily="34" charset="0"/>
              <a:cs typeface="Calibri Light" panose="020F0302020204030204" pitchFamily="34" charset="0"/>
            </a:endParaRPr>
          </a:p>
        </p:txBody>
      </p:sp>
      <p:sp>
        <p:nvSpPr>
          <p:cNvPr id="3" name="Oval 2">
            <a:extLst>
              <a:ext uri="{FF2B5EF4-FFF2-40B4-BE49-F238E27FC236}">
                <a16:creationId xmlns:a16="http://schemas.microsoft.com/office/drawing/2014/main" xmlns="" id="{3DE7A381-87D8-6BD1-D7CC-AD0552D6638E}"/>
              </a:ext>
            </a:extLst>
          </p:cNvPr>
          <p:cNvSpPr/>
          <p:nvPr/>
        </p:nvSpPr>
        <p:spPr bwMode="gray">
          <a:xfrm>
            <a:off x="1609778" y="4712889"/>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6" name="Imagen 8">
            <a:extLst>
              <a:ext uri="{FF2B5EF4-FFF2-40B4-BE49-F238E27FC236}">
                <a16:creationId xmlns:a16="http://schemas.microsoft.com/office/drawing/2014/main" xmlns="" id="{E2F04EFB-8DF0-C993-EBAC-430177FF59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2435" y="1086998"/>
            <a:ext cx="5048068" cy="5159829"/>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xmlns="" id="{F3A13117-509B-15C0-B8DE-3E33D65832B9}"/>
              </a:ext>
            </a:extLst>
          </p:cNvPr>
          <p:cNvPicPr>
            <a:picLocks noChangeAspect="1"/>
          </p:cNvPicPr>
          <p:nvPr/>
        </p:nvPicPr>
        <p:blipFill>
          <a:blip r:embed="rId3">
            <a:duotone>
              <a:schemeClr val="accent2">
                <a:shade val="45000"/>
                <a:satMod val="135000"/>
              </a:schemeClr>
              <a:prstClr val="white"/>
            </a:duotone>
          </a:blip>
          <a:stretch>
            <a:fillRect/>
          </a:stretch>
        </p:blipFill>
        <p:spPr>
          <a:xfrm>
            <a:off x="3453417" y="3273644"/>
            <a:ext cx="1040885" cy="664396"/>
          </a:xfrm>
          <a:prstGeom prst="rect">
            <a:avLst/>
          </a:prstGeom>
        </p:spPr>
      </p:pic>
      <p:pic>
        <p:nvPicPr>
          <p:cNvPr id="10" name="Picture 9">
            <a:extLst>
              <a:ext uri="{FF2B5EF4-FFF2-40B4-BE49-F238E27FC236}">
                <a16:creationId xmlns:a16="http://schemas.microsoft.com/office/drawing/2014/main" xmlns="" id="{99E23302-9FC2-2D19-77F5-9E09A9E26B24}"/>
              </a:ext>
            </a:extLst>
          </p:cNvPr>
          <p:cNvPicPr>
            <a:picLocks noChangeAspect="1"/>
          </p:cNvPicPr>
          <p:nvPr/>
        </p:nvPicPr>
        <p:blipFill>
          <a:blip r:embed="rId3">
            <a:duotone>
              <a:schemeClr val="accent2">
                <a:shade val="45000"/>
                <a:satMod val="135000"/>
              </a:schemeClr>
              <a:prstClr val="white"/>
            </a:duotone>
          </a:blip>
          <a:stretch>
            <a:fillRect/>
          </a:stretch>
        </p:blipFill>
        <p:spPr>
          <a:xfrm>
            <a:off x="1814973" y="3624376"/>
            <a:ext cx="1040885" cy="664396"/>
          </a:xfrm>
          <a:prstGeom prst="rect">
            <a:avLst/>
          </a:prstGeom>
        </p:spPr>
      </p:pic>
      <p:pic>
        <p:nvPicPr>
          <p:cNvPr id="11" name="Picture 10">
            <a:extLst>
              <a:ext uri="{FF2B5EF4-FFF2-40B4-BE49-F238E27FC236}">
                <a16:creationId xmlns:a16="http://schemas.microsoft.com/office/drawing/2014/main" xmlns="" id="{AEA82E53-9429-BEEA-6962-113F6CC6D758}"/>
              </a:ext>
            </a:extLst>
          </p:cNvPr>
          <p:cNvPicPr>
            <a:picLocks noChangeAspect="1"/>
          </p:cNvPicPr>
          <p:nvPr/>
        </p:nvPicPr>
        <p:blipFill>
          <a:blip r:embed="rId3">
            <a:duotone>
              <a:schemeClr val="accent2">
                <a:shade val="45000"/>
                <a:satMod val="135000"/>
              </a:schemeClr>
              <a:prstClr val="white"/>
            </a:duotone>
          </a:blip>
          <a:stretch>
            <a:fillRect/>
          </a:stretch>
        </p:blipFill>
        <p:spPr>
          <a:xfrm>
            <a:off x="2517835" y="4784672"/>
            <a:ext cx="1040885" cy="664396"/>
          </a:xfrm>
          <a:prstGeom prst="rect">
            <a:avLst/>
          </a:prstGeom>
        </p:spPr>
      </p:pic>
      <p:sp>
        <p:nvSpPr>
          <p:cNvPr id="9" name="Google Shape;497;p8">
            <a:extLst>
              <a:ext uri="{FF2B5EF4-FFF2-40B4-BE49-F238E27FC236}">
                <a16:creationId xmlns:a16="http://schemas.microsoft.com/office/drawing/2014/main" xmlns="" id="{532F8085-ABA3-9B41-DDAB-5BCD3AFA11AA}"/>
              </a:ext>
            </a:extLst>
          </p:cNvPr>
          <p:cNvSpPr txBox="1"/>
          <p:nvPr/>
        </p:nvSpPr>
        <p:spPr>
          <a:xfrm>
            <a:off x="4689303" y="2136234"/>
            <a:ext cx="7807131" cy="1520929"/>
          </a:xfrm>
          <a:prstGeom prst="rect">
            <a:avLst/>
          </a:prstGeom>
          <a:noFill/>
          <a:ln>
            <a:noFill/>
          </a:ln>
        </p:spPr>
        <p:txBody>
          <a:bodyPr spcFirstLastPara="1" wrap="square" lIns="0" tIns="12700" rIns="0" bIns="0" anchor="t" anchorCtr="0">
            <a:spAutoFit/>
          </a:bodyPr>
          <a:lstStyle/>
          <a:p>
            <a:pPr marL="12700" marR="5080" algn="ctr">
              <a:spcBef>
                <a:spcPts val="300"/>
              </a:spcBef>
              <a:spcAft>
                <a:spcPts val="300"/>
              </a:spcAft>
            </a:pPr>
            <a:r>
              <a:rPr lang="es-ES" sz="4400" b="1" dirty="0">
                <a:solidFill>
                  <a:schemeClr val="bg1"/>
                </a:solidFill>
                <a:effectLst>
                  <a:outerShdw blurRad="38100" dist="38100" dir="2700000" algn="tl">
                    <a:srgbClr val="000000">
                      <a:alpha val="43137"/>
                    </a:srgbClr>
                  </a:outerShdw>
                </a:effectLst>
                <a:latin typeface="+mj-lt"/>
                <a:ea typeface="Calibri"/>
                <a:cs typeface="Calibri Light" panose="020F0302020204030204" pitchFamily="34" charset="0"/>
                <a:sym typeface="Calibri"/>
              </a:rPr>
              <a:t>P</a:t>
            </a:r>
            <a:r>
              <a:rPr lang="es-BO" sz="4400" b="1" dirty="0">
                <a:solidFill>
                  <a:schemeClr val="bg1"/>
                </a:solidFill>
                <a:effectLst>
                  <a:outerShdw blurRad="38100" dist="38100" dir="2700000" algn="tl">
                    <a:srgbClr val="000000">
                      <a:alpha val="43137"/>
                    </a:srgbClr>
                  </a:outerShdw>
                </a:effectLst>
                <a:latin typeface="+mj-lt"/>
                <a:ea typeface="Calibri"/>
                <a:cs typeface="Calibri Light" panose="020F0302020204030204" pitchFamily="34" charset="0"/>
                <a:sym typeface="Calibri"/>
              </a:rPr>
              <a:t>ROYECTOS PILOTO </a:t>
            </a:r>
          </a:p>
          <a:p>
            <a:pPr marL="12700" marR="5080" algn="ctr">
              <a:spcBef>
                <a:spcPts val="300"/>
              </a:spcBef>
              <a:spcAft>
                <a:spcPts val="300"/>
              </a:spcAft>
            </a:pPr>
            <a:r>
              <a:rPr lang="es-BO" sz="4400" b="1" dirty="0">
                <a:solidFill>
                  <a:schemeClr val="bg1"/>
                </a:solidFill>
                <a:effectLst>
                  <a:outerShdw blurRad="38100" dist="38100" dir="2700000" algn="tl">
                    <a:srgbClr val="000000">
                      <a:alpha val="43137"/>
                    </a:srgbClr>
                  </a:outerShdw>
                </a:effectLst>
                <a:latin typeface="+mj-lt"/>
                <a:ea typeface="Calibri"/>
                <a:cs typeface="Calibri Light" panose="020F0302020204030204" pitchFamily="34" charset="0"/>
                <a:sym typeface="Calibri"/>
              </a:rPr>
              <a:t>DE PREFACTIBILIDAD</a:t>
            </a:r>
            <a:endParaRPr lang="es-BO" sz="4400" b="1" noProof="0" dirty="0">
              <a:solidFill>
                <a:srgbClr val="FFFFFF"/>
              </a:solidFill>
              <a:effectLst>
                <a:outerShdw blurRad="38100" dist="38100" dir="2700000" algn="tl">
                  <a:srgbClr val="000000">
                    <a:alpha val="43137"/>
                  </a:srgbClr>
                </a:outerShdw>
              </a:effectLst>
              <a:latin typeface="Calibri Light" panose="020F0302020204030204" pitchFamily="34" charset="0"/>
              <a:ea typeface="Calibri"/>
              <a:cs typeface="Calibri Light" panose="020F0302020204030204" pitchFamily="34" charset="0"/>
              <a:sym typeface="Calibri"/>
            </a:endParaRPr>
          </a:p>
        </p:txBody>
      </p:sp>
    </p:spTree>
    <p:extLst>
      <p:ext uri="{BB962C8B-B14F-4D97-AF65-F5344CB8AC3E}">
        <p14:creationId xmlns:p14="http://schemas.microsoft.com/office/powerpoint/2010/main" val="2164221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2">
            <a:extLst>
              <a:ext uri="{FF2B5EF4-FFF2-40B4-BE49-F238E27FC236}">
                <a16:creationId xmlns:a16="http://schemas.microsoft.com/office/drawing/2014/main" xmlns="" id="{E8A28E92-8C27-80A4-CF31-C7B29E593302}"/>
              </a:ext>
            </a:extLst>
          </p:cNvPr>
          <p:cNvSpPr/>
          <p:nvPr/>
        </p:nvSpPr>
        <p:spPr bwMode="gray">
          <a:xfrm>
            <a:off x="-874363" y="472852"/>
            <a:ext cx="12621677" cy="705441"/>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42" name="Rectangle 41">
            <a:extLst>
              <a:ext uri="{FF2B5EF4-FFF2-40B4-BE49-F238E27FC236}">
                <a16:creationId xmlns:a16="http://schemas.microsoft.com/office/drawing/2014/main" xmlns="" id="{7EB7FC5E-6787-A301-334D-C6471CBEFD94}"/>
              </a:ext>
            </a:extLst>
          </p:cNvPr>
          <p:cNvSpPr/>
          <p:nvPr/>
        </p:nvSpPr>
        <p:spPr bwMode="gray">
          <a:xfrm>
            <a:off x="511839" y="3721499"/>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38" name="Rectangle 37">
            <a:extLst>
              <a:ext uri="{FF2B5EF4-FFF2-40B4-BE49-F238E27FC236}">
                <a16:creationId xmlns:a16="http://schemas.microsoft.com/office/drawing/2014/main" xmlns="" id="{B04FBBAD-74C2-EE35-3375-1AE2FB20DF3B}"/>
              </a:ext>
            </a:extLst>
          </p:cNvPr>
          <p:cNvSpPr/>
          <p:nvPr/>
        </p:nvSpPr>
        <p:spPr bwMode="gray">
          <a:xfrm>
            <a:off x="584914" y="2063170"/>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2" name="Marcador de número de diapositiva 1"/>
          <p:cNvSpPr>
            <a:spLocks noGrp="1"/>
          </p:cNvSpPr>
          <p:nvPr>
            <p:ph type="sldNum" sz="quarter" idx="4"/>
          </p:nvPr>
        </p:nvSpPr>
        <p:spPr/>
        <p:txBody>
          <a:bodyPr/>
          <a:lstStyle/>
          <a:p>
            <a:fld id="{A8E5AD78-C39A-47FF-83FF-0E69177E1F7C}" type="slidenum">
              <a:rPr lang="es-BO" noProof="0" smtClean="0"/>
              <a:pPr/>
              <a:t>13</a:t>
            </a:fld>
            <a:endParaRPr lang="es-BO" noProof="0" dirty="0"/>
          </a:p>
        </p:txBody>
      </p:sp>
      <p:sp>
        <p:nvSpPr>
          <p:cNvPr id="9" name="CuadroTexto 8">
            <a:extLst>
              <a:ext uri="{FF2B5EF4-FFF2-40B4-BE49-F238E27FC236}">
                <a16:creationId xmlns:a16="http://schemas.microsoft.com/office/drawing/2014/main" xmlns="" id="{F21161E8-E8EF-A7F5-6843-24E65FF7A06B}"/>
              </a:ext>
            </a:extLst>
          </p:cNvPr>
          <p:cNvSpPr txBox="1"/>
          <p:nvPr/>
        </p:nvSpPr>
        <p:spPr>
          <a:xfrm>
            <a:off x="444686" y="583989"/>
            <a:ext cx="5243527" cy="523220"/>
          </a:xfrm>
          <a:prstGeom prst="rect">
            <a:avLst/>
          </a:prstGeom>
          <a:noFill/>
        </p:spPr>
        <p:txBody>
          <a:bodyPr wrap="square">
            <a:spAutoFit/>
          </a:bodyPr>
          <a:lstStyle/>
          <a:p>
            <a:r>
              <a:rPr lang="es-BO" sz="2800" b="1" noProof="0" dirty="0">
                <a:solidFill>
                  <a:schemeClr val="bg1"/>
                </a:solidFill>
              </a:rPr>
              <a:t>PLANTA DE H2V EN ORURO</a:t>
            </a:r>
          </a:p>
        </p:txBody>
      </p:sp>
      <p:grpSp>
        <p:nvGrpSpPr>
          <p:cNvPr id="3" name="Grupo 2">
            <a:extLst>
              <a:ext uri="{FF2B5EF4-FFF2-40B4-BE49-F238E27FC236}">
                <a16:creationId xmlns:a16="http://schemas.microsoft.com/office/drawing/2014/main" xmlns="" id="{8ECDAD64-5A10-414D-8898-A82B90014CE7}"/>
              </a:ext>
            </a:extLst>
          </p:cNvPr>
          <p:cNvGrpSpPr/>
          <p:nvPr/>
        </p:nvGrpSpPr>
        <p:grpSpPr>
          <a:xfrm>
            <a:off x="5000090" y="166564"/>
            <a:ext cx="6773981" cy="6212763"/>
            <a:chOff x="6218042" y="634103"/>
            <a:chExt cx="5824812" cy="5614403"/>
          </a:xfrm>
        </p:grpSpPr>
        <p:sp>
          <p:nvSpPr>
            <p:cNvPr id="12" name="Rectángulo 11">
              <a:extLst>
                <a:ext uri="{FF2B5EF4-FFF2-40B4-BE49-F238E27FC236}">
                  <a16:creationId xmlns:a16="http://schemas.microsoft.com/office/drawing/2014/main" xmlns="" id="{B37D1285-D64C-4771-81B9-2169DDC6369E}"/>
                </a:ext>
              </a:extLst>
            </p:cNvPr>
            <p:cNvSpPr/>
            <p:nvPr/>
          </p:nvSpPr>
          <p:spPr bwMode="gray">
            <a:xfrm>
              <a:off x="6218042" y="634103"/>
              <a:ext cx="5824389" cy="5614403"/>
            </a:xfrm>
            <a:prstGeom prst="rect">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n>
                  <a:solidFill>
                    <a:schemeClr val="tx1"/>
                  </a:solidFill>
                </a:ln>
                <a:latin typeface="Calibri Light" panose="020F0302020204030204" pitchFamily="34" charset="0"/>
                <a:cs typeface="Calibri Light" panose="020F0302020204030204" pitchFamily="34" charset="0"/>
              </a:endParaRPr>
            </a:p>
          </p:txBody>
        </p:sp>
        <p:sp>
          <p:nvSpPr>
            <p:cNvPr id="13" name="Rectángulo 12">
              <a:extLst>
                <a:ext uri="{FF2B5EF4-FFF2-40B4-BE49-F238E27FC236}">
                  <a16:creationId xmlns:a16="http://schemas.microsoft.com/office/drawing/2014/main" xmlns="" id="{C694A390-20E4-4C1F-BD01-D68B74EA1D56}"/>
                </a:ext>
              </a:extLst>
            </p:cNvPr>
            <p:cNvSpPr/>
            <p:nvPr/>
          </p:nvSpPr>
          <p:spPr>
            <a:xfrm>
              <a:off x="6312473" y="4732128"/>
              <a:ext cx="3300611" cy="1169551"/>
            </a:xfrm>
            <a:prstGeom prst="rect">
              <a:avLst/>
            </a:prstGeom>
          </p:spPr>
          <p:txBody>
            <a:bodyPr wrap="square">
              <a:spAutoFit/>
            </a:bodyPr>
            <a:lstStyle/>
            <a:p>
              <a:pPr algn="ctr"/>
              <a:r>
                <a:rPr lang="es-BO" sz="1400" b="1" noProof="0" dirty="0"/>
                <a:t>Coordenadas  geográficas </a:t>
              </a:r>
            </a:p>
            <a:p>
              <a:pPr algn="ctr"/>
              <a:r>
                <a:rPr lang="es-BO" sz="1400" b="1" noProof="0" dirty="0"/>
                <a:t>(UTM):  </a:t>
              </a:r>
            </a:p>
            <a:p>
              <a:pPr algn="ctr"/>
              <a:r>
                <a:rPr lang="es-BO" sz="1400" b="1" noProof="0" dirty="0"/>
                <a:t>N8012546 E699814  </a:t>
              </a:r>
            </a:p>
            <a:p>
              <a:pPr algn="ctr"/>
              <a:endParaRPr lang="es-BO" sz="1400" b="1" noProof="0" dirty="0"/>
            </a:p>
            <a:p>
              <a:pPr algn="ctr"/>
              <a:r>
                <a:rPr lang="es-BO" sz="1400" b="1" noProof="0" dirty="0"/>
                <a:t>Elevación 3735 msnm</a:t>
              </a:r>
            </a:p>
          </p:txBody>
        </p:sp>
        <p:sp>
          <p:nvSpPr>
            <p:cNvPr id="19" name="Rectángulo 18">
              <a:extLst>
                <a:ext uri="{FF2B5EF4-FFF2-40B4-BE49-F238E27FC236}">
                  <a16:creationId xmlns:a16="http://schemas.microsoft.com/office/drawing/2014/main" xmlns="" id="{6FBAF24F-29B9-4C43-BD1C-4F9F6CF33689}"/>
                </a:ext>
              </a:extLst>
            </p:cNvPr>
            <p:cNvSpPr/>
            <p:nvPr/>
          </p:nvSpPr>
          <p:spPr>
            <a:xfrm>
              <a:off x="7980893" y="736166"/>
              <a:ext cx="3959256" cy="472828"/>
            </a:xfrm>
            <a:prstGeom prst="rect">
              <a:avLst/>
            </a:prstGeom>
          </p:spPr>
          <p:txBody>
            <a:bodyPr wrap="square">
              <a:spAutoFit/>
            </a:bodyPr>
            <a:lstStyle/>
            <a:p>
              <a:pPr algn="ctr"/>
              <a:r>
                <a:rPr lang="es-BO" sz="1400" b="1" noProof="0" dirty="0"/>
                <a:t>MAPA DE LOCALIZACIÓN DE LA PLANTA PILOTO DE HIDRÓGENO DE ORURO </a:t>
              </a:r>
            </a:p>
          </p:txBody>
        </p:sp>
        <p:sp>
          <p:nvSpPr>
            <p:cNvPr id="22" name="Rectángulo 21">
              <a:extLst>
                <a:ext uri="{FF2B5EF4-FFF2-40B4-BE49-F238E27FC236}">
                  <a16:creationId xmlns:a16="http://schemas.microsoft.com/office/drawing/2014/main" xmlns="" id="{FAD40E00-4E24-4826-A53B-8D399D830DD9}"/>
                </a:ext>
              </a:extLst>
            </p:cNvPr>
            <p:cNvSpPr/>
            <p:nvPr/>
          </p:nvSpPr>
          <p:spPr>
            <a:xfrm>
              <a:off x="6263393" y="4196913"/>
              <a:ext cx="2786096" cy="307777"/>
            </a:xfrm>
            <a:prstGeom prst="rect">
              <a:avLst/>
            </a:prstGeom>
          </p:spPr>
          <p:txBody>
            <a:bodyPr wrap="square">
              <a:spAutoFit/>
            </a:bodyPr>
            <a:lstStyle/>
            <a:p>
              <a:pPr algn="ctr"/>
              <a:r>
                <a:rPr lang="es-BO" sz="1400" b="1" noProof="0" dirty="0"/>
                <a:t>CIUDAD DE ORURO </a:t>
              </a:r>
            </a:p>
          </p:txBody>
        </p:sp>
        <p:sp>
          <p:nvSpPr>
            <p:cNvPr id="24" name="Rectángulo 23">
              <a:extLst>
                <a:ext uri="{FF2B5EF4-FFF2-40B4-BE49-F238E27FC236}">
                  <a16:creationId xmlns:a16="http://schemas.microsoft.com/office/drawing/2014/main" xmlns="" id="{69F59891-1935-48C5-AEB4-FE7EF680025E}"/>
                </a:ext>
              </a:extLst>
            </p:cNvPr>
            <p:cNvSpPr/>
            <p:nvPr/>
          </p:nvSpPr>
          <p:spPr bwMode="gray">
            <a:xfrm>
              <a:off x="8912350" y="4275364"/>
              <a:ext cx="221941" cy="238805"/>
            </a:xfrm>
            <a:prstGeom prst="rect">
              <a:avLst/>
            </a:prstGeom>
            <a:solidFill>
              <a:schemeClr val="accent3"/>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7" name="Rectángulo 26">
              <a:extLst>
                <a:ext uri="{FF2B5EF4-FFF2-40B4-BE49-F238E27FC236}">
                  <a16:creationId xmlns:a16="http://schemas.microsoft.com/office/drawing/2014/main" xmlns="" id="{4ED2A472-645C-464C-A861-92AADE6138EC}"/>
                </a:ext>
              </a:extLst>
            </p:cNvPr>
            <p:cNvSpPr/>
            <p:nvPr/>
          </p:nvSpPr>
          <p:spPr>
            <a:xfrm>
              <a:off x="8983014" y="4238200"/>
              <a:ext cx="3059840" cy="307777"/>
            </a:xfrm>
            <a:prstGeom prst="rect">
              <a:avLst/>
            </a:prstGeom>
          </p:spPr>
          <p:txBody>
            <a:bodyPr wrap="square">
              <a:spAutoFit/>
            </a:bodyPr>
            <a:lstStyle/>
            <a:p>
              <a:pPr algn="ctr"/>
              <a:r>
                <a:rPr lang="es-BO" sz="1400" b="1" noProof="0" dirty="0"/>
                <a:t>PLANTA DE HIDRÓGENO VERDE </a:t>
              </a:r>
            </a:p>
          </p:txBody>
        </p:sp>
        <p:pic>
          <p:nvPicPr>
            <p:cNvPr id="28" name="Picture 14970">
              <a:extLst>
                <a:ext uri="{FF2B5EF4-FFF2-40B4-BE49-F238E27FC236}">
                  <a16:creationId xmlns:a16="http://schemas.microsoft.com/office/drawing/2014/main" xmlns="" id="{1F4D1150-BD06-4C89-A094-7AD7E9A4272F}"/>
                </a:ext>
              </a:extLst>
            </p:cNvPr>
            <p:cNvPicPr/>
            <p:nvPr/>
          </p:nvPicPr>
          <p:blipFill>
            <a:blip r:embed="rId2" cstate="print">
              <a:extLst>
                <a:ext uri="{28A0092B-C50C-407E-A947-70E740481C1C}">
                  <a14:useLocalDpi xmlns:a14="http://schemas.microsoft.com/office/drawing/2010/main"/>
                </a:ext>
              </a:extLst>
            </a:blip>
            <a:stretch>
              <a:fillRect/>
            </a:stretch>
          </p:blipFill>
          <p:spPr>
            <a:xfrm>
              <a:off x="6332834" y="729498"/>
              <a:ext cx="1523904" cy="294449"/>
            </a:xfrm>
            <a:prstGeom prst="rect">
              <a:avLst/>
            </a:prstGeom>
          </p:spPr>
        </p:pic>
        <p:pic>
          <p:nvPicPr>
            <p:cNvPr id="4" name="Imagen 3">
              <a:extLst>
                <a:ext uri="{FF2B5EF4-FFF2-40B4-BE49-F238E27FC236}">
                  <a16:creationId xmlns:a16="http://schemas.microsoft.com/office/drawing/2014/main" xmlns="" id="{086D6868-AFE5-4B5F-BD5E-52D686EDD19A}"/>
                </a:ext>
              </a:extLst>
            </p:cNvPr>
            <p:cNvPicPr>
              <a:picLocks noChangeAspect="1"/>
            </p:cNvPicPr>
            <p:nvPr/>
          </p:nvPicPr>
          <p:blipFill rotWithShape="1">
            <a:blip r:embed="rId3"/>
            <a:srcRect r="3763"/>
            <a:stretch/>
          </p:blipFill>
          <p:spPr>
            <a:xfrm>
              <a:off x="9748107" y="4458523"/>
              <a:ext cx="1510904" cy="1741380"/>
            </a:xfrm>
            <a:prstGeom prst="rect">
              <a:avLst/>
            </a:prstGeom>
          </p:spPr>
        </p:pic>
        <p:pic>
          <p:nvPicPr>
            <p:cNvPr id="25" name="Imagen 24">
              <a:extLst>
                <a:ext uri="{FF2B5EF4-FFF2-40B4-BE49-F238E27FC236}">
                  <a16:creationId xmlns:a16="http://schemas.microsoft.com/office/drawing/2014/main" xmlns="" id="{6848652B-D5C5-4D85-8B41-C303119A9DE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 r="-6"/>
            <a:stretch/>
          </p:blipFill>
          <p:spPr>
            <a:xfrm>
              <a:off x="7969118" y="1389360"/>
              <a:ext cx="3959256" cy="2737088"/>
            </a:xfrm>
            <a:prstGeom prst="rect">
              <a:avLst/>
            </a:prstGeom>
            <a:ln w="28575">
              <a:solidFill>
                <a:schemeClr val="tx1"/>
              </a:solidFill>
            </a:ln>
          </p:spPr>
        </p:pic>
        <p:sp>
          <p:nvSpPr>
            <p:cNvPr id="26" name="Rectángulo 25">
              <a:extLst>
                <a:ext uri="{FF2B5EF4-FFF2-40B4-BE49-F238E27FC236}">
                  <a16:creationId xmlns:a16="http://schemas.microsoft.com/office/drawing/2014/main" xmlns="" id="{6F65BB77-88E3-4BE8-8D40-662F4BBA0DD5}"/>
                </a:ext>
              </a:extLst>
            </p:cNvPr>
            <p:cNvSpPr/>
            <p:nvPr/>
          </p:nvSpPr>
          <p:spPr bwMode="gray">
            <a:xfrm>
              <a:off x="10800692" y="1909122"/>
              <a:ext cx="683836" cy="675152"/>
            </a:xfrm>
            <a:prstGeom prst="rect">
              <a:avLst/>
            </a:prstGeom>
            <a:solidFill>
              <a:schemeClr val="accent3"/>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29" name="Imagen 28">
              <a:extLst>
                <a:ext uri="{FF2B5EF4-FFF2-40B4-BE49-F238E27FC236}">
                  <a16:creationId xmlns:a16="http://schemas.microsoft.com/office/drawing/2014/main" xmlns="" id="{38AC1C0C-83DB-4D86-8F30-061165A8140D}"/>
                </a:ext>
              </a:extLst>
            </p:cNvPr>
            <p:cNvPicPr>
              <a:picLocks noChangeAspect="1"/>
            </p:cNvPicPr>
            <p:nvPr/>
          </p:nvPicPr>
          <p:blipFill rotWithShape="1">
            <a:blip r:embed="rId5"/>
            <a:srcRect l="20329" t="14211" r="29540" b="10632"/>
            <a:stretch/>
          </p:blipFill>
          <p:spPr>
            <a:xfrm>
              <a:off x="6332834" y="1375942"/>
              <a:ext cx="3292701" cy="2763926"/>
            </a:xfrm>
            <a:prstGeom prst="rect">
              <a:avLst/>
            </a:prstGeom>
            <a:ln w="28575">
              <a:solidFill>
                <a:schemeClr val="tx1"/>
              </a:solidFill>
            </a:ln>
          </p:spPr>
        </p:pic>
        <p:sp>
          <p:nvSpPr>
            <p:cNvPr id="21" name="Elipse 20">
              <a:extLst>
                <a:ext uri="{FF2B5EF4-FFF2-40B4-BE49-F238E27FC236}">
                  <a16:creationId xmlns:a16="http://schemas.microsoft.com/office/drawing/2014/main" xmlns="" id="{1B4F1B90-FB68-4409-B816-59CE858DB963}"/>
                </a:ext>
              </a:extLst>
            </p:cNvPr>
            <p:cNvSpPr/>
            <p:nvPr/>
          </p:nvSpPr>
          <p:spPr bwMode="gray">
            <a:xfrm>
              <a:off x="7757656" y="2762954"/>
              <a:ext cx="143719" cy="172423"/>
            </a:xfrm>
            <a:prstGeom prst="ellipse">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31" name="Elipse 30">
              <a:extLst>
                <a:ext uri="{FF2B5EF4-FFF2-40B4-BE49-F238E27FC236}">
                  <a16:creationId xmlns:a16="http://schemas.microsoft.com/office/drawing/2014/main" xmlns="" id="{EBA5A8E5-D323-4E1D-BB13-B20F86F1E36C}"/>
                </a:ext>
              </a:extLst>
            </p:cNvPr>
            <p:cNvSpPr/>
            <p:nvPr/>
          </p:nvSpPr>
          <p:spPr bwMode="gray">
            <a:xfrm>
              <a:off x="6395225" y="4271615"/>
              <a:ext cx="143719" cy="172423"/>
            </a:xfrm>
            <a:prstGeom prst="ellipse">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32" name="Rectángulo 31">
              <a:extLst>
                <a:ext uri="{FF2B5EF4-FFF2-40B4-BE49-F238E27FC236}">
                  <a16:creationId xmlns:a16="http://schemas.microsoft.com/office/drawing/2014/main" xmlns="" id="{189B3666-8F0A-4C89-99D9-7DD626DC1FC6}"/>
                </a:ext>
              </a:extLst>
            </p:cNvPr>
            <p:cNvSpPr/>
            <p:nvPr/>
          </p:nvSpPr>
          <p:spPr bwMode="gray">
            <a:xfrm>
              <a:off x="9032709" y="3123288"/>
              <a:ext cx="221941" cy="238805"/>
            </a:xfrm>
            <a:prstGeom prst="rect">
              <a:avLst/>
            </a:prstGeom>
            <a:solidFill>
              <a:schemeClr val="accent3"/>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14" name="Imagen 13">
              <a:extLst>
                <a:ext uri="{FF2B5EF4-FFF2-40B4-BE49-F238E27FC236}">
                  <a16:creationId xmlns:a16="http://schemas.microsoft.com/office/drawing/2014/main" xmlns="" id="{0564ADF4-2AED-4FF8-A992-130D1CC436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0467" y="1461923"/>
              <a:ext cx="706424" cy="649486"/>
            </a:xfrm>
            <a:prstGeom prst="rect">
              <a:avLst/>
            </a:prstGeom>
          </p:spPr>
        </p:pic>
      </p:grpSp>
      <p:sp>
        <p:nvSpPr>
          <p:cNvPr id="34" name="TextBox 33">
            <a:extLst>
              <a:ext uri="{FF2B5EF4-FFF2-40B4-BE49-F238E27FC236}">
                <a16:creationId xmlns:a16="http://schemas.microsoft.com/office/drawing/2014/main" xmlns="" id="{9D9D1ECC-C793-A8BC-6733-91E3D88BB1AA}"/>
              </a:ext>
            </a:extLst>
          </p:cNvPr>
          <p:cNvSpPr txBox="1"/>
          <p:nvPr/>
        </p:nvSpPr>
        <p:spPr>
          <a:xfrm>
            <a:off x="712723" y="2088058"/>
            <a:ext cx="2181232" cy="369332"/>
          </a:xfrm>
          <a:prstGeom prst="rect">
            <a:avLst/>
          </a:prstGeom>
          <a:noFill/>
        </p:spPr>
        <p:txBody>
          <a:bodyPr wrap="square">
            <a:spAutoFit/>
          </a:bodyPr>
          <a:lstStyle/>
          <a:p>
            <a:pPr>
              <a:buSzPct val="100000"/>
            </a:pPr>
            <a:r>
              <a:rPr lang="es-BO" sz="1800" b="1" noProof="0" dirty="0">
                <a:solidFill>
                  <a:schemeClr val="bg1"/>
                </a:solidFill>
                <a:latin typeface="Calibri Light" panose="020F0302020204030204" pitchFamily="34" charset="0"/>
                <a:cs typeface="Calibri Light" panose="020F0302020204030204" pitchFamily="34" charset="0"/>
              </a:rPr>
              <a:t>Capacidad instalada: </a:t>
            </a:r>
          </a:p>
        </p:txBody>
      </p:sp>
      <p:sp>
        <p:nvSpPr>
          <p:cNvPr id="35" name="TextBox 34">
            <a:extLst>
              <a:ext uri="{FF2B5EF4-FFF2-40B4-BE49-F238E27FC236}">
                <a16:creationId xmlns:a16="http://schemas.microsoft.com/office/drawing/2014/main" xmlns="" id="{6F524E1A-FCC2-9B8B-A1C4-1BEAA9528E53}"/>
              </a:ext>
            </a:extLst>
          </p:cNvPr>
          <p:cNvSpPr txBox="1"/>
          <p:nvPr/>
        </p:nvSpPr>
        <p:spPr>
          <a:xfrm>
            <a:off x="3354986" y="2878726"/>
            <a:ext cx="2181232" cy="369332"/>
          </a:xfrm>
          <a:prstGeom prst="rect">
            <a:avLst/>
          </a:prstGeom>
          <a:noFill/>
        </p:spPr>
        <p:txBody>
          <a:bodyPr wrap="square">
            <a:spAutoFit/>
          </a:bodyPr>
          <a:lstStyle/>
          <a:p>
            <a:pPr>
              <a:buSzPct val="100000"/>
            </a:pPr>
            <a:r>
              <a:rPr lang="es-BO" sz="1800" b="1" noProof="0" dirty="0">
                <a:solidFill>
                  <a:schemeClr val="accent3"/>
                </a:solidFill>
                <a:latin typeface="Calibri Light" panose="020F0302020204030204" pitchFamily="34" charset="0"/>
                <a:cs typeface="Calibri Light" panose="020F0302020204030204" pitchFamily="34" charset="0"/>
              </a:rPr>
              <a:t>2 MW</a:t>
            </a:r>
          </a:p>
        </p:txBody>
      </p:sp>
      <p:sp>
        <p:nvSpPr>
          <p:cNvPr id="36" name="TextBox 35">
            <a:extLst>
              <a:ext uri="{FF2B5EF4-FFF2-40B4-BE49-F238E27FC236}">
                <a16:creationId xmlns:a16="http://schemas.microsoft.com/office/drawing/2014/main" xmlns="" id="{A0E8FA56-EB46-E518-ED98-8D7A4BAD579D}"/>
              </a:ext>
            </a:extLst>
          </p:cNvPr>
          <p:cNvSpPr txBox="1"/>
          <p:nvPr/>
        </p:nvSpPr>
        <p:spPr>
          <a:xfrm>
            <a:off x="712723" y="3725022"/>
            <a:ext cx="2181232" cy="369332"/>
          </a:xfrm>
          <a:prstGeom prst="rect">
            <a:avLst/>
          </a:prstGeom>
          <a:noFill/>
        </p:spPr>
        <p:txBody>
          <a:bodyPr wrap="square">
            <a:spAutoFit/>
          </a:bodyPr>
          <a:lstStyle/>
          <a:p>
            <a:pPr>
              <a:buSzPct val="100000"/>
            </a:pPr>
            <a:r>
              <a:rPr lang="es-BO" sz="1800" b="1" noProof="0" dirty="0">
                <a:solidFill>
                  <a:schemeClr val="bg1"/>
                </a:solidFill>
                <a:latin typeface="Calibri Light" panose="020F0302020204030204" pitchFamily="34" charset="0"/>
                <a:cs typeface="Calibri Light" panose="020F0302020204030204" pitchFamily="34" charset="0"/>
              </a:rPr>
              <a:t>Costo de la planta:</a:t>
            </a:r>
          </a:p>
        </p:txBody>
      </p:sp>
      <p:sp>
        <p:nvSpPr>
          <p:cNvPr id="37" name="TextBox 36">
            <a:extLst>
              <a:ext uri="{FF2B5EF4-FFF2-40B4-BE49-F238E27FC236}">
                <a16:creationId xmlns:a16="http://schemas.microsoft.com/office/drawing/2014/main" xmlns="" id="{B833E3AA-D2F2-C38C-2385-31BFAF78D03B}"/>
              </a:ext>
            </a:extLst>
          </p:cNvPr>
          <p:cNvSpPr txBox="1"/>
          <p:nvPr/>
        </p:nvSpPr>
        <p:spPr>
          <a:xfrm>
            <a:off x="2801203" y="4551096"/>
            <a:ext cx="2181232" cy="369332"/>
          </a:xfrm>
          <a:prstGeom prst="rect">
            <a:avLst/>
          </a:prstGeom>
          <a:noFill/>
        </p:spPr>
        <p:txBody>
          <a:bodyPr wrap="square">
            <a:spAutoFit/>
          </a:bodyPr>
          <a:lstStyle/>
          <a:p>
            <a:pPr>
              <a:buSzPct val="100000"/>
            </a:pPr>
            <a:r>
              <a:rPr lang="es-BO" sz="1800" b="1" noProof="0" dirty="0">
                <a:solidFill>
                  <a:schemeClr val="accent3"/>
                </a:solidFill>
                <a:latin typeface="Calibri Light" panose="020F0302020204030204" pitchFamily="34" charset="0"/>
                <a:cs typeface="Calibri Light" panose="020F0302020204030204" pitchFamily="34" charset="0"/>
              </a:rPr>
              <a:t>$</a:t>
            </a:r>
            <a:r>
              <a:rPr lang="es-BO" sz="1800" b="1" noProof="0" dirty="0" err="1">
                <a:solidFill>
                  <a:schemeClr val="accent3"/>
                </a:solidFill>
                <a:latin typeface="Calibri Light" panose="020F0302020204030204" pitchFamily="34" charset="0"/>
                <a:cs typeface="Calibri Light" panose="020F0302020204030204" pitchFamily="34" charset="0"/>
              </a:rPr>
              <a:t>us</a:t>
            </a:r>
            <a:r>
              <a:rPr lang="es-BO" sz="1800" b="1" noProof="0" dirty="0">
                <a:solidFill>
                  <a:schemeClr val="accent3"/>
                </a:solidFill>
                <a:latin typeface="Calibri Light" panose="020F0302020204030204" pitchFamily="34" charset="0"/>
                <a:cs typeface="Calibri Light" panose="020F0302020204030204" pitchFamily="34" charset="0"/>
              </a:rPr>
              <a:t>. 5.000.000,00 </a:t>
            </a:r>
          </a:p>
        </p:txBody>
      </p:sp>
      <p:sp>
        <p:nvSpPr>
          <p:cNvPr id="41" name="Rectangle 40">
            <a:extLst>
              <a:ext uri="{FF2B5EF4-FFF2-40B4-BE49-F238E27FC236}">
                <a16:creationId xmlns:a16="http://schemas.microsoft.com/office/drawing/2014/main" xmlns="" id="{0E4D50C1-0B9F-0990-FE2C-35F0BEB5C48B}"/>
              </a:ext>
            </a:extLst>
          </p:cNvPr>
          <p:cNvSpPr/>
          <p:nvPr/>
        </p:nvSpPr>
        <p:spPr bwMode="gray">
          <a:xfrm>
            <a:off x="2600598" y="2853838"/>
            <a:ext cx="2198887"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43" name="Rectangle 42">
            <a:extLst>
              <a:ext uri="{FF2B5EF4-FFF2-40B4-BE49-F238E27FC236}">
                <a16:creationId xmlns:a16="http://schemas.microsoft.com/office/drawing/2014/main" xmlns="" id="{4538BFF8-8007-D855-7177-2089EF0BE47C}"/>
              </a:ext>
            </a:extLst>
          </p:cNvPr>
          <p:cNvSpPr/>
          <p:nvPr/>
        </p:nvSpPr>
        <p:spPr bwMode="gray">
          <a:xfrm>
            <a:off x="2528409" y="4517483"/>
            <a:ext cx="2198887"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191131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2">
            <a:extLst>
              <a:ext uri="{FF2B5EF4-FFF2-40B4-BE49-F238E27FC236}">
                <a16:creationId xmlns:a16="http://schemas.microsoft.com/office/drawing/2014/main" xmlns="" id="{5D8F46DE-DF56-490B-894A-DF25C2CC4AE0}"/>
              </a:ext>
            </a:extLst>
          </p:cNvPr>
          <p:cNvSpPr/>
          <p:nvPr/>
        </p:nvSpPr>
        <p:spPr bwMode="gray">
          <a:xfrm>
            <a:off x="-874363" y="472852"/>
            <a:ext cx="12621677" cy="891422"/>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2" name="Marcador de número de diapositiva 1"/>
          <p:cNvSpPr>
            <a:spLocks noGrp="1"/>
          </p:cNvSpPr>
          <p:nvPr>
            <p:ph type="sldNum" sz="quarter" idx="4"/>
          </p:nvPr>
        </p:nvSpPr>
        <p:spPr/>
        <p:txBody>
          <a:bodyPr/>
          <a:lstStyle/>
          <a:p>
            <a:fld id="{A8E5AD78-C39A-47FF-83FF-0E69177E1F7C}" type="slidenum">
              <a:rPr lang="es-BO" noProof="0" smtClean="0"/>
              <a:pPr/>
              <a:t>14</a:t>
            </a:fld>
            <a:endParaRPr lang="es-BO" noProof="0" dirty="0"/>
          </a:p>
        </p:txBody>
      </p:sp>
      <p:sp>
        <p:nvSpPr>
          <p:cNvPr id="9" name="CuadroTexto 8">
            <a:extLst>
              <a:ext uri="{FF2B5EF4-FFF2-40B4-BE49-F238E27FC236}">
                <a16:creationId xmlns:a16="http://schemas.microsoft.com/office/drawing/2014/main" xmlns="" id="{F21161E8-E8EF-A7F5-6843-24E65FF7A06B}"/>
              </a:ext>
            </a:extLst>
          </p:cNvPr>
          <p:cNvSpPr txBox="1"/>
          <p:nvPr/>
        </p:nvSpPr>
        <p:spPr>
          <a:xfrm>
            <a:off x="-172153" y="445386"/>
            <a:ext cx="5643496" cy="954107"/>
          </a:xfrm>
          <a:prstGeom prst="rect">
            <a:avLst/>
          </a:prstGeom>
          <a:noFill/>
        </p:spPr>
        <p:txBody>
          <a:bodyPr wrap="square">
            <a:spAutoFit/>
          </a:bodyPr>
          <a:lstStyle/>
          <a:p>
            <a:pPr algn="ctr"/>
            <a:r>
              <a:rPr lang="es-BO" sz="2800" b="1" noProof="0" dirty="0">
                <a:solidFill>
                  <a:schemeClr val="bg1"/>
                </a:solidFill>
              </a:rPr>
              <a:t>PLANTA PILOTO DE H2V EN VILLAMONTES - TARIJA</a:t>
            </a:r>
          </a:p>
        </p:txBody>
      </p:sp>
      <p:grpSp>
        <p:nvGrpSpPr>
          <p:cNvPr id="3" name="Grupo 2">
            <a:extLst>
              <a:ext uri="{FF2B5EF4-FFF2-40B4-BE49-F238E27FC236}">
                <a16:creationId xmlns:a16="http://schemas.microsoft.com/office/drawing/2014/main" xmlns="" id="{70881D44-CED6-455D-901B-4132AF8C4315}"/>
              </a:ext>
            </a:extLst>
          </p:cNvPr>
          <p:cNvGrpSpPr/>
          <p:nvPr/>
        </p:nvGrpSpPr>
        <p:grpSpPr>
          <a:xfrm>
            <a:off x="5151605" y="306206"/>
            <a:ext cx="6702061" cy="6252710"/>
            <a:chOff x="6231486" y="669397"/>
            <a:chExt cx="5912501" cy="5614403"/>
          </a:xfrm>
        </p:grpSpPr>
        <p:sp>
          <p:nvSpPr>
            <p:cNvPr id="12" name="Rectángulo 11">
              <a:extLst>
                <a:ext uri="{FF2B5EF4-FFF2-40B4-BE49-F238E27FC236}">
                  <a16:creationId xmlns:a16="http://schemas.microsoft.com/office/drawing/2014/main" xmlns="" id="{B37D1285-D64C-4771-81B9-2169DDC6369E}"/>
                </a:ext>
              </a:extLst>
            </p:cNvPr>
            <p:cNvSpPr/>
            <p:nvPr/>
          </p:nvSpPr>
          <p:spPr bwMode="gray">
            <a:xfrm>
              <a:off x="6231486" y="669397"/>
              <a:ext cx="5824389" cy="5614403"/>
            </a:xfrm>
            <a:prstGeom prst="rect">
              <a:avLst/>
            </a:prstGeom>
            <a:solidFill>
              <a:srgbClr val="FFFFFF"/>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n>
                  <a:solidFill>
                    <a:schemeClr val="tx1"/>
                  </a:solidFill>
                </a:ln>
                <a:latin typeface="Calibri Light" panose="020F0302020204030204" pitchFamily="34" charset="0"/>
                <a:cs typeface="Calibri Light" panose="020F0302020204030204" pitchFamily="34" charset="0"/>
              </a:endParaRPr>
            </a:p>
          </p:txBody>
        </p:sp>
        <p:pic>
          <p:nvPicPr>
            <p:cNvPr id="16" name="Imagen 15">
              <a:extLst>
                <a:ext uri="{FF2B5EF4-FFF2-40B4-BE49-F238E27FC236}">
                  <a16:creationId xmlns:a16="http://schemas.microsoft.com/office/drawing/2014/main" xmlns="" id="{2F5CC38D-0A23-4ADB-AEF0-3CDC6DB5C384}"/>
                </a:ext>
              </a:extLst>
            </p:cNvPr>
            <p:cNvPicPr>
              <a:picLocks noChangeAspect="1"/>
            </p:cNvPicPr>
            <p:nvPr/>
          </p:nvPicPr>
          <p:blipFill>
            <a:blip r:embed="rId2"/>
            <a:stretch>
              <a:fillRect/>
            </a:stretch>
          </p:blipFill>
          <p:spPr>
            <a:xfrm>
              <a:off x="6332834" y="1177881"/>
              <a:ext cx="5621692" cy="3123284"/>
            </a:xfrm>
            <a:prstGeom prst="rect">
              <a:avLst/>
            </a:prstGeom>
          </p:spPr>
        </p:pic>
        <p:sp>
          <p:nvSpPr>
            <p:cNvPr id="13" name="Rectángulo 12">
              <a:extLst>
                <a:ext uri="{FF2B5EF4-FFF2-40B4-BE49-F238E27FC236}">
                  <a16:creationId xmlns:a16="http://schemas.microsoft.com/office/drawing/2014/main" xmlns="" id="{C694A390-20E4-4C1F-BD01-D68B74EA1D56}"/>
                </a:ext>
              </a:extLst>
            </p:cNvPr>
            <p:cNvSpPr/>
            <p:nvPr/>
          </p:nvSpPr>
          <p:spPr>
            <a:xfrm>
              <a:off x="6231486" y="4752080"/>
              <a:ext cx="3485345" cy="1169551"/>
            </a:xfrm>
            <a:prstGeom prst="rect">
              <a:avLst/>
            </a:prstGeom>
          </p:spPr>
          <p:txBody>
            <a:bodyPr wrap="square">
              <a:spAutoFit/>
            </a:bodyPr>
            <a:lstStyle/>
            <a:p>
              <a:pPr algn="ctr"/>
              <a:r>
                <a:rPr lang="es-BO" sz="1400" b="1" noProof="0" dirty="0"/>
                <a:t>Coordenadas  geográficas </a:t>
              </a:r>
            </a:p>
            <a:p>
              <a:pPr algn="ctr"/>
              <a:r>
                <a:rPr lang="es-BO" sz="1400" b="1" noProof="0" dirty="0"/>
                <a:t>(UTM):  N7648485 E452421 20K</a:t>
              </a:r>
            </a:p>
            <a:p>
              <a:pPr algn="ctr"/>
              <a:endParaRPr lang="es-BO" sz="1400" b="1" noProof="0" dirty="0"/>
            </a:p>
            <a:p>
              <a:pPr algn="ctr"/>
              <a:r>
                <a:rPr lang="es-BO" sz="1400" b="1" noProof="0" dirty="0"/>
                <a:t>Distancia  de Villamontes</a:t>
              </a:r>
            </a:p>
            <a:p>
              <a:pPr algn="ctr"/>
              <a:r>
                <a:rPr lang="es-BO" sz="1400" b="1" noProof="0" dirty="0"/>
                <a:t>17 Km</a:t>
              </a:r>
            </a:p>
          </p:txBody>
        </p:sp>
        <p:pic>
          <p:nvPicPr>
            <p:cNvPr id="14" name="Imagen 13">
              <a:extLst>
                <a:ext uri="{FF2B5EF4-FFF2-40B4-BE49-F238E27FC236}">
                  <a16:creationId xmlns:a16="http://schemas.microsoft.com/office/drawing/2014/main" xmlns="" id="{0564ADF4-2AED-4FF8-A992-130D1CC436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6092" y="1267915"/>
              <a:ext cx="706424" cy="685231"/>
            </a:xfrm>
            <a:prstGeom prst="rect">
              <a:avLst/>
            </a:prstGeom>
          </p:spPr>
        </p:pic>
        <p:sp>
          <p:nvSpPr>
            <p:cNvPr id="19" name="Rectángulo 18">
              <a:extLst>
                <a:ext uri="{FF2B5EF4-FFF2-40B4-BE49-F238E27FC236}">
                  <a16:creationId xmlns:a16="http://schemas.microsoft.com/office/drawing/2014/main" xmlns="" id="{6FBAF24F-29B9-4C43-BD1C-4F9F6CF33689}"/>
                </a:ext>
              </a:extLst>
            </p:cNvPr>
            <p:cNvSpPr/>
            <p:nvPr/>
          </p:nvSpPr>
          <p:spPr>
            <a:xfrm>
              <a:off x="8195541" y="695743"/>
              <a:ext cx="3700903" cy="469807"/>
            </a:xfrm>
            <a:prstGeom prst="rect">
              <a:avLst/>
            </a:prstGeom>
          </p:spPr>
          <p:txBody>
            <a:bodyPr wrap="square">
              <a:spAutoFit/>
            </a:bodyPr>
            <a:lstStyle/>
            <a:p>
              <a:pPr algn="ctr"/>
              <a:r>
                <a:rPr lang="es-BO" sz="1400" b="1" noProof="0" dirty="0"/>
                <a:t>MAPA DE LOCALIZACIÓN DE LA PLANTA PILOTO DE HIDRÓGENO DE VILLAMONTES </a:t>
              </a:r>
            </a:p>
          </p:txBody>
        </p:sp>
        <p:sp>
          <p:nvSpPr>
            <p:cNvPr id="18" name="Elipse 17">
              <a:extLst>
                <a:ext uri="{FF2B5EF4-FFF2-40B4-BE49-F238E27FC236}">
                  <a16:creationId xmlns:a16="http://schemas.microsoft.com/office/drawing/2014/main" xmlns="" id="{5042DE10-716D-4B0B-ABA0-01DFA9C74F80}"/>
                </a:ext>
              </a:extLst>
            </p:cNvPr>
            <p:cNvSpPr/>
            <p:nvPr/>
          </p:nvSpPr>
          <p:spPr bwMode="gray">
            <a:xfrm>
              <a:off x="7430610" y="2041864"/>
              <a:ext cx="204186" cy="177553"/>
            </a:xfrm>
            <a:prstGeom prst="ellipse">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1" name="Elipse 20">
              <a:extLst>
                <a:ext uri="{FF2B5EF4-FFF2-40B4-BE49-F238E27FC236}">
                  <a16:creationId xmlns:a16="http://schemas.microsoft.com/office/drawing/2014/main" xmlns="" id="{1B4F1B90-FB68-4409-B816-59CE858DB963}"/>
                </a:ext>
              </a:extLst>
            </p:cNvPr>
            <p:cNvSpPr/>
            <p:nvPr/>
          </p:nvSpPr>
          <p:spPr bwMode="gray">
            <a:xfrm>
              <a:off x="6539700" y="4349069"/>
              <a:ext cx="204186" cy="177553"/>
            </a:xfrm>
            <a:prstGeom prst="ellipse">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2" name="Rectángulo 21">
              <a:extLst>
                <a:ext uri="{FF2B5EF4-FFF2-40B4-BE49-F238E27FC236}">
                  <a16:creationId xmlns:a16="http://schemas.microsoft.com/office/drawing/2014/main" xmlns="" id="{FAD40E00-4E24-4826-A53B-8D399D830DD9}"/>
                </a:ext>
              </a:extLst>
            </p:cNvPr>
            <p:cNvSpPr/>
            <p:nvPr/>
          </p:nvSpPr>
          <p:spPr>
            <a:xfrm>
              <a:off x="6357584" y="4290591"/>
              <a:ext cx="2786096" cy="276999"/>
            </a:xfrm>
            <a:prstGeom prst="rect">
              <a:avLst/>
            </a:prstGeom>
          </p:spPr>
          <p:txBody>
            <a:bodyPr wrap="square">
              <a:spAutoFit/>
            </a:bodyPr>
            <a:lstStyle/>
            <a:p>
              <a:pPr algn="ctr"/>
              <a:r>
                <a:rPr lang="es-BO" sz="1200" b="1" noProof="0" dirty="0"/>
                <a:t>CIUDAD DE VILLAMONTES </a:t>
              </a:r>
            </a:p>
          </p:txBody>
        </p:sp>
        <p:sp>
          <p:nvSpPr>
            <p:cNvPr id="20" name="Rectángulo 19">
              <a:extLst>
                <a:ext uri="{FF2B5EF4-FFF2-40B4-BE49-F238E27FC236}">
                  <a16:creationId xmlns:a16="http://schemas.microsoft.com/office/drawing/2014/main" xmlns="" id="{41615219-18D6-4EE2-A402-9B1C280EB54F}"/>
                </a:ext>
              </a:extLst>
            </p:cNvPr>
            <p:cNvSpPr/>
            <p:nvPr/>
          </p:nvSpPr>
          <p:spPr bwMode="gray">
            <a:xfrm>
              <a:off x="11043822" y="2739523"/>
              <a:ext cx="221941" cy="238805"/>
            </a:xfrm>
            <a:prstGeom prst="rect">
              <a:avLst/>
            </a:prstGeom>
            <a:solidFill>
              <a:srgbClr val="01F101"/>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4" name="Rectángulo 23">
              <a:extLst>
                <a:ext uri="{FF2B5EF4-FFF2-40B4-BE49-F238E27FC236}">
                  <a16:creationId xmlns:a16="http://schemas.microsoft.com/office/drawing/2014/main" xmlns="" id="{69F59891-1935-48C5-AEB4-FE7EF680025E}"/>
                </a:ext>
              </a:extLst>
            </p:cNvPr>
            <p:cNvSpPr/>
            <p:nvPr/>
          </p:nvSpPr>
          <p:spPr bwMode="gray">
            <a:xfrm>
              <a:off x="8865870" y="4361950"/>
              <a:ext cx="221941" cy="238805"/>
            </a:xfrm>
            <a:prstGeom prst="rect">
              <a:avLst/>
            </a:prstGeom>
            <a:solidFill>
              <a:srgbClr val="01F101"/>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7" name="Rectángulo 26">
              <a:extLst>
                <a:ext uri="{FF2B5EF4-FFF2-40B4-BE49-F238E27FC236}">
                  <a16:creationId xmlns:a16="http://schemas.microsoft.com/office/drawing/2014/main" xmlns="" id="{4ED2A472-645C-464C-A861-92AADE6138EC}"/>
                </a:ext>
              </a:extLst>
            </p:cNvPr>
            <p:cNvSpPr/>
            <p:nvPr/>
          </p:nvSpPr>
          <p:spPr>
            <a:xfrm>
              <a:off x="8929468" y="4286217"/>
              <a:ext cx="3214519" cy="276999"/>
            </a:xfrm>
            <a:prstGeom prst="rect">
              <a:avLst/>
            </a:prstGeom>
          </p:spPr>
          <p:txBody>
            <a:bodyPr wrap="square">
              <a:spAutoFit/>
            </a:bodyPr>
            <a:lstStyle/>
            <a:p>
              <a:pPr algn="ctr"/>
              <a:r>
                <a:rPr lang="es-BO" sz="1200" b="1" noProof="0" dirty="0"/>
                <a:t>PLANTA DE HIDRÓGENO VERDE </a:t>
              </a:r>
            </a:p>
          </p:txBody>
        </p:sp>
        <p:pic>
          <p:nvPicPr>
            <p:cNvPr id="28" name="Picture 14970">
              <a:extLst>
                <a:ext uri="{FF2B5EF4-FFF2-40B4-BE49-F238E27FC236}">
                  <a16:creationId xmlns:a16="http://schemas.microsoft.com/office/drawing/2014/main" xmlns="" id="{1F4D1150-BD06-4C89-A094-7AD7E9A4272F}"/>
                </a:ext>
              </a:extLst>
            </p:cNvPr>
            <p:cNvPicPr/>
            <p:nvPr/>
          </p:nvPicPr>
          <p:blipFill>
            <a:blip r:embed="rId4" cstate="print">
              <a:extLst>
                <a:ext uri="{28A0092B-C50C-407E-A947-70E740481C1C}">
                  <a14:useLocalDpi xmlns:a14="http://schemas.microsoft.com/office/drawing/2010/main"/>
                </a:ext>
              </a:extLst>
            </a:blip>
            <a:stretch>
              <a:fillRect/>
            </a:stretch>
          </p:blipFill>
          <p:spPr>
            <a:xfrm>
              <a:off x="6332834" y="729498"/>
              <a:ext cx="1523904" cy="294449"/>
            </a:xfrm>
            <a:prstGeom prst="rect">
              <a:avLst/>
            </a:prstGeom>
          </p:spPr>
        </p:pic>
        <p:pic>
          <p:nvPicPr>
            <p:cNvPr id="5" name="Imagen 4">
              <a:extLst>
                <a:ext uri="{FF2B5EF4-FFF2-40B4-BE49-F238E27FC236}">
                  <a16:creationId xmlns:a16="http://schemas.microsoft.com/office/drawing/2014/main" xmlns="" id="{26A46C97-CBA6-4432-9DD2-0185B8C135A7}"/>
                </a:ext>
              </a:extLst>
            </p:cNvPr>
            <p:cNvPicPr>
              <a:picLocks noChangeAspect="1"/>
            </p:cNvPicPr>
            <p:nvPr/>
          </p:nvPicPr>
          <p:blipFill>
            <a:blip r:embed="rId5"/>
            <a:stretch>
              <a:fillRect/>
            </a:stretch>
          </p:blipFill>
          <p:spPr>
            <a:xfrm>
              <a:off x="9892566" y="4563710"/>
              <a:ext cx="1604529" cy="1662196"/>
            </a:xfrm>
            <a:prstGeom prst="rect">
              <a:avLst/>
            </a:prstGeom>
            <a:ln w="19050">
              <a:solidFill>
                <a:schemeClr val="tx1"/>
              </a:solidFill>
            </a:ln>
          </p:spPr>
        </p:pic>
      </p:grpSp>
      <p:sp>
        <p:nvSpPr>
          <p:cNvPr id="17" name="Rectangle 16">
            <a:extLst>
              <a:ext uri="{FF2B5EF4-FFF2-40B4-BE49-F238E27FC236}">
                <a16:creationId xmlns:a16="http://schemas.microsoft.com/office/drawing/2014/main" xmlns="" id="{CB3CE602-70F2-B8A1-F688-4EAE1728A323}"/>
              </a:ext>
            </a:extLst>
          </p:cNvPr>
          <p:cNvSpPr/>
          <p:nvPr/>
        </p:nvSpPr>
        <p:spPr bwMode="gray">
          <a:xfrm>
            <a:off x="479911" y="4149329"/>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25" name="Rectangle 24">
            <a:extLst>
              <a:ext uri="{FF2B5EF4-FFF2-40B4-BE49-F238E27FC236}">
                <a16:creationId xmlns:a16="http://schemas.microsoft.com/office/drawing/2014/main" xmlns="" id="{17DA0211-16B6-D44C-D600-E4BF7B8BD3C9}"/>
              </a:ext>
            </a:extLst>
          </p:cNvPr>
          <p:cNvSpPr/>
          <p:nvPr/>
        </p:nvSpPr>
        <p:spPr bwMode="gray">
          <a:xfrm>
            <a:off x="552986" y="2491000"/>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xmlns="" id="{8B9E4621-2448-B890-B2F2-CE80D3843E69}"/>
              </a:ext>
            </a:extLst>
          </p:cNvPr>
          <p:cNvSpPr txBox="1"/>
          <p:nvPr/>
        </p:nvSpPr>
        <p:spPr>
          <a:xfrm>
            <a:off x="680795" y="2515888"/>
            <a:ext cx="2181232" cy="369332"/>
          </a:xfrm>
          <a:prstGeom prst="rect">
            <a:avLst/>
          </a:prstGeom>
          <a:noFill/>
        </p:spPr>
        <p:txBody>
          <a:bodyPr wrap="square">
            <a:spAutoFit/>
          </a:bodyPr>
          <a:lstStyle/>
          <a:p>
            <a:pPr>
              <a:buSzPct val="100000"/>
            </a:pPr>
            <a:r>
              <a:rPr lang="es-BO" sz="1800" b="1" noProof="0" dirty="0">
                <a:solidFill>
                  <a:schemeClr val="bg1"/>
                </a:solidFill>
                <a:latin typeface="Calibri Light" panose="020F0302020204030204" pitchFamily="34" charset="0"/>
                <a:cs typeface="Calibri Light" panose="020F0302020204030204" pitchFamily="34" charset="0"/>
              </a:rPr>
              <a:t>Capacidad instalada: </a:t>
            </a:r>
          </a:p>
        </p:txBody>
      </p:sp>
      <p:sp>
        <p:nvSpPr>
          <p:cNvPr id="29" name="TextBox 28">
            <a:extLst>
              <a:ext uri="{FF2B5EF4-FFF2-40B4-BE49-F238E27FC236}">
                <a16:creationId xmlns:a16="http://schemas.microsoft.com/office/drawing/2014/main" xmlns="" id="{AFCF751F-0023-85B8-C4DA-CC27DA2205E4}"/>
              </a:ext>
            </a:extLst>
          </p:cNvPr>
          <p:cNvSpPr txBox="1"/>
          <p:nvPr/>
        </p:nvSpPr>
        <p:spPr>
          <a:xfrm>
            <a:off x="3323058" y="3306556"/>
            <a:ext cx="2181232" cy="369332"/>
          </a:xfrm>
          <a:prstGeom prst="rect">
            <a:avLst/>
          </a:prstGeom>
          <a:noFill/>
        </p:spPr>
        <p:txBody>
          <a:bodyPr wrap="square">
            <a:spAutoFit/>
          </a:bodyPr>
          <a:lstStyle/>
          <a:p>
            <a:pPr>
              <a:buSzPct val="100000"/>
            </a:pPr>
            <a:r>
              <a:rPr lang="es-BO" sz="1800" b="1" noProof="0" dirty="0">
                <a:solidFill>
                  <a:schemeClr val="accent3"/>
                </a:solidFill>
                <a:latin typeface="Calibri Light" panose="020F0302020204030204" pitchFamily="34" charset="0"/>
                <a:cs typeface="Calibri Light" panose="020F0302020204030204" pitchFamily="34" charset="0"/>
              </a:rPr>
              <a:t>2 MW</a:t>
            </a:r>
          </a:p>
        </p:txBody>
      </p:sp>
      <p:sp>
        <p:nvSpPr>
          <p:cNvPr id="30" name="TextBox 29">
            <a:extLst>
              <a:ext uri="{FF2B5EF4-FFF2-40B4-BE49-F238E27FC236}">
                <a16:creationId xmlns:a16="http://schemas.microsoft.com/office/drawing/2014/main" xmlns="" id="{CB5E4B6E-D25F-F883-5BBD-F91AD15DBF45}"/>
              </a:ext>
            </a:extLst>
          </p:cNvPr>
          <p:cNvSpPr txBox="1"/>
          <p:nvPr/>
        </p:nvSpPr>
        <p:spPr>
          <a:xfrm>
            <a:off x="680795" y="4152852"/>
            <a:ext cx="2181232" cy="369332"/>
          </a:xfrm>
          <a:prstGeom prst="rect">
            <a:avLst/>
          </a:prstGeom>
          <a:noFill/>
        </p:spPr>
        <p:txBody>
          <a:bodyPr wrap="square">
            <a:spAutoFit/>
          </a:bodyPr>
          <a:lstStyle/>
          <a:p>
            <a:pPr>
              <a:buSzPct val="100000"/>
            </a:pPr>
            <a:r>
              <a:rPr lang="es-BO" sz="1800" b="1" noProof="0" dirty="0">
                <a:solidFill>
                  <a:schemeClr val="bg1"/>
                </a:solidFill>
                <a:latin typeface="Calibri Light" panose="020F0302020204030204" pitchFamily="34" charset="0"/>
                <a:cs typeface="Calibri Light" panose="020F0302020204030204" pitchFamily="34" charset="0"/>
              </a:rPr>
              <a:t>Costo de la planta:</a:t>
            </a:r>
          </a:p>
        </p:txBody>
      </p:sp>
      <p:sp>
        <p:nvSpPr>
          <p:cNvPr id="31" name="TextBox 30">
            <a:extLst>
              <a:ext uri="{FF2B5EF4-FFF2-40B4-BE49-F238E27FC236}">
                <a16:creationId xmlns:a16="http://schemas.microsoft.com/office/drawing/2014/main" xmlns="" id="{86C325BB-DA7D-FE92-B55D-7652F2977313}"/>
              </a:ext>
            </a:extLst>
          </p:cNvPr>
          <p:cNvSpPr txBox="1"/>
          <p:nvPr/>
        </p:nvSpPr>
        <p:spPr>
          <a:xfrm>
            <a:off x="2769275" y="4978926"/>
            <a:ext cx="2181232" cy="369332"/>
          </a:xfrm>
          <a:prstGeom prst="rect">
            <a:avLst/>
          </a:prstGeom>
          <a:noFill/>
        </p:spPr>
        <p:txBody>
          <a:bodyPr wrap="square">
            <a:spAutoFit/>
          </a:bodyPr>
          <a:lstStyle/>
          <a:p>
            <a:pPr>
              <a:buSzPct val="100000"/>
            </a:pPr>
            <a:r>
              <a:rPr lang="es-BO" sz="1800" b="1" noProof="0" dirty="0">
                <a:solidFill>
                  <a:schemeClr val="accent3"/>
                </a:solidFill>
                <a:latin typeface="Calibri Light" panose="020F0302020204030204" pitchFamily="34" charset="0"/>
                <a:cs typeface="Calibri Light" panose="020F0302020204030204" pitchFamily="34" charset="0"/>
              </a:rPr>
              <a:t>$</a:t>
            </a:r>
            <a:r>
              <a:rPr lang="es-BO" sz="1800" b="1" noProof="0" dirty="0" err="1">
                <a:solidFill>
                  <a:schemeClr val="accent3"/>
                </a:solidFill>
                <a:latin typeface="Calibri Light" panose="020F0302020204030204" pitchFamily="34" charset="0"/>
                <a:cs typeface="Calibri Light" panose="020F0302020204030204" pitchFamily="34" charset="0"/>
              </a:rPr>
              <a:t>us</a:t>
            </a:r>
            <a:r>
              <a:rPr lang="es-BO" sz="1800" b="1" noProof="0" dirty="0">
                <a:solidFill>
                  <a:schemeClr val="accent3"/>
                </a:solidFill>
                <a:latin typeface="Calibri Light" panose="020F0302020204030204" pitchFamily="34" charset="0"/>
                <a:cs typeface="Calibri Light" panose="020F0302020204030204" pitchFamily="34" charset="0"/>
              </a:rPr>
              <a:t>. 5.000.000,00 </a:t>
            </a:r>
          </a:p>
        </p:txBody>
      </p:sp>
      <p:sp>
        <p:nvSpPr>
          <p:cNvPr id="32" name="Rectangle 31">
            <a:extLst>
              <a:ext uri="{FF2B5EF4-FFF2-40B4-BE49-F238E27FC236}">
                <a16:creationId xmlns:a16="http://schemas.microsoft.com/office/drawing/2014/main" xmlns="" id="{0FF14122-7555-027E-D76B-E2594644FEB5}"/>
              </a:ext>
            </a:extLst>
          </p:cNvPr>
          <p:cNvSpPr/>
          <p:nvPr/>
        </p:nvSpPr>
        <p:spPr bwMode="gray">
          <a:xfrm>
            <a:off x="2568670" y="3281668"/>
            <a:ext cx="2198887"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33" name="Rectangle 32">
            <a:extLst>
              <a:ext uri="{FF2B5EF4-FFF2-40B4-BE49-F238E27FC236}">
                <a16:creationId xmlns:a16="http://schemas.microsoft.com/office/drawing/2014/main" xmlns="" id="{0D3A65DD-5518-AD69-E1C4-F93DFD91B4A6}"/>
              </a:ext>
            </a:extLst>
          </p:cNvPr>
          <p:cNvSpPr/>
          <p:nvPr/>
        </p:nvSpPr>
        <p:spPr bwMode="gray">
          <a:xfrm>
            <a:off x="2496481" y="4945313"/>
            <a:ext cx="2198887"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1888285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
            <a:extLst>
              <a:ext uri="{FF2B5EF4-FFF2-40B4-BE49-F238E27FC236}">
                <a16:creationId xmlns:a16="http://schemas.microsoft.com/office/drawing/2014/main" xmlns="" id="{F1983977-E4B9-6D4C-6361-200CCDD31AE7}"/>
              </a:ext>
            </a:extLst>
          </p:cNvPr>
          <p:cNvSpPr/>
          <p:nvPr/>
        </p:nvSpPr>
        <p:spPr bwMode="gray">
          <a:xfrm>
            <a:off x="-877538" y="662184"/>
            <a:ext cx="12621677" cy="891422"/>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pSp>
        <p:nvGrpSpPr>
          <p:cNvPr id="5" name="Grupo 4">
            <a:extLst>
              <a:ext uri="{FF2B5EF4-FFF2-40B4-BE49-F238E27FC236}">
                <a16:creationId xmlns:a16="http://schemas.microsoft.com/office/drawing/2014/main" xmlns="" id="{D0BE59B5-C9F5-4BF8-B37B-037C1EE2C50A}"/>
              </a:ext>
            </a:extLst>
          </p:cNvPr>
          <p:cNvGrpSpPr/>
          <p:nvPr/>
        </p:nvGrpSpPr>
        <p:grpSpPr>
          <a:xfrm>
            <a:off x="4813224" y="313975"/>
            <a:ext cx="7087701" cy="6106985"/>
            <a:chOff x="5664630" y="599647"/>
            <a:chExt cx="6479357" cy="5666143"/>
          </a:xfrm>
        </p:grpSpPr>
        <p:sp>
          <p:nvSpPr>
            <p:cNvPr id="12" name="Rectángulo 11">
              <a:extLst>
                <a:ext uri="{FF2B5EF4-FFF2-40B4-BE49-F238E27FC236}">
                  <a16:creationId xmlns:a16="http://schemas.microsoft.com/office/drawing/2014/main" xmlns="" id="{B37D1285-D64C-4771-81B9-2169DDC6369E}"/>
                </a:ext>
              </a:extLst>
            </p:cNvPr>
            <p:cNvSpPr/>
            <p:nvPr/>
          </p:nvSpPr>
          <p:spPr bwMode="gray">
            <a:xfrm>
              <a:off x="6231485" y="651387"/>
              <a:ext cx="5824389" cy="5614403"/>
            </a:xfrm>
            <a:prstGeom prst="rect">
              <a:avLst/>
            </a:prstGeom>
            <a:solidFill>
              <a:srgbClr val="FFFFFF"/>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n>
                  <a:solidFill>
                    <a:schemeClr val="tx1"/>
                  </a:solidFill>
                </a:ln>
                <a:latin typeface="Calibri Light" panose="020F0302020204030204" pitchFamily="34" charset="0"/>
                <a:cs typeface="Calibri Light" panose="020F0302020204030204" pitchFamily="34" charset="0"/>
              </a:endParaRPr>
            </a:p>
          </p:txBody>
        </p:sp>
        <p:sp>
          <p:nvSpPr>
            <p:cNvPr id="13" name="Rectángulo 12">
              <a:extLst>
                <a:ext uri="{FF2B5EF4-FFF2-40B4-BE49-F238E27FC236}">
                  <a16:creationId xmlns:a16="http://schemas.microsoft.com/office/drawing/2014/main" xmlns="" id="{C694A390-20E4-4C1F-BD01-D68B74EA1D56}"/>
                </a:ext>
              </a:extLst>
            </p:cNvPr>
            <p:cNvSpPr/>
            <p:nvPr/>
          </p:nvSpPr>
          <p:spPr>
            <a:xfrm>
              <a:off x="6332834" y="5326436"/>
              <a:ext cx="3485345" cy="738664"/>
            </a:xfrm>
            <a:prstGeom prst="rect">
              <a:avLst/>
            </a:prstGeom>
          </p:spPr>
          <p:txBody>
            <a:bodyPr wrap="square">
              <a:spAutoFit/>
            </a:bodyPr>
            <a:lstStyle/>
            <a:p>
              <a:pPr algn="ctr"/>
              <a:r>
                <a:rPr lang="es-BO" sz="1400" b="1" noProof="0" dirty="0"/>
                <a:t>Coordenadas  geográficas </a:t>
              </a:r>
            </a:p>
            <a:p>
              <a:pPr algn="ctr"/>
              <a:r>
                <a:rPr lang="es-BO" sz="1400" b="1" noProof="0" dirty="0"/>
                <a:t>(UTM):  N8162718 E394863 19S</a:t>
              </a:r>
            </a:p>
            <a:p>
              <a:pPr algn="ctr"/>
              <a:endParaRPr lang="es-BO" sz="1400" b="1" noProof="0" dirty="0"/>
            </a:p>
          </p:txBody>
        </p:sp>
        <p:sp>
          <p:nvSpPr>
            <p:cNvPr id="19" name="Rectángulo 18">
              <a:extLst>
                <a:ext uri="{FF2B5EF4-FFF2-40B4-BE49-F238E27FC236}">
                  <a16:creationId xmlns:a16="http://schemas.microsoft.com/office/drawing/2014/main" xmlns="" id="{6FBAF24F-29B9-4C43-BD1C-4F9F6CF33689}"/>
                </a:ext>
              </a:extLst>
            </p:cNvPr>
            <p:cNvSpPr/>
            <p:nvPr/>
          </p:nvSpPr>
          <p:spPr>
            <a:xfrm>
              <a:off x="8326597" y="599647"/>
              <a:ext cx="3627384" cy="485451"/>
            </a:xfrm>
            <a:prstGeom prst="rect">
              <a:avLst/>
            </a:prstGeom>
          </p:spPr>
          <p:txBody>
            <a:bodyPr wrap="square">
              <a:spAutoFit/>
            </a:bodyPr>
            <a:lstStyle/>
            <a:p>
              <a:pPr algn="ctr"/>
              <a:r>
                <a:rPr lang="es-BO" sz="1400" b="1" noProof="0" dirty="0"/>
                <a:t>MAPA DE LOCALIZACIÓN DE LA PLANTA INDUSTRIAL DE HIDRÓGENO </a:t>
              </a:r>
            </a:p>
          </p:txBody>
        </p:sp>
        <p:sp>
          <p:nvSpPr>
            <p:cNvPr id="22" name="Rectángulo 21">
              <a:extLst>
                <a:ext uri="{FF2B5EF4-FFF2-40B4-BE49-F238E27FC236}">
                  <a16:creationId xmlns:a16="http://schemas.microsoft.com/office/drawing/2014/main" xmlns="" id="{FAD40E00-4E24-4826-A53B-8D399D830DD9}"/>
                </a:ext>
              </a:extLst>
            </p:cNvPr>
            <p:cNvSpPr/>
            <p:nvPr/>
          </p:nvSpPr>
          <p:spPr>
            <a:xfrm>
              <a:off x="6743886" y="4743271"/>
              <a:ext cx="3515132" cy="276999"/>
            </a:xfrm>
            <a:prstGeom prst="rect">
              <a:avLst/>
            </a:prstGeom>
          </p:spPr>
          <p:txBody>
            <a:bodyPr wrap="square">
              <a:spAutoFit/>
            </a:bodyPr>
            <a:lstStyle/>
            <a:p>
              <a:pPr algn="ctr"/>
              <a:r>
                <a:rPr lang="es-BO" sz="1200" b="1" noProof="0" dirty="0"/>
                <a:t>PARQUE EÓLICO DE WARNES </a:t>
              </a:r>
            </a:p>
          </p:txBody>
        </p:sp>
        <p:sp>
          <p:nvSpPr>
            <p:cNvPr id="24" name="Rectángulo 23">
              <a:extLst>
                <a:ext uri="{FF2B5EF4-FFF2-40B4-BE49-F238E27FC236}">
                  <a16:creationId xmlns:a16="http://schemas.microsoft.com/office/drawing/2014/main" xmlns="" id="{69F59891-1935-48C5-AEB4-FE7EF680025E}"/>
                </a:ext>
              </a:extLst>
            </p:cNvPr>
            <p:cNvSpPr/>
            <p:nvPr/>
          </p:nvSpPr>
          <p:spPr bwMode="gray">
            <a:xfrm>
              <a:off x="8865870" y="4361950"/>
              <a:ext cx="221941" cy="238805"/>
            </a:xfrm>
            <a:prstGeom prst="rect">
              <a:avLst/>
            </a:prstGeom>
            <a:solidFill>
              <a:srgbClr val="01F101"/>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7" name="Rectángulo 26">
              <a:extLst>
                <a:ext uri="{FF2B5EF4-FFF2-40B4-BE49-F238E27FC236}">
                  <a16:creationId xmlns:a16="http://schemas.microsoft.com/office/drawing/2014/main" xmlns="" id="{4ED2A472-645C-464C-A861-92AADE6138EC}"/>
                </a:ext>
              </a:extLst>
            </p:cNvPr>
            <p:cNvSpPr/>
            <p:nvPr/>
          </p:nvSpPr>
          <p:spPr>
            <a:xfrm>
              <a:off x="8929468" y="4286217"/>
              <a:ext cx="3214519" cy="276999"/>
            </a:xfrm>
            <a:prstGeom prst="rect">
              <a:avLst/>
            </a:prstGeom>
          </p:spPr>
          <p:txBody>
            <a:bodyPr wrap="square">
              <a:spAutoFit/>
            </a:bodyPr>
            <a:lstStyle/>
            <a:p>
              <a:pPr algn="ctr"/>
              <a:r>
                <a:rPr lang="es-BO" sz="1200" b="1" noProof="0" dirty="0"/>
                <a:t>PLANTA DE HIDRÓGENO VERDE </a:t>
              </a:r>
            </a:p>
          </p:txBody>
        </p:sp>
        <p:pic>
          <p:nvPicPr>
            <p:cNvPr id="28" name="Picture 14970">
              <a:extLst>
                <a:ext uri="{FF2B5EF4-FFF2-40B4-BE49-F238E27FC236}">
                  <a16:creationId xmlns:a16="http://schemas.microsoft.com/office/drawing/2014/main" xmlns="" id="{1F4D1150-BD06-4C89-A094-7AD7E9A4272F}"/>
                </a:ext>
              </a:extLst>
            </p:cNvPr>
            <p:cNvPicPr/>
            <p:nvPr/>
          </p:nvPicPr>
          <p:blipFill>
            <a:blip r:embed="rId2" cstate="print">
              <a:extLst>
                <a:ext uri="{28A0092B-C50C-407E-A947-70E740481C1C}">
                  <a14:useLocalDpi xmlns:a14="http://schemas.microsoft.com/office/drawing/2010/main"/>
                </a:ext>
              </a:extLst>
            </a:blip>
            <a:stretch>
              <a:fillRect/>
            </a:stretch>
          </p:blipFill>
          <p:spPr>
            <a:xfrm>
              <a:off x="6332834" y="729498"/>
              <a:ext cx="1523904" cy="294449"/>
            </a:xfrm>
            <a:prstGeom prst="rect">
              <a:avLst/>
            </a:prstGeom>
          </p:spPr>
        </p:pic>
        <p:sp>
          <p:nvSpPr>
            <p:cNvPr id="3" name="Rectángulo 2"/>
            <p:cNvSpPr/>
            <p:nvPr/>
          </p:nvSpPr>
          <p:spPr bwMode="gray">
            <a:xfrm>
              <a:off x="6539700" y="4766829"/>
              <a:ext cx="373131" cy="239388"/>
            </a:xfrm>
            <a:prstGeom prst="rect">
              <a:avLst/>
            </a:prstGeom>
            <a:solidFill>
              <a:schemeClr val="accent6">
                <a:lumMod val="5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4" name="Imagen 3"/>
            <p:cNvPicPr>
              <a:picLocks noChangeAspect="1"/>
            </p:cNvPicPr>
            <p:nvPr/>
          </p:nvPicPr>
          <p:blipFill rotWithShape="1">
            <a:blip r:embed="rId3"/>
            <a:srcRect l="27000" t="26231" r="18162" b="9563"/>
            <a:stretch/>
          </p:blipFill>
          <p:spPr>
            <a:xfrm>
              <a:off x="6489008" y="1053025"/>
              <a:ext cx="5433508" cy="3214331"/>
            </a:xfrm>
            <a:prstGeom prst="rect">
              <a:avLst/>
            </a:prstGeom>
          </p:spPr>
        </p:pic>
        <p:sp>
          <p:nvSpPr>
            <p:cNvPr id="26" name="Rectángulo 25">
              <a:extLst>
                <a:ext uri="{FF2B5EF4-FFF2-40B4-BE49-F238E27FC236}">
                  <a16:creationId xmlns:a16="http://schemas.microsoft.com/office/drawing/2014/main" xmlns="" id="{4ED2A472-645C-464C-A861-92AADE6138EC}"/>
                </a:ext>
              </a:extLst>
            </p:cNvPr>
            <p:cNvSpPr/>
            <p:nvPr/>
          </p:nvSpPr>
          <p:spPr>
            <a:xfrm>
              <a:off x="5664630" y="4301830"/>
              <a:ext cx="3214519" cy="276999"/>
            </a:xfrm>
            <a:prstGeom prst="rect">
              <a:avLst/>
            </a:prstGeom>
          </p:spPr>
          <p:txBody>
            <a:bodyPr wrap="square">
              <a:spAutoFit/>
            </a:bodyPr>
            <a:lstStyle/>
            <a:p>
              <a:pPr algn="ctr"/>
              <a:r>
                <a:rPr lang="es-BO" sz="1200" b="1" noProof="0" dirty="0"/>
                <a:t>WARNES</a:t>
              </a:r>
            </a:p>
          </p:txBody>
        </p:sp>
        <p:pic>
          <p:nvPicPr>
            <p:cNvPr id="27650" name="Picture 2" descr="Mapa de Cochabamba. Bolivia. 3.ª: ilustración de stock 200865722 |  Shutterstock"/>
            <p:cNvPicPr>
              <a:picLocks noChangeAspect="1" noChangeArrowheads="1"/>
            </p:cNvPicPr>
            <p:nvPr/>
          </p:nvPicPr>
          <p:blipFill rotWithShape="1">
            <a:blip r:embed="rId4">
              <a:extLst>
                <a:ext uri="{28A0092B-C50C-407E-A947-70E740481C1C}">
                  <a14:useLocalDpi xmlns:a14="http://schemas.microsoft.com/office/drawing/2010/main" val="0"/>
                </a:ext>
              </a:extLst>
            </a:blip>
            <a:srcRect l="13747" t="4987" r="11866" b="7594"/>
            <a:stretch/>
          </p:blipFill>
          <p:spPr bwMode="auto">
            <a:xfrm>
              <a:off x="10197569" y="4578829"/>
              <a:ext cx="1607128" cy="152400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Marcador de número de diapositiva 1"/>
          <p:cNvSpPr>
            <a:spLocks noGrp="1"/>
          </p:cNvSpPr>
          <p:nvPr>
            <p:ph type="sldNum" sz="quarter" idx="4"/>
          </p:nvPr>
        </p:nvSpPr>
        <p:spPr/>
        <p:txBody>
          <a:bodyPr/>
          <a:lstStyle/>
          <a:p>
            <a:fld id="{A8E5AD78-C39A-47FF-83FF-0E69177E1F7C}" type="slidenum">
              <a:rPr lang="es-BO" noProof="0" smtClean="0"/>
              <a:pPr/>
              <a:t>15</a:t>
            </a:fld>
            <a:endParaRPr lang="es-BO" noProof="0" dirty="0"/>
          </a:p>
        </p:txBody>
      </p:sp>
      <p:sp>
        <p:nvSpPr>
          <p:cNvPr id="9" name="CuadroTexto 8">
            <a:extLst>
              <a:ext uri="{FF2B5EF4-FFF2-40B4-BE49-F238E27FC236}">
                <a16:creationId xmlns:a16="http://schemas.microsoft.com/office/drawing/2014/main" xmlns="" id="{F21161E8-E8EF-A7F5-6843-24E65FF7A06B}"/>
              </a:ext>
            </a:extLst>
          </p:cNvPr>
          <p:cNvSpPr txBox="1"/>
          <p:nvPr/>
        </p:nvSpPr>
        <p:spPr>
          <a:xfrm>
            <a:off x="268927" y="612608"/>
            <a:ext cx="4983124" cy="1477328"/>
          </a:xfrm>
          <a:prstGeom prst="rect">
            <a:avLst/>
          </a:prstGeom>
          <a:noFill/>
        </p:spPr>
        <p:txBody>
          <a:bodyPr wrap="square">
            <a:spAutoFit/>
          </a:bodyPr>
          <a:lstStyle/>
          <a:p>
            <a:pPr algn="ctr"/>
            <a:r>
              <a:rPr lang="es-BO" sz="3000" b="1" noProof="0" dirty="0">
                <a:solidFill>
                  <a:schemeClr val="bg1"/>
                </a:solidFill>
              </a:rPr>
              <a:t>PLANTA SEMI INDUSTRIAL H2V EN  WARNES  - SANTA CRUZ</a:t>
            </a:r>
          </a:p>
        </p:txBody>
      </p:sp>
      <p:sp>
        <p:nvSpPr>
          <p:cNvPr id="18" name="Elipse 17">
            <a:extLst>
              <a:ext uri="{FF2B5EF4-FFF2-40B4-BE49-F238E27FC236}">
                <a16:creationId xmlns:a16="http://schemas.microsoft.com/office/drawing/2014/main" xmlns="" id="{5042DE10-716D-4B0B-ABA0-01DFA9C74F80}"/>
              </a:ext>
            </a:extLst>
          </p:cNvPr>
          <p:cNvSpPr/>
          <p:nvPr/>
        </p:nvSpPr>
        <p:spPr bwMode="gray">
          <a:xfrm>
            <a:off x="7430610" y="2041864"/>
            <a:ext cx="204186" cy="177553"/>
          </a:xfrm>
          <a:prstGeom prst="ellipse">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0" name="Rectángulo 19">
            <a:extLst>
              <a:ext uri="{FF2B5EF4-FFF2-40B4-BE49-F238E27FC236}">
                <a16:creationId xmlns:a16="http://schemas.microsoft.com/office/drawing/2014/main" xmlns="" id="{41615219-18D6-4EE2-A402-9B1C280EB54F}"/>
              </a:ext>
            </a:extLst>
          </p:cNvPr>
          <p:cNvSpPr/>
          <p:nvPr/>
        </p:nvSpPr>
        <p:spPr bwMode="gray">
          <a:xfrm>
            <a:off x="9274284" y="2898569"/>
            <a:ext cx="221941" cy="238805"/>
          </a:xfrm>
          <a:prstGeom prst="rect">
            <a:avLst/>
          </a:prstGeom>
          <a:solidFill>
            <a:srgbClr val="01F101"/>
          </a:solidFill>
          <a:ln w="19050"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5" name="Rectángulo 24"/>
          <p:cNvSpPr/>
          <p:nvPr/>
        </p:nvSpPr>
        <p:spPr bwMode="gray">
          <a:xfrm rot="19047635">
            <a:off x="9109823" y="2080571"/>
            <a:ext cx="1757566" cy="197679"/>
          </a:xfrm>
          <a:prstGeom prst="rect">
            <a:avLst/>
          </a:prstGeom>
          <a:solidFill>
            <a:schemeClr val="accent6">
              <a:lumMod val="5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pic>
        <p:nvPicPr>
          <p:cNvPr id="14" name="Imagen 13">
            <a:extLst>
              <a:ext uri="{FF2B5EF4-FFF2-40B4-BE49-F238E27FC236}">
                <a16:creationId xmlns:a16="http://schemas.microsoft.com/office/drawing/2014/main" xmlns="" id="{0564ADF4-2AED-4FF8-A992-130D1CC436A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33288" y="1419245"/>
            <a:ext cx="706424" cy="685231"/>
          </a:xfrm>
          <a:prstGeom prst="rect">
            <a:avLst/>
          </a:prstGeom>
        </p:spPr>
      </p:pic>
      <p:sp>
        <p:nvSpPr>
          <p:cNvPr id="6" name="Rectangle 5">
            <a:extLst>
              <a:ext uri="{FF2B5EF4-FFF2-40B4-BE49-F238E27FC236}">
                <a16:creationId xmlns:a16="http://schemas.microsoft.com/office/drawing/2014/main" xmlns="" id="{27C48DBB-F2BE-B91C-10E2-C961BAAF35E8}"/>
              </a:ext>
            </a:extLst>
          </p:cNvPr>
          <p:cNvSpPr/>
          <p:nvPr/>
        </p:nvSpPr>
        <p:spPr bwMode="gray">
          <a:xfrm>
            <a:off x="448731" y="3912947"/>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xmlns="" id="{C34C1B10-E8E3-6897-0AD8-7126031C8465}"/>
              </a:ext>
            </a:extLst>
          </p:cNvPr>
          <p:cNvSpPr/>
          <p:nvPr/>
        </p:nvSpPr>
        <p:spPr bwMode="gray">
          <a:xfrm>
            <a:off x="533340" y="2244112"/>
            <a:ext cx="2312638" cy="419108"/>
          </a:xfrm>
          <a:prstGeom prst="rect">
            <a:avLst/>
          </a:prstGeom>
          <a:solidFill>
            <a:srgbClr val="046A38"/>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xmlns="" id="{9CA7C28D-690F-E059-0F2B-88510C3B87A0}"/>
              </a:ext>
            </a:extLst>
          </p:cNvPr>
          <p:cNvSpPr txBox="1"/>
          <p:nvPr/>
        </p:nvSpPr>
        <p:spPr>
          <a:xfrm>
            <a:off x="661149" y="2269000"/>
            <a:ext cx="2181232" cy="369332"/>
          </a:xfrm>
          <a:prstGeom prst="rect">
            <a:avLst/>
          </a:prstGeom>
          <a:noFill/>
        </p:spPr>
        <p:txBody>
          <a:bodyPr wrap="square">
            <a:spAutoFit/>
          </a:bodyPr>
          <a:lstStyle/>
          <a:p>
            <a:pPr>
              <a:buSzPct val="100000"/>
            </a:pPr>
            <a:r>
              <a:rPr lang="es-BO" sz="1800" b="1" noProof="0" dirty="0">
                <a:solidFill>
                  <a:schemeClr val="bg1"/>
                </a:solidFill>
                <a:latin typeface="Calibri Light" panose="020F0302020204030204" pitchFamily="34" charset="0"/>
                <a:cs typeface="Calibri Light" panose="020F0302020204030204" pitchFamily="34" charset="0"/>
              </a:rPr>
              <a:t>Capacidad instalada: </a:t>
            </a:r>
          </a:p>
        </p:txBody>
      </p:sp>
      <p:sp>
        <p:nvSpPr>
          <p:cNvPr id="10" name="TextBox 9">
            <a:extLst>
              <a:ext uri="{FF2B5EF4-FFF2-40B4-BE49-F238E27FC236}">
                <a16:creationId xmlns:a16="http://schemas.microsoft.com/office/drawing/2014/main" xmlns="" id="{2A258890-C1BC-8EA0-9100-CEBB264EF210}"/>
              </a:ext>
            </a:extLst>
          </p:cNvPr>
          <p:cNvSpPr txBox="1"/>
          <p:nvPr/>
        </p:nvSpPr>
        <p:spPr>
          <a:xfrm>
            <a:off x="3303412" y="3059668"/>
            <a:ext cx="2181232" cy="369332"/>
          </a:xfrm>
          <a:prstGeom prst="rect">
            <a:avLst/>
          </a:prstGeom>
          <a:noFill/>
        </p:spPr>
        <p:txBody>
          <a:bodyPr wrap="square">
            <a:spAutoFit/>
          </a:bodyPr>
          <a:lstStyle/>
          <a:p>
            <a:pPr>
              <a:buSzPct val="100000"/>
            </a:pPr>
            <a:r>
              <a:rPr lang="es-BO" sz="1800" b="1" noProof="0" dirty="0">
                <a:solidFill>
                  <a:schemeClr val="accent3"/>
                </a:solidFill>
                <a:latin typeface="Calibri Light" panose="020F0302020204030204" pitchFamily="34" charset="0"/>
                <a:cs typeface="Calibri Light" panose="020F0302020204030204" pitchFamily="34" charset="0"/>
              </a:rPr>
              <a:t>15 MW</a:t>
            </a:r>
          </a:p>
        </p:txBody>
      </p:sp>
      <p:sp>
        <p:nvSpPr>
          <p:cNvPr id="11" name="TextBox 10">
            <a:extLst>
              <a:ext uri="{FF2B5EF4-FFF2-40B4-BE49-F238E27FC236}">
                <a16:creationId xmlns:a16="http://schemas.microsoft.com/office/drawing/2014/main" xmlns="" id="{B154CA4F-1B18-4E78-8E65-9802629D871F}"/>
              </a:ext>
            </a:extLst>
          </p:cNvPr>
          <p:cNvSpPr txBox="1"/>
          <p:nvPr/>
        </p:nvSpPr>
        <p:spPr>
          <a:xfrm>
            <a:off x="649615" y="3916470"/>
            <a:ext cx="2181232" cy="369332"/>
          </a:xfrm>
          <a:prstGeom prst="rect">
            <a:avLst/>
          </a:prstGeom>
          <a:noFill/>
        </p:spPr>
        <p:txBody>
          <a:bodyPr wrap="square">
            <a:spAutoFit/>
          </a:bodyPr>
          <a:lstStyle/>
          <a:p>
            <a:pPr>
              <a:buSzPct val="100000"/>
            </a:pPr>
            <a:r>
              <a:rPr lang="es-BO" dirty="0" err="1">
                <a:solidFill>
                  <a:schemeClr val="bg1"/>
                </a:solidFill>
                <a:ea typeface="Calibri" panose="020F0502020204030204" pitchFamily="34" charset="0"/>
                <a:cs typeface="Arial" panose="020B0604020202020204" pitchFamily="34" charset="0"/>
              </a:rPr>
              <a:t>Power</a:t>
            </a:r>
            <a:r>
              <a:rPr lang="es-BO" dirty="0">
                <a:solidFill>
                  <a:schemeClr val="bg1"/>
                </a:solidFill>
                <a:ea typeface="Calibri" panose="020F0502020204030204" pitchFamily="34" charset="0"/>
                <a:cs typeface="Arial" panose="020B0604020202020204" pitchFamily="34" charset="0"/>
              </a:rPr>
              <a:t> </a:t>
            </a:r>
            <a:r>
              <a:rPr lang="es-BO" dirty="0" err="1">
                <a:solidFill>
                  <a:schemeClr val="bg1"/>
                </a:solidFill>
                <a:ea typeface="Calibri" panose="020F0502020204030204" pitchFamily="34" charset="0"/>
                <a:cs typeface="Arial" panose="020B0604020202020204" pitchFamily="34" charset="0"/>
              </a:rPr>
              <a:t>To</a:t>
            </a:r>
            <a:r>
              <a:rPr lang="es-BO" dirty="0">
                <a:solidFill>
                  <a:schemeClr val="bg1"/>
                </a:solidFill>
                <a:ea typeface="Calibri" panose="020F0502020204030204" pitchFamily="34" charset="0"/>
                <a:cs typeface="Arial" panose="020B0604020202020204" pitchFamily="34" charset="0"/>
              </a:rPr>
              <a:t> X:</a:t>
            </a:r>
            <a:endParaRPr lang="es-BO" sz="1800" b="1" noProof="0" dirty="0">
              <a:solidFill>
                <a:schemeClr val="bg1"/>
              </a:solidFill>
              <a:latin typeface="Calibri Light" panose="020F0302020204030204" pitchFamily="34" charset="0"/>
              <a:cs typeface="Calibri Light" panose="020F0302020204030204" pitchFamily="34" charset="0"/>
            </a:endParaRPr>
          </a:p>
        </p:txBody>
      </p:sp>
      <p:sp>
        <p:nvSpPr>
          <p:cNvPr id="15" name="TextBox 14">
            <a:extLst>
              <a:ext uri="{FF2B5EF4-FFF2-40B4-BE49-F238E27FC236}">
                <a16:creationId xmlns:a16="http://schemas.microsoft.com/office/drawing/2014/main" xmlns="" id="{894814CF-B8B2-5C12-BB42-C554E361B858}"/>
              </a:ext>
            </a:extLst>
          </p:cNvPr>
          <p:cNvSpPr txBox="1"/>
          <p:nvPr/>
        </p:nvSpPr>
        <p:spPr>
          <a:xfrm>
            <a:off x="2570278" y="4779985"/>
            <a:ext cx="2446349" cy="307777"/>
          </a:xfrm>
          <a:prstGeom prst="rect">
            <a:avLst/>
          </a:prstGeom>
          <a:noFill/>
        </p:spPr>
        <p:txBody>
          <a:bodyPr wrap="square">
            <a:spAutoFit/>
          </a:bodyPr>
          <a:lstStyle/>
          <a:p>
            <a:pPr>
              <a:buSzPct val="100000"/>
            </a:pPr>
            <a:r>
              <a:rPr lang="es-BO" sz="1400" b="1" dirty="0">
                <a:solidFill>
                  <a:schemeClr val="accent3"/>
                </a:solidFill>
                <a:latin typeface="Calibri Light" panose="020F0302020204030204" pitchFamily="34" charset="0"/>
                <a:cs typeface="Calibri Light" panose="020F0302020204030204" pitchFamily="34" charset="0"/>
              </a:rPr>
              <a:t>e</a:t>
            </a:r>
            <a:r>
              <a:rPr lang="es-BO" sz="1400" b="1" noProof="0" dirty="0">
                <a:solidFill>
                  <a:schemeClr val="accent3"/>
                </a:solidFill>
                <a:latin typeface="Calibri Light" panose="020F0302020204030204" pitchFamily="34" charset="0"/>
                <a:cs typeface="Calibri Light" panose="020F0302020204030204" pitchFamily="34" charset="0"/>
              </a:rPr>
              <a:t>-</a:t>
            </a:r>
            <a:r>
              <a:rPr lang="es-BO" sz="1400" b="1" dirty="0">
                <a:solidFill>
                  <a:schemeClr val="accent3"/>
                </a:solidFill>
                <a:latin typeface="Calibri Light" panose="020F0302020204030204" pitchFamily="34" charset="0"/>
                <a:cs typeface="Calibri Light" panose="020F0302020204030204" pitchFamily="34" charset="0"/>
              </a:rPr>
              <a:t>m</a:t>
            </a:r>
            <a:r>
              <a:rPr lang="es-BO" sz="1400" b="1" noProof="0" dirty="0">
                <a:solidFill>
                  <a:schemeClr val="accent3"/>
                </a:solidFill>
                <a:latin typeface="Calibri Light" panose="020F0302020204030204" pitchFamily="34" charset="0"/>
                <a:cs typeface="Calibri Light" panose="020F0302020204030204" pitchFamily="34" charset="0"/>
              </a:rPr>
              <a:t>etanol, amoniaco y  </a:t>
            </a:r>
            <a:r>
              <a:rPr lang="es-BO" sz="1400" b="1" dirty="0">
                <a:solidFill>
                  <a:schemeClr val="accent3"/>
                </a:solidFill>
                <a:latin typeface="Calibri Light" panose="020F0302020204030204" pitchFamily="34" charset="0"/>
                <a:cs typeface="Calibri Light" panose="020F0302020204030204" pitchFamily="34" charset="0"/>
              </a:rPr>
              <a:t>u</a:t>
            </a:r>
            <a:r>
              <a:rPr lang="es-BO" sz="1400" b="1" noProof="0" dirty="0">
                <a:solidFill>
                  <a:schemeClr val="accent3"/>
                </a:solidFill>
                <a:latin typeface="Calibri Light" panose="020F0302020204030204" pitchFamily="34" charset="0"/>
                <a:cs typeface="Calibri Light" panose="020F0302020204030204" pitchFamily="34" charset="0"/>
              </a:rPr>
              <a:t>rea</a:t>
            </a:r>
          </a:p>
        </p:txBody>
      </p:sp>
      <p:sp>
        <p:nvSpPr>
          <p:cNvPr id="16" name="Rectangle 15">
            <a:extLst>
              <a:ext uri="{FF2B5EF4-FFF2-40B4-BE49-F238E27FC236}">
                <a16:creationId xmlns:a16="http://schemas.microsoft.com/office/drawing/2014/main" xmlns="" id="{C54D367B-40E6-2C3F-59E3-0B3F03BEBE0A}"/>
              </a:ext>
            </a:extLst>
          </p:cNvPr>
          <p:cNvSpPr/>
          <p:nvPr/>
        </p:nvSpPr>
        <p:spPr bwMode="gray">
          <a:xfrm>
            <a:off x="2549024" y="3034780"/>
            <a:ext cx="2381837"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xmlns="" id="{B57B5FE7-AA77-74A5-B1B8-D66515DBA75D}"/>
              </a:ext>
            </a:extLst>
          </p:cNvPr>
          <p:cNvSpPr/>
          <p:nvPr/>
        </p:nvSpPr>
        <p:spPr bwMode="gray">
          <a:xfrm>
            <a:off x="2465301" y="4708931"/>
            <a:ext cx="2454026" cy="419108"/>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841176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798E1C7-89D0-1395-75E7-EA2EDCD7CA7A}"/>
            </a:ext>
          </a:extLst>
        </p:cNvPr>
        <p:cNvGrpSpPr/>
        <p:nvPr/>
      </p:nvGrpSpPr>
      <p:grpSpPr>
        <a:xfrm>
          <a:off x="0" y="0"/>
          <a:ext cx="0" cy="0"/>
          <a:chOff x="0" y="0"/>
          <a:chExt cx="0" cy="0"/>
        </a:xfrm>
      </p:grpSpPr>
      <p:sp>
        <p:nvSpPr>
          <p:cNvPr id="3" name="Oval 2">
            <a:extLst>
              <a:ext uri="{FF2B5EF4-FFF2-40B4-BE49-F238E27FC236}">
                <a16:creationId xmlns:a16="http://schemas.microsoft.com/office/drawing/2014/main" xmlns="" id="{D3ADC2DB-81F1-811B-3314-D7EF822D2C63}"/>
              </a:ext>
            </a:extLst>
          </p:cNvPr>
          <p:cNvSpPr/>
          <p:nvPr/>
        </p:nvSpPr>
        <p:spPr bwMode="gray">
          <a:xfrm>
            <a:off x="1609778" y="4712889"/>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9" name="Google Shape;497;p8">
            <a:extLst>
              <a:ext uri="{FF2B5EF4-FFF2-40B4-BE49-F238E27FC236}">
                <a16:creationId xmlns:a16="http://schemas.microsoft.com/office/drawing/2014/main" xmlns="" id="{99969CD5-8497-50E7-558D-6E326906BC06}"/>
              </a:ext>
            </a:extLst>
          </p:cNvPr>
          <p:cNvSpPr txBox="1"/>
          <p:nvPr/>
        </p:nvSpPr>
        <p:spPr>
          <a:xfrm>
            <a:off x="683725" y="2487972"/>
            <a:ext cx="7807131" cy="1628651"/>
          </a:xfrm>
          <a:prstGeom prst="rect">
            <a:avLst/>
          </a:prstGeom>
          <a:noFill/>
          <a:ln>
            <a:noFill/>
          </a:ln>
        </p:spPr>
        <p:txBody>
          <a:bodyPr spcFirstLastPara="1" wrap="square" lIns="0" tIns="12700" rIns="0" bIns="0" anchor="t" anchorCtr="0">
            <a:spAutoFit/>
          </a:bodyPr>
          <a:lstStyle/>
          <a:p>
            <a:pPr marL="12700" marR="5080" algn="ctr">
              <a:spcBef>
                <a:spcPts val="300"/>
              </a:spcBef>
              <a:spcAft>
                <a:spcPts val="300"/>
              </a:spcAft>
            </a:pPr>
            <a:r>
              <a:rPr lang="es-ES" sz="10000" b="1" dirty="0">
                <a:solidFill>
                  <a:srgbClr val="2C5234"/>
                </a:solidFill>
                <a:latin typeface="+mj-lt"/>
                <a:ea typeface="Calibri"/>
                <a:cs typeface="Calibri Light" panose="020F0302020204030204" pitchFamily="34" charset="0"/>
                <a:sym typeface="Calibri"/>
              </a:rPr>
              <a:t>G</a:t>
            </a:r>
            <a:r>
              <a:rPr lang="es-BO" sz="10000" b="1" dirty="0" err="1">
                <a:solidFill>
                  <a:srgbClr val="2C5234"/>
                </a:solidFill>
                <a:latin typeface="+mj-lt"/>
                <a:ea typeface="Calibri"/>
                <a:cs typeface="Calibri Light" panose="020F0302020204030204" pitchFamily="34" charset="0"/>
                <a:sym typeface="Calibri"/>
              </a:rPr>
              <a:t>racias</a:t>
            </a:r>
            <a:r>
              <a:rPr lang="es-BO" sz="10000" b="1" dirty="0">
                <a:solidFill>
                  <a:srgbClr val="2C5234"/>
                </a:solidFill>
                <a:latin typeface="+mj-lt"/>
                <a:ea typeface="Calibri"/>
                <a:cs typeface="Calibri Light" panose="020F0302020204030204" pitchFamily="34" charset="0"/>
                <a:sym typeface="Calibri"/>
              </a:rPr>
              <a:t>…</a:t>
            </a:r>
            <a:endParaRPr lang="es-BO" sz="10000" b="1" noProof="0" dirty="0">
              <a:solidFill>
                <a:srgbClr val="2C5234"/>
              </a:solidFill>
              <a:latin typeface="Calibri Light" panose="020F0302020204030204" pitchFamily="34" charset="0"/>
              <a:ea typeface="Calibri"/>
              <a:cs typeface="Calibri Light" panose="020F0302020204030204" pitchFamily="34" charset="0"/>
              <a:sym typeface="Calibri"/>
            </a:endParaRPr>
          </a:p>
        </p:txBody>
      </p:sp>
    </p:spTree>
    <p:extLst>
      <p:ext uri="{BB962C8B-B14F-4D97-AF65-F5344CB8AC3E}">
        <p14:creationId xmlns:p14="http://schemas.microsoft.com/office/powerpoint/2010/main" val="1720413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xmlns="" id="{EA8EA695-B65A-C51B-D418-72EE728E4850}"/>
              </a:ext>
            </a:extLst>
          </p:cNvPr>
          <p:cNvSpPr/>
          <p:nvPr/>
        </p:nvSpPr>
        <p:spPr bwMode="gray">
          <a:xfrm>
            <a:off x="-1025103" y="652493"/>
            <a:ext cx="11806313" cy="695780"/>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1" name="Object 10" hidden="1">
            <a:extLst>
              <a:ext uri="{FF2B5EF4-FFF2-40B4-BE49-F238E27FC236}">
                <a16:creationId xmlns:a16="http://schemas.microsoft.com/office/drawing/2014/main" xmlns="" id="{161CB2F6-3F4D-4D98-B3D3-9FEEF6798F64}"/>
              </a:ext>
            </a:extLst>
          </p:cNvPr>
          <p:cNvGraphicFramePr>
            <a:graphicFrameLocks noChangeAspect="1"/>
          </p:cNvGraphicFramePr>
          <p:nvPr>
            <p:custDataLst>
              <p:tags r:id="rId2"/>
            </p:custDataLst>
            <p:extLst>
              <p:ext uri="{D42A27DB-BD31-4B8C-83A1-F6EECF244321}">
                <p14:modId xmlns:p14="http://schemas.microsoft.com/office/powerpoint/2010/main" val="27055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xmlns="" id="{161CB2F6-3F4D-4D98-B3D3-9FEEF6798F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74C25818-312C-4993-9330-71B6C0EA6042}"/>
              </a:ext>
            </a:extLst>
          </p:cNvPr>
          <p:cNvSpPr>
            <a:spLocks noGrp="1"/>
          </p:cNvSpPr>
          <p:nvPr>
            <p:ph type="sldNum" sz="quarter" idx="4"/>
          </p:nvPr>
        </p:nvSpPr>
        <p:spPr/>
        <p:txBody>
          <a:bodyPr/>
          <a:lstStyle/>
          <a:p>
            <a:fld id="{A8E5AD78-C39A-47FF-83FF-0E69177E1F7C}" type="slidenum">
              <a:rPr lang="es-BO" noProof="0" smtClean="0"/>
              <a:pPr/>
              <a:t>2</a:t>
            </a:fld>
            <a:endParaRPr lang="es-BO" noProof="0" dirty="0"/>
          </a:p>
        </p:txBody>
      </p:sp>
      <p:sp>
        <p:nvSpPr>
          <p:cNvPr id="3" name="Title 2">
            <a:extLst>
              <a:ext uri="{FF2B5EF4-FFF2-40B4-BE49-F238E27FC236}">
                <a16:creationId xmlns:a16="http://schemas.microsoft.com/office/drawing/2014/main" xmlns="" id="{C56963F5-366E-4E17-9131-DEFDF851D40C}"/>
              </a:ext>
            </a:extLst>
          </p:cNvPr>
          <p:cNvSpPr>
            <a:spLocks noGrp="1"/>
          </p:cNvSpPr>
          <p:nvPr>
            <p:ph type="title"/>
          </p:nvPr>
        </p:nvSpPr>
        <p:spPr/>
        <p:txBody>
          <a:bodyPr vert="horz"/>
          <a:lstStyle/>
          <a:p>
            <a:r>
              <a:rPr lang="es-BO" noProof="0" dirty="0"/>
              <a:t>Hoja de Ruta y estrategia Nacional| Oportunidades</a:t>
            </a:r>
          </a:p>
        </p:txBody>
      </p:sp>
      <p:sp>
        <p:nvSpPr>
          <p:cNvPr id="4" name="Text Placeholder 3">
            <a:extLst>
              <a:ext uri="{FF2B5EF4-FFF2-40B4-BE49-F238E27FC236}">
                <a16:creationId xmlns:a16="http://schemas.microsoft.com/office/drawing/2014/main" xmlns="" id="{80A79D5D-9DF8-4AD0-A31A-5C4118E59EC2}"/>
              </a:ext>
            </a:extLst>
          </p:cNvPr>
          <p:cNvSpPr>
            <a:spLocks noGrp="1"/>
          </p:cNvSpPr>
          <p:nvPr>
            <p:ph type="body" sz="quarter" idx="13"/>
          </p:nvPr>
        </p:nvSpPr>
        <p:spPr>
          <a:xfrm>
            <a:off x="833699" y="698330"/>
            <a:ext cx="11521535" cy="657373"/>
          </a:xfrm>
        </p:spPr>
        <p:txBody>
          <a:bodyPr anchor="ctr"/>
          <a:lstStyle/>
          <a:p>
            <a:r>
              <a:rPr lang="es-BO" noProof="0" dirty="0">
                <a:solidFill>
                  <a:schemeClr val="bg1"/>
                </a:solidFill>
              </a:rPr>
              <a:t>Hidrógeno verde: Oportunidad para descarbonizar y potenciar la economía de Bolivia</a:t>
            </a:r>
          </a:p>
        </p:txBody>
      </p:sp>
      <p:sp>
        <p:nvSpPr>
          <p:cNvPr id="6" name="TextBox 5">
            <a:extLst>
              <a:ext uri="{FF2B5EF4-FFF2-40B4-BE49-F238E27FC236}">
                <a16:creationId xmlns:a16="http://schemas.microsoft.com/office/drawing/2014/main" xmlns="" id="{66B67200-9CD3-5D80-E0D9-C7362AAE0484}"/>
              </a:ext>
            </a:extLst>
          </p:cNvPr>
          <p:cNvSpPr txBox="1"/>
          <p:nvPr/>
        </p:nvSpPr>
        <p:spPr>
          <a:xfrm>
            <a:off x="833699" y="1491480"/>
            <a:ext cx="2707143" cy="246221"/>
          </a:xfrm>
          <a:prstGeom prst="rect">
            <a:avLst/>
          </a:prstGeom>
          <a:noFill/>
        </p:spPr>
        <p:txBody>
          <a:bodyPr wrap="square" lIns="0" tIns="0" rIns="0" bIns="0" rtlCol="0">
            <a:spAutoFit/>
          </a:bodyPr>
          <a:lstStyle/>
          <a:p>
            <a:pPr>
              <a:buSzPct val="100000"/>
            </a:pPr>
            <a:r>
              <a:rPr lang="es-BO" sz="1600" b="1" noProof="0" dirty="0">
                <a:solidFill>
                  <a:schemeClr val="accent3"/>
                </a:solidFill>
                <a:latin typeface="Calibri Light" panose="020F0302020204030204" pitchFamily="34" charset="0"/>
                <a:cs typeface="Calibri Light" panose="020F0302020204030204" pitchFamily="34" charset="0"/>
              </a:rPr>
              <a:t>Oportunidades del H2V en Bolivia</a:t>
            </a:r>
          </a:p>
        </p:txBody>
      </p:sp>
      <p:grpSp>
        <p:nvGrpSpPr>
          <p:cNvPr id="20" name="Group 19">
            <a:extLst>
              <a:ext uri="{FF2B5EF4-FFF2-40B4-BE49-F238E27FC236}">
                <a16:creationId xmlns:a16="http://schemas.microsoft.com/office/drawing/2014/main" xmlns="" id="{C367E5E0-7F55-F0B5-691F-DCCF83BC62C6}"/>
              </a:ext>
            </a:extLst>
          </p:cNvPr>
          <p:cNvGrpSpPr/>
          <p:nvPr/>
        </p:nvGrpSpPr>
        <p:grpSpPr>
          <a:xfrm>
            <a:off x="840729" y="1720155"/>
            <a:ext cx="9825844" cy="4364811"/>
            <a:chOff x="1003369" y="1701705"/>
            <a:chExt cx="9825844" cy="4364811"/>
          </a:xfrm>
        </p:grpSpPr>
        <p:sp>
          <p:nvSpPr>
            <p:cNvPr id="33" name="Freeform 5">
              <a:extLst>
                <a:ext uri="{FF2B5EF4-FFF2-40B4-BE49-F238E27FC236}">
                  <a16:creationId xmlns:a16="http://schemas.microsoft.com/office/drawing/2014/main" xmlns="" id="{854D66C2-F87A-D9E1-AD35-A7F525D930A5}"/>
                </a:ext>
              </a:extLst>
            </p:cNvPr>
            <p:cNvSpPr>
              <a:spLocks/>
            </p:cNvSpPr>
            <p:nvPr/>
          </p:nvSpPr>
          <p:spPr bwMode="auto">
            <a:xfrm>
              <a:off x="1003369" y="1997731"/>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12" name="íṥ1íḑé">
              <a:extLst>
                <a:ext uri="{FF2B5EF4-FFF2-40B4-BE49-F238E27FC236}">
                  <a16:creationId xmlns:a16="http://schemas.microsoft.com/office/drawing/2014/main" xmlns="" id="{445DB672-090C-9032-B0A2-0400C2677408}"/>
                </a:ext>
              </a:extLst>
            </p:cNvPr>
            <p:cNvSpPr/>
            <p:nvPr/>
          </p:nvSpPr>
          <p:spPr bwMode="auto">
            <a:xfrm>
              <a:off x="2720701" y="2034860"/>
              <a:ext cx="2385667"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Sustitución de combustibles fósiles</a:t>
              </a:r>
            </a:p>
          </p:txBody>
        </p:sp>
        <p:sp>
          <p:nvSpPr>
            <p:cNvPr id="14" name="ïṣľíḍe">
              <a:extLst>
                <a:ext uri="{FF2B5EF4-FFF2-40B4-BE49-F238E27FC236}">
                  <a16:creationId xmlns:a16="http://schemas.microsoft.com/office/drawing/2014/main" xmlns="" id="{DA19697B-DD0F-7027-C527-3A8EE11F0F3E}"/>
                </a:ext>
              </a:extLst>
            </p:cNvPr>
            <p:cNvSpPr txBox="1"/>
            <p:nvPr/>
          </p:nvSpPr>
          <p:spPr bwMode="auto">
            <a:xfrm>
              <a:off x="2524553" y="1714369"/>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91" name="Freeform 5">
              <a:extLst>
                <a:ext uri="{FF2B5EF4-FFF2-40B4-BE49-F238E27FC236}">
                  <a16:creationId xmlns:a16="http://schemas.microsoft.com/office/drawing/2014/main" xmlns="" id="{3B853370-70F8-D807-4652-2D16F79AF6FC}"/>
                </a:ext>
              </a:extLst>
            </p:cNvPr>
            <p:cNvSpPr>
              <a:spLocks/>
            </p:cNvSpPr>
            <p:nvPr/>
          </p:nvSpPr>
          <p:spPr bwMode="auto">
            <a:xfrm>
              <a:off x="1003369" y="3460645"/>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46" name="íṥ1íḑé">
              <a:extLst>
                <a:ext uri="{FF2B5EF4-FFF2-40B4-BE49-F238E27FC236}">
                  <a16:creationId xmlns:a16="http://schemas.microsoft.com/office/drawing/2014/main" xmlns="" id="{9BD0735F-9D5E-B0F6-7EA9-73F64451C604}"/>
                </a:ext>
              </a:extLst>
            </p:cNvPr>
            <p:cNvSpPr/>
            <p:nvPr/>
          </p:nvSpPr>
          <p:spPr bwMode="auto">
            <a:xfrm>
              <a:off x="2720701" y="3497774"/>
              <a:ext cx="2385667"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Alto potencial de energías renovables</a:t>
              </a:r>
            </a:p>
          </p:txBody>
        </p:sp>
        <p:sp>
          <p:nvSpPr>
            <p:cNvPr id="47" name="ïṣľíḍe">
              <a:extLst>
                <a:ext uri="{FF2B5EF4-FFF2-40B4-BE49-F238E27FC236}">
                  <a16:creationId xmlns:a16="http://schemas.microsoft.com/office/drawing/2014/main" xmlns="" id="{2464BB0F-A40D-9CE6-C062-D4A544DDBE81}"/>
                </a:ext>
              </a:extLst>
            </p:cNvPr>
            <p:cNvSpPr txBox="1"/>
            <p:nvPr/>
          </p:nvSpPr>
          <p:spPr bwMode="auto">
            <a:xfrm>
              <a:off x="2524553" y="3177283"/>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116" name="Freeform 5">
              <a:extLst>
                <a:ext uri="{FF2B5EF4-FFF2-40B4-BE49-F238E27FC236}">
                  <a16:creationId xmlns:a16="http://schemas.microsoft.com/office/drawing/2014/main" xmlns="" id="{E55B803D-D9C6-1DA1-CAF9-9124B3DF84EA}"/>
                </a:ext>
              </a:extLst>
            </p:cNvPr>
            <p:cNvSpPr>
              <a:spLocks/>
            </p:cNvSpPr>
            <p:nvPr/>
          </p:nvSpPr>
          <p:spPr bwMode="auto">
            <a:xfrm>
              <a:off x="1003369" y="4923559"/>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96" name="íṥ1íḑé">
              <a:extLst>
                <a:ext uri="{FF2B5EF4-FFF2-40B4-BE49-F238E27FC236}">
                  <a16:creationId xmlns:a16="http://schemas.microsoft.com/office/drawing/2014/main" xmlns="" id="{F810ECD6-6816-F969-25F6-E7A153D8FF88}"/>
                </a:ext>
              </a:extLst>
            </p:cNvPr>
            <p:cNvSpPr/>
            <p:nvPr/>
          </p:nvSpPr>
          <p:spPr bwMode="auto">
            <a:xfrm>
              <a:off x="2720701" y="4960688"/>
              <a:ext cx="2385667"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latin typeface="Calibri Light" panose="020F0302020204030204" pitchFamily="34" charset="0"/>
                  <a:ea typeface="Verdana" panose="020B0604030504040204" pitchFamily="34" charset="0"/>
                  <a:cs typeface="Calibri Light" panose="020F0302020204030204" pitchFamily="34" charset="0"/>
                </a:rPr>
                <a:t>Infraestructura gasífera existente</a:t>
              </a:r>
            </a:p>
          </p:txBody>
        </p:sp>
        <p:sp>
          <p:nvSpPr>
            <p:cNvPr id="97" name="ïṣľíḍe">
              <a:extLst>
                <a:ext uri="{FF2B5EF4-FFF2-40B4-BE49-F238E27FC236}">
                  <a16:creationId xmlns:a16="http://schemas.microsoft.com/office/drawing/2014/main" xmlns="" id="{4268176F-F2D4-050F-9A63-40F1754265F6}"/>
                </a:ext>
              </a:extLst>
            </p:cNvPr>
            <p:cNvSpPr txBox="1"/>
            <p:nvPr/>
          </p:nvSpPr>
          <p:spPr bwMode="auto">
            <a:xfrm>
              <a:off x="2524553" y="4640197"/>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324" name="Oval 323">
              <a:extLst>
                <a:ext uri="{FF2B5EF4-FFF2-40B4-BE49-F238E27FC236}">
                  <a16:creationId xmlns:a16="http://schemas.microsoft.com/office/drawing/2014/main" xmlns="" id="{26808187-7024-3E56-F3D8-73AD698701FF}"/>
                </a:ext>
              </a:extLst>
            </p:cNvPr>
            <p:cNvSpPr/>
            <p:nvPr/>
          </p:nvSpPr>
          <p:spPr bwMode="gray">
            <a:xfrm>
              <a:off x="1320301" y="1701705"/>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332" name="Oval 331">
              <a:extLst>
                <a:ext uri="{FF2B5EF4-FFF2-40B4-BE49-F238E27FC236}">
                  <a16:creationId xmlns:a16="http://schemas.microsoft.com/office/drawing/2014/main" xmlns="" id="{0C98B00E-D87D-5736-3CBF-868F80DA86CA}"/>
                </a:ext>
              </a:extLst>
            </p:cNvPr>
            <p:cNvSpPr/>
            <p:nvPr/>
          </p:nvSpPr>
          <p:spPr bwMode="gray">
            <a:xfrm>
              <a:off x="1338297" y="3145320"/>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pSp>
          <p:nvGrpSpPr>
            <p:cNvPr id="333" name="Graphic 4">
              <a:extLst>
                <a:ext uri="{FF2B5EF4-FFF2-40B4-BE49-F238E27FC236}">
                  <a16:creationId xmlns:a16="http://schemas.microsoft.com/office/drawing/2014/main" xmlns="" id="{F19F50B9-3FBE-B5AF-0B9C-F76928BA812C}"/>
                </a:ext>
              </a:extLst>
            </p:cNvPr>
            <p:cNvGrpSpPr/>
            <p:nvPr/>
          </p:nvGrpSpPr>
          <p:grpSpPr>
            <a:xfrm>
              <a:off x="1578593" y="1972332"/>
              <a:ext cx="910029" cy="910028"/>
              <a:chOff x="4045469" y="4308712"/>
              <a:chExt cx="362309" cy="361971"/>
            </a:xfrm>
            <a:solidFill>
              <a:srgbClr val="046A38"/>
            </a:solidFill>
          </p:grpSpPr>
          <p:sp>
            <p:nvSpPr>
              <p:cNvPr id="334" name="Graphic 4">
                <a:extLst>
                  <a:ext uri="{FF2B5EF4-FFF2-40B4-BE49-F238E27FC236}">
                    <a16:creationId xmlns:a16="http://schemas.microsoft.com/office/drawing/2014/main" xmlns="" id="{DD3A557C-1B5B-ED39-9841-32567F8C80FA}"/>
                  </a:ext>
                </a:extLst>
              </p:cNvPr>
              <p:cNvSpPr/>
              <p:nvPr/>
            </p:nvSpPr>
            <p:spPr>
              <a:xfrm>
                <a:off x="4265747" y="4405110"/>
                <a:ext cx="43986" cy="67335"/>
              </a:xfrm>
              <a:custGeom>
                <a:avLst/>
                <a:gdLst>
                  <a:gd name="connsiteX0" fmla="*/ 14232 w 43986"/>
                  <a:gd name="connsiteY0" fmla="*/ 42134 h 67335"/>
                  <a:gd name="connsiteX1" fmla="*/ 40431 w 43986"/>
                  <a:gd name="connsiteY1" fmla="*/ 67032 h 67335"/>
                  <a:gd name="connsiteX2" fmla="*/ 35958 w 43986"/>
                  <a:gd name="connsiteY2" fmla="*/ 31281 h 67335"/>
                  <a:gd name="connsiteX3" fmla="*/ 23178 w 43986"/>
                  <a:gd name="connsiteY3" fmla="*/ 5745 h 67335"/>
                  <a:gd name="connsiteX4" fmla="*/ 13593 w 43986"/>
                  <a:gd name="connsiteY4" fmla="*/ 0 h 67335"/>
                  <a:gd name="connsiteX5" fmla="*/ 7204 w 43986"/>
                  <a:gd name="connsiteY5" fmla="*/ 1915 h 67335"/>
                  <a:gd name="connsiteX6" fmla="*/ 814 w 43986"/>
                  <a:gd name="connsiteY6" fmla="*/ 16598 h 67335"/>
                  <a:gd name="connsiteX7" fmla="*/ 14232 w 43986"/>
                  <a:gd name="connsiteY7" fmla="*/ 42134 h 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86" h="67335">
                    <a:moveTo>
                      <a:pt x="14232" y="42134"/>
                    </a:moveTo>
                    <a:cubicBezTo>
                      <a:pt x="26373" y="61924"/>
                      <a:pt x="35958" y="68947"/>
                      <a:pt x="40431" y="67032"/>
                    </a:cubicBezTo>
                    <a:cubicBezTo>
                      <a:pt x="44904" y="65116"/>
                      <a:pt x="46821" y="59371"/>
                      <a:pt x="35958" y="31281"/>
                    </a:cubicBezTo>
                    <a:cubicBezTo>
                      <a:pt x="32763" y="22344"/>
                      <a:pt x="28290" y="13406"/>
                      <a:pt x="23178" y="5745"/>
                    </a:cubicBezTo>
                    <a:cubicBezTo>
                      <a:pt x="21261" y="2553"/>
                      <a:pt x="17427" y="638"/>
                      <a:pt x="13593" y="0"/>
                    </a:cubicBezTo>
                    <a:cubicBezTo>
                      <a:pt x="11037" y="0"/>
                      <a:pt x="9120" y="638"/>
                      <a:pt x="7204" y="1915"/>
                    </a:cubicBezTo>
                    <a:cubicBezTo>
                      <a:pt x="2092" y="4468"/>
                      <a:pt x="-1743" y="7022"/>
                      <a:pt x="814" y="16598"/>
                    </a:cubicBezTo>
                    <a:cubicBezTo>
                      <a:pt x="4009" y="25536"/>
                      <a:pt x="8482" y="34473"/>
                      <a:pt x="14232" y="42134"/>
                    </a:cubicBezTo>
                    <a:close/>
                  </a:path>
                </a:pathLst>
              </a:custGeom>
              <a:grpFill/>
              <a:ln w="6390" cap="flat">
                <a:noFill/>
                <a:prstDash val="solid"/>
                <a:miter/>
              </a:ln>
            </p:spPr>
            <p:txBody>
              <a:bodyPr rtlCol="0" anchor="ctr"/>
              <a:lstStyle/>
              <a:p>
                <a:endParaRPr lang="es-BO" noProof="0" dirty="0"/>
              </a:p>
            </p:txBody>
          </p:sp>
          <p:sp>
            <p:nvSpPr>
              <p:cNvPr id="335" name="Graphic 4">
                <a:extLst>
                  <a:ext uri="{FF2B5EF4-FFF2-40B4-BE49-F238E27FC236}">
                    <a16:creationId xmlns:a16="http://schemas.microsoft.com/office/drawing/2014/main" xmlns="" id="{48A160CD-474A-5292-1BF2-DEC28245E363}"/>
                  </a:ext>
                </a:extLst>
              </p:cNvPr>
              <p:cNvSpPr/>
              <p:nvPr/>
            </p:nvSpPr>
            <p:spPr>
              <a:xfrm>
                <a:off x="4212885" y="4507892"/>
                <a:ext cx="28754" cy="67031"/>
              </a:xfrm>
              <a:custGeom>
                <a:avLst/>
                <a:gdLst>
                  <a:gd name="connsiteX0" fmla="*/ 28755 w 28754"/>
                  <a:gd name="connsiteY0" fmla="*/ 67032 h 67031"/>
                  <a:gd name="connsiteX1" fmla="*/ 14058 w 28754"/>
                  <a:gd name="connsiteY1" fmla="*/ 0 h 67031"/>
                  <a:gd name="connsiteX2" fmla="*/ 0 w 28754"/>
                  <a:gd name="connsiteY2" fmla="*/ 67032 h 67031"/>
                </a:gdLst>
                <a:ahLst/>
                <a:cxnLst>
                  <a:cxn ang="0">
                    <a:pos x="connsiteX0" y="connsiteY0"/>
                  </a:cxn>
                  <a:cxn ang="0">
                    <a:pos x="connsiteX1" y="connsiteY1"/>
                  </a:cxn>
                  <a:cxn ang="0">
                    <a:pos x="connsiteX2" y="connsiteY2"/>
                  </a:cxn>
                </a:cxnLst>
                <a:rect l="l" t="t" r="r" b="b"/>
                <a:pathLst>
                  <a:path w="28754" h="67031">
                    <a:moveTo>
                      <a:pt x="28755" y="67032"/>
                    </a:moveTo>
                    <a:lnTo>
                      <a:pt x="14058" y="0"/>
                    </a:lnTo>
                    <a:lnTo>
                      <a:pt x="0" y="67032"/>
                    </a:lnTo>
                    <a:close/>
                  </a:path>
                </a:pathLst>
              </a:custGeom>
              <a:grpFill/>
              <a:ln w="6390" cap="flat">
                <a:noFill/>
                <a:prstDash val="solid"/>
                <a:miter/>
              </a:ln>
            </p:spPr>
            <p:txBody>
              <a:bodyPr rtlCol="0" anchor="ctr"/>
              <a:lstStyle/>
              <a:p>
                <a:endParaRPr lang="es-BO" noProof="0" dirty="0"/>
              </a:p>
            </p:txBody>
          </p:sp>
          <p:sp>
            <p:nvSpPr>
              <p:cNvPr id="336" name="Graphic 4">
                <a:extLst>
                  <a:ext uri="{FF2B5EF4-FFF2-40B4-BE49-F238E27FC236}">
                    <a16:creationId xmlns:a16="http://schemas.microsoft.com/office/drawing/2014/main" xmlns="" id="{93D183D2-877C-F4B5-618A-082B56B8F6CE}"/>
                  </a:ext>
                </a:extLst>
              </p:cNvPr>
              <p:cNvSpPr/>
              <p:nvPr/>
            </p:nvSpPr>
            <p:spPr>
              <a:xfrm>
                <a:off x="4233333" y="4456182"/>
                <a:ext cx="69011" cy="118741"/>
              </a:xfrm>
              <a:custGeom>
                <a:avLst/>
                <a:gdLst>
                  <a:gd name="connsiteX0" fmla="*/ 69011 w 69011"/>
                  <a:gd name="connsiteY0" fmla="*/ 28728 h 118741"/>
                  <a:gd name="connsiteX1" fmla="*/ 37062 w 69011"/>
                  <a:gd name="connsiteY1" fmla="*/ 0 h 118741"/>
                  <a:gd name="connsiteX2" fmla="*/ 0 w 69011"/>
                  <a:gd name="connsiteY2" fmla="*/ 20428 h 118741"/>
                  <a:gd name="connsiteX3" fmla="*/ 21087 w 69011"/>
                  <a:gd name="connsiteY3" fmla="*/ 118742 h 118741"/>
                  <a:gd name="connsiteX4" fmla="*/ 69011 w 69011"/>
                  <a:gd name="connsiteY4" fmla="*/ 118742 h 118741"/>
                  <a:gd name="connsiteX5" fmla="*/ 69011 w 69011"/>
                  <a:gd name="connsiteY5" fmla="*/ 28728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 h="118741">
                    <a:moveTo>
                      <a:pt x="69011" y="28728"/>
                    </a:moveTo>
                    <a:cubicBezTo>
                      <a:pt x="59426" y="27451"/>
                      <a:pt x="48563" y="17875"/>
                      <a:pt x="37062" y="0"/>
                    </a:cubicBezTo>
                    <a:lnTo>
                      <a:pt x="0" y="20428"/>
                    </a:lnTo>
                    <a:lnTo>
                      <a:pt x="21087" y="118742"/>
                    </a:lnTo>
                    <a:lnTo>
                      <a:pt x="69011" y="118742"/>
                    </a:lnTo>
                    <a:lnTo>
                      <a:pt x="69011" y="28728"/>
                    </a:lnTo>
                    <a:close/>
                  </a:path>
                </a:pathLst>
              </a:custGeom>
              <a:grpFill/>
              <a:ln w="6390" cap="flat">
                <a:noFill/>
                <a:prstDash val="solid"/>
                <a:miter/>
              </a:ln>
            </p:spPr>
            <p:txBody>
              <a:bodyPr rtlCol="0" anchor="ctr"/>
              <a:lstStyle/>
              <a:p>
                <a:endParaRPr lang="es-BO" noProof="0" dirty="0"/>
              </a:p>
            </p:txBody>
          </p:sp>
          <p:sp>
            <p:nvSpPr>
              <p:cNvPr id="337" name="Graphic 4">
                <a:extLst>
                  <a:ext uri="{FF2B5EF4-FFF2-40B4-BE49-F238E27FC236}">
                    <a16:creationId xmlns:a16="http://schemas.microsoft.com/office/drawing/2014/main" xmlns="" id="{6FBFF118-8F26-DAEC-8BFC-EADD89D1A9A0}"/>
                  </a:ext>
                </a:extLst>
              </p:cNvPr>
              <p:cNvSpPr/>
              <p:nvPr/>
            </p:nvSpPr>
            <p:spPr>
              <a:xfrm>
                <a:off x="4159210" y="4484910"/>
                <a:ext cx="59426" cy="90013"/>
              </a:xfrm>
              <a:custGeom>
                <a:avLst/>
                <a:gdLst>
                  <a:gd name="connsiteX0" fmla="*/ 14697 w 59426"/>
                  <a:gd name="connsiteY0" fmla="*/ 59371 h 90013"/>
                  <a:gd name="connsiteX1" fmla="*/ 14697 w 59426"/>
                  <a:gd name="connsiteY1" fmla="*/ 90014 h 90013"/>
                  <a:gd name="connsiteX2" fmla="*/ 40257 w 59426"/>
                  <a:gd name="connsiteY2" fmla="*/ 90014 h 90013"/>
                  <a:gd name="connsiteX3" fmla="*/ 59426 w 59426"/>
                  <a:gd name="connsiteY3" fmla="*/ 0 h 90013"/>
                  <a:gd name="connsiteX4" fmla="*/ 0 w 59426"/>
                  <a:gd name="connsiteY4" fmla="*/ 33835 h 90013"/>
                  <a:gd name="connsiteX5" fmla="*/ 0 w 59426"/>
                  <a:gd name="connsiteY5" fmla="*/ 53625 h 90013"/>
                  <a:gd name="connsiteX6" fmla="*/ 8307 w 59426"/>
                  <a:gd name="connsiteY6" fmla="*/ 53625 h 90013"/>
                  <a:gd name="connsiteX7" fmla="*/ 14697 w 59426"/>
                  <a:gd name="connsiteY7" fmla="*/ 59371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26" h="90013">
                    <a:moveTo>
                      <a:pt x="14697" y="59371"/>
                    </a:moveTo>
                    <a:lnTo>
                      <a:pt x="14697" y="90014"/>
                    </a:lnTo>
                    <a:lnTo>
                      <a:pt x="40257" y="90014"/>
                    </a:lnTo>
                    <a:lnTo>
                      <a:pt x="59426" y="0"/>
                    </a:lnTo>
                    <a:lnTo>
                      <a:pt x="0" y="33835"/>
                    </a:lnTo>
                    <a:lnTo>
                      <a:pt x="0" y="53625"/>
                    </a:lnTo>
                    <a:lnTo>
                      <a:pt x="8307" y="53625"/>
                    </a:lnTo>
                    <a:cubicBezTo>
                      <a:pt x="11502" y="52987"/>
                      <a:pt x="14697" y="55540"/>
                      <a:pt x="14697" y="59371"/>
                    </a:cubicBezTo>
                    <a:close/>
                  </a:path>
                </a:pathLst>
              </a:custGeom>
              <a:grpFill/>
              <a:ln w="6390" cap="flat">
                <a:noFill/>
                <a:prstDash val="solid"/>
                <a:miter/>
              </a:ln>
            </p:spPr>
            <p:txBody>
              <a:bodyPr rtlCol="0" anchor="ctr"/>
              <a:lstStyle/>
              <a:p>
                <a:endParaRPr lang="es-BO" noProof="0" dirty="0"/>
              </a:p>
            </p:txBody>
          </p:sp>
          <p:sp>
            <p:nvSpPr>
              <p:cNvPr id="338" name="Graphic 4">
                <a:extLst>
                  <a:ext uri="{FF2B5EF4-FFF2-40B4-BE49-F238E27FC236}">
                    <a16:creationId xmlns:a16="http://schemas.microsoft.com/office/drawing/2014/main" xmlns="" id="{D86E14D6-F86A-3B81-F2B7-B317D2441CE6}"/>
                  </a:ext>
                </a:extLst>
              </p:cNvPr>
              <p:cNvSpPr/>
              <p:nvPr/>
            </p:nvSpPr>
            <p:spPr>
              <a:xfrm>
                <a:off x="4144513" y="4550665"/>
                <a:ext cx="16613" cy="24259"/>
              </a:xfrm>
              <a:custGeom>
                <a:avLst/>
                <a:gdLst>
                  <a:gd name="connsiteX0" fmla="*/ 0 w 16613"/>
                  <a:gd name="connsiteY0" fmla="*/ 0 h 24259"/>
                  <a:gd name="connsiteX1" fmla="*/ 16614 w 16613"/>
                  <a:gd name="connsiteY1" fmla="*/ 0 h 24259"/>
                  <a:gd name="connsiteX2" fmla="*/ 16614 w 16613"/>
                  <a:gd name="connsiteY2" fmla="*/ 24259 h 24259"/>
                  <a:gd name="connsiteX3" fmla="*/ 0 w 16613"/>
                  <a:gd name="connsiteY3" fmla="*/ 24259 h 24259"/>
                </a:gdLst>
                <a:ahLst/>
                <a:cxnLst>
                  <a:cxn ang="0">
                    <a:pos x="connsiteX0" y="connsiteY0"/>
                  </a:cxn>
                  <a:cxn ang="0">
                    <a:pos x="connsiteX1" y="connsiteY1"/>
                  </a:cxn>
                  <a:cxn ang="0">
                    <a:pos x="connsiteX2" y="connsiteY2"/>
                  </a:cxn>
                  <a:cxn ang="0">
                    <a:pos x="connsiteX3" y="connsiteY3"/>
                  </a:cxn>
                </a:cxnLst>
                <a:rect l="l" t="t" r="r" b="b"/>
                <a:pathLst>
                  <a:path w="16613" h="24259">
                    <a:moveTo>
                      <a:pt x="0" y="0"/>
                    </a:moveTo>
                    <a:lnTo>
                      <a:pt x="16614" y="0"/>
                    </a:lnTo>
                    <a:lnTo>
                      <a:pt x="16614" y="24259"/>
                    </a:lnTo>
                    <a:lnTo>
                      <a:pt x="0" y="24259"/>
                    </a:lnTo>
                    <a:close/>
                  </a:path>
                </a:pathLst>
              </a:custGeom>
              <a:grpFill/>
              <a:ln w="6390" cap="flat">
                <a:noFill/>
                <a:prstDash val="solid"/>
                <a:miter/>
              </a:ln>
            </p:spPr>
            <p:txBody>
              <a:bodyPr rtlCol="0" anchor="ctr"/>
              <a:lstStyle/>
              <a:p>
                <a:endParaRPr lang="es-BO" noProof="0" dirty="0"/>
              </a:p>
            </p:txBody>
          </p:sp>
          <p:sp>
            <p:nvSpPr>
              <p:cNvPr id="339" name="Graphic 4">
                <a:extLst>
                  <a:ext uri="{FF2B5EF4-FFF2-40B4-BE49-F238E27FC236}">
                    <a16:creationId xmlns:a16="http://schemas.microsoft.com/office/drawing/2014/main" xmlns="" id="{739535FF-76A6-6138-E6D3-FC9AFE546FBE}"/>
                  </a:ext>
                </a:extLst>
              </p:cNvPr>
              <p:cNvSpPr/>
              <p:nvPr/>
            </p:nvSpPr>
            <p:spPr>
              <a:xfrm>
                <a:off x="4045469" y="4308712"/>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70295 w 362309"/>
                  <a:gd name="connsiteY6" fmla="*/ 278980 h 361971"/>
                  <a:gd name="connsiteX7" fmla="*/ 92015 w 362309"/>
                  <a:gd name="connsiteY7" fmla="*/ 278980 h 361971"/>
                  <a:gd name="connsiteX8" fmla="*/ 85625 w 362309"/>
                  <a:gd name="connsiteY8" fmla="*/ 272596 h 361971"/>
                  <a:gd name="connsiteX9" fmla="*/ 85625 w 362309"/>
                  <a:gd name="connsiteY9" fmla="*/ 235569 h 361971"/>
                  <a:gd name="connsiteX10" fmla="*/ 92015 w 362309"/>
                  <a:gd name="connsiteY10" fmla="*/ 229185 h 361971"/>
                  <a:gd name="connsiteX11" fmla="*/ 100322 w 362309"/>
                  <a:gd name="connsiteY11" fmla="*/ 229185 h 361971"/>
                  <a:gd name="connsiteX12" fmla="*/ 100322 w 362309"/>
                  <a:gd name="connsiteY12" fmla="*/ 205564 h 361971"/>
                  <a:gd name="connsiteX13" fmla="*/ 103517 w 362309"/>
                  <a:gd name="connsiteY13" fmla="*/ 199819 h 361971"/>
                  <a:gd name="connsiteX14" fmla="*/ 217258 w 362309"/>
                  <a:gd name="connsiteY14" fmla="*/ 135979 h 361971"/>
                  <a:gd name="connsiteX15" fmla="*/ 207673 w 362309"/>
                  <a:gd name="connsiteY15" fmla="*/ 115550 h 361971"/>
                  <a:gd name="connsiteX16" fmla="*/ 226843 w 362309"/>
                  <a:gd name="connsiteY16" fmla="*/ 84907 h 361971"/>
                  <a:gd name="connsiteX17" fmla="*/ 251764 w 362309"/>
                  <a:gd name="connsiteY17" fmla="*/ 93206 h 361971"/>
                  <a:gd name="connsiteX18" fmla="*/ 266460 w 362309"/>
                  <a:gd name="connsiteY18" fmla="*/ 122573 h 361971"/>
                  <a:gd name="connsiteX19" fmla="*/ 267739 w 362309"/>
                  <a:gd name="connsiteY19" fmla="*/ 171729 h 361971"/>
                  <a:gd name="connsiteX20" fmla="*/ 267739 w 362309"/>
                  <a:gd name="connsiteY20" fmla="*/ 266212 h 361971"/>
                  <a:gd name="connsiteX21" fmla="*/ 269017 w 362309"/>
                  <a:gd name="connsiteY21" fmla="*/ 266212 h 361971"/>
                  <a:gd name="connsiteX22" fmla="*/ 275407 w 362309"/>
                  <a:gd name="connsiteY22" fmla="*/ 272596 h 361971"/>
                  <a:gd name="connsiteX23" fmla="*/ 270295 w 362309"/>
                  <a:gd name="connsiteY23" fmla="*/ 278980 h 361971"/>
                  <a:gd name="connsiteX24" fmla="*/ 270295 w 362309"/>
                  <a:gd name="connsiteY24" fmla="*/ 2789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270295" y="278980"/>
                    </a:moveTo>
                    <a:lnTo>
                      <a:pt x="92015" y="278980"/>
                    </a:lnTo>
                    <a:cubicBezTo>
                      <a:pt x="88181" y="278980"/>
                      <a:pt x="85625" y="276426"/>
                      <a:pt x="85625" y="272596"/>
                    </a:cubicBezTo>
                    <a:lnTo>
                      <a:pt x="85625" y="235569"/>
                    </a:lnTo>
                    <a:cubicBezTo>
                      <a:pt x="85625" y="231738"/>
                      <a:pt x="88181" y="229185"/>
                      <a:pt x="92015" y="229185"/>
                    </a:cubicBezTo>
                    <a:lnTo>
                      <a:pt x="100322" y="229185"/>
                    </a:lnTo>
                    <a:lnTo>
                      <a:pt x="100322" y="205564"/>
                    </a:lnTo>
                    <a:cubicBezTo>
                      <a:pt x="100322" y="203011"/>
                      <a:pt x="101600" y="201095"/>
                      <a:pt x="103517" y="199819"/>
                    </a:cubicBezTo>
                    <a:lnTo>
                      <a:pt x="217258" y="135979"/>
                    </a:lnTo>
                    <a:cubicBezTo>
                      <a:pt x="213424" y="129595"/>
                      <a:pt x="210229" y="122573"/>
                      <a:pt x="207673" y="115550"/>
                    </a:cubicBezTo>
                    <a:cubicBezTo>
                      <a:pt x="204478" y="101505"/>
                      <a:pt x="213424" y="88099"/>
                      <a:pt x="226843" y="84907"/>
                    </a:cubicBezTo>
                    <a:cubicBezTo>
                      <a:pt x="235789" y="82992"/>
                      <a:pt x="245374" y="86184"/>
                      <a:pt x="251764" y="93206"/>
                    </a:cubicBezTo>
                    <a:cubicBezTo>
                      <a:pt x="258154" y="102144"/>
                      <a:pt x="263266" y="112358"/>
                      <a:pt x="266460" y="122573"/>
                    </a:cubicBezTo>
                    <a:cubicBezTo>
                      <a:pt x="273490" y="142363"/>
                      <a:pt x="279880" y="162153"/>
                      <a:pt x="267739" y="171729"/>
                    </a:cubicBezTo>
                    <a:lnTo>
                      <a:pt x="267739" y="266212"/>
                    </a:lnTo>
                    <a:lnTo>
                      <a:pt x="269017" y="266212"/>
                    </a:lnTo>
                    <a:cubicBezTo>
                      <a:pt x="272850" y="266212"/>
                      <a:pt x="275407" y="268766"/>
                      <a:pt x="275407" y="272596"/>
                    </a:cubicBezTo>
                    <a:cubicBezTo>
                      <a:pt x="275407" y="276426"/>
                      <a:pt x="274128" y="278980"/>
                      <a:pt x="270295" y="278980"/>
                    </a:cubicBezTo>
                    <a:lnTo>
                      <a:pt x="270295" y="278980"/>
                    </a:lnTo>
                    <a:close/>
                  </a:path>
                </a:pathLst>
              </a:custGeom>
              <a:grpFill/>
              <a:ln w="6390" cap="flat">
                <a:noFill/>
                <a:prstDash val="solid"/>
                <a:miter/>
              </a:ln>
            </p:spPr>
            <p:txBody>
              <a:bodyPr rtlCol="0" anchor="ctr"/>
              <a:lstStyle/>
              <a:p>
                <a:endParaRPr lang="es-BO" noProof="0" dirty="0"/>
              </a:p>
            </p:txBody>
          </p:sp>
        </p:grpSp>
        <p:sp>
          <p:nvSpPr>
            <p:cNvPr id="340" name="Oval 339">
              <a:extLst>
                <a:ext uri="{FF2B5EF4-FFF2-40B4-BE49-F238E27FC236}">
                  <a16:creationId xmlns:a16="http://schemas.microsoft.com/office/drawing/2014/main" xmlns="" id="{7B9749C3-0706-713A-797A-8AF2A3A46FE8}"/>
                </a:ext>
              </a:extLst>
            </p:cNvPr>
            <p:cNvSpPr/>
            <p:nvPr/>
          </p:nvSpPr>
          <p:spPr bwMode="gray">
            <a:xfrm>
              <a:off x="1342650" y="4698516"/>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pSp>
          <p:nvGrpSpPr>
            <p:cNvPr id="341" name="Graphic 4">
              <a:extLst>
                <a:ext uri="{FF2B5EF4-FFF2-40B4-BE49-F238E27FC236}">
                  <a16:creationId xmlns:a16="http://schemas.microsoft.com/office/drawing/2014/main" xmlns="" id="{4E2F9DD2-FAF1-FF11-70A5-65C10B6E8895}"/>
                </a:ext>
              </a:extLst>
            </p:cNvPr>
            <p:cNvGrpSpPr/>
            <p:nvPr/>
          </p:nvGrpSpPr>
          <p:grpSpPr>
            <a:xfrm>
              <a:off x="1578184" y="4939313"/>
              <a:ext cx="910799" cy="910796"/>
              <a:chOff x="5092779" y="2371173"/>
              <a:chExt cx="362309" cy="361971"/>
            </a:xfrm>
            <a:solidFill>
              <a:srgbClr val="BAE370"/>
            </a:solidFill>
          </p:grpSpPr>
          <p:sp>
            <p:nvSpPr>
              <p:cNvPr id="342" name="Graphic 4">
                <a:extLst>
                  <a:ext uri="{FF2B5EF4-FFF2-40B4-BE49-F238E27FC236}">
                    <a16:creationId xmlns:a16="http://schemas.microsoft.com/office/drawing/2014/main" xmlns="" id="{7D7BC064-4A55-F02B-18D0-A64DCD25FB75}"/>
                  </a:ext>
                </a:extLst>
              </p:cNvPr>
              <p:cNvSpPr/>
              <p:nvPr/>
            </p:nvSpPr>
            <p:spPr>
              <a:xfrm>
                <a:off x="5220578" y="2551201"/>
                <a:ext cx="106711" cy="45326"/>
              </a:xfrm>
              <a:custGeom>
                <a:avLst/>
                <a:gdLst>
                  <a:gd name="connsiteX0" fmla="*/ 0 w 106711"/>
                  <a:gd name="connsiteY0" fmla="*/ 0 h 45326"/>
                  <a:gd name="connsiteX1" fmla="*/ 106712 w 106711"/>
                  <a:gd name="connsiteY1" fmla="*/ 0 h 45326"/>
                  <a:gd name="connsiteX2" fmla="*/ 106712 w 106711"/>
                  <a:gd name="connsiteY2" fmla="*/ 45326 h 45326"/>
                  <a:gd name="connsiteX3" fmla="*/ 0 w 106711"/>
                  <a:gd name="connsiteY3" fmla="*/ 45326 h 45326"/>
                </a:gdLst>
                <a:ahLst/>
                <a:cxnLst>
                  <a:cxn ang="0">
                    <a:pos x="connsiteX0" y="connsiteY0"/>
                  </a:cxn>
                  <a:cxn ang="0">
                    <a:pos x="connsiteX1" y="connsiteY1"/>
                  </a:cxn>
                  <a:cxn ang="0">
                    <a:pos x="connsiteX2" y="connsiteY2"/>
                  </a:cxn>
                  <a:cxn ang="0">
                    <a:pos x="connsiteX3" y="connsiteY3"/>
                  </a:cxn>
                </a:cxnLst>
                <a:rect l="l" t="t" r="r" b="b"/>
                <a:pathLst>
                  <a:path w="106711" h="45326">
                    <a:moveTo>
                      <a:pt x="0" y="0"/>
                    </a:moveTo>
                    <a:lnTo>
                      <a:pt x="106712" y="0"/>
                    </a:lnTo>
                    <a:lnTo>
                      <a:pt x="106712" y="45326"/>
                    </a:lnTo>
                    <a:lnTo>
                      <a:pt x="0" y="45326"/>
                    </a:lnTo>
                    <a:close/>
                  </a:path>
                </a:pathLst>
              </a:custGeom>
              <a:grpFill/>
              <a:ln w="6390" cap="flat">
                <a:noFill/>
                <a:prstDash val="solid"/>
                <a:miter/>
              </a:ln>
            </p:spPr>
            <p:txBody>
              <a:bodyPr rtlCol="0" anchor="ctr"/>
              <a:lstStyle/>
              <a:p>
                <a:endParaRPr lang="es-BO" noProof="0" dirty="0"/>
              </a:p>
            </p:txBody>
          </p:sp>
          <p:sp>
            <p:nvSpPr>
              <p:cNvPr id="343" name="Graphic 4">
                <a:extLst>
                  <a:ext uri="{FF2B5EF4-FFF2-40B4-BE49-F238E27FC236}">
                    <a16:creationId xmlns:a16="http://schemas.microsoft.com/office/drawing/2014/main" xmlns="" id="{D8F3937B-F6BE-7303-5C71-33E3370B765C}"/>
                  </a:ext>
                </a:extLst>
              </p:cNvPr>
              <p:cNvSpPr/>
              <p:nvPr/>
            </p:nvSpPr>
            <p:spPr>
              <a:xfrm>
                <a:off x="5199491" y="2532688"/>
                <a:ext cx="8945" cy="82991"/>
              </a:xfrm>
              <a:custGeom>
                <a:avLst/>
                <a:gdLst>
                  <a:gd name="connsiteX0" fmla="*/ 0 w 8945"/>
                  <a:gd name="connsiteY0" fmla="*/ 0 h 82991"/>
                  <a:gd name="connsiteX1" fmla="*/ 8946 w 8945"/>
                  <a:gd name="connsiteY1" fmla="*/ 0 h 82991"/>
                  <a:gd name="connsiteX2" fmla="*/ 8946 w 8945"/>
                  <a:gd name="connsiteY2" fmla="*/ 82992 h 82991"/>
                  <a:gd name="connsiteX3" fmla="*/ 0 w 8945"/>
                  <a:gd name="connsiteY3" fmla="*/ 82992 h 82991"/>
                </a:gdLst>
                <a:ahLst/>
                <a:cxnLst>
                  <a:cxn ang="0">
                    <a:pos x="connsiteX0" y="connsiteY0"/>
                  </a:cxn>
                  <a:cxn ang="0">
                    <a:pos x="connsiteX1" y="connsiteY1"/>
                  </a:cxn>
                  <a:cxn ang="0">
                    <a:pos x="connsiteX2" y="connsiteY2"/>
                  </a:cxn>
                  <a:cxn ang="0">
                    <a:pos x="connsiteX3" y="connsiteY3"/>
                  </a:cxn>
                </a:cxnLst>
                <a:rect l="l" t="t" r="r" b="b"/>
                <a:pathLst>
                  <a:path w="8945" h="82991">
                    <a:moveTo>
                      <a:pt x="0" y="0"/>
                    </a:moveTo>
                    <a:lnTo>
                      <a:pt x="8946" y="0"/>
                    </a:lnTo>
                    <a:lnTo>
                      <a:pt x="8946" y="82992"/>
                    </a:lnTo>
                    <a:lnTo>
                      <a:pt x="0" y="82992"/>
                    </a:lnTo>
                    <a:close/>
                  </a:path>
                </a:pathLst>
              </a:custGeom>
              <a:grpFill/>
              <a:ln w="6390" cap="flat">
                <a:noFill/>
                <a:prstDash val="solid"/>
                <a:miter/>
              </a:ln>
            </p:spPr>
            <p:txBody>
              <a:bodyPr rtlCol="0" anchor="ctr"/>
              <a:lstStyle/>
              <a:p>
                <a:endParaRPr lang="es-BO" noProof="0" dirty="0"/>
              </a:p>
            </p:txBody>
          </p:sp>
          <p:sp>
            <p:nvSpPr>
              <p:cNvPr id="344" name="Graphic 4">
                <a:extLst>
                  <a:ext uri="{FF2B5EF4-FFF2-40B4-BE49-F238E27FC236}">
                    <a16:creationId xmlns:a16="http://schemas.microsoft.com/office/drawing/2014/main" xmlns="" id="{62BF282B-CFD6-AA62-739F-14219164C43A}"/>
                  </a:ext>
                </a:extLst>
              </p:cNvPr>
              <p:cNvSpPr/>
              <p:nvPr/>
            </p:nvSpPr>
            <p:spPr>
              <a:xfrm>
                <a:off x="5246138" y="2524389"/>
                <a:ext cx="52681" cy="14044"/>
              </a:xfrm>
              <a:custGeom>
                <a:avLst/>
                <a:gdLst>
                  <a:gd name="connsiteX0" fmla="*/ 52398 w 52681"/>
                  <a:gd name="connsiteY0" fmla="*/ 638 h 14044"/>
                  <a:gd name="connsiteX1" fmla="*/ 47286 w 52681"/>
                  <a:gd name="connsiteY1" fmla="*/ 0 h 14044"/>
                  <a:gd name="connsiteX2" fmla="*/ 3834 w 52681"/>
                  <a:gd name="connsiteY2" fmla="*/ 0 h 14044"/>
                  <a:gd name="connsiteX3" fmla="*/ 0 w 52681"/>
                  <a:gd name="connsiteY3" fmla="*/ 2554 h 14044"/>
                  <a:gd name="connsiteX4" fmla="*/ 0 w 52681"/>
                  <a:gd name="connsiteY4" fmla="*/ 14045 h 14044"/>
                  <a:gd name="connsiteX5" fmla="*/ 52398 w 52681"/>
                  <a:gd name="connsiteY5" fmla="*/ 14045 h 14044"/>
                  <a:gd name="connsiteX6" fmla="*/ 52398 w 52681"/>
                  <a:gd name="connsiteY6" fmla="*/ 638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81" h="14044">
                    <a:moveTo>
                      <a:pt x="52398" y="638"/>
                    </a:moveTo>
                    <a:cubicBezTo>
                      <a:pt x="51119" y="0"/>
                      <a:pt x="49203" y="0"/>
                      <a:pt x="47286" y="0"/>
                    </a:cubicBezTo>
                    <a:cubicBezTo>
                      <a:pt x="46008" y="0"/>
                      <a:pt x="13419" y="0"/>
                      <a:pt x="3834" y="0"/>
                    </a:cubicBezTo>
                    <a:cubicBezTo>
                      <a:pt x="1917" y="0"/>
                      <a:pt x="0" y="0"/>
                      <a:pt x="0" y="2554"/>
                    </a:cubicBezTo>
                    <a:lnTo>
                      <a:pt x="0" y="14045"/>
                    </a:lnTo>
                    <a:lnTo>
                      <a:pt x="52398" y="14045"/>
                    </a:lnTo>
                    <a:cubicBezTo>
                      <a:pt x="53036" y="9576"/>
                      <a:pt x="52398" y="5107"/>
                      <a:pt x="52398" y="638"/>
                    </a:cubicBezTo>
                    <a:close/>
                  </a:path>
                </a:pathLst>
              </a:custGeom>
              <a:grpFill/>
              <a:ln w="6390" cap="flat">
                <a:noFill/>
                <a:prstDash val="solid"/>
                <a:miter/>
              </a:ln>
            </p:spPr>
            <p:txBody>
              <a:bodyPr rtlCol="0" anchor="ctr"/>
              <a:lstStyle/>
              <a:p>
                <a:endParaRPr lang="es-BO" noProof="0" dirty="0"/>
              </a:p>
            </p:txBody>
          </p:sp>
          <p:sp>
            <p:nvSpPr>
              <p:cNvPr id="345" name="Graphic 4">
                <a:extLst>
                  <a:ext uri="{FF2B5EF4-FFF2-40B4-BE49-F238E27FC236}">
                    <a16:creationId xmlns:a16="http://schemas.microsoft.com/office/drawing/2014/main" xmlns="" id="{E81587DB-234B-865A-9071-52091E53091B}"/>
                  </a:ext>
                </a:extLst>
              </p:cNvPr>
              <p:cNvSpPr/>
              <p:nvPr/>
            </p:nvSpPr>
            <p:spPr>
              <a:xfrm>
                <a:off x="5092779" y="237117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69655 w 362309"/>
                  <a:gd name="connsiteY6" fmla="*/ 225355 h 361971"/>
                  <a:gd name="connsiteX7" fmla="*/ 283074 w 362309"/>
                  <a:gd name="connsiteY7" fmla="*/ 225355 h 361971"/>
                  <a:gd name="connsiteX8" fmla="*/ 289464 w 362309"/>
                  <a:gd name="connsiteY8" fmla="*/ 231739 h 361971"/>
                  <a:gd name="connsiteX9" fmla="*/ 283074 w 362309"/>
                  <a:gd name="connsiteY9" fmla="*/ 238123 h 361971"/>
                  <a:gd name="connsiteX10" fmla="*/ 269655 w 362309"/>
                  <a:gd name="connsiteY10" fmla="*/ 238123 h 361971"/>
                  <a:gd name="connsiteX11" fmla="*/ 269016 w 362309"/>
                  <a:gd name="connsiteY11" fmla="*/ 238123 h 361971"/>
                  <a:gd name="connsiteX12" fmla="*/ 269016 w 362309"/>
                  <a:gd name="connsiteY12" fmla="*/ 250891 h 361971"/>
                  <a:gd name="connsiteX13" fmla="*/ 262626 w 362309"/>
                  <a:gd name="connsiteY13" fmla="*/ 257275 h 361971"/>
                  <a:gd name="connsiteX14" fmla="*/ 240901 w 362309"/>
                  <a:gd name="connsiteY14" fmla="*/ 257275 h 361971"/>
                  <a:gd name="connsiteX15" fmla="*/ 234511 w 362309"/>
                  <a:gd name="connsiteY15" fmla="*/ 250891 h 361971"/>
                  <a:gd name="connsiteX16" fmla="*/ 234511 w 362309"/>
                  <a:gd name="connsiteY16" fmla="*/ 238123 h 361971"/>
                  <a:gd name="connsiteX17" fmla="*/ 127799 w 362309"/>
                  <a:gd name="connsiteY17" fmla="*/ 238123 h 361971"/>
                  <a:gd name="connsiteX18" fmla="*/ 127799 w 362309"/>
                  <a:gd name="connsiteY18" fmla="*/ 250891 h 361971"/>
                  <a:gd name="connsiteX19" fmla="*/ 121409 w 362309"/>
                  <a:gd name="connsiteY19" fmla="*/ 257275 h 361971"/>
                  <a:gd name="connsiteX20" fmla="*/ 99683 w 362309"/>
                  <a:gd name="connsiteY20" fmla="*/ 257275 h 361971"/>
                  <a:gd name="connsiteX21" fmla="*/ 93293 w 362309"/>
                  <a:gd name="connsiteY21" fmla="*/ 250891 h 361971"/>
                  <a:gd name="connsiteX22" fmla="*/ 93293 w 362309"/>
                  <a:gd name="connsiteY22" fmla="*/ 238123 h 361971"/>
                  <a:gd name="connsiteX23" fmla="*/ 92654 w 362309"/>
                  <a:gd name="connsiteY23" fmla="*/ 238123 h 361971"/>
                  <a:gd name="connsiteX24" fmla="*/ 79235 w 362309"/>
                  <a:gd name="connsiteY24" fmla="*/ 238123 h 361971"/>
                  <a:gd name="connsiteX25" fmla="*/ 72845 w 362309"/>
                  <a:gd name="connsiteY25" fmla="*/ 231739 h 361971"/>
                  <a:gd name="connsiteX26" fmla="*/ 79235 w 362309"/>
                  <a:gd name="connsiteY26" fmla="*/ 225355 h 361971"/>
                  <a:gd name="connsiteX27" fmla="*/ 92654 w 362309"/>
                  <a:gd name="connsiteY27" fmla="*/ 225355 h 361971"/>
                  <a:gd name="connsiteX28" fmla="*/ 93293 w 362309"/>
                  <a:gd name="connsiteY28" fmla="*/ 225355 h 361971"/>
                  <a:gd name="connsiteX29" fmla="*/ 93293 w 362309"/>
                  <a:gd name="connsiteY29" fmla="*/ 180028 h 361971"/>
                  <a:gd name="connsiteX30" fmla="*/ 92654 w 362309"/>
                  <a:gd name="connsiteY30" fmla="*/ 180028 h 361971"/>
                  <a:gd name="connsiteX31" fmla="*/ 79235 w 362309"/>
                  <a:gd name="connsiteY31" fmla="*/ 180028 h 361971"/>
                  <a:gd name="connsiteX32" fmla="*/ 72845 w 362309"/>
                  <a:gd name="connsiteY32" fmla="*/ 173644 h 361971"/>
                  <a:gd name="connsiteX33" fmla="*/ 79235 w 362309"/>
                  <a:gd name="connsiteY33" fmla="*/ 167260 h 361971"/>
                  <a:gd name="connsiteX34" fmla="*/ 92654 w 362309"/>
                  <a:gd name="connsiteY34" fmla="*/ 167260 h 361971"/>
                  <a:gd name="connsiteX35" fmla="*/ 93293 w 362309"/>
                  <a:gd name="connsiteY35" fmla="*/ 167260 h 361971"/>
                  <a:gd name="connsiteX36" fmla="*/ 93293 w 362309"/>
                  <a:gd name="connsiteY36" fmla="*/ 155131 h 361971"/>
                  <a:gd name="connsiteX37" fmla="*/ 99683 w 362309"/>
                  <a:gd name="connsiteY37" fmla="*/ 148747 h 361971"/>
                  <a:gd name="connsiteX38" fmla="*/ 121409 w 362309"/>
                  <a:gd name="connsiteY38" fmla="*/ 148747 h 361971"/>
                  <a:gd name="connsiteX39" fmla="*/ 127799 w 362309"/>
                  <a:gd name="connsiteY39" fmla="*/ 155131 h 361971"/>
                  <a:gd name="connsiteX40" fmla="*/ 127799 w 362309"/>
                  <a:gd name="connsiteY40" fmla="*/ 167260 h 361971"/>
                  <a:gd name="connsiteX41" fmla="*/ 139940 w 362309"/>
                  <a:gd name="connsiteY41" fmla="*/ 167260 h 361971"/>
                  <a:gd name="connsiteX42" fmla="*/ 139940 w 362309"/>
                  <a:gd name="connsiteY42" fmla="*/ 155769 h 361971"/>
                  <a:gd name="connsiteX43" fmla="*/ 156553 w 362309"/>
                  <a:gd name="connsiteY43" fmla="*/ 141086 h 361971"/>
                  <a:gd name="connsiteX44" fmla="*/ 156553 w 362309"/>
                  <a:gd name="connsiteY44" fmla="*/ 141086 h 361971"/>
                  <a:gd name="connsiteX45" fmla="*/ 157192 w 362309"/>
                  <a:gd name="connsiteY45" fmla="*/ 141086 h 361971"/>
                  <a:gd name="connsiteX46" fmla="*/ 172528 w 362309"/>
                  <a:gd name="connsiteY46" fmla="*/ 141086 h 361971"/>
                  <a:gd name="connsiteX47" fmla="*/ 172528 w 362309"/>
                  <a:gd name="connsiteY47" fmla="*/ 117465 h 361971"/>
                  <a:gd name="connsiteX48" fmla="*/ 156553 w 362309"/>
                  <a:gd name="connsiteY48" fmla="*/ 117465 h 361971"/>
                  <a:gd name="connsiteX49" fmla="*/ 150164 w 362309"/>
                  <a:gd name="connsiteY49" fmla="*/ 111081 h 361971"/>
                  <a:gd name="connsiteX50" fmla="*/ 156553 w 362309"/>
                  <a:gd name="connsiteY50" fmla="*/ 104697 h 361971"/>
                  <a:gd name="connsiteX51" fmla="*/ 200644 w 362309"/>
                  <a:gd name="connsiteY51" fmla="*/ 104697 h 361971"/>
                  <a:gd name="connsiteX52" fmla="*/ 207034 w 362309"/>
                  <a:gd name="connsiteY52" fmla="*/ 111081 h 361971"/>
                  <a:gd name="connsiteX53" fmla="*/ 200644 w 362309"/>
                  <a:gd name="connsiteY53" fmla="*/ 117465 h 361971"/>
                  <a:gd name="connsiteX54" fmla="*/ 185308 w 362309"/>
                  <a:gd name="connsiteY54" fmla="*/ 117465 h 361971"/>
                  <a:gd name="connsiteX55" fmla="*/ 185308 w 362309"/>
                  <a:gd name="connsiteY55" fmla="*/ 141086 h 361971"/>
                  <a:gd name="connsiteX56" fmla="*/ 200005 w 362309"/>
                  <a:gd name="connsiteY56" fmla="*/ 141086 h 361971"/>
                  <a:gd name="connsiteX57" fmla="*/ 217897 w 362309"/>
                  <a:gd name="connsiteY57" fmla="*/ 153216 h 361971"/>
                  <a:gd name="connsiteX58" fmla="*/ 217897 w 362309"/>
                  <a:gd name="connsiteY58" fmla="*/ 167260 h 361971"/>
                  <a:gd name="connsiteX59" fmla="*/ 233872 w 362309"/>
                  <a:gd name="connsiteY59" fmla="*/ 167260 h 361971"/>
                  <a:gd name="connsiteX60" fmla="*/ 233872 w 362309"/>
                  <a:gd name="connsiteY60" fmla="*/ 155769 h 361971"/>
                  <a:gd name="connsiteX61" fmla="*/ 240261 w 362309"/>
                  <a:gd name="connsiteY61" fmla="*/ 149385 h 361971"/>
                  <a:gd name="connsiteX62" fmla="*/ 261987 w 362309"/>
                  <a:gd name="connsiteY62" fmla="*/ 149385 h 361971"/>
                  <a:gd name="connsiteX63" fmla="*/ 268377 w 362309"/>
                  <a:gd name="connsiteY63" fmla="*/ 155769 h 361971"/>
                  <a:gd name="connsiteX64" fmla="*/ 268377 w 362309"/>
                  <a:gd name="connsiteY64" fmla="*/ 167260 h 361971"/>
                  <a:gd name="connsiteX65" fmla="*/ 269016 w 362309"/>
                  <a:gd name="connsiteY65" fmla="*/ 167260 h 361971"/>
                  <a:gd name="connsiteX66" fmla="*/ 282435 w 362309"/>
                  <a:gd name="connsiteY66" fmla="*/ 167260 h 361971"/>
                  <a:gd name="connsiteX67" fmla="*/ 288825 w 362309"/>
                  <a:gd name="connsiteY67" fmla="*/ 173644 h 361971"/>
                  <a:gd name="connsiteX68" fmla="*/ 282435 w 362309"/>
                  <a:gd name="connsiteY68" fmla="*/ 180028 h 361971"/>
                  <a:gd name="connsiteX69" fmla="*/ 269016 w 362309"/>
                  <a:gd name="connsiteY69" fmla="*/ 180028 h 361971"/>
                  <a:gd name="connsiteX70" fmla="*/ 268377 w 362309"/>
                  <a:gd name="connsiteY70" fmla="*/ 180028 h 361971"/>
                  <a:gd name="connsiteX71" fmla="*/ 268377 w 362309"/>
                  <a:gd name="connsiteY71" fmla="*/ 225993 h 361971"/>
                  <a:gd name="connsiteX72" fmla="*/ 269655 w 362309"/>
                  <a:gd name="connsiteY72"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1077"/>
                      <a:pt x="281796" y="0"/>
                      <a:pt x="181474" y="0"/>
                    </a:cubicBezTo>
                    <a:close/>
                    <a:moveTo>
                      <a:pt x="269655" y="225355"/>
                    </a:moveTo>
                    <a:lnTo>
                      <a:pt x="283074" y="225355"/>
                    </a:lnTo>
                    <a:cubicBezTo>
                      <a:pt x="286908" y="225355"/>
                      <a:pt x="289464" y="227908"/>
                      <a:pt x="289464" y="231739"/>
                    </a:cubicBezTo>
                    <a:cubicBezTo>
                      <a:pt x="289464" y="235569"/>
                      <a:pt x="286908" y="238123"/>
                      <a:pt x="283074" y="238123"/>
                    </a:cubicBezTo>
                    <a:lnTo>
                      <a:pt x="269655" y="238123"/>
                    </a:lnTo>
                    <a:lnTo>
                      <a:pt x="269016" y="238123"/>
                    </a:lnTo>
                    <a:lnTo>
                      <a:pt x="269016" y="250891"/>
                    </a:lnTo>
                    <a:cubicBezTo>
                      <a:pt x="269016" y="254721"/>
                      <a:pt x="266460" y="257275"/>
                      <a:pt x="262626" y="257275"/>
                    </a:cubicBezTo>
                    <a:lnTo>
                      <a:pt x="240901" y="257275"/>
                    </a:lnTo>
                    <a:cubicBezTo>
                      <a:pt x="237067" y="257275"/>
                      <a:pt x="234511" y="254721"/>
                      <a:pt x="234511" y="250891"/>
                    </a:cubicBezTo>
                    <a:lnTo>
                      <a:pt x="234511" y="238123"/>
                    </a:lnTo>
                    <a:lnTo>
                      <a:pt x="127799" y="238123"/>
                    </a:lnTo>
                    <a:lnTo>
                      <a:pt x="127799" y="250891"/>
                    </a:lnTo>
                    <a:cubicBezTo>
                      <a:pt x="127799" y="254721"/>
                      <a:pt x="125243" y="257275"/>
                      <a:pt x="121409" y="257275"/>
                    </a:cubicBezTo>
                    <a:lnTo>
                      <a:pt x="99683" y="257275"/>
                    </a:lnTo>
                    <a:cubicBezTo>
                      <a:pt x="95849" y="257275"/>
                      <a:pt x="93293" y="254721"/>
                      <a:pt x="93293" y="250891"/>
                    </a:cubicBezTo>
                    <a:lnTo>
                      <a:pt x="93293" y="238123"/>
                    </a:lnTo>
                    <a:lnTo>
                      <a:pt x="92654" y="238123"/>
                    </a:lnTo>
                    <a:lnTo>
                      <a:pt x="79235" y="238123"/>
                    </a:lnTo>
                    <a:cubicBezTo>
                      <a:pt x="75401" y="238123"/>
                      <a:pt x="72845" y="235569"/>
                      <a:pt x="72845" y="231739"/>
                    </a:cubicBezTo>
                    <a:cubicBezTo>
                      <a:pt x="72845" y="227908"/>
                      <a:pt x="75401" y="225355"/>
                      <a:pt x="79235" y="225355"/>
                    </a:cubicBezTo>
                    <a:lnTo>
                      <a:pt x="92654" y="225355"/>
                    </a:lnTo>
                    <a:lnTo>
                      <a:pt x="93293" y="225355"/>
                    </a:lnTo>
                    <a:lnTo>
                      <a:pt x="93293" y="180028"/>
                    </a:lnTo>
                    <a:lnTo>
                      <a:pt x="92654" y="180028"/>
                    </a:lnTo>
                    <a:lnTo>
                      <a:pt x="79235" y="180028"/>
                    </a:lnTo>
                    <a:cubicBezTo>
                      <a:pt x="75401" y="180028"/>
                      <a:pt x="72845" y="177475"/>
                      <a:pt x="72845" y="173644"/>
                    </a:cubicBezTo>
                    <a:cubicBezTo>
                      <a:pt x="72845" y="169814"/>
                      <a:pt x="75401" y="167260"/>
                      <a:pt x="79235" y="167260"/>
                    </a:cubicBezTo>
                    <a:lnTo>
                      <a:pt x="92654" y="167260"/>
                    </a:lnTo>
                    <a:lnTo>
                      <a:pt x="93293" y="167260"/>
                    </a:lnTo>
                    <a:lnTo>
                      <a:pt x="93293" y="155131"/>
                    </a:lnTo>
                    <a:cubicBezTo>
                      <a:pt x="93293" y="151300"/>
                      <a:pt x="95849" y="148747"/>
                      <a:pt x="99683" y="148747"/>
                    </a:cubicBezTo>
                    <a:lnTo>
                      <a:pt x="121409" y="148747"/>
                    </a:lnTo>
                    <a:cubicBezTo>
                      <a:pt x="125243" y="148747"/>
                      <a:pt x="127799" y="151300"/>
                      <a:pt x="127799" y="155131"/>
                    </a:cubicBezTo>
                    <a:lnTo>
                      <a:pt x="127799" y="167260"/>
                    </a:lnTo>
                    <a:lnTo>
                      <a:pt x="139940" y="167260"/>
                    </a:lnTo>
                    <a:lnTo>
                      <a:pt x="139940" y="155769"/>
                    </a:lnTo>
                    <a:cubicBezTo>
                      <a:pt x="140579" y="147470"/>
                      <a:pt x="147607" y="140448"/>
                      <a:pt x="156553" y="141086"/>
                    </a:cubicBezTo>
                    <a:cubicBezTo>
                      <a:pt x="156553" y="141086"/>
                      <a:pt x="156553" y="141086"/>
                      <a:pt x="156553" y="141086"/>
                    </a:cubicBezTo>
                    <a:lnTo>
                      <a:pt x="157192" y="141086"/>
                    </a:lnTo>
                    <a:lnTo>
                      <a:pt x="172528" y="141086"/>
                    </a:lnTo>
                    <a:lnTo>
                      <a:pt x="172528" y="117465"/>
                    </a:lnTo>
                    <a:lnTo>
                      <a:pt x="156553" y="117465"/>
                    </a:lnTo>
                    <a:cubicBezTo>
                      <a:pt x="152720" y="117465"/>
                      <a:pt x="150164" y="114912"/>
                      <a:pt x="150164" y="111081"/>
                    </a:cubicBezTo>
                    <a:cubicBezTo>
                      <a:pt x="150164" y="107251"/>
                      <a:pt x="152720" y="104697"/>
                      <a:pt x="156553" y="104697"/>
                    </a:cubicBezTo>
                    <a:lnTo>
                      <a:pt x="200644" y="104697"/>
                    </a:lnTo>
                    <a:cubicBezTo>
                      <a:pt x="204478" y="104697"/>
                      <a:pt x="207034" y="107251"/>
                      <a:pt x="207034" y="111081"/>
                    </a:cubicBezTo>
                    <a:cubicBezTo>
                      <a:pt x="207034" y="114912"/>
                      <a:pt x="204478" y="117465"/>
                      <a:pt x="200644" y="117465"/>
                    </a:cubicBezTo>
                    <a:lnTo>
                      <a:pt x="185308" y="117465"/>
                    </a:lnTo>
                    <a:lnTo>
                      <a:pt x="185308" y="141086"/>
                    </a:lnTo>
                    <a:lnTo>
                      <a:pt x="200005" y="141086"/>
                    </a:lnTo>
                    <a:cubicBezTo>
                      <a:pt x="207673" y="141086"/>
                      <a:pt x="217258" y="144278"/>
                      <a:pt x="217897" y="153216"/>
                    </a:cubicBezTo>
                    <a:cubicBezTo>
                      <a:pt x="217897" y="157684"/>
                      <a:pt x="217897" y="162792"/>
                      <a:pt x="217897" y="167260"/>
                    </a:cubicBezTo>
                    <a:lnTo>
                      <a:pt x="233872" y="167260"/>
                    </a:lnTo>
                    <a:lnTo>
                      <a:pt x="233872" y="155769"/>
                    </a:lnTo>
                    <a:cubicBezTo>
                      <a:pt x="233872" y="151939"/>
                      <a:pt x="236428" y="149385"/>
                      <a:pt x="240261" y="149385"/>
                    </a:cubicBezTo>
                    <a:lnTo>
                      <a:pt x="261987" y="149385"/>
                    </a:lnTo>
                    <a:cubicBezTo>
                      <a:pt x="265821" y="149385"/>
                      <a:pt x="268377" y="151939"/>
                      <a:pt x="268377" y="155769"/>
                    </a:cubicBezTo>
                    <a:lnTo>
                      <a:pt x="268377" y="167260"/>
                    </a:lnTo>
                    <a:lnTo>
                      <a:pt x="269016" y="167260"/>
                    </a:lnTo>
                    <a:lnTo>
                      <a:pt x="282435" y="167260"/>
                    </a:lnTo>
                    <a:cubicBezTo>
                      <a:pt x="286269" y="167260"/>
                      <a:pt x="288825" y="169814"/>
                      <a:pt x="288825" y="173644"/>
                    </a:cubicBezTo>
                    <a:cubicBezTo>
                      <a:pt x="288825" y="177475"/>
                      <a:pt x="286269" y="180028"/>
                      <a:pt x="282435" y="180028"/>
                    </a:cubicBezTo>
                    <a:lnTo>
                      <a:pt x="269016" y="180028"/>
                    </a:lnTo>
                    <a:lnTo>
                      <a:pt x="268377" y="180028"/>
                    </a:lnTo>
                    <a:lnTo>
                      <a:pt x="268377" y="225993"/>
                    </a:lnTo>
                    <a:lnTo>
                      <a:pt x="269655" y="225355"/>
                    </a:lnTo>
                    <a:close/>
                  </a:path>
                </a:pathLst>
              </a:custGeom>
              <a:grpFill/>
              <a:ln w="6390" cap="flat">
                <a:noFill/>
                <a:prstDash val="solid"/>
                <a:miter/>
              </a:ln>
            </p:spPr>
            <p:txBody>
              <a:bodyPr rtlCol="0" anchor="ctr"/>
              <a:lstStyle/>
              <a:p>
                <a:endParaRPr lang="es-BO" noProof="0" dirty="0"/>
              </a:p>
            </p:txBody>
          </p:sp>
          <p:sp>
            <p:nvSpPr>
              <p:cNvPr id="346" name="Graphic 4">
                <a:extLst>
                  <a:ext uri="{FF2B5EF4-FFF2-40B4-BE49-F238E27FC236}">
                    <a16:creationId xmlns:a16="http://schemas.microsoft.com/office/drawing/2014/main" xmlns="" id="{BB150FF9-897C-0905-1E44-C6CEE5324B91}"/>
                  </a:ext>
                </a:extLst>
              </p:cNvPr>
              <p:cNvSpPr/>
              <p:nvPr/>
            </p:nvSpPr>
            <p:spPr>
              <a:xfrm>
                <a:off x="5340709" y="2532688"/>
                <a:ext cx="8945" cy="82991"/>
              </a:xfrm>
              <a:custGeom>
                <a:avLst/>
                <a:gdLst>
                  <a:gd name="connsiteX0" fmla="*/ 0 w 8945"/>
                  <a:gd name="connsiteY0" fmla="*/ 0 h 82991"/>
                  <a:gd name="connsiteX1" fmla="*/ 8946 w 8945"/>
                  <a:gd name="connsiteY1" fmla="*/ 0 h 82991"/>
                  <a:gd name="connsiteX2" fmla="*/ 8946 w 8945"/>
                  <a:gd name="connsiteY2" fmla="*/ 82992 h 82991"/>
                  <a:gd name="connsiteX3" fmla="*/ 0 w 8945"/>
                  <a:gd name="connsiteY3" fmla="*/ 82992 h 82991"/>
                </a:gdLst>
                <a:ahLst/>
                <a:cxnLst>
                  <a:cxn ang="0">
                    <a:pos x="connsiteX0" y="connsiteY0"/>
                  </a:cxn>
                  <a:cxn ang="0">
                    <a:pos x="connsiteX1" y="connsiteY1"/>
                  </a:cxn>
                  <a:cxn ang="0">
                    <a:pos x="connsiteX2" y="connsiteY2"/>
                  </a:cxn>
                  <a:cxn ang="0">
                    <a:pos x="connsiteX3" y="connsiteY3"/>
                  </a:cxn>
                </a:cxnLst>
                <a:rect l="l" t="t" r="r" b="b"/>
                <a:pathLst>
                  <a:path w="8945" h="82991">
                    <a:moveTo>
                      <a:pt x="0" y="0"/>
                    </a:moveTo>
                    <a:lnTo>
                      <a:pt x="8946" y="0"/>
                    </a:lnTo>
                    <a:lnTo>
                      <a:pt x="8946" y="82992"/>
                    </a:lnTo>
                    <a:lnTo>
                      <a:pt x="0" y="82992"/>
                    </a:lnTo>
                    <a:close/>
                  </a:path>
                </a:pathLst>
              </a:custGeom>
              <a:grpFill/>
              <a:ln w="6390" cap="flat">
                <a:noFill/>
                <a:prstDash val="solid"/>
                <a:miter/>
              </a:ln>
            </p:spPr>
            <p:txBody>
              <a:bodyPr rtlCol="0" anchor="ctr"/>
              <a:lstStyle/>
              <a:p>
                <a:endParaRPr lang="es-BO" noProof="0" dirty="0"/>
              </a:p>
            </p:txBody>
          </p:sp>
        </p:grpSp>
        <p:grpSp>
          <p:nvGrpSpPr>
            <p:cNvPr id="347" name="Group 346">
              <a:extLst>
                <a:ext uri="{FF2B5EF4-FFF2-40B4-BE49-F238E27FC236}">
                  <a16:creationId xmlns:a16="http://schemas.microsoft.com/office/drawing/2014/main" xmlns="" id="{D6A4E855-DE67-19D5-62BA-36DB771D3523}"/>
                </a:ext>
              </a:extLst>
            </p:cNvPr>
            <p:cNvGrpSpPr/>
            <p:nvPr/>
          </p:nvGrpSpPr>
          <p:grpSpPr>
            <a:xfrm>
              <a:off x="1578170" y="3444937"/>
              <a:ext cx="910796" cy="910806"/>
              <a:chOff x="2625484" y="5473648"/>
              <a:chExt cx="397844" cy="329066"/>
            </a:xfrm>
            <a:solidFill>
              <a:srgbClr val="007CB0"/>
            </a:solidFill>
          </p:grpSpPr>
          <p:sp>
            <p:nvSpPr>
              <p:cNvPr id="348" name="Graphic 4">
                <a:extLst>
                  <a:ext uri="{FF2B5EF4-FFF2-40B4-BE49-F238E27FC236}">
                    <a16:creationId xmlns:a16="http://schemas.microsoft.com/office/drawing/2014/main" xmlns="" id="{4CEAB122-942F-D2D0-512E-42D3020CF51B}"/>
                  </a:ext>
                </a:extLst>
              </p:cNvPr>
              <p:cNvSpPr/>
              <p:nvPr/>
            </p:nvSpPr>
            <p:spPr>
              <a:xfrm>
                <a:off x="2749193" y="5650659"/>
                <a:ext cx="42173" cy="19152"/>
              </a:xfrm>
              <a:custGeom>
                <a:avLst/>
                <a:gdLst>
                  <a:gd name="connsiteX0" fmla="*/ 37701 w 38339"/>
                  <a:gd name="connsiteY0" fmla="*/ 0 h 21067"/>
                  <a:gd name="connsiteX1" fmla="*/ 31950 w 38339"/>
                  <a:gd name="connsiteY1" fmla="*/ 4468 h 21067"/>
                  <a:gd name="connsiteX2" fmla="*/ 1278 w 38339"/>
                  <a:gd name="connsiteY2" fmla="*/ 4468 h 21067"/>
                  <a:gd name="connsiteX3" fmla="*/ 0 w 38339"/>
                  <a:gd name="connsiteY3" fmla="*/ 21067 h 21067"/>
                  <a:gd name="connsiteX4" fmla="*/ 38340 w 38339"/>
                  <a:gd name="connsiteY4" fmla="*/ 21067 h 21067"/>
                  <a:gd name="connsiteX5" fmla="*/ 37701 w 38339"/>
                  <a:gd name="connsiteY5" fmla="*/ 0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39" h="21067">
                    <a:moveTo>
                      <a:pt x="37701" y="0"/>
                    </a:moveTo>
                    <a:cubicBezTo>
                      <a:pt x="37062" y="2553"/>
                      <a:pt x="34506" y="4468"/>
                      <a:pt x="31950" y="4468"/>
                    </a:cubicBezTo>
                    <a:lnTo>
                      <a:pt x="1278" y="4468"/>
                    </a:lnTo>
                    <a:lnTo>
                      <a:pt x="0" y="21067"/>
                    </a:lnTo>
                    <a:lnTo>
                      <a:pt x="38340" y="21067"/>
                    </a:lnTo>
                    <a:lnTo>
                      <a:pt x="37701" y="0"/>
                    </a:lnTo>
                    <a:close/>
                  </a:path>
                </a:pathLst>
              </a:custGeom>
              <a:grpFill/>
              <a:ln w="6390" cap="flat">
                <a:noFill/>
                <a:prstDash val="solid"/>
                <a:miter/>
              </a:ln>
            </p:spPr>
            <p:txBody>
              <a:bodyPr rtlCol="0" anchor="ctr"/>
              <a:lstStyle/>
              <a:p>
                <a:endParaRPr lang="es-BO" sz="1600" noProof="0" dirty="0"/>
              </a:p>
            </p:txBody>
          </p:sp>
          <p:sp>
            <p:nvSpPr>
              <p:cNvPr id="349" name="Graphic 4">
                <a:extLst>
                  <a:ext uri="{FF2B5EF4-FFF2-40B4-BE49-F238E27FC236}">
                    <a16:creationId xmlns:a16="http://schemas.microsoft.com/office/drawing/2014/main" xmlns="" id="{FCD6B339-4ADB-D184-F2A8-BFE43E80F073}"/>
                  </a:ext>
                </a:extLst>
              </p:cNvPr>
              <p:cNvSpPr/>
              <p:nvPr/>
            </p:nvSpPr>
            <p:spPr>
              <a:xfrm>
                <a:off x="2804722" y="5654722"/>
                <a:ext cx="42173" cy="15089"/>
              </a:xfrm>
              <a:custGeom>
                <a:avLst/>
                <a:gdLst>
                  <a:gd name="connsiteX0" fmla="*/ 0 w 38339"/>
                  <a:gd name="connsiteY0" fmla="*/ 0 h 16598"/>
                  <a:gd name="connsiteX1" fmla="*/ 0 w 38339"/>
                  <a:gd name="connsiteY1" fmla="*/ 16599 h 16598"/>
                  <a:gd name="connsiteX2" fmla="*/ 38340 w 38339"/>
                  <a:gd name="connsiteY2" fmla="*/ 16599 h 16598"/>
                  <a:gd name="connsiteX3" fmla="*/ 37062 w 38339"/>
                  <a:gd name="connsiteY3" fmla="*/ 0 h 16598"/>
                </a:gdLst>
                <a:ahLst/>
                <a:cxnLst>
                  <a:cxn ang="0">
                    <a:pos x="connsiteX0" y="connsiteY0"/>
                  </a:cxn>
                  <a:cxn ang="0">
                    <a:pos x="connsiteX1" y="connsiteY1"/>
                  </a:cxn>
                  <a:cxn ang="0">
                    <a:pos x="connsiteX2" y="connsiteY2"/>
                  </a:cxn>
                  <a:cxn ang="0">
                    <a:pos x="connsiteX3" y="connsiteY3"/>
                  </a:cxn>
                </a:cxnLst>
                <a:rect l="l" t="t" r="r" b="b"/>
                <a:pathLst>
                  <a:path w="38339" h="16598">
                    <a:moveTo>
                      <a:pt x="0" y="0"/>
                    </a:moveTo>
                    <a:lnTo>
                      <a:pt x="0" y="16599"/>
                    </a:lnTo>
                    <a:lnTo>
                      <a:pt x="38340" y="16599"/>
                    </a:lnTo>
                    <a:lnTo>
                      <a:pt x="37062" y="0"/>
                    </a:lnTo>
                    <a:close/>
                  </a:path>
                </a:pathLst>
              </a:custGeom>
              <a:grpFill/>
              <a:ln w="6390" cap="flat">
                <a:noFill/>
                <a:prstDash val="solid"/>
                <a:miter/>
              </a:ln>
            </p:spPr>
            <p:txBody>
              <a:bodyPr rtlCol="0" anchor="ctr"/>
              <a:lstStyle/>
              <a:p>
                <a:endParaRPr lang="es-BO" sz="1600" noProof="0" dirty="0"/>
              </a:p>
            </p:txBody>
          </p:sp>
          <p:sp>
            <p:nvSpPr>
              <p:cNvPr id="350" name="Graphic 4">
                <a:extLst>
                  <a:ext uri="{FF2B5EF4-FFF2-40B4-BE49-F238E27FC236}">
                    <a16:creationId xmlns:a16="http://schemas.microsoft.com/office/drawing/2014/main" xmlns="" id="{B23B2C8E-AAAB-0E39-8DD6-BB31F3FA1988}"/>
                  </a:ext>
                </a:extLst>
              </p:cNvPr>
              <p:cNvSpPr/>
              <p:nvPr/>
            </p:nvSpPr>
            <p:spPr>
              <a:xfrm>
                <a:off x="2751303" y="5628024"/>
                <a:ext cx="39362" cy="19152"/>
              </a:xfrm>
              <a:custGeom>
                <a:avLst/>
                <a:gdLst>
                  <a:gd name="connsiteX0" fmla="*/ 30032 w 35783"/>
                  <a:gd name="connsiteY0" fmla="*/ 16598 h 21067"/>
                  <a:gd name="connsiteX1" fmla="*/ 35783 w 35783"/>
                  <a:gd name="connsiteY1" fmla="*/ 21067 h 21067"/>
                  <a:gd name="connsiteX2" fmla="*/ 35783 w 35783"/>
                  <a:gd name="connsiteY2" fmla="*/ 0 h 21067"/>
                  <a:gd name="connsiteX3" fmla="*/ 1278 w 35783"/>
                  <a:gd name="connsiteY3" fmla="*/ 0 h 21067"/>
                  <a:gd name="connsiteX4" fmla="*/ 0 w 35783"/>
                  <a:gd name="connsiteY4" fmla="*/ 15960 h 21067"/>
                  <a:gd name="connsiteX5" fmla="*/ 30032 w 35783"/>
                  <a:gd name="connsiteY5" fmla="*/ 16598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83" h="21067">
                    <a:moveTo>
                      <a:pt x="30032" y="16598"/>
                    </a:moveTo>
                    <a:cubicBezTo>
                      <a:pt x="32589" y="16598"/>
                      <a:pt x="35145" y="18514"/>
                      <a:pt x="35783" y="21067"/>
                    </a:cubicBezTo>
                    <a:lnTo>
                      <a:pt x="35783" y="0"/>
                    </a:lnTo>
                    <a:lnTo>
                      <a:pt x="1278" y="0"/>
                    </a:lnTo>
                    <a:lnTo>
                      <a:pt x="0" y="15960"/>
                    </a:lnTo>
                    <a:lnTo>
                      <a:pt x="30032" y="16598"/>
                    </a:lnTo>
                    <a:close/>
                  </a:path>
                </a:pathLst>
              </a:custGeom>
              <a:grpFill/>
              <a:ln w="6390" cap="flat">
                <a:noFill/>
                <a:prstDash val="solid"/>
                <a:miter/>
              </a:ln>
            </p:spPr>
            <p:txBody>
              <a:bodyPr rtlCol="0" anchor="ctr"/>
              <a:lstStyle/>
              <a:p>
                <a:endParaRPr lang="es-BO" sz="1600" noProof="0" dirty="0"/>
              </a:p>
            </p:txBody>
          </p:sp>
          <p:sp>
            <p:nvSpPr>
              <p:cNvPr id="351" name="Graphic 4">
                <a:extLst>
                  <a:ext uri="{FF2B5EF4-FFF2-40B4-BE49-F238E27FC236}">
                    <a16:creationId xmlns:a16="http://schemas.microsoft.com/office/drawing/2014/main" xmlns="" id="{0DB3F2E5-9004-E244-9B71-1001E3CE2B9B}"/>
                  </a:ext>
                </a:extLst>
              </p:cNvPr>
              <p:cNvSpPr/>
              <p:nvPr/>
            </p:nvSpPr>
            <p:spPr>
              <a:xfrm>
                <a:off x="2804722" y="5628024"/>
                <a:ext cx="39362" cy="15089"/>
              </a:xfrm>
              <a:custGeom>
                <a:avLst/>
                <a:gdLst>
                  <a:gd name="connsiteX0" fmla="*/ 0 w 35783"/>
                  <a:gd name="connsiteY0" fmla="*/ 16598 h 16598"/>
                  <a:gd name="connsiteX1" fmla="*/ 35783 w 35783"/>
                  <a:gd name="connsiteY1" fmla="*/ 16598 h 16598"/>
                  <a:gd name="connsiteX2" fmla="*/ 34506 w 35783"/>
                  <a:gd name="connsiteY2" fmla="*/ 0 h 16598"/>
                  <a:gd name="connsiteX3" fmla="*/ 0 w 35783"/>
                  <a:gd name="connsiteY3" fmla="*/ 0 h 16598"/>
                </a:gdLst>
                <a:ahLst/>
                <a:cxnLst>
                  <a:cxn ang="0">
                    <a:pos x="connsiteX0" y="connsiteY0"/>
                  </a:cxn>
                  <a:cxn ang="0">
                    <a:pos x="connsiteX1" y="connsiteY1"/>
                  </a:cxn>
                  <a:cxn ang="0">
                    <a:pos x="connsiteX2" y="connsiteY2"/>
                  </a:cxn>
                  <a:cxn ang="0">
                    <a:pos x="connsiteX3" y="connsiteY3"/>
                  </a:cxn>
                </a:cxnLst>
                <a:rect l="l" t="t" r="r" b="b"/>
                <a:pathLst>
                  <a:path w="35783" h="16598">
                    <a:moveTo>
                      <a:pt x="0" y="16598"/>
                    </a:moveTo>
                    <a:lnTo>
                      <a:pt x="35783" y="16598"/>
                    </a:lnTo>
                    <a:lnTo>
                      <a:pt x="34506" y="0"/>
                    </a:lnTo>
                    <a:lnTo>
                      <a:pt x="0" y="0"/>
                    </a:lnTo>
                    <a:close/>
                  </a:path>
                </a:pathLst>
              </a:custGeom>
              <a:grpFill/>
              <a:ln w="6390" cap="flat">
                <a:noFill/>
                <a:prstDash val="solid"/>
                <a:miter/>
              </a:ln>
            </p:spPr>
            <p:txBody>
              <a:bodyPr rtlCol="0" anchor="ctr"/>
              <a:lstStyle/>
              <a:p>
                <a:endParaRPr lang="es-BO" sz="1600" noProof="0" dirty="0"/>
              </a:p>
            </p:txBody>
          </p:sp>
          <p:sp>
            <p:nvSpPr>
              <p:cNvPr id="352" name="Graphic 4">
                <a:extLst>
                  <a:ext uri="{FF2B5EF4-FFF2-40B4-BE49-F238E27FC236}">
                    <a16:creationId xmlns:a16="http://schemas.microsoft.com/office/drawing/2014/main" xmlns="" id="{E3F6AD0B-F798-A2EC-B0BD-0CB78AE66A83}"/>
                  </a:ext>
                </a:extLst>
              </p:cNvPr>
              <p:cNvSpPr/>
              <p:nvPr/>
            </p:nvSpPr>
            <p:spPr>
              <a:xfrm>
                <a:off x="2782932" y="5701150"/>
                <a:ext cx="23898" cy="21473"/>
              </a:xfrm>
              <a:custGeom>
                <a:avLst/>
                <a:gdLst>
                  <a:gd name="connsiteX0" fmla="*/ 5111 w 21725"/>
                  <a:gd name="connsiteY0" fmla="*/ 6384 h 23620"/>
                  <a:gd name="connsiteX1" fmla="*/ 5111 w 21725"/>
                  <a:gd name="connsiteY1" fmla="*/ 23621 h 23620"/>
                  <a:gd name="connsiteX2" fmla="*/ 21726 w 21725"/>
                  <a:gd name="connsiteY2" fmla="*/ 23621 h 23620"/>
                  <a:gd name="connsiteX3" fmla="*/ 21726 w 21725"/>
                  <a:gd name="connsiteY3" fmla="*/ 0 h 23620"/>
                  <a:gd name="connsiteX4" fmla="*/ 0 w 21725"/>
                  <a:gd name="connsiteY4" fmla="*/ 0 h 23620"/>
                  <a:gd name="connsiteX5" fmla="*/ 5111 w 21725"/>
                  <a:gd name="connsiteY5" fmla="*/ 6384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 h="23620">
                    <a:moveTo>
                      <a:pt x="5111" y="6384"/>
                    </a:moveTo>
                    <a:lnTo>
                      <a:pt x="5111" y="23621"/>
                    </a:lnTo>
                    <a:lnTo>
                      <a:pt x="21726" y="23621"/>
                    </a:lnTo>
                    <a:lnTo>
                      <a:pt x="21726" y="0"/>
                    </a:lnTo>
                    <a:lnTo>
                      <a:pt x="0" y="0"/>
                    </a:lnTo>
                    <a:cubicBezTo>
                      <a:pt x="3195" y="639"/>
                      <a:pt x="5111" y="3192"/>
                      <a:pt x="5111" y="6384"/>
                    </a:cubicBezTo>
                    <a:close/>
                  </a:path>
                </a:pathLst>
              </a:custGeom>
              <a:grpFill/>
              <a:ln w="6390" cap="flat">
                <a:noFill/>
                <a:prstDash val="solid"/>
                <a:miter/>
              </a:ln>
            </p:spPr>
            <p:txBody>
              <a:bodyPr rtlCol="0" anchor="ctr"/>
              <a:lstStyle/>
              <a:p>
                <a:endParaRPr lang="es-BO" sz="1600" noProof="0" dirty="0"/>
              </a:p>
            </p:txBody>
          </p:sp>
          <p:sp>
            <p:nvSpPr>
              <p:cNvPr id="353" name="Graphic 4">
                <a:extLst>
                  <a:ext uri="{FF2B5EF4-FFF2-40B4-BE49-F238E27FC236}">
                    <a16:creationId xmlns:a16="http://schemas.microsoft.com/office/drawing/2014/main" xmlns="" id="{289C8F07-A512-D1EB-520F-31C9550AA69D}"/>
                  </a:ext>
                </a:extLst>
              </p:cNvPr>
              <p:cNvSpPr/>
              <p:nvPr/>
            </p:nvSpPr>
            <p:spPr>
              <a:xfrm>
                <a:off x="2625484" y="5473648"/>
                <a:ext cx="397844" cy="329066"/>
              </a:xfrm>
              <a:custGeom>
                <a:avLst/>
                <a:gdLst>
                  <a:gd name="connsiteX0" fmla="*/ 180836 w 361674"/>
                  <a:gd name="connsiteY0" fmla="*/ 0 h 361971"/>
                  <a:gd name="connsiteX1" fmla="*/ 0 w 361674"/>
                  <a:gd name="connsiteY1" fmla="*/ 180667 h 361971"/>
                  <a:gd name="connsiteX2" fmla="*/ 180836 w 361674"/>
                  <a:gd name="connsiteY2" fmla="*/ 361971 h 361971"/>
                  <a:gd name="connsiteX3" fmla="*/ 361670 w 361674"/>
                  <a:gd name="connsiteY3" fmla="*/ 181305 h 361971"/>
                  <a:gd name="connsiteX4" fmla="*/ 361670 w 361674"/>
                  <a:gd name="connsiteY4" fmla="*/ 181305 h 361971"/>
                  <a:gd name="connsiteX5" fmla="*/ 180836 w 361674"/>
                  <a:gd name="connsiteY5" fmla="*/ 0 h 361971"/>
                  <a:gd name="connsiteX6" fmla="*/ 255597 w 361674"/>
                  <a:gd name="connsiteY6" fmla="*/ 91291 h 361971"/>
                  <a:gd name="connsiteX7" fmla="*/ 266460 w 361674"/>
                  <a:gd name="connsiteY7" fmla="*/ 82992 h 361971"/>
                  <a:gd name="connsiteX8" fmla="*/ 275406 w 361674"/>
                  <a:gd name="connsiteY8" fmla="*/ 84268 h 361971"/>
                  <a:gd name="connsiteX9" fmla="*/ 275406 w 361674"/>
                  <a:gd name="connsiteY9" fmla="*/ 84268 h 361971"/>
                  <a:gd name="connsiteX10" fmla="*/ 274128 w 361674"/>
                  <a:gd name="connsiteY10" fmla="*/ 93206 h 361971"/>
                  <a:gd name="connsiteX11" fmla="*/ 263265 w 361674"/>
                  <a:gd name="connsiteY11" fmla="*/ 101505 h 361971"/>
                  <a:gd name="connsiteX12" fmla="*/ 259431 w 361674"/>
                  <a:gd name="connsiteY12" fmla="*/ 102782 h 361971"/>
                  <a:gd name="connsiteX13" fmla="*/ 254320 w 361674"/>
                  <a:gd name="connsiteY13" fmla="*/ 100228 h 361971"/>
                  <a:gd name="connsiteX14" fmla="*/ 255597 w 361674"/>
                  <a:gd name="connsiteY14" fmla="*/ 91291 h 361971"/>
                  <a:gd name="connsiteX15" fmla="*/ 255597 w 361674"/>
                  <a:gd name="connsiteY15" fmla="*/ 91291 h 361971"/>
                  <a:gd name="connsiteX16" fmla="*/ 226843 w 361674"/>
                  <a:gd name="connsiteY16" fmla="*/ 65755 h 361971"/>
                  <a:gd name="connsiteX17" fmla="*/ 233872 w 361674"/>
                  <a:gd name="connsiteY17" fmla="*/ 60648 h 361971"/>
                  <a:gd name="connsiteX18" fmla="*/ 239623 w 361674"/>
                  <a:gd name="connsiteY18" fmla="*/ 67670 h 361971"/>
                  <a:gd name="connsiteX19" fmla="*/ 239623 w 361674"/>
                  <a:gd name="connsiteY19" fmla="*/ 67670 h 361971"/>
                  <a:gd name="connsiteX20" fmla="*/ 237705 w 361674"/>
                  <a:gd name="connsiteY20" fmla="*/ 81715 h 361971"/>
                  <a:gd name="connsiteX21" fmla="*/ 231315 w 361674"/>
                  <a:gd name="connsiteY21" fmla="*/ 87460 h 361971"/>
                  <a:gd name="connsiteX22" fmla="*/ 230677 w 361674"/>
                  <a:gd name="connsiteY22" fmla="*/ 87460 h 361971"/>
                  <a:gd name="connsiteX23" fmla="*/ 224925 w 361674"/>
                  <a:gd name="connsiteY23" fmla="*/ 80438 h 361971"/>
                  <a:gd name="connsiteX24" fmla="*/ 226843 w 361674"/>
                  <a:gd name="connsiteY24" fmla="*/ 65755 h 361971"/>
                  <a:gd name="connsiteX25" fmla="*/ 187864 w 361674"/>
                  <a:gd name="connsiteY25" fmla="*/ 72139 h 361971"/>
                  <a:gd name="connsiteX26" fmla="*/ 196810 w 361674"/>
                  <a:gd name="connsiteY26" fmla="*/ 73416 h 361971"/>
                  <a:gd name="connsiteX27" fmla="*/ 205117 w 361674"/>
                  <a:gd name="connsiteY27" fmla="*/ 84907 h 361971"/>
                  <a:gd name="connsiteX28" fmla="*/ 203839 w 361674"/>
                  <a:gd name="connsiteY28" fmla="*/ 93844 h 361971"/>
                  <a:gd name="connsiteX29" fmla="*/ 203839 w 361674"/>
                  <a:gd name="connsiteY29" fmla="*/ 93844 h 361971"/>
                  <a:gd name="connsiteX30" fmla="*/ 200005 w 361674"/>
                  <a:gd name="connsiteY30" fmla="*/ 95121 h 361971"/>
                  <a:gd name="connsiteX31" fmla="*/ 194893 w 361674"/>
                  <a:gd name="connsiteY31" fmla="*/ 92568 h 361971"/>
                  <a:gd name="connsiteX32" fmla="*/ 186586 w 361674"/>
                  <a:gd name="connsiteY32" fmla="*/ 81715 h 361971"/>
                  <a:gd name="connsiteX33" fmla="*/ 187864 w 361674"/>
                  <a:gd name="connsiteY33" fmla="*/ 72139 h 361971"/>
                  <a:gd name="connsiteX34" fmla="*/ 187864 w 361674"/>
                  <a:gd name="connsiteY34" fmla="*/ 72139 h 361971"/>
                  <a:gd name="connsiteX35" fmla="*/ 170611 w 361674"/>
                  <a:gd name="connsiteY35" fmla="*/ 107889 h 361971"/>
                  <a:gd name="connsiteX36" fmla="*/ 184669 w 361674"/>
                  <a:gd name="connsiteY36" fmla="*/ 109804 h 361971"/>
                  <a:gd name="connsiteX37" fmla="*/ 190420 w 361674"/>
                  <a:gd name="connsiteY37" fmla="*/ 116827 h 361971"/>
                  <a:gd name="connsiteX38" fmla="*/ 183391 w 361674"/>
                  <a:gd name="connsiteY38" fmla="*/ 122572 h 361971"/>
                  <a:gd name="connsiteX39" fmla="*/ 182752 w 361674"/>
                  <a:gd name="connsiteY39" fmla="*/ 122572 h 361971"/>
                  <a:gd name="connsiteX40" fmla="*/ 168695 w 361674"/>
                  <a:gd name="connsiteY40" fmla="*/ 120657 h 361971"/>
                  <a:gd name="connsiteX41" fmla="*/ 163582 w 361674"/>
                  <a:gd name="connsiteY41" fmla="*/ 113635 h 361971"/>
                  <a:gd name="connsiteX42" fmla="*/ 170611 w 361674"/>
                  <a:gd name="connsiteY42" fmla="*/ 107889 h 361971"/>
                  <a:gd name="connsiteX43" fmla="*/ 170611 w 361674"/>
                  <a:gd name="connsiteY43" fmla="*/ 107889 h 361971"/>
                  <a:gd name="connsiteX44" fmla="*/ 237705 w 361674"/>
                  <a:gd name="connsiteY44" fmla="*/ 248337 h 361971"/>
                  <a:gd name="connsiteX45" fmla="*/ 233233 w 361674"/>
                  <a:gd name="connsiteY45" fmla="*/ 250252 h 361971"/>
                  <a:gd name="connsiteX46" fmla="*/ 178279 w 361674"/>
                  <a:gd name="connsiteY46" fmla="*/ 250252 h 361971"/>
                  <a:gd name="connsiteX47" fmla="*/ 178279 w 361674"/>
                  <a:gd name="connsiteY47" fmla="*/ 273873 h 361971"/>
                  <a:gd name="connsiteX48" fmla="*/ 194254 w 361674"/>
                  <a:gd name="connsiteY48" fmla="*/ 273873 h 361971"/>
                  <a:gd name="connsiteX49" fmla="*/ 200644 w 361674"/>
                  <a:gd name="connsiteY49" fmla="*/ 280257 h 361971"/>
                  <a:gd name="connsiteX50" fmla="*/ 194254 w 361674"/>
                  <a:gd name="connsiteY50" fmla="*/ 286641 h 361971"/>
                  <a:gd name="connsiteX51" fmla="*/ 120770 w 361674"/>
                  <a:gd name="connsiteY51" fmla="*/ 286641 h 361971"/>
                  <a:gd name="connsiteX52" fmla="*/ 114380 w 361674"/>
                  <a:gd name="connsiteY52" fmla="*/ 280257 h 361971"/>
                  <a:gd name="connsiteX53" fmla="*/ 120770 w 361674"/>
                  <a:gd name="connsiteY53" fmla="*/ 273873 h 361971"/>
                  <a:gd name="connsiteX54" fmla="*/ 136106 w 361674"/>
                  <a:gd name="connsiteY54" fmla="*/ 273873 h 361971"/>
                  <a:gd name="connsiteX55" fmla="*/ 136106 w 361674"/>
                  <a:gd name="connsiteY55" fmla="*/ 256636 h 361971"/>
                  <a:gd name="connsiteX56" fmla="*/ 141217 w 361674"/>
                  <a:gd name="connsiteY56" fmla="*/ 250252 h 361971"/>
                  <a:gd name="connsiteX57" fmla="*/ 81152 w 361674"/>
                  <a:gd name="connsiteY57" fmla="*/ 250252 h 361971"/>
                  <a:gd name="connsiteX58" fmla="*/ 76679 w 361674"/>
                  <a:gd name="connsiteY58" fmla="*/ 248337 h 361971"/>
                  <a:gd name="connsiteX59" fmla="*/ 74762 w 361674"/>
                  <a:gd name="connsiteY59" fmla="*/ 243230 h 361971"/>
                  <a:gd name="connsiteX60" fmla="*/ 83069 w 361674"/>
                  <a:gd name="connsiteY60" fmla="*/ 140448 h 361971"/>
                  <a:gd name="connsiteX61" fmla="*/ 89459 w 361674"/>
                  <a:gd name="connsiteY61" fmla="*/ 134702 h 361971"/>
                  <a:gd name="connsiteX62" fmla="*/ 116297 w 361674"/>
                  <a:gd name="connsiteY62" fmla="*/ 134702 h 361971"/>
                  <a:gd name="connsiteX63" fmla="*/ 122686 w 361674"/>
                  <a:gd name="connsiteY63" fmla="*/ 141086 h 361971"/>
                  <a:gd name="connsiteX64" fmla="*/ 116297 w 361674"/>
                  <a:gd name="connsiteY64" fmla="*/ 147470 h 361971"/>
                  <a:gd name="connsiteX65" fmla="*/ 95210 w 361674"/>
                  <a:gd name="connsiteY65" fmla="*/ 147470 h 361971"/>
                  <a:gd name="connsiteX66" fmla="*/ 87542 w 361674"/>
                  <a:gd name="connsiteY66" fmla="*/ 237484 h 361971"/>
                  <a:gd name="connsiteX67" fmla="*/ 226204 w 361674"/>
                  <a:gd name="connsiteY67" fmla="*/ 237484 h 361971"/>
                  <a:gd name="connsiteX68" fmla="*/ 218536 w 361674"/>
                  <a:gd name="connsiteY68" fmla="*/ 147470 h 361971"/>
                  <a:gd name="connsiteX69" fmla="*/ 133550 w 361674"/>
                  <a:gd name="connsiteY69" fmla="*/ 147470 h 361971"/>
                  <a:gd name="connsiteX70" fmla="*/ 127160 w 361674"/>
                  <a:gd name="connsiteY70" fmla="*/ 141086 h 361971"/>
                  <a:gd name="connsiteX71" fmla="*/ 133550 w 361674"/>
                  <a:gd name="connsiteY71" fmla="*/ 134702 h 361971"/>
                  <a:gd name="connsiteX72" fmla="*/ 224287 w 361674"/>
                  <a:gd name="connsiteY72" fmla="*/ 134702 h 361971"/>
                  <a:gd name="connsiteX73" fmla="*/ 230677 w 361674"/>
                  <a:gd name="connsiteY73" fmla="*/ 140448 h 361971"/>
                  <a:gd name="connsiteX74" fmla="*/ 238984 w 361674"/>
                  <a:gd name="connsiteY74" fmla="*/ 243230 h 361971"/>
                  <a:gd name="connsiteX75" fmla="*/ 237705 w 361674"/>
                  <a:gd name="connsiteY75" fmla="*/ 248337 h 361971"/>
                  <a:gd name="connsiteX76" fmla="*/ 237705 w 361674"/>
                  <a:gd name="connsiteY76" fmla="*/ 248337 h 361971"/>
                  <a:gd name="connsiteX77" fmla="*/ 156553 w 361674"/>
                  <a:gd name="connsiteY77" fmla="*/ 157046 h 361971"/>
                  <a:gd name="connsiteX78" fmla="*/ 203200 w 361674"/>
                  <a:gd name="connsiteY78" fmla="*/ 157046 h 361971"/>
                  <a:gd name="connsiteX79" fmla="*/ 209590 w 361674"/>
                  <a:gd name="connsiteY79" fmla="*/ 162792 h 361971"/>
                  <a:gd name="connsiteX80" fmla="*/ 214063 w 361674"/>
                  <a:gd name="connsiteY80" fmla="*/ 220886 h 361971"/>
                  <a:gd name="connsiteX81" fmla="*/ 212146 w 361674"/>
                  <a:gd name="connsiteY81" fmla="*/ 225993 h 361971"/>
                  <a:gd name="connsiteX82" fmla="*/ 207673 w 361674"/>
                  <a:gd name="connsiteY82" fmla="*/ 227908 h 361971"/>
                  <a:gd name="connsiteX83" fmla="*/ 104156 w 361674"/>
                  <a:gd name="connsiteY83" fmla="*/ 227908 h 361971"/>
                  <a:gd name="connsiteX84" fmla="*/ 97766 w 361674"/>
                  <a:gd name="connsiteY84" fmla="*/ 221524 h 361971"/>
                  <a:gd name="connsiteX85" fmla="*/ 97766 w 361674"/>
                  <a:gd name="connsiteY85" fmla="*/ 220886 h 361971"/>
                  <a:gd name="connsiteX86" fmla="*/ 102239 w 361674"/>
                  <a:gd name="connsiteY86" fmla="*/ 162792 h 361971"/>
                  <a:gd name="connsiteX87" fmla="*/ 108629 w 361674"/>
                  <a:gd name="connsiteY87" fmla="*/ 157046 h 361971"/>
                  <a:gd name="connsiteX88" fmla="*/ 156553 w 361674"/>
                  <a:gd name="connsiteY88" fmla="*/ 157046 h 361971"/>
                  <a:gd name="connsiteX89" fmla="*/ 238984 w 361674"/>
                  <a:gd name="connsiteY89" fmla="*/ 150662 h 361971"/>
                  <a:gd name="connsiteX90" fmla="*/ 232594 w 361674"/>
                  <a:gd name="connsiteY90" fmla="*/ 144278 h 361971"/>
                  <a:gd name="connsiteX91" fmla="*/ 235789 w 361674"/>
                  <a:gd name="connsiteY91" fmla="*/ 139171 h 361971"/>
                  <a:gd name="connsiteX92" fmla="*/ 242179 w 361674"/>
                  <a:gd name="connsiteY92" fmla="*/ 112358 h 361971"/>
                  <a:gd name="connsiteX93" fmla="*/ 215341 w 361674"/>
                  <a:gd name="connsiteY93" fmla="*/ 105974 h 361971"/>
                  <a:gd name="connsiteX94" fmla="*/ 205756 w 361674"/>
                  <a:gd name="connsiteY94" fmla="*/ 122572 h 361971"/>
                  <a:gd name="connsiteX95" fmla="*/ 205756 w 361674"/>
                  <a:gd name="connsiteY95" fmla="*/ 125764 h 361971"/>
                  <a:gd name="connsiteX96" fmla="*/ 200644 w 361674"/>
                  <a:gd name="connsiteY96" fmla="*/ 133425 h 361971"/>
                  <a:gd name="connsiteX97" fmla="*/ 192976 w 361674"/>
                  <a:gd name="connsiteY97" fmla="*/ 128318 h 361971"/>
                  <a:gd name="connsiteX98" fmla="*/ 192337 w 361674"/>
                  <a:gd name="connsiteY98" fmla="*/ 123211 h 361971"/>
                  <a:gd name="connsiteX99" fmla="*/ 224925 w 361674"/>
                  <a:gd name="connsiteY99" fmla="*/ 90652 h 361971"/>
                  <a:gd name="connsiteX100" fmla="*/ 257515 w 361674"/>
                  <a:gd name="connsiteY100" fmla="*/ 123211 h 361971"/>
                  <a:gd name="connsiteX101" fmla="*/ 257515 w 361674"/>
                  <a:gd name="connsiteY101" fmla="*/ 123211 h 361971"/>
                  <a:gd name="connsiteX102" fmla="*/ 242179 w 361674"/>
                  <a:gd name="connsiteY102" fmla="*/ 150662 h 361971"/>
                  <a:gd name="connsiteX103" fmla="*/ 238984 w 361674"/>
                  <a:gd name="connsiteY103" fmla="*/ 150662 h 361971"/>
                  <a:gd name="connsiteX104" fmla="*/ 238984 w 361674"/>
                  <a:gd name="connsiteY104" fmla="*/ 150662 h 361971"/>
                  <a:gd name="connsiteX105" fmla="*/ 263265 w 361674"/>
                  <a:gd name="connsiteY105" fmla="*/ 172368 h 361971"/>
                  <a:gd name="connsiteX106" fmla="*/ 259431 w 361674"/>
                  <a:gd name="connsiteY106" fmla="*/ 173644 h 361971"/>
                  <a:gd name="connsiteX107" fmla="*/ 254320 w 361674"/>
                  <a:gd name="connsiteY107" fmla="*/ 171091 h 361971"/>
                  <a:gd name="connsiteX108" fmla="*/ 246013 w 361674"/>
                  <a:gd name="connsiteY108" fmla="*/ 159600 h 361971"/>
                  <a:gd name="connsiteX109" fmla="*/ 246651 w 361674"/>
                  <a:gd name="connsiteY109" fmla="*/ 150662 h 361971"/>
                  <a:gd name="connsiteX110" fmla="*/ 255597 w 361674"/>
                  <a:gd name="connsiteY110" fmla="*/ 151300 h 361971"/>
                  <a:gd name="connsiteX111" fmla="*/ 256236 w 361674"/>
                  <a:gd name="connsiteY111" fmla="*/ 151939 h 361971"/>
                  <a:gd name="connsiteX112" fmla="*/ 264544 w 361674"/>
                  <a:gd name="connsiteY112" fmla="*/ 162792 h 361971"/>
                  <a:gd name="connsiteX113" fmla="*/ 263265 w 361674"/>
                  <a:gd name="connsiteY113" fmla="*/ 172368 h 361971"/>
                  <a:gd name="connsiteX114" fmla="*/ 263265 w 361674"/>
                  <a:gd name="connsiteY114" fmla="*/ 172368 h 361971"/>
                  <a:gd name="connsiteX115" fmla="*/ 281157 w 361674"/>
                  <a:gd name="connsiteY115" fmla="*/ 136617 h 361971"/>
                  <a:gd name="connsiteX116" fmla="*/ 280518 w 361674"/>
                  <a:gd name="connsiteY116" fmla="*/ 136617 h 361971"/>
                  <a:gd name="connsiteX117" fmla="*/ 266460 w 361674"/>
                  <a:gd name="connsiteY117" fmla="*/ 134702 h 361971"/>
                  <a:gd name="connsiteX118" fmla="*/ 261349 w 361674"/>
                  <a:gd name="connsiteY118" fmla="*/ 127680 h 361971"/>
                  <a:gd name="connsiteX119" fmla="*/ 268377 w 361674"/>
                  <a:gd name="connsiteY119" fmla="*/ 121934 h 361971"/>
                  <a:gd name="connsiteX120" fmla="*/ 268377 w 361674"/>
                  <a:gd name="connsiteY120" fmla="*/ 121934 h 361971"/>
                  <a:gd name="connsiteX121" fmla="*/ 282435 w 361674"/>
                  <a:gd name="connsiteY121" fmla="*/ 123849 h 361971"/>
                  <a:gd name="connsiteX122" fmla="*/ 287547 w 361674"/>
                  <a:gd name="connsiteY122" fmla="*/ 130872 h 361971"/>
                  <a:gd name="connsiteX123" fmla="*/ 281157 w 361674"/>
                  <a:gd name="connsiteY123" fmla="*/ 136617 h 361971"/>
                  <a:gd name="connsiteX124" fmla="*/ 281157 w 361674"/>
                  <a:gd name="connsiteY124" fmla="*/ 13661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61674" h="361971">
                    <a:moveTo>
                      <a:pt x="180836" y="0"/>
                    </a:moveTo>
                    <a:cubicBezTo>
                      <a:pt x="80513" y="0"/>
                      <a:pt x="0" y="81076"/>
                      <a:pt x="0" y="180667"/>
                    </a:cubicBezTo>
                    <a:cubicBezTo>
                      <a:pt x="0" y="280895"/>
                      <a:pt x="81152" y="361971"/>
                      <a:pt x="180836" y="361971"/>
                    </a:cubicBezTo>
                    <a:cubicBezTo>
                      <a:pt x="281157" y="361971"/>
                      <a:pt x="361670" y="280895"/>
                      <a:pt x="361670" y="181305"/>
                    </a:cubicBezTo>
                    <a:lnTo>
                      <a:pt x="361670" y="181305"/>
                    </a:lnTo>
                    <a:cubicBezTo>
                      <a:pt x="362309" y="81076"/>
                      <a:pt x="281157" y="0"/>
                      <a:pt x="180836" y="0"/>
                    </a:cubicBezTo>
                    <a:close/>
                    <a:moveTo>
                      <a:pt x="255597" y="91291"/>
                    </a:moveTo>
                    <a:lnTo>
                      <a:pt x="266460" y="82992"/>
                    </a:lnTo>
                    <a:cubicBezTo>
                      <a:pt x="269016" y="81076"/>
                      <a:pt x="273490" y="81715"/>
                      <a:pt x="275406" y="84268"/>
                    </a:cubicBezTo>
                    <a:lnTo>
                      <a:pt x="275406" y="84268"/>
                    </a:lnTo>
                    <a:cubicBezTo>
                      <a:pt x="277323" y="86822"/>
                      <a:pt x="276685" y="91291"/>
                      <a:pt x="274128" y="93206"/>
                    </a:cubicBezTo>
                    <a:lnTo>
                      <a:pt x="263265" y="101505"/>
                    </a:lnTo>
                    <a:cubicBezTo>
                      <a:pt x="261987" y="102144"/>
                      <a:pt x="260710" y="102782"/>
                      <a:pt x="259431" y="102782"/>
                    </a:cubicBezTo>
                    <a:cubicBezTo>
                      <a:pt x="257515" y="102782"/>
                      <a:pt x="255597" y="101505"/>
                      <a:pt x="254320" y="100228"/>
                    </a:cubicBezTo>
                    <a:cubicBezTo>
                      <a:pt x="251764" y="97675"/>
                      <a:pt x="252403" y="93844"/>
                      <a:pt x="255597" y="91291"/>
                    </a:cubicBezTo>
                    <a:lnTo>
                      <a:pt x="255597" y="91291"/>
                    </a:lnTo>
                    <a:close/>
                    <a:moveTo>
                      <a:pt x="226843" y="65755"/>
                    </a:moveTo>
                    <a:cubicBezTo>
                      <a:pt x="227482" y="62563"/>
                      <a:pt x="230677" y="60009"/>
                      <a:pt x="233872" y="60648"/>
                    </a:cubicBezTo>
                    <a:cubicBezTo>
                      <a:pt x="237067" y="61286"/>
                      <a:pt x="239623" y="64478"/>
                      <a:pt x="239623" y="67670"/>
                    </a:cubicBezTo>
                    <a:cubicBezTo>
                      <a:pt x="239623" y="67670"/>
                      <a:pt x="239623" y="67670"/>
                      <a:pt x="239623" y="67670"/>
                    </a:cubicBezTo>
                    <a:lnTo>
                      <a:pt x="237705" y="81715"/>
                    </a:lnTo>
                    <a:cubicBezTo>
                      <a:pt x="237067" y="84907"/>
                      <a:pt x="234510" y="87460"/>
                      <a:pt x="231315" y="87460"/>
                    </a:cubicBezTo>
                    <a:lnTo>
                      <a:pt x="230677" y="87460"/>
                    </a:lnTo>
                    <a:cubicBezTo>
                      <a:pt x="227482" y="86822"/>
                      <a:pt x="224925" y="83630"/>
                      <a:pt x="224925" y="80438"/>
                    </a:cubicBezTo>
                    <a:lnTo>
                      <a:pt x="226843" y="65755"/>
                    </a:lnTo>
                    <a:close/>
                    <a:moveTo>
                      <a:pt x="187864" y="72139"/>
                    </a:moveTo>
                    <a:cubicBezTo>
                      <a:pt x="190420" y="70224"/>
                      <a:pt x="194893" y="70862"/>
                      <a:pt x="196810" y="73416"/>
                    </a:cubicBezTo>
                    <a:lnTo>
                      <a:pt x="205117" y="84907"/>
                    </a:lnTo>
                    <a:cubicBezTo>
                      <a:pt x="207034" y="87460"/>
                      <a:pt x="206395" y="91929"/>
                      <a:pt x="203839" y="93844"/>
                    </a:cubicBezTo>
                    <a:lnTo>
                      <a:pt x="203839" y="93844"/>
                    </a:lnTo>
                    <a:cubicBezTo>
                      <a:pt x="202561" y="94483"/>
                      <a:pt x="201283" y="95121"/>
                      <a:pt x="200005" y="95121"/>
                    </a:cubicBezTo>
                    <a:cubicBezTo>
                      <a:pt x="198088" y="95121"/>
                      <a:pt x="196171" y="94483"/>
                      <a:pt x="194893" y="92568"/>
                    </a:cubicBezTo>
                    <a:lnTo>
                      <a:pt x="186586" y="81715"/>
                    </a:lnTo>
                    <a:cubicBezTo>
                      <a:pt x="184669" y="77884"/>
                      <a:pt x="184669" y="74054"/>
                      <a:pt x="187864" y="72139"/>
                    </a:cubicBezTo>
                    <a:lnTo>
                      <a:pt x="187864" y="72139"/>
                    </a:lnTo>
                    <a:close/>
                    <a:moveTo>
                      <a:pt x="170611" y="107889"/>
                    </a:moveTo>
                    <a:lnTo>
                      <a:pt x="184669" y="109804"/>
                    </a:lnTo>
                    <a:cubicBezTo>
                      <a:pt x="188503" y="109804"/>
                      <a:pt x="191059" y="112996"/>
                      <a:pt x="190420" y="116827"/>
                    </a:cubicBezTo>
                    <a:cubicBezTo>
                      <a:pt x="190420" y="120657"/>
                      <a:pt x="187225" y="123211"/>
                      <a:pt x="183391" y="122572"/>
                    </a:cubicBezTo>
                    <a:lnTo>
                      <a:pt x="182752" y="122572"/>
                    </a:lnTo>
                    <a:lnTo>
                      <a:pt x="168695" y="120657"/>
                    </a:lnTo>
                    <a:cubicBezTo>
                      <a:pt x="165500" y="120019"/>
                      <a:pt x="162943" y="116827"/>
                      <a:pt x="163582" y="113635"/>
                    </a:cubicBezTo>
                    <a:cubicBezTo>
                      <a:pt x="163582" y="109804"/>
                      <a:pt x="166777" y="107889"/>
                      <a:pt x="170611" y="107889"/>
                    </a:cubicBezTo>
                    <a:lnTo>
                      <a:pt x="170611" y="107889"/>
                    </a:lnTo>
                    <a:close/>
                    <a:moveTo>
                      <a:pt x="237705" y="248337"/>
                    </a:moveTo>
                    <a:cubicBezTo>
                      <a:pt x="236428" y="249614"/>
                      <a:pt x="234510" y="250252"/>
                      <a:pt x="233233" y="250252"/>
                    </a:cubicBezTo>
                    <a:lnTo>
                      <a:pt x="178279" y="250252"/>
                    </a:lnTo>
                    <a:lnTo>
                      <a:pt x="178279" y="273873"/>
                    </a:lnTo>
                    <a:lnTo>
                      <a:pt x="194254" y="273873"/>
                    </a:lnTo>
                    <a:cubicBezTo>
                      <a:pt x="198088" y="273873"/>
                      <a:pt x="200644" y="276426"/>
                      <a:pt x="200644" y="280257"/>
                    </a:cubicBezTo>
                    <a:cubicBezTo>
                      <a:pt x="200644" y="284087"/>
                      <a:pt x="198088" y="286641"/>
                      <a:pt x="194254" y="286641"/>
                    </a:cubicBezTo>
                    <a:lnTo>
                      <a:pt x="120770" y="286641"/>
                    </a:lnTo>
                    <a:cubicBezTo>
                      <a:pt x="116936" y="286641"/>
                      <a:pt x="114380" y="284087"/>
                      <a:pt x="114380" y="280257"/>
                    </a:cubicBezTo>
                    <a:cubicBezTo>
                      <a:pt x="114380" y="276426"/>
                      <a:pt x="116936" y="273873"/>
                      <a:pt x="120770" y="273873"/>
                    </a:cubicBezTo>
                    <a:lnTo>
                      <a:pt x="136106" y="273873"/>
                    </a:lnTo>
                    <a:lnTo>
                      <a:pt x="136106" y="256636"/>
                    </a:lnTo>
                    <a:cubicBezTo>
                      <a:pt x="136106" y="253444"/>
                      <a:pt x="138022" y="250890"/>
                      <a:pt x="141217" y="250252"/>
                    </a:cubicBezTo>
                    <a:lnTo>
                      <a:pt x="81152" y="250252"/>
                    </a:lnTo>
                    <a:cubicBezTo>
                      <a:pt x="79235" y="250252"/>
                      <a:pt x="77957" y="249614"/>
                      <a:pt x="76679" y="248337"/>
                    </a:cubicBezTo>
                    <a:cubicBezTo>
                      <a:pt x="75402" y="247060"/>
                      <a:pt x="74762" y="245145"/>
                      <a:pt x="74762" y="243230"/>
                    </a:cubicBezTo>
                    <a:lnTo>
                      <a:pt x="83069" y="140448"/>
                    </a:lnTo>
                    <a:cubicBezTo>
                      <a:pt x="83069" y="137256"/>
                      <a:pt x="86264" y="134702"/>
                      <a:pt x="89459" y="134702"/>
                    </a:cubicBezTo>
                    <a:lnTo>
                      <a:pt x="116297" y="134702"/>
                    </a:lnTo>
                    <a:cubicBezTo>
                      <a:pt x="120131" y="134702"/>
                      <a:pt x="122686" y="137256"/>
                      <a:pt x="122686" y="141086"/>
                    </a:cubicBezTo>
                    <a:cubicBezTo>
                      <a:pt x="122686" y="144916"/>
                      <a:pt x="120131" y="147470"/>
                      <a:pt x="116297" y="147470"/>
                    </a:cubicBezTo>
                    <a:lnTo>
                      <a:pt x="95210" y="147470"/>
                    </a:lnTo>
                    <a:lnTo>
                      <a:pt x="87542" y="237484"/>
                    </a:lnTo>
                    <a:lnTo>
                      <a:pt x="226204" y="237484"/>
                    </a:lnTo>
                    <a:lnTo>
                      <a:pt x="218536" y="147470"/>
                    </a:lnTo>
                    <a:lnTo>
                      <a:pt x="133550" y="147470"/>
                    </a:lnTo>
                    <a:cubicBezTo>
                      <a:pt x="129716" y="147470"/>
                      <a:pt x="127160" y="144916"/>
                      <a:pt x="127160" y="141086"/>
                    </a:cubicBezTo>
                    <a:cubicBezTo>
                      <a:pt x="127160" y="137256"/>
                      <a:pt x="129716" y="134702"/>
                      <a:pt x="133550" y="134702"/>
                    </a:cubicBezTo>
                    <a:lnTo>
                      <a:pt x="224287" y="134702"/>
                    </a:lnTo>
                    <a:cubicBezTo>
                      <a:pt x="227482" y="134702"/>
                      <a:pt x="230677" y="137256"/>
                      <a:pt x="230677" y="140448"/>
                    </a:cubicBezTo>
                    <a:lnTo>
                      <a:pt x="238984" y="243230"/>
                    </a:lnTo>
                    <a:cubicBezTo>
                      <a:pt x="239623" y="245145"/>
                      <a:pt x="238984" y="247060"/>
                      <a:pt x="237705" y="248337"/>
                    </a:cubicBezTo>
                    <a:lnTo>
                      <a:pt x="237705" y="248337"/>
                    </a:lnTo>
                    <a:close/>
                    <a:moveTo>
                      <a:pt x="156553" y="157046"/>
                    </a:moveTo>
                    <a:lnTo>
                      <a:pt x="203200" y="157046"/>
                    </a:lnTo>
                    <a:cubicBezTo>
                      <a:pt x="206395" y="157046"/>
                      <a:pt x="209590" y="159600"/>
                      <a:pt x="209590" y="162792"/>
                    </a:cubicBezTo>
                    <a:lnTo>
                      <a:pt x="214063" y="220886"/>
                    </a:lnTo>
                    <a:cubicBezTo>
                      <a:pt x="214063" y="222801"/>
                      <a:pt x="213424" y="224078"/>
                      <a:pt x="212146" y="225993"/>
                    </a:cubicBezTo>
                    <a:cubicBezTo>
                      <a:pt x="210868" y="227270"/>
                      <a:pt x="208951" y="227908"/>
                      <a:pt x="207673" y="227908"/>
                    </a:cubicBezTo>
                    <a:lnTo>
                      <a:pt x="104156" y="227908"/>
                    </a:lnTo>
                    <a:cubicBezTo>
                      <a:pt x="100322" y="227908"/>
                      <a:pt x="97766" y="225355"/>
                      <a:pt x="97766" y="221524"/>
                    </a:cubicBezTo>
                    <a:cubicBezTo>
                      <a:pt x="97766" y="221524"/>
                      <a:pt x="97766" y="220886"/>
                      <a:pt x="97766" y="220886"/>
                    </a:cubicBezTo>
                    <a:lnTo>
                      <a:pt x="102239" y="162792"/>
                    </a:lnTo>
                    <a:cubicBezTo>
                      <a:pt x="102239" y="159600"/>
                      <a:pt x="105434" y="157046"/>
                      <a:pt x="108629" y="157046"/>
                    </a:cubicBezTo>
                    <a:lnTo>
                      <a:pt x="156553" y="157046"/>
                    </a:lnTo>
                    <a:close/>
                    <a:moveTo>
                      <a:pt x="238984" y="150662"/>
                    </a:moveTo>
                    <a:cubicBezTo>
                      <a:pt x="235150" y="150662"/>
                      <a:pt x="232594" y="147470"/>
                      <a:pt x="232594" y="144278"/>
                    </a:cubicBezTo>
                    <a:cubicBezTo>
                      <a:pt x="232594" y="142363"/>
                      <a:pt x="233872" y="140448"/>
                      <a:pt x="235789" y="139171"/>
                    </a:cubicBezTo>
                    <a:cubicBezTo>
                      <a:pt x="244735" y="133425"/>
                      <a:pt x="247930" y="121296"/>
                      <a:pt x="242179" y="112358"/>
                    </a:cubicBezTo>
                    <a:cubicBezTo>
                      <a:pt x="236428" y="103420"/>
                      <a:pt x="224287" y="100228"/>
                      <a:pt x="215341" y="105974"/>
                    </a:cubicBezTo>
                    <a:cubicBezTo>
                      <a:pt x="209590" y="109804"/>
                      <a:pt x="206395" y="115550"/>
                      <a:pt x="205756" y="122572"/>
                    </a:cubicBezTo>
                    <a:cubicBezTo>
                      <a:pt x="205756" y="123849"/>
                      <a:pt x="205756" y="124488"/>
                      <a:pt x="205756" y="125764"/>
                    </a:cubicBezTo>
                    <a:cubicBezTo>
                      <a:pt x="206395" y="129595"/>
                      <a:pt x="203839" y="132787"/>
                      <a:pt x="200644" y="133425"/>
                    </a:cubicBezTo>
                    <a:cubicBezTo>
                      <a:pt x="196810" y="134064"/>
                      <a:pt x="193615" y="131510"/>
                      <a:pt x="192976" y="128318"/>
                    </a:cubicBezTo>
                    <a:cubicBezTo>
                      <a:pt x="192337" y="126403"/>
                      <a:pt x="192337" y="124488"/>
                      <a:pt x="192337" y="123211"/>
                    </a:cubicBezTo>
                    <a:cubicBezTo>
                      <a:pt x="192337" y="105336"/>
                      <a:pt x="207034" y="90652"/>
                      <a:pt x="224925" y="90652"/>
                    </a:cubicBezTo>
                    <a:cubicBezTo>
                      <a:pt x="242818" y="90652"/>
                      <a:pt x="257515" y="105336"/>
                      <a:pt x="257515" y="123211"/>
                    </a:cubicBezTo>
                    <a:lnTo>
                      <a:pt x="257515" y="123211"/>
                    </a:lnTo>
                    <a:cubicBezTo>
                      <a:pt x="257515" y="134702"/>
                      <a:pt x="251764" y="144916"/>
                      <a:pt x="242179" y="150662"/>
                    </a:cubicBezTo>
                    <a:cubicBezTo>
                      <a:pt x="240900" y="150024"/>
                      <a:pt x="240261" y="150662"/>
                      <a:pt x="238984" y="150662"/>
                    </a:cubicBezTo>
                    <a:lnTo>
                      <a:pt x="238984" y="150662"/>
                    </a:lnTo>
                    <a:close/>
                    <a:moveTo>
                      <a:pt x="263265" y="172368"/>
                    </a:moveTo>
                    <a:cubicBezTo>
                      <a:pt x="261987" y="173006"/>
                      <a:pt x="260710" y="173644"/>
                      <a:pt x="259431" y="173644"/>
                    </a:cubicBezTo>
                    <a:cubicBezTo>
                      <a:pt x="257515" y="173644"/>
                      <a:pt x="255597" y="173006"/>
                      <a:pt x="254320" y="171091"/>
                    </a:cubicBezTo>
                    <a:lnTo>
                      <a:pt x="246013" y="159600"/>
                    </a:lnTo>
                    <a:cubicBezTo>
                      <a:pt x="243456" y="157046"/>
                      <a:pt x="244095" y="153216"/>
                      <a:pt x="246651" y="150662"/>
                    </a:cubicBezTo>
                    <a:cubicBezTo>
                      <a:pt x="249208" y="148108"/>
                      <a:pt x="253041" y="148747"/>
                      <a:pt x="255597" y="151300"/>
                    </a:cubicBezTo>
                    <a:cubicBezTo>
                      <a:pt x="255597" y="151300"/>
                      <a:pt x="256236" y="151939"/>
                      <a:pt x="256236" y="151939"/>
                    </a:cubicBezTo>
                    <a:lnTo>
                      <a:pt x="264544" y="162792"/>
                    </a:lnTo>
                    <a:cubicBezTo>
                      <a:pt x="266460" y="165984"/>
                      <a:pt x="265821" y="169814"/>
                      <a:pt x="263265" y="172368"/>
                    </a:cubicBezTo>
                    <a:lnTo>
                      <a:pt x="263265" y="172368"/>
                    </a:lnTo>
                    <a:close/>
                    <a:moveTo>
                      <a:pt x="281157" y="136617"/>
                    </a:moveTo>
                    <a:lnTo>
                      <a:pt x="280518" y="136617"/>
                    </a:lnTo>
                    <a:lnTo>
                      <a:pt x="266460" y="134702"/>
                    </a:lnTo>
                    <a:cubicBezTo>
                      <a:pt x="263265" y="134064"/>
                      <a:pt x="260710" y="130872"/>
                      <a:pt x="261349" y="127680"/>
                    </a:cubicBezTo>
                    <a:cubicBezTo>
                      <a:pt x="261987" y="124488"/>
                      <a:pt x="265182" y="121934"/>
                      <a:pt x="268377" y="121934"/>
                    </a:cubicBezTo>
                    <a:cubicBezTo>
                      <a:pt x="268377" y="121934"/>
                      <a:pt x="268377" y="121934"/>
                      <a:pt x="268377" y="121934"/>
                    </a:cubicBezTo>
                    <a:lnTo>
                      <a:pt x="282435" y="123849"/>
                    </a:lnTo>
                    <a:cubicBezTo>
                      <a:pt x="285630" y="124488"/>
                      <a:pt x="288186" y="127680"/>
                      <a:pt x="287547" y="130872"/>
                    </a:cubicBezTo>
                    <a:cubicBezTo>
                      <a:pt x="286908" y="134064"/>
                      <a:pt x="284352" y="135979"/>
                      <a:pt x="281157" y="136617"/>
                    </a:cubicBezTo>
                    <a:lnTo>
                      <a:pt x="281157" y="136617"/>
                    </a:lnTo>
                    <a:close/>
                  </a:path>
                </a:pathLst>
              </a:custGeom>
              <a:grpFill/>
              <a:ln w="6390" cap="flat">
                <a:noFill/>
                <a:prstDash val="solid"/>
                <a:miter/>
              </a:ln>
            </p:spPr>
            <p:txBody>
              <a:bodyPr rtlCol="0" anchor="ctr"/>
              <a:lstStyle/>
              <a:p>
                <a:endParaRPr lang="es-BO" sz="1600" noProof="0" dirty="0"/>
              </a:p>
            </p:txBody>
          </p:sp>
        </p:grpSp>
        <p:sp>
          <p:nvSpPr>
            <p:cNvPr id="393" name="Freeform 5">
              <a:extLst>
                <a:ext uri="{FF2B5EF4-FFF2-40B4-BE49-F238E27FC236}">
                  <a16:creationId xmlns:a16="http://schemas.microsoft.com/office/drawing/2014/main" xmlns="" id="{CECD609B-D96E-3D31-C5AC-5F009527210C}"/>
                </a:ext>
              </a:extLst>
            </p:cNvPr>
            <p:cNvSpPr>
              <a:spLocks/>
            </p:cNvSpPr>
            <p:nvPr/>
          </p:nvSpPr>
          <p:spPr bwMode="auto">
            <a:xfrm>
              <a:off x="6183124" y="1997731"/>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359" name="íṥ1íḑé">
              <a:extLst>
                <a:ext uri="{FF2B5EF4-FFF2-40B4-BE49-F238E27FC236}">
                  <a16:creationId xmlns:a16="http://schemas.microsoft.com/office/drawing/2014/main" xmlns="" id="{841D139A-3FAF-77CF-596E-4A6F8058BE29}"/>
                </a:ext>
              </a:extLst>
            </p:cNvPr>
            <p:cNvSpPr/>
            <p:nvPr/>
          </p:nvSpPr>
          <p:spPr bwMode="auto">
            <a:xfrm>
              <a:off x="7831197" y="2034860"/>
              <a:ext cx="2434822"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Alternativa sostenible</a:t>
              </a:r>
            </a:p>
          </p:txBody>
        </p:sp>
        <p:sp>
          <p:nvSpPr>
            <p:cNvPr id="360" name="ïṣľíḍe">
              <a:extLst>
                <a:ext uri="{FF2B5EF4-FFF2-40B4-BE49-F238E27FC236}">
                  <a16:creationId xmlns:a16="http://schemas.microsoft.com/office/drawing/2014/main" xmlns="" id="{0B729A46-56DA-0550-BF08-35FEA74A31B8}"/>
                </a:ext>
              </a:extLst>
            </p:cNvPr>
            <p:cNvSpPr txBox="1"/>
            <p:nvPr/>
          </p:nvSpPr>
          <p:spPr bwMode="auto">
            <a:xfrm>
              <a:off x="7704308" y="1714369"/>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391" name="Freeform 5">
              <a:extLst>
                <a:ext uri="{FF2B5EF4-FFF2-40B4-BE49-F238E27FC236}">
                  <a16:creationId xmlns:a16="http://schemas.microsoft.com/office/drawing/2014/main" xmlns="" id="{DD43289C-0F07-3D5F-8AAD-7FA55AD8CEE8}"/>
                </a:ext>
              </a:extLst>
            </p:cNvPr>
            <p:cNvSpPr>
              <a:spLocks/>
            </p:cNvSpPr>
            <p:nvPr/>
          </p:nvSpPr>
          <p:spPr bwMode="auto">
            <a:xfrm>
              <a:off x="6183124" y="3460645"/>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0A62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362" name="íṥ1íḑé">
              <a:extLst>
                <a:ext uri="{FF2B5EF4-FFF2-40B4-BE49-F238E27FC236}">
                  <a16:creationId xmlns:a16="http://schemas.microsoft.com/office/drawing/2014/main" xmlns="" id="{5F6E994F-7CB8-876C-2590-E7147F2C46E7}"/>
                </a:ext>
              </a:extLst>
            </p:cNvPr>
            <p:cNvSpPr/>
            <p:nvPr/>
          </p:nvSpPr>
          <p:spPr bwMode="auto">
            <a:xfrm>
              <a:off x="7886052" y="3497774"/>
              <a:ext cx="2400072"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Demanda interna</a:t>
              </a:r>
            </a:p>
          </p:txBody>
        </p:sp>
        <p:sp>
          <p:nvSpPr>
            <p:cNvPr id="363" name="ïṣľíḍe">
              <a:extLst>
                <a:ext uri="{FF2B5EF4-FFF2-40B4-BE49-F238E27FC236}">
                  <a16:creationId xmlns:a16="http://schemas.microsoft.com/office/drawing/2014/main" xmlns="" id="{132C5740-FEB9-697A-CAB2-21FFE1D56729}"/>
                </a:ext>
              </a:extLst>
            </p:cNvPr>
            <p:cNvSpPr txBox="1"/>
            <p:nvPr/>
          </p:nvSpPr>
          <p:spPr bwMode="auto">
            <a:xfrm>
              <a:off x="7704308" y="3177283"/>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364" name="Freeform 5">
              <a:extLst>
                <a:ext uri="{FF2B5EF4-FFF2-40B4-BE49-F238E27FC236}">
                  <a16:creationId xmlns:a16="http://schemas.microsoft.com/office/drawing/2014/main" xmlns="" id="{1748BE01-04F9-50A1-2E02-9B24354D90A9}"/>
                </a:ext>
              </a:extLst>
            </p:cNvPr>
            <p:cNvSpPr>
              <a:spLocks/>
            </p:cNvSpPr>
            <p:nvPr/>
          </p:nvSpPr>
          <p:spPr bwMode="auto">
            <a:xfrm>
              <a:off x="6183124" y="4923559"/>
              <a:ext cx="4646089" cy="83879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03502A"/>
            </a:solidFill>
            <a:ln>
              <a:noFill/>
            </a:ln>
          </p:spPr>
          <p:txBody>
            <a:bodyPr vert="horz" wrap="square" lIns="91440" tIns="45720" rIns="91440" bIns="45720" numCol="1" anchor="t" anchorCtr="0" compatLnSpc="1">
              <a:prstTxWarp prst="textNoShape">
                <a:avLst/>
              </a:prstTxWarp>
            </a:bodyPr>
            <a:lstStyle/>
            <a:p>
              <a:endParaRPr lang="es-BO" sz="1300" noProof="0" dirty="0">
                <a:latin typeface="Calibri Light" panose="020F0302020204030204" pitchFamily="34" charset="0"/>
                <a:cs typeface="Calibri Light" panose="020F0302020204030204" pitchFamily="34" charset="0"/>
              </a:endParaRPr>
            </a:p>
          </p:txBody>
        </p:sp>
        <p:sp>
          <p:nvSpPr>
            <p:cNvPr id="366" name="íṥ1íḑé">
              <a:extLst>
                <a:ext uri="{FF2B5EF4-FFF2-40B4-BE49-F238E27FC236}">
                  <a16:creationId xmlns:a16="http://schemas.microsoft.com/office/drawing/2014/main" xmlns="" id="{6246D74C-7D4B-8076-9FFD-18F507DA4425}"/>
                </a:ext>
              </a:extLst>
            </p:cNvPr>
            <p:cNvSpPr/>
            <p:nvPr/>
          </p:nvSpPr>
          <p:spPr bwMode="auto">
            <a:xfrm>
              <a:off x="7886052" y="4960688"/>
              <a:ext cx="2400072" cy="78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s-BO" sz="1200" b="1" noProof="0"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Demanda externa</a:t>
              </a:r>
            </a:p>
          </p:txBody>
        </p:sp>
        <p:sp>
          <p:nvSpPr>
            <p:cNvPr id="367" name="ïṣľíḍe">
              <a:extLst>
                <a:ext uri="{FF2B5EF4-FFF2-40B4-BE49-F238E27FC236}">
                  <a16:creationId xmlns:a16="http://schemas.microsoft.com/office/drawing/2014/main" xmlns="" id="{A014F250-8559-EAAA-FB29-9627E75D52C7}"/>
                </a:ext>
              </a:extLst>
            </p:cNvPr>
            <p:cNvSpPr txBox="1"/>
            <p:nvPr/>
          </p:nvSpPr>
          <p:spPr bwMode="auto">
            <a:xfrm>
              <a:off x="7704308" y="4640197"/>
              <a:ext cx="2049205" cy="40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endParaRPr lang="es-BO" sz="1300" b="1" noProof="0" dirty="0">
                <a:latin typeface="Calibri Light" panose="020F0302020204030204" pitchFamily="34" charset="0"/>
                <a:ea typeface="Verdana" panose="020B0604030504040204" pitchFamily="34" charset="0"/>
                <a:cs typeface="Calibri Light" panose="020F0302020204030204" pitchFamily="34" charset="0"/>
              </a:endParaRPr>
            </a:p>
          </p:txBody>
        </p:sp>
        <p:sp>
          <p:nvSpPr>
            <p:cNvPr id="368" name="Oval 367">
              <a:extLst>
                <a:ext uri="{FF2B5EF4-FFF2-40B4-BE49-F238E27FC236}">
                  <a16:creationId xmlns:a16="http://schemas.microsoft.com/office/drawing/2014/main" xmlns="" id="{A7B021B5-5924-9160-52AA-36A30B3EEA2C}"/>
                </a:ext>
              </a:extLst>
            </p:cNvPr>
            <p:cNvSpPr/>
            <p:nvPr/>
          </p:nvSpPr>
          <p:spPr bwMode="gray">
            <a:xfrm>
              <a:off x="6500056" y="1701705"/>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369" name="Oval 368">
              <a:extLst>
                <a:ext uri="{FF2B5EF4-FFF2-40B4-BE49-F238E27FC236}">
                  <a16:creationId xmlns:a16="http://schemas.microsoft.com/office/drawing/2014/main" xmlns="" id="{C456DCF8-7169-78F7-9195-78A162232D13}"/>
                </a:ext>
              </a:extLst>
            </p:cNvPr>
            <p:cNvSpPr/>
            <p:nvPr/>
          </p:nvSpPr>
          <p:spPr bwMode="gray">
            <a:xfrm>
              <a:off x="6518052" y="3145320"/>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371" name="Oval 370">
              <a:extLst>
                <a:ext uri="{FF2B5EF4-FFF2-40B4-BE49-F238E27FC236}">
                  <a16:creationId xmlns:a16="http://schemas.microsoft.com/office/drawing/2014/main" xmlns="" id="{71A367CF-CF10-0835-415B-47365ADEAFCE}"/>
                </a:ext>
              </a:extLst>
            </p:cNvPr>
            <p:cNvSpPr/>
            <p:nvPr/>
          </p:nvSpPr>
          <p:spPr bwMode="gray">
            <a:xfrm>
              <a:off x="6522405" y="4698516"/>
              <a:ext cx="1368000" cy="13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pSp>
          <p:nvGrpSpPr>
            <p:cNvPr id="431" name="Graphic 4">
              <a:extLst>
                <a:ext uri="{FF2B5EF4-FFF2-40B4-BE49-F238E27FC236}">
                  <a16:creationId xmlns:a16="http://schemas.microsoft.com/office/drawing/2014/main" xmlns="" id="{1D3C83D3-1E2B-287B-FE36-7D31373EB2CC}"/>
                </a:ext>
              </a:extLst>
            </p:cNvPr>
            <p:cNvGrpSpPr/>
            <p:nvPr/>
          </p:nvGrpSpPr>
          <p:grpSpPr>
            <a:xfrm>
              <a:off x="6761898" y="1968735"/>
              <a:ext cx="910797" cy="910803"/>
              <a:chOff x="4045469" y="3339623"/>
              <a:chExt cx="362309" cy="361971"/>
            </a:xfrm>
            <a:solidFill>
              <a:srgbClr val="43B02A"/>
            </a:solidFill>
          </p:grpSpPr>
          <p:sp>
            <p:nvSpPr>
              <p:cNvPr id="432" name="Graphic 4">
                <a:extLst>
                  <a:ext uri="{FF2B5EF4-FFF2-40B4-BE49-F238E27FC236}">
                    <a16:creationId xmlns:a16="http://schemas.microsoft.com/office/drawing/2014/main" xmlns="" id="{2A870D75-BC77-F05C-305E-B725836A5ED0}"/>
                  </a:ext>
                </a:extLst>
              </p:cNvPr>
              <p:cNvSpPr/>
              <p:nvPr/>
            </p:nvSpPr>
            <p:spPr>
              <a:xfrm>
                <a:off x="4256976" y="3517737"/>
                <a:ext cx="18530" cy="11491"/>
              </a:xfrm>
              <a:custGeom>
                <a:avLst/>
                <a:gdLst>
                  <a:gd name="connsiteX0" fmla="*/ 5112 w 18530"/>
                  <a:gd name="connsiteY0" fmla="*/ 0 h 11491"/>
                  <a:gd name="connsiteX1" fmla="*/ 0 w 18530"/>
                  <a:gd name="connsiteY1" fmla="*/ 11491 h 11491"/>
                  <a:gd name="connsiteX2" fmla="*/ 18531 w 18530"/>
                  <a:gd name="connsiteY2" fmla="*/ 10214 h 11491"/>
                  <a:gd name="connsiteX3" fmla="*/ 5112 w 18530"/>
                  <a:gd name="connsiteY3" fmla="*/ 0 h 11491"/>
                </a:gdLst>
                <a:ahLst/>
                <a:cxnLst>
                  <a:cxn ang="0">
                    <a:pos x="connsiteX0" y="connsiteY0"/>
                  </a:cxn>
                  <a:cxn ang="0">
                    <a:pos x="connsiteX1" y="connsiteY1"/>
                  </a:cxn>
                  <a:cxn ang="0">
                    <a:pos x="connsiteX2" y="connsiteY2"/>
                  </a:cxn>
                  <a:cxn ang="0">
                    <a:pos x="connsiteX3" y="connsiteY3"/>
                  </a:cxn>
                </a:cxnLst>
                <a:rect l="l" t="t" r="r" b="b"/>
                <a:pathLst>
                  <a:path w="18530" h="11491">
                    <a:moveTo>
                      <a:pt x="5112" y="0"/>
                    </a:moveTo>
                    <a:lnTo>
                      <a:pt x="0" y="11491"/>
                    </a:lnTo>
                    <a:lnTo>
                      <a:pt x="18531" y="10214"/>
                    </a:lnTo>
                    <a:cubicBezTo>
                      <a:pt x="14697" y="5745"/>
                      <a:pt x="10224" y="2553"/>
                      <a:pt x="5112" y="0"/>
                    </a:cubicBezTo>
                    <a:close/>
                  </a:path>
                </a:pathLst>
              </a:custGeom>
              <a:grpFill/>
              <a:ln w="6390" cap="flat">
                <a:noFill/>
                <a:prstDash val="solid"/>
                <a:miter/>
              </a:ln>
            </p:spPr>
            <p:txBody>
              <a:bodyPr rtlCol="0" anchor="ctr"/>
              <a:lstStyle/>
              <a:p>
                <a:endParaRPr lang="es-BO" noProof="0" dirty="0"/>
              </a:p>
            </p:txBody>
          </p:sp>
          <p:sp>
            <p:nvSpPr>
              <p:cNvPr id="433" name="Graphic 4">
                <a:extLst>
                  <a:ext uri="{FF2B5EF4-FFF2-40B4-BE49-F238E27FC236}">
                    <a16:creationId xmlns:a16="http://schemas.microsoft.com/office/drawing/2014/main" xmlns="" id="{1CFC03F1-58D3-2C02-F9B4-274DAF9C3BE6}"/>
                  </a:ext>
                </a:extLst>
              </p:cNvPr>
              <p:cNvSpPr/>
              <p:nvPr/>
            </p:nvSpPr>
            <p:spPr>
              <a:xfrm>
                <a:off x="4236502" y="3402186"/>
                <a:ext cx="54340" cy="54683"/>
              </a:xfrm>
              <a:custGeom>
                <a:avLst/>
                <a:gdLst>
                  <a:gd name="connsiteX0" fmla="*/ 33254 w 54340"/>
                  <a:gd name="connsiteY0" fmla="*/ 10853 h 54683"/>
                  <a:gd name="connsiteX1" fmla="*/ 42199 w 54340"/>
                  <a:gd name="connsiteY1" fmla="*/ 12768 h 54683"/>
                  <a:gd name="connsiteX2" fmla="*/ 40282 w 54340"/>
                  <a:gd name="connsiteY2" fmla="*/ 21706 h 54683"/>
                  <a:gd name="connsiteX3" fmla="*/ 11528 w 54340"/>
                  <a:gd name="connsiteY3" fmla="*/ 54264 h 54683"/>
                  <a:gd name="connsiteX4" fmla="*/ 24308 w 54340"/>
                  <a:gd name="connsiteY4" fmla="*/ 53626 h 54683"/>
                  <a:gd name="connsiteX5" fmla="*/ 45394 w 54340"/>
                  <a:gd name="connsiteY5" fmla="*/ 38304 h 54683"/>
                  <a:gd name="connsiteX6" fmla="*/ 54340 w 54340"/>
                  <a:gd name="connsiteY6" fmla="*/ 0 h 54683"/>
                  <a:gd name="connsiteX7" fmla="*/ 16001 w 54340"/>
                  <a:gd name="connsiteY7" fmla="*/ 9576 h 54683"/>
                  <a:gd name="connsiteX8" fmla="*/ 665 w 54340"/>
                  <a:gd name="connsiteY8" fmla="*/ 30643 h 54683"/>
                  <a:gd name="connsiteX9" fmla="*/ 1943 w 54340"/>
                  <a:gd name="connsiteY9" fmla="*/ 44688 h 54683"/>
                  <a:gd name="connsiteX10" fmla="*/ 33254 w 54340"/>
                  <a:gd name="connsiteY10" fmla="*/ 10853 h 5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40" h="54683">
                    <a:moveTo>
                      <a:pt x="33254" y="10853"/>
                    </a:moveTo>
                    <a:cubicBezTo>
                      <a:pt x="36449" y="8938"/>
                      <a:pt x="40282" y="9576"/>
                      <a:pt x="42199" y="12768"/>
                    </a:cubicBezTo>
                    <a:cubicBezTo>
                      <a:pt x="44117" y="15960"/>
                      <a:pt x="43477" y="19791"/>
                      <a:pt x="40282" y="21706"/>
                    </a:cubicBezTo>
                    <a:cubicBezTo>
                      <a:pt x="28781" y="30643"/>
                      <a:pt x="19196" y="41496"/>
                      <a:pt x="11528" y="54264"/>
                    </a:cubicBezTo>
                    <a:cubicBezTo>
                      <a:pt x="16001" y="54902"/>
                      <a:pt x="19835" y="54902"/>
                      <a:pt x="24308" y="53626"/>
                    </a:cubicBezTo>
                    <a:cubicBezTo>
                      <a:pt x="33254" y="51710"/>
                      <a:pt x="40922" y="45965"/>
                      <a:pt x="45394" y="38304"/>
                    </a:cubicBezTo>
                    <a:cubicBezTo>
                      <a:pt x="51784" y="26175"/>
                      <a:pt x="54340" y="13407"/>
                      <a:pt x="54340" y="0"/>
                    </a:cubicBezTo>
                    <a:cubicBezTo>
                      <a:pt x="40922" y="0"/>
                      <a:pt x="27503" y="3192"/>
                      <a:pt x="16001" y="9576"/>
                    </a:cubicBezTo>
                    <a:cubicBezTo>
                      <a:pt x="8333" y="14045"/>
                      <a:pt x="2582" y="21706"/>
                      <a:pt x="665" y="30643"/>
                    </a:cubicBezTo>
                    <a:cubicBezTo>
                      <a:pt x="-613" y="35112"/>
                      <a:pt x="26" y="40219"/>
                      <a:pt x="1943" y="44688"/>
                    </a:cubicBezTo>
                    <a:cubicBezTo>
                      <a:pt x="10250" y="31920"/>
                      <a:pt x="21113" y="20429"/>
                      <a:pt x="33254" y="10853"/>
                    </a:cubicBezTo>
                    <a:close/>
                  </a:path>
                </a:pathLst>
              </a:custGeom>
              <a:grpFill/>
              <a:ln w="6390" cap="flat">
                <a:noFill/>
                <a:prstDash val="solid"/>
                <a:miter/>
              </a:ln>
            </p:spPr>
            <p:txBody>
              <a:bodyPr rtlCol="0" anchor="ctr"/>
              <a:lstStyle/>
              <a:p>
                <a:endParaRPr lang="es-BO" noProof="0" dirty="0"/>
              </a:p>
            </p:txBody>
          </p:sp>
          <p:sp>
            <p:nvSpPr>
              <p:cNvPr id="434" name="Graphic 4">
                <a:extLst>
                  <a:ext uri="{FF2B5EF4-FFF2-40B4-BE49-F238E27FC236}">
                    <a16:creationId xmlns:a16="http://schemas.microsoft.com/office/drawing/2014/main" xmlns="" id="{6EE30E72-F399-7469-3C48-81B0C8C4E7F9}"/>
                  </a:ext>
                </a:extLst>
              </p:cNvPr>
              <p:cNvSpPr/>
              <p:nvPr/>
            </p:nvSpPr>
            <p:spPr>
              <a:xfrm>
                <a:off x="4253781" y="3543911"/>
                <a:ext cx="40895" cy="50433"/>
              </a:xfrm>
              <a:custGeom>
                <a:avLst/>
                <a:gdLst>
                  <a:gd name="connsiteX0" fmla="*/ 24282 w 40895"/>
                  <a:gd name="connsiteY0" fmla="*/ 13406 h 50433"/>
                  <a:gd name="connsiteX1" fmla="*/ 3834 w 40895"/>
                  <a:gd name="connsiteY1" fmla="*/ 15960 h 50433"/>
                  <a:gd name="connsiteX2" fmla="*/ 0 w 40895"/>
                  <a:gd name="connsiteY2" fmla="*/ 21706 h 50433"/>
                  <a:gd name="connsiteX3" fmla="*/ 5751 w 40895"/>
                  <a:gd name="connsiteY3" fmla="*/ 26813 h 50433"/>
                  <a:gd name="connsiteX4" fmla="*/ 12780 w 40895"/>
                  <a:gd name="connsiteY4" fmla="*/ 27451 h 50433"/>
                  <a:gd name="connsiteX5" fmla="*/ 18531 w 40895"/>
                  <a:gd name="connsiteY5" fmla="*/ 32558 h 50433"/>
                  <a:gd name="connsiteX6" fmla="*/ 22365 w 40895"/>
                  <a:gd name="connsiteY6" fmla="*/ 50434 h 50433"/>
                  <a:gd name="connsiteX7" fmla="*/ 40895 w 40895"/>
                  <a:gd name="connsiteY7" fmla="*/ 15322 h 50433"/>
                  <a:gd name="connsiteX8" fmla="*/ 34505 w 40895"/>
                  <a:gd name="connsiteY8" fmla="*/ 0 h 50433"/>
                  <a:gd name="connsiteX9" fmla="*/ 29394 w 40895"/>
                  <a:gd name="connsiteY9" fmla="*/ 10214 h 50433"/>
                  <a:gd name="connsiteX10" fmla="*/ 24282 w 40895"/>
                  <a:gd name="connsiteY10" fmla="*/ 13406 h 5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95" h="50433">
                    <a:moveTo>
                      <a:pt x="24282" y="13406"/>
                    </a:moveTo>
                    <a:lnTo>
                      <a:pt x="3834" y="15960"/>
                    </a:lnTo>
                    <a:cubicBezTo>
                      <a:pt x="639" y="18514"/>
                      <a:pt x="0" y="21067"/>
                      <a:pt x="0" y="21706"/>
                    </a:cubicBezTo>
                    <a:cubicBezTo>
                      <a:pt x="0" y="22344"/>
                      <a:pt x="3195" y="25536"/>
                      <a:pt x="5751" y="26813"/>
                    </a:cubicBezTo>
                    <a:lnTo>
                      <a:pt x="12780" y="27451"/>
                    </a:lnTo>
                    <a:cubicBezTo>
                      <a:pt x="15975" y="27451"/>
                      <a:pt x="17892" y="30005"/>
                      <a:pt x="18531" y="32558"/>
                    </a:cubicBezTo>
                    <a:lnTo>
                      <a:pt x="22365" y="50434"/>
                    </a:lnTo>
                    <a:lnTo>
                      <a:pt x="40895" y="15322"/>
                    </a:lnTo>
                    <a:cubicBezTo>
                      <a:pt x="39618" y="10214"/>
                      <a:pt x="37062" y="5107"/>
                      <a:pt x="34505" y="0"/>
                    </a:cubicBezTo>
                    <a:lnTo>
                      <a:pt x="29394" y="10214"/>
                    </a:lnTo>
                    <a:cubicBezTo>
                      <a:pt x="28115" y="12130"/>
                      <a:pt x="26199" y="13406"/>
                      <a:pt x="24282" y="13406"/>
                    </a:cubicBezTo>
                    <a:close/>
                  </a:path>
                </a:pathLst>
              </a:custGeom>
              <a:grpFill/>
              <a:ln w="6390" cap="flat">
                <a:noFill/>
                <a:prstDash val="solid"/>
                <a:miter/>
              </a:ln>
            </p:spPr>
            <p:txBody>
              <a:bodyPr rtlCol="0" anchor="ctr"/>
              <a:lstStyle/>
              <a:p>
                <a:endParaRPr lang="es-BO" noProof="0" dirty="0"/>
              </a:p>
            </p:txBody>
          </p:sp>
          <p:sp>
            <p:nvSpPr>
              <p:cNvPr id="435" name="Graphic 4">
                <a:extLst>
                  <a:ext uri="{FF2B5EF4-FFF2-40B4-BE49-F238E27FC236}">
                    <a16:creationId xmlns:a16="http://schemas.microsoft.com/office/drawing/2014/main" xmlns="" id="{6DF083E1-B0C7-B0BE-D9EA-16B678A71801}"/>
                  </a:ext>
                </a:extLst>
              </p:cNvPr>
              <p:cNvSpPr/>
              <p:nvPr/>
            </p:nvSpPr>
            <p:spPr>
              <a:xfrm>
                <a:off x="4174545" y="3452141"/>
                <a:ext cx="26198" cy="16598"/>
              </a:xfrm>
              <a:custGeom>
                <a:avLst/>
                <a:gdLst>
                  <a:gd name="connsiteX0" fmla="*/ 15336 w 26198"/>
                  <a:gd name="connsiteY0" fmla="*/ 479 h 16598"/>
                  <a:gd name="connsiteX1" fmla="*/ 0 w 26198"/>
                  <a:gd name="connsiteY1" fmla="*/ 479 h 16598"/>
                  <a:gd name="connsiteX2" fmla="*/ 8946 w 26198"/>
                  <a:gd name="connsiteY2" fmla="*/ 12608 h 16598"/>
                  <a:gd name="connsiteX3" fmla="*/ 22365 w 26198"/>
                  <a:gd name="connsiteY3" fmla="*/ 16439 h 16598"/>
                  <a:gd name="connsiteX4" fmla="*/ 26199 w 26198"/>
                  <a:gd name="connsiteY4" fmla="*/ 14524 h 16598"/>
                  <a:gd name="connsiteX5" fmla="*/ 25560 w 26198"/>
                  <a:gd name="connsiteY5" fmla="*/ 10055 h 16598"/>
                  <a:gd name="connsiteX6" fmla="*/ 15336 w 26198"/>
                  <a:gd name="connsiteY6" fmla="*/ 479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8" h="16598">
                    <a:moveTo>
                      <a:pt x="15336" y="479"/>
                    </a:moveTo>
                    <a:cubicBezTo>
                      <a:pt x="10224" y="-160"/>
                      <a:pt x="5112" y="-160"/>
                      <a:pt x="0" y="479"/>
                    </a:cubicBezTo>
                    <a:cubicBezTo>
                      <a:pt x="2556" y="4948"/>
                      <a:pt x="5112" y="8778"/>
                      <a:pt x="8946" y="12608"/>
                    </a:cubicBezTo>
                    <a:cubicBezTo>
                      <a:pt x="12780" y="15800"/>
                      <a:pt x="17253" y="17077"/>
                      <a:pt x="22365" y="16439"/>
                    </a:cubicBezTo>
                    <a:cubicBezTo>
                      <a:pt x="23643" y="16439"/>
                      <a:pt x="25560" y="15800"/>
                      <a:pt x="26199" y="14524"/>
                    </a:cubicBezTo>
                    <a:cubicBezTo>
                      <a:pt x="26199" y="13247"/>
                      <a:pt x="26199" y="11332"/>
                      <a:pt x="25560" y="10055"/>
                    </a:cubicBezTo>
                    <a:cubicBezTo>
                      <a:pt x="24282" y="4948"/>
                      <a:pt x="19809" y="1756"/>
                      <a:pt x="15336" y="479"/>
                    </a:cubicBezTo>
                    <a:close/>
                  </a:path>
                </a:pathLst>
              </a:custGeom>
              <a:grpFill/>
              <a:ln w="6390" cap="flat">
                <a:noFill/>
                <a:prstDash val="solid"/>
                <a:miter/>
              </a:ln>
            </p:spPr>
            <p:txBody>
              <a:bodyPr rtlCol="0" anchor="ctr"/>
              <a:lstStyle/>
              <a:p>
                <a:endParaRPr lang="es-BO" noProof="0" dirty="0"/>
              </a:p>
            </p:txBody>
          </p:sp>
          <p:sp>
            <p:nvSpPr>
              <p:cNvPr id="436" name="Graphic 4">
                <a:extLst>
                  <a:ext uri="{FF2B5EF4-FFF2-40B4-BE49-F238E27FC236}">
                    <a16:creationId xmlns:a16="http://schemas.microsoft.com/office/drawing/2014/main" xmlns="" id="{6899EFB2-D034-2828-FD2B-47DE07883766}"/>
                  </a:ext>
                </a:extLst>
              </p:cNvPr>
              <p:cNvSpPr/>
              <p:nvPr/>
            </p:nvSpPr>
            <p:spPr>
              <a:xfrm>
                <a:off x="4181574" y="3572639"/>
                <a:ext cx="31310" cy="36388"/>
              </a:xfrm>
              <a:custGeom>
                <a:avLst/>
                <a:gdLst>
                  <a:gd name="connsiteX0" fmla="*/ 12141 w 31310"/>
                  <a:gd name="connsiteY0" fmla="*/ 19790 h 36388"/>
                  <a:gd name="connsiteX1" fmla="*/ 16614 w 31310"/>
                  <a:gd name="connsiteY1" fmla="*/ 36389 h 36388"/>
                  <a:gd name="connsiteX2" fmla="*/ 31310 w 31310"/>
                  <a:gd name="connsiteY2" fmla="*/ 9576 h 36388"/>
                  <a:gd name="connsiteX3" fmla="*/ 12141 w 31310"/>
                  <a:gd name="connsiteY3" fmla="*/ 0 h 36388"/>
                  <a:gd name="connsiteX4" fmla="*/ 1917 w 31310"/>
                  <a:gd name="connsiteY4" fmla="*/ 638 h 36388"/>
                  <a:gd name="connsiteX5" fmla="*/ 0 w 31310"/>
                  <a:gd name="connsiteY5" fmla="*/ 11491 h 36388"/>
                  <a:gd name="connsiteX6" fmla="*/ 8946 w 31310"/>
                  <a:gd name="connsiteY6" fmla="*/ 16598 h 36388"/>
                  <a:gd name="connsiteX7" fmla="*/ 12141 w 31310"/>
                  <a:gd name="connsiteY7" fmla="*/ 19790 h 3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10" h="36388">
                    <a:moveTo>
                      <a:pt x="12141" y="19790"/>
                    </a:moveTo>
                    <a:lnTo>
                      <a:pt x="16614" y="36389"/>
                    </a:lnTo>
                    <a:lnTo>
                      <a:pt x="31310" y="9576"/>
                    </a:lnTo>
                    <a:lnTo>
                      <a:pt x="12141" y="0"/>
                    </a:lnTo>
                    <a:lnTo>
                      <a:pt x="1917" y="638"/>
                    </a:lnTo>
                    <a:lnTo>
                      <a:pt x="0" y="11491"/>
                    </a:lnTo>
                    <a:lnTo>
                      <a:pt x="8946" y="16598"/>
                    </a:lnTo>
                    <a:cubicBezTo>
                      <a:pt x="10863" y="16598"/>
                      <a:pt x="12141" y="17875"/>
                      <a:pt x="12141" y="19790"/>
                    </a:cubicBezTo>
                    <a:close/>
                  </a:path>
                </a:pathLst>
              </a:custGeom>
              <a:grpFill/>
              <a:ln w="6390" cap="flat">
                <a:noFill/>
                <a:prstDash val="solid"/>
                <a:miter/>
              </a:ln>
            </p:spPr>
            <p:txBody>
              <a:bodyPr rtlCol="0" anchor="ctr"/>
              <a:lstStyle/>
              <a:p>
                <a:endParaRPr lang="es-BO" noProof="0" dirty="0"/>
              </a:p>
            </p:txBody>
          </p:sp>
          <p:sp>
            <p:nvSpPr>
              <p:cNvPr id="437" name="Graphic 4">
                <a:extLst>
                  <a:ext uri="{FF2B5EF4-FFF2-40B4-BE49-F238E27FC236}">
                    <a16:creationId xmlns:a16="http://schemas.microsoft.com/office/drawing/2014/main" xmlns="" id="{CC9204DB-2F2C-43C0-238D-319359F39455}"/>
                  </a:ext>
                </a:extLst>
              </p:cNvPr>
              <p:cNvSpPr/>
              <p:nvPr/>
            </p:nvSpPr>
            <p:spPr>
              <a:xfrm>
                <a:off x="4164960" y="3517098"/>
                <a:ext cx="27476" cy="33835"/>
              </a:xfrm>
              <a:custGeom>
                <a:avLst/>
                <a:gdLst>
                  <a:gd name="connsiteX0" fmla="*/ 5751 w 27476"/>
                  <a:gd name="connsiteY0" fmla="*/ 33835 h 33835"/>
                  <a:gd name="connsiteX1" fmla="*/ 8307 w 27476"/>
                  <a:gd name="connsiteY1" fmla="*/ 30005 h 33835"/>
                  <a:gd name="connsiteX2" fmla="*/ 27477 w 27476"/>
                  <a:gd name="connsiteY2" fmla="*/ 17237 h 33835"/>
                  <a:gd name="connsiteX3" fmla="*/ 26838 w 27476"/>
                  <a:gd name="connsiteY3" fmla="*/ 0 h 33835"/>
                  <a:gd name="connsiteX4" fmla="*/ 0 w 27476"/>
                  <a:gd name="connsiteY4" fmla="*/ 28090 h 33835"/>
                  <a:gd name="connsiteX5" fmla="*/ 5751 w 27476"/>
                  <a:gd name="connsiteY5" fmla="*/ 33835 h 3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76" h="33835">
                    <a:moveTo>
                      <a:pt x="5751" y="33835"/>
                    </a:moveTo>
                    <a:cubicBezTo>
                      <a:pt x="6390" y="32559"/>
                      <a:pt x="7029" y="31282"/>
                      <a:pt x="8307" y="30005"/>
                    </a:cubicBezTo>
                    <a:lnTo>
                      <a:pt x="27477" y="17237"/>
                    </a:lnTo>
                    <a:lnTo>
                      <a:pt x="26838" y="0"/>
                    </a:lnTo>
                    <a:cubicBezTo>
                      <a:pt x="15336" y="6384"/>
                      <a:pt x="6390" y="15960"/>
                      <a:pt x="0" y="28090"/>
                    </a:cubicBezTo>
                    <a:lnTo>
                      <a:pt x="5751" y="33835"/>
                    </a:lnTo>
                    <a:close/>
                  </a:path>
                </a:pathLst>
              </a:custGeom>
              <a:grpFill/>
              <a:ln w="6390" cap="flat">
                <a:noFill/>
                <a:prstDash val="solid"/>
                <a:miter/>
              </a:ln>
            </p:spPr>
            <p:txBody>
              <a:bodyPr rtlCol="0" anchor="ctr"/>
              <a:lstStyle/>
              <a:p>
                <a:endParaRPr lang="es-BO" noProof="0" dirty="0"/>
              </a:p>
            </p:txBody>
          </p:sp>
          <p:sp>
            <p:nvSpPr>
              <p:cNvPr id="438" name="Graphic 4">
                <a:extLst>
                  <a:ext uri="{FF2B5EF4-FFF2-40B4-BE49-F238E27FC236}">
                    <a16:creationId xmlns:a16="http://schemas.microsoft.com/office/drawing/2014/main" xmlns="" id="{07BB3F2B-F4FD-9F6A-A377-9113C5088DE1}"/>
                  </a:ext>
                </a:extLst>
              </p:cNvPr>
              <p:cNvSpPr/>
              <p:nvPr/>
            </p:nvSpPr>
            <p:spPr>
              <a:xfrm>
                <a:off x="4045469" y="33396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21114 h 361971"/>
                  <a:gd name="connsiteX7" fmla="*/ 101600 w 362309"/>
                  <a:gd name="connsiteY7" fmla="*/ 234930 h 361971"/>
                  <a:gd name="connsiteX8" fmla="*/ 171889 w 362309"/>
                  <a:gd name="connsiteY8" fmla="*/ 155769 h 361971"/>
                  <a:gd name="connsiteX9" fmla="*/ 174446 w 362309"/>
                  <a:gd name="connsiteY9" fmla="*/ 146832 h 361971"/>
                  <a:gd name="connsiteX10" fmla="*/ 163583 w 362309"/>
                  <a:gd name="connsiteY10" fmla="*/ 136617 h 361971"/>
                  <a:gd name="connsiteX11" fmla="*/ 153998 w 362309"/>
                  <a:gd name="connsiteY11" fmla="*/ 141086 h 361971"/>
                  <a:gd name="connsiteX12" fmla="*/ 148886 w 362309"/>
                  <a:gd name="connsiteY12" fmla="*/ 141724 h 361971"/>
                  <a:gd name="connsiteX13" fmla="*/ 129716 w 362309"/>
                  <a:gd name="connsiteY13" fmla="*/ 134702 h 361971"/>
                  <a:gd name="connsiteX14" fmla="*/ 114380 w 362309"/>
                  <a:gd name="connsiteY14" fmla="*/ 109805 h 361971"/>
                  <a:gd name="connsiteX15" fmla="*/ 118214 w 362309"/>
                  <a:gd name="connsiteY15" fmla="*/ 102782 h 361971"/>
                  <a:gd name="connsiteX16" fmla="*/ 146969 w 362309"/>
                  <a:gd name="connsiteY16" fmla="*/ 100867 h 361971"/>
                  <a:gd name="connsiteX17" fmla="*/ 166138 w 362309"/>
                  <a:gd name="connsiteY17" fmla="*/ 116827 h 361971"/>
                  <a:gd name="connsiteX18" fmla="*/ 168056 w 362309"/>
                  <a:gd name="connsiteY18" fmla="*/ 125126 h 361971"/>
                  <a:gd name="connsiteX19" fmla="*/ 178918 w 362309"/>
                  <a:gd name="connsiteY19" fmla="*/ 133425 h 361971"/>
                  <a:gd name="connsiteX20" fmla="*/ 185308 w 362309"/>
                  <a:gd name="connsiteY20" fmla="*/ 120019 h 361971"/>
                  <a:gd name="connsiteX21" fmla="*/ 178918 w 362309"/>
                  <a:gd name="connsiteY21" fmla="*/ 90653 h 361971"/>
                  <a:gd name="connsiteX22" fmla="*/ 200644 w 362309"/>
                  <a:gd name="connsiteY22" fmla="*/ 60648 h 361971"/>
                  <a:gd name="connsiteX23" fmla="*/ 252403 w 362309"/>
                  <a:gd name="connsiteY23" fmla="*/ 49795 h 361971"/>
                  <a:gd name="connsiteX24" fmla="*/ 257515 w 362309"/>
                  <a:gd name="connsiteY24" fmla="*/ 55541 h 361971"/>
                  <a:gd name="connsiteX25" fmla="*/ 247291 w 362309"/>
                  <a:gd name="connsiteY25" fmla="*/ 106613 h 361971"/>
                  <a:gd name="connsiteX26" fmla="*/ 217897 w 362309"/>
                  <a:gd name="connsiteY26" fmla="*/ 128318 h 361971"/>
                  <a:gd name="connsiteX27" fmla="*/ 207034 w 362309"/>
                  <a:gd name="connsiteY27" fmla="*/ 129595 h 361971"/>
                  <a:gd name="connsiteX28" fmla="*/ 195532 w 362309"/>
                  <a:gd name="connsiteY28" fmla="*/ 127680 h 361971"/>
                  <a:gd name="connsiteX29" fmla="*/ 184669 w 362309"/>
                  <a:gd name="connsiteY29" fmla="*/ 155769 h 361971"/>
                  <a:gd name="connsiteX30" fmla="*/ 265822 w 362309"/>
                  <a:gd name="connsiteY30" fmla="*/ 240676 h 361971"/>
                  <a:gd name="connsiteX31" fmla="*/ 180836 w 362309"/>
                  <a:gd name="connsiteY31" fmla="*/ 321753 h 361971"/>
                  <a:gd name="connsiteX32" fmla="*/ 181474 w 362309"/>
                  <a:gd name="connsiteY32" fmla="*/ 32111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310" y="81077"/>
                      <a:pt x="281796" y="0"/>
                      <a:pt x="181474" y="0"/>
                    </a:cubicBezTo>
                    <a:close/>
                    <a:moveTo>
                      <a:pt x="181474" y="321114"/>
                    </a:moveTo>
                    <a:cubicBezTo>
                      <a:pt x="135467" y="319199"/>
                      <a:pt x="99683" y="280895"/>
                      <a:pt x="101600" y="234930"/>
                    </a:cubicBezTo>
                    <a:cubicBezTo>
                      <a:pt x="102878" y="195350"/>
                      <a:pt x="132911" y="162153"/>
                      <a:pt x="171889" y="155769"/>
                    </a:cubicBezTo>
                    <a:cubicBezTo>
                      <a:pt x="172528" y="152577"/>
                      <a:pt x="173806" y="149385"/>
                      <a:pt x="174446" y="146832"/>
                    </a:cubicBezTo>
                    <a:cubicBezTo>
                      <a:pt x="171889" y="143001"/>
                      <a:pt x="168056" y="139171"/>
                      <a:pt x="163583" y="136617"/>
                    </a:cubicBezTo>
                    <a:cubicBezTo>
                      <a:pt x="161027" y="139171"/>
                      <a:pt x="157832" y="140448"/>
                      <a:pt x="153998" y="141086"/>
                    </a:cubicBezTo>
                    <a:cubicBezTo>
                      <a:pt x="152081" y="141086"/>
                      <a:pt x="150803" y="141724"/>
                      <a:pt x="148886" y="141724"/>
                    </a:cubicBezTo>
                    <a:cubicBezTo>
                      <a:pt x="141857" y="141724"/>
                      <a:pt x="134828" y="139171"/>
                      <a:pt x="129716" y="134702"/>
                    </a:cubicBezTo>
                    <a:cubicBezTo>
                      <a:pt x="122048" y="128318"/>
                      <a:pt x="116936" y="119381"/>
                      <a:pt x="114380" y="109805"/>
                    </a:cubicBezTo>
                    <a:cubicBezTo>
                      <a:pt x="113741" y="106613"/>
                      <a:pt x="115658" y="104059"/>
                      <a:pt x="118214" y="102782"/>
                    </a:cubicBezTo>
                    <a:cubicBezTo>
                      <a:pt x="127160" y="99590"/>
                      <a:pt x="137384" y="98952"/>
                      <a:pt x="146969" y="100867"/>
                    </a:cubicBezTo>
                    <a:cubicBezTo>
                      <a:pt x="155276" y="102782"/>
                      <a:pt x="162305" y="108528"/>
                      <a:pt x="166138" y="116827"/>
                    </a:cubicBezTo>
                    <a:cubicBezTo>
                      <a:pt x="167416" y="119381"/>
                      <a:pt x="168056" y="122573"/>
                      <a:pt x="168056" y="125126"/>
                    </a:cubicBezTo>
                    <a:cubicBezTo>
                      <a:pt x="171889" y="127680"/>
                      <a:pt x="175084" y="130233"/>
                      <a:pt x="178918" y="133425"/>
                    </a:cubicBezTo>
                    <a:cubicBezTo>
                      <a:pt x="180836" y="128957"/>
                      <a:pt x="182752" y="124488"/>
                      <a:pt x="185308" y="120019"/>
                    </a:cubicBezTo>
                    <a:cubicBezTo>
                      <a:pt x="178918" y="111720"/>
                      <a:pt x="176363" y="100867"/>
                      <a:pt x="178918" y="90653"/>
                    </a:cubicBezTo>
                    <a:cubicBezTo>
                      <a:pt x="181474" y="77885"/>
                      <a:pt x="189781" y="67670"/>
                      <a:pt x="200644" y="60648"/>
                    </a:cubicBezTo>
                    <a:cubicBezTo>
                      <a:pt x="216619" y="51710"/>
                      <a:pt x="234511" y="47880"/>
                      <a:pt x="252403" y="49795"/>
                    </a:cubicBezTo>
                    <a:cubicBezTo>
                      <a:pt x="254959" y="50434"/>
                      <a:pt x="257515" y="52349"/>
                      <a:pt x="257515" y="55541"/>
                    </a:cubicBezTo>
                    <a:cubicBezTo>
                      <a:pt x="258792" y="73416"/>
                      <a:pt x="254959" y="90653"/>
                      <a:pt x="247291" y="106613"/>
                    </a:cubicBezTo>
                    <a:cubicBezTo>
                      <a:pt x="240901" y="117465"/>
                      <a:pt x="230677" y="125126"/>
                      <a:pt x="217897" y="128318"/>
                    </a:cubicBezTo>
                    <a:cubicBezTo>
                      <a:pt x="214063" y="128957"/>
                      <a:pt x="210868" y="129595"/>
                      <a:pt x="207034" y="129595"/>
                    </a:cubicBezTo>
                    <a:cubicBezTo>
                      <a:pt x="203200" y="129595"/>
                      <a:pt x="199366" y="128957"/>
                      <a:pt x="195532" y="127680"/>
                    </a:cubicBezTo>
                    <a:cubicBezTo>
                      <a:pt x="191059" y="136617"/>
                      <a:pt x="187225" y="146193"/>
                      <a:pt x="184669" y="155769"/>
                    </a:cubicBezTo>
                    <a:cubicBezTo>
                      <a:pt x="230677" y="157046"/>
                      <a:pt x="267100" y="194711"/>
                      <a:pt x="265822" y="240676"/>
                    </a:cubicBezTo>
                    <a:cubicBezTo>
                      <a:pt x="264544" y="286641"/>
                      <a:pt x="226843" y="323029"/>
                      <a:pt x="180836" y="321753"/>
                    </a:cubicBezTo>
                    <a:lnTo>
                      <a:pt x="181474" y="321114"/>
                    </a:lnTo>
                    <a:close/>
                  </a:path>
                </a:pathLst>
              </a:custGeom>
              <a:grpFill/>
              <a:ln w="6390" cap="flat">
                <a:noFill/>
                <a:prstDash val="solid"/>
                <a:miter/>
              </a:ln>
            </p:spPr>
            <p:txBody>
              <a:bodyPr rtlCol="0" anchor="ctr"/>
              <a:lstStyle/>
              <a:p>
                <a:endParaRPr lang="es-BO" noProof="0" dirty="0"/>
              </a:p>
            </p:txBody>
          </p:sp>
          <p:sp>
            <p:nvSpPr>
              <p:cNvPr id="439" name="Graphic 4">
                <a:extLst>
                  <a:ext uri="{FF2B5EF4-FFF2-40B4-BE49-F238E27FC236}">
                    <a16:creationId xmlns:a16="http://schemas.microsoft.com/office/drawing/2014/main" xmlns="" id="{37BE2894-0D58-D7ED-A7D7-9D599607BF7B}"/>
                  </a:ext>
                </a:extLst>
              </p:cNvPr>
              <p:cNvSpPr/>
              <p:nvPr/>
            </p:nvSpPr>
            <p:spPr>
              <a:xfrm>
                <a:off x="4155369" y="3508161"/>
                <a:ext cx="140584" cy="141730"/>
              </a:xfrm>
              <a:custGeom>
                <a:avLst/>
                <a:gdLst>
                  <a:gd name="connsiteX0" fmla="*/ 131000 w 140584"/>
                  <a:gd name="connsiteY0" fmla="*/ 92568 h 141730"/>
                  <a:gd name="connsiteX1" fmla="*/ 130361 w 140584"/>
                  <a:gd name="connsiteY1" fmla="*/ 93206 h 141730"/>
                  <a:gd name="connsiteX2" fmla="*/ 122054 w 140584"/>
                  <a:gd name="connsiteY2" fmla="*/ 104697 h 141730"/>
                  <a:gd name="connsiteX3" fmla="*/ 116942 w 140584"/>
                  <a:gd name="connsiteY3" fmla="*/ 107251 h 141730"/>
                  <a:gd name="connsiteX4" fmla="*/ 115664 w 140584"/>
                  <a:gd name="connsiteY4" fmla="*/ 107251 h 141730"/>
                  <a:gd name="connsiteX5" fmla="*/ 110552 w 140584"/>
                  <a:gd name="connsiteY5" fmla="*/ 102144 h 141730"/>
                  <a:gd name="connsiteX6" fmla="*/ 104801 w 140584"/>
                  <a:gd name="connsiteY6" fmla="*/ 74692 h 141730"/>
                  <a:gd name="connsiteX7" fmla="*/ 101606 w 140584"/>
                  <a:gd name="connsiteY7" fmla="*/ 74692 h 141730"/>
                  <a:gd name="connsiteX8" fmla="*/ 99690 w 140584"/>
                  <a:gd name="connsiteY8" fmla="*/ 74054 h 141730"/>
                  <a:gd name="connsiteX9" fmla="*/ 84992 w 140584"/>
                  <a:gd name="connsiteY9" fmla="*/ 59371 h 141730"/>
                  <a:gd name="connsiteX10" fmla="*/ 94577 w 140584"/>
                  <a:gd name="connsiteY10" fmla="*/ 40219 h 141730"/>
                  <a:gd name="connsiteX11" fmla="*/ 97772 w 140584"/>
                  <a:gd name="connsiteY11" fmla="*/ 38942 h 141730"/>
                  <a:gd name="connsiteX12" fmla="*/ 116942 w 140584"/>
                  <a:gd name="connsiteY12" fmla="*/ 37027 h 141730"/>
                  <a:gd name="connsiteX13" fmla="*/ 119498 w 140584"/>
                  <a:gd name="connsiteY13" fmla="*/ 32558 h 141730"/>
                  <a:gd name="connsiteX14" fmla="*/ 99050 w 140584"/>
                  <a:gd name="connsiteY14" fmla="*/ 33835 h 141730"/>
                  <a:gd name="connsiteX15" fmla="*/ 93938 w 140584"/>
                  <a:gd name="connsiteY15" fmla="*/ 31920 h 141730"/>
                  <a:gd name="connsiteX16" fmla="*/ 88827 w 140584"/>
                  <a:gd name="connsiteY16" fmla="*/ 26812 h 141730"/>
                  <a:gd name="connsiteX17" fmla="*/ 87549 w 140584"/>
                  <a:gd name="connsiteY17" fmla="*/ 19790 h 141730"/>
                  <a:gd name="connsiteX18" fmla="*/ 94577 w 140584"/>
                  <a:gd name="connsiteY18" fmla="*/ 4468 h 141730"/>
                  <a:gd name="connsiteX19" fmla="*/ 70935 w 140584"/>
                  <a:gd name="connsiteY19" fmla="*/ 0 h 141730"/>
                  <a:gd name="connsiteX20" fmla="*/ 48570 w 140584"/>
                  <a:gd name="connsiteY20" fmla="*/ 3830 h 141730"/>
                  <a:gd name="connsiteX21" fmla="*/ 49209 w 140584"/>
                  <a:gd name="connsiteY21" fmla="*/ 30004 h 141730"/>
                  <a:gd name="connsiteX22" fmla="*/ 46653 w 140584"/>
                  <a:gd name="connsiteY22" fmla="*/ 35750 h 141730"/>
                  <a:gd name="connsiteX23" fmla="*/ 28122 w 140584"/>
                  <a:gd name="connsiteY23" fmla="*/ 48518 h 141730"/>
                  <a:gd name="connsiteX24" fmla="*/ 28761 w 140584"/>
                  <a:gd name="connsiteY24" fmla="*/ 52987 h 141730"/>
                  <a:gd name="connsiteX25" fmla="*/ 39624 w 140584"/>
                  <a:gd name="connsiteY25" fmla="*/ 52348 h 141730"/>
                  <a:gd name="connsiteX26" fmla="*/ 42819 w 140584"/>
                  <a:gd name="connsiteY26" fmla="*/ 52987 h 141730"/>
                  <a:gd name="connsiteX27" fmla="*/ 69018 w 140584"/>
                  <a:gd name="connsiteY27" fmla="*/ 66393 h 141730"/>
                  <a:gd name="connsiteX28" fmla="*/ 72213 w 140584"/>
                  <a:gd name="connsiteY28" fmla="*/ 70224 h 141730"/>
                  <a:gd name="connsiteX29" fmla="*/ 71574 w 140584"/>
                  <a:gd name="connsiteY29" fmla="*/ 75331 h 141730"/>
                  <a:gd name="connsiteX30" fmla="*/ 46014 w 140584"/>
                  <a:gd name="connsiteY30" fmla="*/ 121296 h 141730"/>
                  <a:gd name="connsiteX31" fmla="*/ 40263 w 140584"/>
                  <a:gd name="connsiteY31" fmla="*/ 124488 h 141730"/>
                  <a:gd name="connsiteX32" fmla="*/ 39624 w 140584"/>
                  <a:gd name="connsiteY32" fmla="*/ 124488 h 141730"/>
                  <a:gd name="connsiteX33" fmla="*/ 34512 w 140584"/>
                  <a:gd name="connsiteY33" fmla="*/ 120019 h 141730"/>
                  <a:gd name="connsiteX34" fmla="*/ 26205 w 140584"/>
                  <a:gd name="connsiteY34" fmla="*/ 90652 h 141730"/>
                  <a:gd name="connsiteX35" fmla="*/ 15342 w 140584"/>
                  <a:gd name="connsiteY35" fmla="*/ 84268 h 141730"/>
                  <a:gd name="connsiteX36" fmla="*/ 12147 w 140584"/>
                  <a:gd name="connsiteY36" fmla="*/ 77884 h 141730"/>
                  <a:gd name="connsiteX37" fmla="*/ 15342 w 140584"/>
                  <a:gd name="connsiteY37" fmla="*/ 62563 h 141730"/>
                  <a:gd name="connsiteX38" fmla="*/ 3201 w 140584"/>
                  <a:gd name="connsiteY38" fmla="*/ 50433 h 141730"/>
                  <a:gd name="connsiteX39" fmla="*/ 49209 w 140584"/>
                  <a:gd name="connsiteY39" fmla="*/ 138532 h 141730"/>
                  <a:gd name="connsiteX40" fmla="*/ 137390 w 140584"/>
                  <a:gd name="connsiteY40" fmla="*/ 92568 h 141730"/>
                  <a:gd name="connsiteX41" fmla="*/ 140585 w 140584"/>
                  <a:gd name="connsiteY41" fmla="*/ 74054 h 141730"/>
                  <a:gd name="connsiteX42" fmla="*/ 131000 w 140584"/>
                  <a:gd name="connsiteY42" fmla="*/ 92568 h 14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0584" h="141730">
                    <a:moveTo>
                      <a:pt x="131000" y="92568"/>
                    </a:moveTo>
                    <a:lnTo>
                      <a:pt x="130361" y="93206"/>
                    </a:lnTo>
                    <a:lnTo>
                      <a:pt x="122054" y="104697"/>
                    </a:lnTo>
                    <a:cubicBezTo>
                      <a:pt x="120776" y="106612"/>
                      <a:pt x="118859" y="107251"/>
                      <a:pt x="116942" y="107251"/>
                    </a:cubicBezTo>
                    <a:lnTo>
                      <a:pt x="115664" y="107251"/>
                    </a:lnTo>
                    <a:cubicBezTo>
                      <a:pt x="113108" y="106612"/>
                      <a:pt x="111191" y="104697"/>
                      <a:pt x="110552" y="102144"/>
                    </a:cubicBezTo>
                    <a:lnTo>
                      <a:pt x="104801" y="74692"/>
                    </a:lnTo>
                    <a:lnTo>
                      <a:pt x="101606" y="74692"/>
                    </a:lnTo>
                    <a:lnTo>
                      <a:pt x="99690" y="74054"/>
                    </a:lnTo>
                    <a:cubicBezTo>
                      <a:pt x="98411" y="73416"/>
                      <a:pt x="86910" y="68947"/>
                      <a:pt x="84992" y="59371"/>
                    </a:cubicBezTo>
                    <a:cubicBezTo>
                      <a:pt x="84354" y="51710"/>
                      <a:pt x="88187" y="44049"/>
                      <a:pt x="94577" y="40219"/>
                    </a:cubicBezTo>
                    <a:cubicBezTo>
                      <a:pt x="95217" y="39580"/>
                      <a:pt x="96495" y="38942"/>
                      <a:pt x="97772" y="38942"/>
                    </a:cubicBezTo>
                    <a:lnTo>
                      <a:pt x="116942" y="37027"/>
                    </a:lnTo>
                    <a:lnTo>
                      <a:pt x="119498" y="32558"/>
                    </a:lnTo>
                    <a:lnTo>
                      <a:pt x="99050" y="33835"/>
                    </a:lnTo>
                    <a:cubicBezTo>
                      <a:pt x="97133" y="33835"/>
                      <a:pt x="95855" y="33196"/>
                      <a:pt x="93938" y="31920"/>
                    </a:cubicBezTo>
                    <a:lnTo>
                      <a:pt x="88827" y="26812"/>
                    </a:lnTo>
                    <a:cubicBezTo>
                      <a:pt x="86910" y="24897"/>
                      <a:pt x="86270" y="22344"/>
                      <a:pt x="87549" y="19790"/>
                    </a:cubicBezTo>
                    <a:lnTo>
                      <a:pt x="94577" y="4468"/>
                    </a:lnTo>
                    <a:cubicBezTo>
                      <a:pt x="86910" y="1915"/>
                      <a:pt x="79242" y="0"/>
                      <a:pt x="70935" y="0"/>
                    </a:cubicBezTo>
                    <a:cubicBezTo>
                      <a:pt x="63267" y="0"/>
                      <a:pt x="55599" y="1276"/>
                      <a:pt x="48570" y="3830"/>
                    </a:cubicBezTo>
                    <a:lnTo>
                      <a:pt x="49209" y="30004"/>
                    </a:lnTo>
                    <a:cubicBezTo>
                      <a:pt x="49209" y="31920"/>
                      <a:pt x="48570" y="34473"/>
                      <a:pt x="46653" y="35750"/>
                    </a:cubicBezTo>
                    <a:lnTo>
                      <a:pt x="28122" y="48518"/>
                    </a:lnTo>
                    <a:lnTo>
                      <a:pt x="28761" y="52987"/>
                    </a:lnTo>
                    <a:lnTo>
                      <a:pt x="39624" y="52348"/>
                    </a:lnTo>
                    <a:cubicBezTo>
                      <a:pt x="40902" y="52348"/>
                      <a:pt x="42180" y="52348"/>
                      <a:pt x="42819" y="52987"/>
                    </a:cubicBezTo>
                    <a:lnTo>
                      <a:pt x="69018" y="66393"/>
                    </a:lnTo>
                    <a:cubicBezTo>
                      <a:pt x="70296" y="67032"/>
                      <a:pt x="71574" y="68308"/>
                      <a:pt x="72213" y="70224"/>
                    </a:cubicBezTo>
                    <a:cubicBezTo>
                      <a:pt x="72852" y="72139"/>
                      <a:pt x="72852" y="73416"/>
                      <a:pt x="71574" y="75331"/>
                    </a:cubicBezTo>
                    <a:lnTo>
                      <a:pt x="46014" y="121296"/>
                    </a:lnTo>
                    <a:cubicBezTo>
                      <a:pt x="44736" y="123211"/>
                      <a:pt x="42819" y="124488"/>
                      <a:pt x="40263" y="124488"/>
                    </a:cubicBezTo>
                    <a:lnTo>
                      <a:pt x="39624" y="124488"/>
                    </a:lnTo>
                    <a:cubicBezTo>
                      <a:pt x="37068" y="124488"/>
                      <a:pt x="35151" y="122572"/>
                      <a:pt x="34512" y="120019"/>
                    </a:cubicBezTo>
                    <a:lnTo>
                      <a:pt x="26205" y="90652"/>
                    </a:lnTo>
                    <a:lnTo>
                      <a:pt x="15342" y="84268"/>
                    </a:lnTo>
                    <a:cubicBezTo>
                      <a:pt x="13425" y="82992"/>
                      <a:pt x="12147" y="80438"/>
                      <a:pt x="12147" y="77884"/>
                    </a:cubicBezTo>
                    <a:lnTo>
                      <a:pt x="15342" y="62563"/>
                    </a:lnTo>
                    <a:lnTo>
                      <a:pt x="3201" y="50433"/>
                    </a:lnTo>
                    <a:cubicBezTo>
                      <a:pt x="-8301" y="87460"/>
                      <a:pt x="12147" y="127041"/>
                      <a:pt x="49209" y="138532"/>
                    </a:cubicBezTo>
                    <a:cubicBezTo>
                      <a:pt x="86270" y="150024"/>
                      <a:pt x="125888" y="129595"/>
                      <a:pt x="137390" y="92568"/>
                    </a:cubicBezTo>
                    <a:cubicBezTo>
                      <a:pt x="139307" y="86822"/>
                      <a:pt x="140585" y="80438"/>
                      <a:pt x="140585" y="74054"/>
                    </a:cubicBezTo>
                    <a:lnTo>
                      <a:pt x="131000" y="92568"/>
                    </a:lnTo>
                    <a:close/>
                  </a:path>
                </a:pathLst>
              </a:custGeom>
              <a:grpFill/>
              <a:ln w="6390" cap="flat">
                <a:noFill/>
                <a:prstDash val="solid"/>
                <a:miter/>
              </a:ln>
            </p:spPr>
            <p:txBody>
              <a:bodyPr rtlCol="0" anchor="ctr"/>
              <a:lstStyle/>
              <a:p>
                <a:endParaRPr lang="es-BO" noProof="0" dirty="0"/>
              </a:p>
            </p:txBody>
          </p:sp>
        </p:grpSp>
        <p:grpSp>
          <p:nvGrpSpPr>
            <p:cNvPr id="445" name="Group 444">
              <a:extLst>
                <a:ext uri="{FF2B5EF4-FFF2-40B4-BE49-F238E27FC236}">
                  <a16:creationId xmlns:a16="http://schemas.microsoft.com/office/drawing/2014/main" xmlns="" id="{AF77F314-8989-2D9E-2DE1-71AE141E7D18}"/>
                </a:ext>
              </a:extLst>
            </p:cNvPr>
            <p:cNvGrpSpPr/>
            <p:nvPr/>
          </p:nvGrpSpPr>
          <p:grpSpPr>
            <a:xfrm>
              <a:off x="6785290" y="3408731"/>
              <a:ext cx="910798" cy="910796"/>
              <a:chOff x="6408911" y="5446323"/>
              <a:chExt cx="398540" cy="361971"/>
            </a:xfrm>
            <a:solidFill>
              <a:srgbClr val="0A626C"/>
            </a:solidFill>
          </p:grpSpPr>
          <p:sp>
            <p:nvSpPr>
              <p:cNvPr id="446" name="Graphic 1100">
                <a:extLst>
                  <a:ext uri="{FF2B5EF4-FFF2-40B4-BE49-F238E27FC236}">
                    <a16:creationId xmlns:a16="http://schemas.microsoft.com/office/drawing/2014/main" xmlns="" id="{BA811A3F-ABF8-A6BE-07BC-5155AC929285}"/>
                  </a:ext>
                </a:extLst>
              </p:cNvPr>
              <p:cNvSpPr/>
              <p:nvPr/>
            </p:nvSpPr>
            <p:spPr>
              <a:xfrm>
                <a:off x="6576200" y="5602092"/>
                <a:ext cx="59043" cy="53625"/>
              </a:xfrm>
              <a:custGeom>
                <a:avLst/>
                <a:gdLst>
                  <a:gd name="connsiteX0" fmla="*/ 26837 w 53675"/>
                  <a:gd name="connsiteY0" fmla="*/ 53626 h 53625"/>
                  <a:gd name="connsiteX1" fmla="*/ 53675 w 53675"/>
                  <a:gd name="connsiteY1" fmla="*/ 26813 h 53625"/>
                  <a:gd name="connsiteX2" fmla="*/ 26837 w 53675"/>
                  <a:gd name="connsiteY2" fmla="*/ 0 h 53625"/>
                  <a:gd name="connsiteX3" fmla="*/ 0 w 53675"/>
                  <a:gd name="connsiteY3" fmla="*/ 26813 h 53625"/>
                  <a:gd name="connsiteX4" fmla="*/ 7668 w 53675"/>
                  <a:gd name="connsiteY4" fmla="*/ 45965 h 53625"/>
                  <a:gd name="connsiteX5" fmla="*/ 26837 w 53675"/>
                  <a:gd name="connsiteY5" fmla="*/ 53626 h 5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75" h="53625">
                    <a:moveTo>
                      <a:pt x="26837" y="53626"/>
                    </a:moveTo>
                    <a:cubicBezTo>
                      <a:pt x="41535" y="53626"/>
                      <a:pt x="53675" y="41496"/>
                      <a:pt x="53675" y="26813"/>
                    </a:cubicBezTo>
                    <a:cubicBezTo>
                      <a:pt x="53675" y="12130"/>
                      <a:pt x="41535" y="0"/>
                      <a:pt x="26837" y="0"/>
                    </a:cubicBezTo>
                    <a:cubicBezTo>
                      <a:pt x="12141" y="0"/>
                      <a:pt x="0" y="12130"/>
                      <a:pt x="0" y="26813"/>
                    </a:cubicBezTo>
                    <a:cubicBezTo>
                      <a:pt x="0" y="33835"/>
                      <a:pt x="2556" y="40858"/>
                      <a:pt x="7668" y="45965"/>
                    </a:cubicBezTo>
                    <a:cubicBezTo>
                      <a:pt x="13419" y="51072"/>
                      <a:pt x="19809" y="53626"/>
                      <a:pt x="26837" y="53626"/>
                    </a:cubicBezTo>
                    <a:close/>
                  </a:path>
                </a:pathLst>
              </a:custGeom>
              <a:grpFill/>
              <a:ln w="6390" cap="flat">
                <a:noFill/>
                <a:prstDash val="solid"/>
                <a:miter/>
              </a:ln>
            </p:spPr>
            <p:txBody>
              <a:bodyPr rtlCol="0" anchor="ctr"/>
              <a:lstStyle/>
              <a:p>
                <a:endParaRPr lang="es-BO" sz="1600" noProof="0" dirty="0"/>
              </a:p>
            </p:txBody>
          </p:sp>
          <p:sp>
            <p:nvSpPr>
              <p:cNvPr id="447" name="Graphic 1100">
                <a:extLst>
                  <a:ext uri="{FF2B5EF4-FFF2-40B4-BE49-F238E27FC236}">
                    <a16:creationId xmlns:a16="http://schemas.microsoft.com/office/drawing/2014/main" xmlns="" id="{2035E026-BE85-5E73-4198-B9885255AE37}"/>
                  </a:ext>
                </a:extLst>
              </p:cNvPr>
              <p:cNvSpPr/>
              <p:nvPr/>
            </p:nvSpPr>
            <p:spPr>
              <a:xfrm>
                <a:off x="6653518" y="5539529"/>
                <a:ext cx="23195" cy="21705"/>
              </a:xfrm>
              <a:custGeom>
                <a:avLst/>
                <a:gdLst>
                  <a:gd name="connsiteX0" fmla="*/ 0 w 21086"/>
                  <a:gd name="connsiteY0" fmla="*/ 0 h 21705"/>
                  <a:gd name="connsiteX1" fmla="*/ 0 w 21086"/>
                  <a:gd name="connsiteY1" fmla="*/ 21706 h 21705"/>
                  <a:gd name="connsiteX2" fmla="*/ 21087 w 21086"/>
                  <a:gd name="connsiteY2" fmla="*/ 21706 h 21705"/>
                </a:gdLst>
                <a:ahLst/>
                <a:cxnLst>
                  <a:cxn ang="0">
                    <a:pos x="connsiteX0" y="connsiteY0"/>
                  </a:cxn>
                  <a:cxn ang="0">
                    <a:pos x="connsiteX1" y="connsiteY1"/>
                  </a:cxn>
                  <a:cxn ang="0">
                    <a:pos x="connsiteX2" y="connsiteY2"/>
                  </a:cxn>
                </a:cxnLst>
                <a:rect l="l" t="t" r="r" b="b"/>
                <a:pathLst>
                  <a:path w="21086" h="21705">
                    <a:moveTo>
                      <a:pt x="0" y="0"/>
                    </a:moveTo>
                    <a:lnTo>
                      <a:pt x="0" y="21706"/>
                    </a:lnTo>
                    <a:lnTo>
                      <a:pt x="21087" y="21706"/>
                    </a:lnTo>
                    <a:close/>
                  </a:path>
                </a:pathLst>
              </a:custGeom>
              <a:grpFill/>
              <a:ln w="6390" cap="flat">
                <a:noFill/>
                <a:prstDash val="solid"/>
                <a:miter/>
              </a:ln>
            </p:spPr>
            <p:txBody>
              <a:bodyPr rtlCol="0" anchor="ctr"/>
              <a:lstStyle/>
              <a:p>
                <a:endParaRPr lang="es-BO" sz="1600" noProof="0" dirty="0"/>
              </a:p>
            </p:txBody>
          </p:sp>
          <p:sp>
            <p:nvSpPr>
              <p:cNvPr id="448" name="Graphic 1100">
                <a:extLst>
                  <a:ext uri="{FF2B5EF4-FFF2-40B4-BE49-F238E27FC236}">
                    <a16:creationId xmlns:a16="http://schemas.microsoft.com/office/drawing/2014/main" xmlns="" id="{D3A4EAE3-B95F-2910-8573-5C3E7295483C}"/>
                  </a:ext>
                </a:extLst>
              </p:cNvPr>
              <p:cNvSpPr/>
              <p:nvPr/>
            </p:nvSpPr>
            <p:spPr>
              <a:xfrm>
                <a:off x="6532620" y="5674231"/>
                <a:ext cx="23195" cy="21067"/>
              </a:xfrm>
              <a:custGeom>
                <a:avLst/>
                <a:gdLst>
                  <a:gd name="connsiteX0" fmla="*/ 21087 w 21086"/>
                  <a:gd name="connsiteY0" fmla="*/ 1916 h 21067"/>
                  <a:gd name="connsiteX1" fmla="*/ 20448 w 21086"/>
                  <a:gd name="connsiteY1" fmla="*/ 639 h 21067"/>
                  <a:gd name="connsiteX2" fmla="*/ 20448 w 21086"/>
                  <a:gd name="connsiteY2" fmla="*/ 639 h 21067"/>
                  <a:gd name="connsiteX3" fmla="*/ 20448 w 21086"/>
                  <a:gd name="connsiteY3" fmla="*/ 639 h 21067"/>
                  <a:gd name="connsiteX4" fmla="*/ 19809 w 21086"/>
                  <a:gd name="connsiteY4" fmla="*/ 0 h 21067"/>
                  <a:gd name="connsiteX5" fmla="*/ 0 w 21086"/>
                  <a:gd name="connsiteY5" fmla="*/ 19791 h 21067"/>
                  <a:gd name="connsiteX6" fmla="*/ 1917 w 21086"/>
                  <a:gd name="connsiteY6" fmla="*/ 21067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21067">
                    <a:moveTo>
                      <a:pt x="21087" y="1916"/>
                    </a:moveTo>
                    <a:lnTo>
                      <a:pt x="20448" y="639"/>
                    </a:lnTo>
                    <a:lnTo>
                      <a:pt x="20448" y="639"/>
                    </a:lnTo>
                    <a:lnTo>
                      <a:pt x="20448" y="639"/>
                    </a:lnTo>
                    <a:lnTo>
                      <a:pt x="19809" y="0"/>
                    </a:lnTo>
                    <a:lnTo>
                      <a:pt x="0" y="19791"/>
                    </a:lnTo>
                    <a:lnTo>
                      <a:pt x="1917" y="21067"/>
                    </a:lnTo>
                    <a:close/>
                  </a:path>
                </a:pathLst>
              </a:custGeom>
              <a:grpFill/>
              <a:ln w="6390" cap="flat">
                <a:noFill/>
                <a:prstDash val="solid"/>
                <a:miter/>
              </a:ln>
            </p:spPr>
            <p:txBody>
              <a:bodyPr rtlCol="0" anchor="ctr"/>
              <a:lstStyle/>
              <a:p>
                <a:endParaRPr lang="es-BO" sz="1600" noProof="0" dirty="0"/>
              </a:p>
            </p:txBody>
          </p:sp>
          <p:sp>
            <p:nvSpPr>
              <p:cNvPr id="449" name="Graphic 1100">
                <a:extLst>
                  <a:ext uri="{FF2B5EF4-FFF2-40B4-BE49-F238E27FC236}">
                    <a16:creationId xmlns:a16="http://schemas.microsoft.com/office/drawing/2014/main" xmlns="" id="{6AA49F58-773E-F3D6-559E-640F1E8D1149}"/>
                  </a:ext>
                </a:extLst>
              </p:cNvPr>
              <p:cNvSpPr/>
              <p:nvPr/>
            </p:nvSpPr>
            <p:spPr>
              <a:xfrm>
                <a:off x="6408911" y="5446323"/>
                <a:ext cx="398540"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99044 w 362309"/>
                  <a:gd name="connsiteY6" fmla="*/ 243230 h 361971"/>
                  <a:gd name="connsiteX7" fmla="*/ 127799 w 362309"/>
                  <a:gd name="connsiteY7" fmla="*/ 214502 h 361971"/>
                  <a:gd name="connsiteX8" fmla="*/ 132272 w 362309"/>
                  <a:gd name="connsiteY8" fmla="*/ 212587 h 361971"/>
                  <a:gd name="connsiteX9" fmla="*/ 136745 w 362309"/>
                  <a:gd name="connsiteY9" fmla="*/ 214502 h 361971"/>
                  <a:gd name="connsiteX10" fmla="*/ 137384 w 362309"/>
                  <a:gd name="connsiteY10" fmla="*/ 215140 h 361971"/>
                  <a:gd name="connsiteX11" fmla="*/ 146969 w 362309"/>
                  <a:gd name="connsiteY11" fmla="*/ 205564 h 361971"/>
                  <a:gd name="connsiteX12" fmla="*/ 151442 w 362309"/>
                  <a:gd name="connsiteY12" fmla="*/ 155131 h 361971"/>
                  <a:gd name="connsiteX13" fmla="*/ 207034 w 362309"/>
                  <a:gd name="connsiteY13" fmla="*/ 156408 h 361971"/>
                  <a:gd name="connsiteX14" fmla="*/ 207034 w 362309"/>
                  <a:gd name="connsiteY14" fmla="*/ 210671 h 361971"/>
                  <a:gd name="connsiteX15" fmla="*/ 156553 w 362309"/>
                  <a:gd name="connsiteY15" fmla="*/ 215140 h 361971"/>
                  <a:gd name="connsiteX16" fmla="*/ 146969 w 362309"/>
                  <a:gd name="connsiteY16" fmla="*/ 224716 h 361971"/>
                  <a:gd name="connsiteX17" fmla="*/ 147608 w 362309"/>
                  <a:gd name="connsiteY17" fmla="*/ 225355 h 361971"/>
                  <a:gd name="connsiteX18" fmla="*/ 147608 w 362309"/>
                  <a:gd name="connsiteY18" fmla="*/ 234292 h 361971"/>
                  <a:gd name="connsiteX19" fmla="*/ 118853 w 362309"/>
                  <a:gd name="connsiteY19" fmla="*/ 263020 h 361971"/>
                  <a:gd name="connsiteX20" fmla="*/ 114380 w 362309"/>
                  <a:gd name="connsiteY20" fmla="*/ 264935 h 361971"/>
                  <a:gd name="connsiteX21" fmla="*/ 109907 w 362309"/>
                  <a:gd name="connsiteY21" fmla="*/ 263020 h 361971"/>
                  <a:gd name="connsiteX22" fmla="*/ 99044 w 362309"/>
                  <a:gd name="connsiteY22" fmla="*/ 252167 h 361971"/>
                  <a:gd name="connsiteX23" fmla="*/ 99044 w 362309"/>
                  <a:gd name="connsiteY23" fmla="*/ 243230 h 361971"/>
                  <a:gd name="connsiteX24" fmla="*/ 99044 w 362309"/>
                  <a:gd name="connsiteY24" fmla="*/ 243230 h 361971"/>
                  <a:gd name="connsiteX25" fmla="*/ 265822 w 362309"/>
                  <a:gd name="connsiteY25" fmla="*/ 284087 h 361971"/>
                  <a:gd name="connsiteX26" fmla="*/ 259432 w 362309"/>
                  <a:gd name="connsiteY26" fmla="*/ 290471 h 361971"/>
                  <a:gd name="connsiteX27" fmla="*/ 111824 w 362309"/>
                  <a:gd name="connsiteY27" fmla="*/ 290471 h 361971"/>
                  <a:gd name="connsiteX28" fmla="*/ 105434 w 362309"/>
                  <a:gd name="connsiteY28" fmla="*/ 284087 h 361971"/>
                  <a:gd name="connsiteX29" fmla="*/ 105434 w 362309"/>
                  <a:gd name="connsiteY29" fmla="*/ 278980 h 361971"/>
                  <a:gd name="connsiteX30" fmla="*/ 111185 w 362309"/>
                  <a:gd name="connsiteY30" fmla="*/ 271958 h 361971"/>
                  <a:gd name="connsiteX31" fmla="*/ 118214 w 362309"/>
                  <a:gd name="connsiteY31" fmla="*/ 277703 h 361971"/>
                  <a:gd name="connsiteX32" fmla="*/ 253681 w 362309"/>
                  <a:gd name="connsiteY32" fmla="*/ 277703 h 361971"/>
                  <a:gd name="connsiteX33" fmla="*/ 253681 w 362309"/>
                  <a:gd name="connsiteY33" fmla="*/ 127680 h 361971"/>
                  <a:gd name="connsiteX34" fmla="*/ 216619 w 362309"/>
                  <a:gd name="connsiteY34" fmla="*/ 127680 h 361971"/>
                  <a:gd name="connsiteX35" fmla="*/ 210229 w 362309"/>
                  <a:gd name="connsiteY35" fmla="*/ 121296 h 361971"/>
                  <a:gd name="connsiteX36" fmla="*/ 210229 w 362309"/>
                  <a:gd name="connsiteY36" fmla="*/ 84268 h 361971"/>
                  <a:gd name="connsiteX37" fmla="*/ 118214 w 362309"/>
                  <a:gd name="connsiteY37" fmla="*/ 84268 h 361971"/>
                  <a:gd name="connsiteX38" fmla="*/ 118214 w 362309"/>
                  <a:gd name="connsiteY38" fmla="*/ 211948 h 361971"/>
                  <a:gd name="connsiteX39" fmla="*/ 111824 w 362309"/>
                  <a:gd name="connsiteY39" fmla="*/ 218332 h 361971"/>
                  <a:gd name="connsiteX40" fmla="*/ 105434 w 362309"/>
                  <a:gd name="connsiteY40" fmla="*/ 211948 h 361971"/>
                  <a:gd name="connsiteX41" fmla="*/ 105434 w 362309"/>
                  <a:gd name="connsiteY41" fmla="*/ 77884 h 361971"/>
                  <a:gd name="connsiteX42" fmla="*/ 111824 w 362309"/>
                  <a:gd name="connsiteY42" fmla="*/ 71500 h 361971"/>
                  <a:gd name="connsiteX43" fmla="*/ 216619 w 362309"/>
                  <a:gd name="connsiteY43" fmla="*/ 71500 h 361971"/>
                  <a:gd name="connsiteX44" fmla="*/ 218536 w 362309"/>
                  <a:gd name="connsiteY44" fmla="*/ 72139 h 361971"/>
                  <a:gd name="connsiteX45" fmla="*/ 220453 w 362309"/>
                  <a:gd name="connsiteY45" fmla="*/ 73416 h 361971"/>
                  <a:gd name="connsiteX46" fmla="*/ 263905 w 362309"/>
                  <a:gd name="connsiteY46" fmla="*/ 116827 h 361971"/>
                  <a:gd name="connsiteX47" fmla="*/ 265822 w 362309"/>
                  <a:gd name="connsiteY47" fmla="*/ 121296 h 361971"/>
                  <a:gd name="connsiteX48" fmla="*/ 265822 w 362309"/>
                  <a:gd name="connsiteY48" fmla="*/ 2840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157" y="0"/>
                      <a:pt x="181474" y="0"/>
                    </a:cubicBezTo>
                    <a:close/>
                    <a:moveTo>
                      <a:pt x="99044" y="243230"/>
                    </a:moveTo>
                    <a:lnTo>
                      <a:pt x="127799" y="214502"/>
                    </a:lnTo>
                    <a:cubicBezTo>
                      <a:pt x="129077" y="213225"/>
                      <a:pt x="130355" y="212587"/>
                      <a:pt x="132272" y="212587"/>
                    </a:cubicBezTo>
                    <a:cubicBezTo>
                      <a:pt x="134189" y="212587"/>
                      <a:pt x="135467" y="213225"/>
                      <a:pt x="136745" y="214502"/>
                    </a:cubicBezTo>
                    <a:lnTo>
                      <a:pt x="137384" y="215140"/>
                    </a:lnTo>
                    <a:lnTo>
                      <a:pt x="146969" y="205564"/>
                    </a:lnTo>
                    <a:cubicBezTo>
                      <a:pt x="135467" y="190243"/>
                      <a:pt x="137384" y="168537"/>
                      <a:pt x="151442" y="155131"/>
                    </a:cubicBezTo>
                    <a:cubicBezTo>
                      <a:pt x="167416" y="139809"/>
                      <a:pt x="191698" y="140448"/>
                      <a:pt x="207034" y="156408"/>
                    </a:cubicBezTo>
                    <a:cubicBezTo>
                      <a:pt x="221731" y="171729"/>
                      <a:pt x="221731" y="195988"/>
                      <a:pt x="207034" y="210671"/>
                    </a:cubicBezTo>
                    <a:cubicBezTo>
                      <a:pt x="193615" y="224078"/>
                      <a:pt x="171889" y="225993"/>
                      <a:pt x="156553" y="215140"/>
                    </a:cubicBezTo>
                    <a:lnTo>
                      <a:pt x="146969" y="224716"/>
                    </a:lnTo>
                    <a:lnTo>
                      <a:pt x="147608" y="225355"/>
                    </a:lnTo>
                    <a:cubicBezTo>
                      <a:pt x="150164" y="227908"/>
                      <a:pt x="150164" y="231738"/>
                      <a:pt x="147608" y="234292"/>
                    </a:cubicBezTo>
                    <a:lnTo>
                      <a:pt x="118853" y="263020"/>
                    </a:lnTo>
                    <a:cubicBezTo>
                      <a:pt x="117575" y="264297"/>
                      <a:pt x="116297" y="264935"/>
                      <a:pt x="114380" y="264935"/>
                    </a:cubicBezTo>
                    <a:cubicBezTo>
                      <a:pt x="112463" y="264935"/>
                      <a:pt x="111185" y="264297"/>
                      <a:pt x="109907" y="263020"/>
                    </a:cubicBezTo>
                    <a:lnTo>
                      <a:pt x="99044" y="252167"/>
                    </a:lnTo>
                    <a:cubicBezTo>
                      <a:pt x="96488" y="249614"/>
                      <a:pt x="96488" y="245783"/>
                      <a:pt x="99044" y="243230"/>
                    </a:cubicBezTo>
                    <a:cubicBezTo>
                      <a:pt x="99044" y="243230"/>
                      <a:pt x="99044" y="242591"/>
                      <a:pt x="99044" y="243230"/>
                    </a:cubicBezTo>
                    <a:close/>
                    <a:moveTo>
                      <a:pt x="265822" y="284087"/>
                    </a:moveTo>
                    <a:cubicBezTo>
                      <a:pt x="265822" y="287917"/>
                      <a:pt x="263266" y="290471"/>
                      <a:pt x="259432" y="290471"/>
                    </a:cubicBezTo>
                    <a:lnTo>
                      <a:pt x="111824" y="290471"/>
                    </a:lnTo>
                    <a:cubicBezTo>
                      <a:pt x="107990" y="290471"/>
                      <a:pt x="105434" y="287917"/>
                      <a:pt x="105434" y="284087"/>
                    </a:cubicBezTo>
                    <a:lnTo>
                      <a:pt x="105434" y="278980"/>
                    </a:lnTo>
                    <a:cubicBezTo>
                      <a:pt x="105434" y="275149"/>
                      <a:pt x="107990" y="272596"/>
                      <a:pt x="111185" y="271958"/>
                    </a:cubicBezTo>
                    <a:cubicBezTo>
                      <a:pt x="115019" y="271958"/>
                      <a:pt x="117575" y="274511"/>
                      <a:pt x="118214" y="277703"/>
                    </a:cubicBezTo>
                    <a:lnTo>
                      <a:pt x="253681" y="277703"/>
                    </a:lnTo>
                    <a:lnTo>
                      <a:pt x="253681" y="127680"/>
                    </a:lnTo>
                    <a:lnTo>
                      <a:pt x="216619" y="127680"/>
                    </a:lnTo>
                    <a:cubicBezTo>
                      <a:pt x="212785" y="127680"/>
                      <a:pt x="210229" y="125126"/>
                      <a:pt x="210229" y="121296"/>
                    </a:cubicBezTo>
                    <a:lnTo>
                      <a:pt x="210229" y="84268"/>
                    </a:lnTo>
                    <a:lnTo>
                      <a:pt x="118214" y="84268"/>
                    </a:lnTo>
                    <a:lnTo>
                      <a:pt x="118214" y="211948"/>
                    </a:lnTo>
                    <a:cubicBezTo>
                      <a:pt x="118214" y="215779"/>
                      <a:pt x="115658" y="218332"/>
                      <a:pt x="111824" y="218332"/>
                    </a:cubicBezTo>
                    <a:cubicBezTo>
                      <a:pt x="107990" y="218332"/>
                      <a:pt x="105434" y="215779"/>
                      <a:pt x="105434" y="211948"/>
                    </a:cubicBezTo>
                    <a:lnTo>
                      <a:pt x="105434" y="77884"/>
                    </a:lnTo>
                    <a:cubicBezTo>
                      <a:pt x="105434" y="74054"/>
                      <a:pt x="107990" y="71500"/>
                      <a:pt x="111824" y="71500"/>
                    </a:cubicBezTo>
                    <a:lnTo>
                      <a:pt x="216619" y="71500"/>
                    </a:lnTo>
                    <a:cubicBezTo>
                      <a:pt x="217258" y="71500"/>
                      <a:pt x="217897" y="71500"/>
                      <a:pt x="218536" y="72139"/>
                    </a:cubicBezTo>
                    <a:cubicBezTo>
                      <a:pt x="219175" y="72777"/>
                      <a:pt x="219814" y="72777"/>
                      <a:pt x="220453" y="73416"/>
                    </a:cubicBezTo>
                    <a:lnTo>
                      <a:pt x="263905" y="116827"/>
                    </a:lnTo>
                    <a:cubicBezTo>
                      <a:pt x="265182" y="118104"/>
                      <a:pt x="265822" y="119380"/>
                      <a:pt x="265822" y="121296"/>
                    </a:cubicBezTo>
                    <a:lnTo>
                      <a:pt x="265822" y="284087"/>
                    </a:lnTo>
                    <a:close/>
                  </a:path>
                </a:pathLst>
              </a:custGeom>
              <a:grpFill/>
              <a:ln w="6390" cap="flat">
                <a:noFill/>
                <a:prstDash val="solid"/>
                <a:miter/>
              </a:ln>
            </p:spPr>
            <p:txBody>
              <a:bodyPr rtlCol="0" anchor="ctr"/>
              <a:lstStyle/>
              <a:p>
                <a:endParaRPr lang="es-BO" sz="1600" noProof="0" dirty="0"/>
              </a:p>
            </p:txBody>
          </p:sp>
        </p:grpSp>
        <p:grpSp>
          <p:nvGrpSpPr>
            <p:cNvPr id="450" name="Group 449">
              <a:extLst>
                <a:ext uri="{FF2B5EF4-FFF2-40B4-BE49-F238E27FC236}">
                  <a16:creationId xmlns:a16="http://schemas.microsoft.com/office/drawing/2014/main" xmlns="" id="{71317C15-BF46-4717-DBAA-D56BD1E2C614}"/>
                </a:ext>
              </a:extLst>
            </p:cNvPr>
            <p:cNvGrpSpPr/>
            <p:nvPr/>
          </p:nvGrpSpPr>
          <p:grpSpPr>
            <a:xfrm>
              <a:off x="6762032" y="4921430"/>
              <a:ext cx="910804" cy="910807"/>
              <a:chOff x="10130321" y="5477506"/>
              <a:chExt cx="398540" cy="361971"/>
            </a:xfrm>
            <a:solidFill>
              <a:srgbClr val="03502A"/>
            </a:solidFill>
          </p:grpSpPr>
          <p:sp>
            <p:nvSpPr>
              <p:cNvPr id="451" name="Graphic 4">
                <a:extLst>
                  <a:ext uri="{FF2B5EF4-FFF2-40B4-BE49-F238E27FC236}">
                    <a16:creationId xmlns:a16="http://schemas.microsoft.com/office/drawing/2014/main" xmlns="" id="{9EF2A00B-F2DD-16DA-33B4-023FDA3A2A41}"/>
                  </a:ext>
                </a:extLst>
              </p:cNvPr>
              <p:cNvSpPr/>
              <p:nvPr/>
            </p:nvSpPr>
            <p:spPr>
              <a:xfrm>
                <a:off x="10239972" y="5572628"/>
                <a:ext cx="30927" cy="26174"/>
              </a:xfrm>
              <a:custGeom>
                <a:avLst/>
                <a:gdLst>
                  <a:gd name="connsiteX0" fmla="*/ 15336 w 28115"/>
                  <a:gd name="connsiteY0" fmla="*/ 18513 h 26174"/>
                  <a:gd name="connsiteX1" fmla="*/ 18531 w 28115"/>
                  <a:gd name="connsiteY1" fmla="*/ 15321 h 26174"/>
                  <a:gd name="connsiteX2" fmla="*/ 18531 w 28115"/>
                  <a:gd name="connsiteY2" fmla="*/ 12129 h 26174"/>
                  <a:gd name="connsiteX3" fmla="*/ 20448 w 28115"/>
                  <a:gd name="connsiteY3" fmla="*/ 7660 h 26174"/>
                  <a:gd name="connsiteX4" fmla="*/ 28116 w 28115"/>
                  <a:gd name="connsiteY4" fmla="*/ 0 h 26174"/>
                  <a:gd name="connsiteX5" fmla="*/ 0 w 28115"/>
                  <a:gd name="connsiteY5" fmla="*/ 26174 h 26174"/>
                  <a:gd name="connsiteX6" fmla="*/ 15336 w 28115"/>
                  <a:gd name="connsiteY6" fmla="*/ 18513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26174">
                    <a:moveTo>
                      <a:pt x="15336" y="18513"/>
                    </a:moveTo>
                    <a:lnTo>
                      <a:pt x="18531" y="15321"/>
                    </a:lnTo>
                    <a:lnTo>
                      <a:pt x="18531" y="12129"/>
                    </a:lnTo>
                    <a:cubicBezTo>
                      <a:pt x="18531" y="10214"/>
                      <a:pt x="19170" y="8937"/>
                      <a:pt x="20448" y="7660"/>
                    </a:cubicBezTo>
                    <a:lnTo>
                      <a:pt x="28116" y="0"/>
                    </a:lnTo>
                    <a:cubicBezTo>
                      <a:pt x="17253" y="7022"/>
                      <a:pt x="7668" y="15321"/>
                      <a:pt x="0" y="26174"/>
                    </a:cubicBezTo>
                    <a:lnTo>
                      <a:pt x="15336" y="18513"/>
                    </a:lnTo>
                    <a:close/>
                  </a:path>
                </a:pathLst>
              </a:custGeom>
              <a:grpFill/>
              <a:ln w="6390" cap="flat">
                <a:noFill/>
                <a:prstDash val="solid"/>
                <a:miter/>
              </a:ln>
            </p:spPr>
            <p:txBody>
              <a:bodyPr rtlCol="0" anchor="ctr"/>
              <a:lstStyle/>
              <a:p>
                <a:endParaRPr lang="es-BO" sz="1600" noProof="0" dirty="0"/>
              </a:p>
            </p:txBody>
          </p:sp>
          <p:sp>
            <p:nvSpPr>
              <p:cNvPr id="452" name="Graphic 4">
                <a:extLst>
                  <a:ext uri="{FF2B5EF4-FFF2-40B4-BE49-F238E27FC236}">
                    <a16:creationId xmlns:a16="http://schemas.microsoft.com/office/drawing/2014/main" xmlns="" id="{1A35194F-A007-3F6F-314A-6A0386258139}"/>
                  </a:ext>
                </a:extLst>
              </p:cNvPr>
              <p:cNvSpPr/>
              <p:nvPr/>
            </p:nvSpPr>
            <p:spPr>
              <a:xfrm>
                <a:off x="10218182" y="5669026"/>
                <a:ext cx="4217" cy="19151"/>
              </a:xfrm>
              <a:custGeom>
                <a:avLst/>
                <a:gdLst>
                  <a:gd name="connsiteX0" fmla="*/ 0 w 3834"/>
                  <a:gd name="connsiteY0" fmla="*/ 0 h 19151"/>
                  <a:gd name="connsiteX1" fmla="*/ 3834 w 3834"/>
                  <a:gd name="connsiteY1" fmla="*/ 19152 h 19151"/>
                  <a:gd name="connsiteX2" fmla="*/ 3834 w 3834"/>
                  <a:gd name="connsiteY2" fmla="*/ 17875 h 19151"/>
                  <a:gd name="connsiteX3" fmla="*/ 3834 w 3834"/>
                  <a:gd name="connsiteY3" fmla="*/ 3192 h 19151"/>
                  <a:gd name="connsiteX4" fmla="*/ 0 w 3834"/>
                  <a:gd name="connsiteY4" fmla="*/ 0 h 19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 h="19151">
                    <a:moveTo>
                      <a:pt x="0" y="0"/>
                    </a:moveTo>
                    <a:cubicBezTo>
                      <a:pt x="639" y="6384"/>
                      <a:pt x="1917" y="12768"/>
                      <a:pt x="3834" y="19152"/>
                    </a:cubicBezTo>
                    <a:cubicBezTo>
                      <a:pt x="3834" y="18514"/>
                      <a:pt x="3834" y="18514"/>
                      <a:pt x="3834" y="17875"/>
                    </a:cubicBezTo>
                    <a:lnTo>
                      <a:pt x="3834" y="3192"/>
                    </a:lnTo>
                    <a:lnTo>
                      <a:pt x="0" y="0"/>
                    </a:lnTo>
                    <a:close/>
                  </a:path>
                </a:pathLst>
              </a:custGeom>
              <a:grpFill/>
              <a:ln w="6390" cap="flat">
                <a:noFill/>
                <a:prstDash val="solid"/>
                <a:miter/>
              </a:ln>
            </p:spPr>
            <p:txBody>
              <a:bodyPr rtlCol="0" anchor="ctr"/>
              <a:lstStyle/>
              <a:p>
                <a:endParaRPr lang="es-BO" sz="1600" noProof="0" dirty="0"/>
              </a:p>
            </p:txBody>
          </p:sp>
          <p:sp>
            <p:nvSpPr>
              <p:cNvPr id="453" name="Graphic 4">
                <a:extLst>
                  <a:ext uri="{FF2B5EF4-FFF2-40B4-BE49-F238E27FC236}">
                    <a16:creationId xmlns:a16="http://schemas.microsoft.com/office/drawing/2014/main" xmlns="" id="{C4508977-63FE-9329-D4EE-5BC7F4FA44D7}"/>
                  </a:ext>
                </a:extLst>
              </p:cNvPr>
              <p:cNvSpPr/>
              <p:nvPr/>
            </p:nvSpPr>
            <p:spPr>
              <a:xfrm>
                <a:off x="10282145" y="5563052"/>
                <a:ext cx="14760" cy="4468"/>
              </a:xfrm>
              <a:custGeom>
                <a:avLst/>
                <a:gdLst>
                  <a:gd name="connsiteX0" fmla="*/ 7668 w 13418"/>
                  <a:gd name="connsiteY0" fmla="*/ 4468 h 4468"/>
                  <a:gd name="connsiteX1" fmla="*/ 13419 w 13418"/>
                  <a:gd name="connsiteY1" fmla="*/ 1276 h 4468"/>
                  <a:gd name="connsiteX2" fmla="*/ 12141 w 13418"/>
                  <a:gd name="connsiteY2" fmla="*/ 0 h 4468"/>
                  <a:gd name="connsiteX3" fmla="*/ 10224 w 13418"/>
                  <a:gd name="connsiteY3" fmla="*/ 0 h 4468"/>
                  <a:gd name="connsiteX4" fmla="*/ 0 w 13418"/>
                  <a:gd name="connsiteY4" fmla="*/ 4468 h 4468"/>
                  <a:gd name="connsiteX5" fmla="*/ 7668 w 13418"/>
                  <a:gd name="connsiteY5" fmla="*/ 4468 h 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18" h="4468">
                    <a:moveTo>
                      <a:pt x="7668" y="4468"/>
                    </a:moveTo>
                    <a:lnTo>
                      <a:pt x="13419" y="1276"/>
                    </a:lnTo>
                    <a:lnTo>
                      <a:pt x="12141" y="0"/>
                    </a:lnTo>
                    <a:lnTo>
                      <a:pt x="10224" y="0"/>
                    </a:lnTo>
                    <a:cubicBezTo>
                      <a:pt x="7029" y="1276"/>
                      <a:pt x="3195" y="2553"/>
                      <a:pt x="0" y="4468"/>
                    </a:cubicBezTo>
                    <a:lnTo>
                      <a:pt x="7668" y="4468"/>
                    </a:lnTo>
                    <a:close/>
                  </a:path>
                </a:pathLst>
              </a:custGeom>
              <a:grpFill/>
              <a:ln w="6390" cap="flat">
                <a:noFill/>
                <a:prstDash val="solid"/>
                <a:miter/>
              </a:ln>
            </p:spPr>
            <p:txBody>
              <a:bodyPr rtlCol="0" anchor="ctr"/>
              <a:lstStyle/>
              <a:p>
                <a:endParaRPr lang="es-BO" sz="1600" noProof="0" dirty="0"/>
              </a:p>
            </p:txBody>
          </p:sp>
          <p:sp>
            <p:nvSpPr>
              <p:cNvPr id="454" name="Graphic 4">
                <a:extLst>
                  <a:ext uri="{FF2B5EF4-FFF2-40B4-BE49-F238E27FC236}">
                    <a16:creationId xmlns:a16="http://schemas.microsoft.com/office/drawing/2014/main" xmlns="" id="{18FA1839-DD62-D415-7F96-E155B8C2F9B8}"/>
                  </a:ext>
                </a:extLst>
              </p:cNvPr>
              <p:cNvSpPr/>
              <p:nvPr/>
            </p:nvSpPr>
            <p:spPr>
              <a:xfrm>
                <a:off x="10223103" y="5690093"/>
                <a:ext cx="24600" cy="32558"/>
              </a:xfrm>
              <a:custGeom>
                <a:avLst/>
                <a:gdLst>
                  <a:gd name="connsiteX0" fmla="*/ 22365 w 22364"/>
                  <a:gd name="connsiteY0" fmla="*/ 23621 h 32558"/>
                  <a:gd name="connsiteX1" fmla="*/ 14697 w 22364"/>
                  <a:gd name="connsiteY1" fmla="*/ 19791 h 32558"/>
                  <a:gd name="connsiteX2" fmla="*/ 12141 w 22364"/>
                  <a:gd name="connsiteY2" fmla="*/ 17875 h 32558"/>
                  <a:gd name="connsiteX3" fmla="*/ 639 w 22364"/>
                  <a:gd name="connsiteY3" fmla="*/ 639 h 32558"/>
                  <a:gd name="connsiteX4" fmla="*/ 0 w 22364"/>
                  <a:gd name="connsiteY4" fmla="*/ 0 h 32558"/>
                  <a:gd name="connsiteX5" fmla="*/ 17892 w 22364"/>
                  <a:gd name="connsiteY5" fmla="*/ 32559 h 32558"/>
                  <a:gd name="connsiteX6" fmla="*/ 22365 w 22364"/>
                  <a:gd name="connsiteY6" fmla="*/ 23621 h 3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64" h="32558">
                    <a:moveTo>
                      <a:pt x="22365" y="23621"/>
                    </a:moveTo>
                    <a:lnTo>
                      <a:pt x="14697" y="19791"/>
                    </a:lnTo>
                    <a:cubicBezTo>
                      <a:pt x="13419" y="19152"/>
                      <a:pt x="12780" y="18514"/>
                      <a:pt x="12141" y="17875"/>
                    </a:cubicBezTo>
                    <a:lnTo>
                      <a:pt x="639" y="639"/>
                    </a:lnTo>
                    <a:cubicBezTo>
                      <a:pt x="639" y="639"/>
                      <a:pt x="0" y="0"/>
                      <a:pt x="0" y="0"/>
                    </a:cubicBezTo>
                    <a:cubicBezTo>
                      <a:pt x="3834" y="12130"/>
                      <a:pt x="9585" y="22983"/>
                      <a:pt x="17892" y="32559"/>
                    </a:cubicBezTo>
                    <a:lnTo>
                      <a:pt x="22365" y="23621"/>
                    </a:lnTo>
                    <a:close/>
                  </a:path>
                </a:pathLst>
              </a:custGeom>
              <a:grpFill/>
              <a:ln w="6390" cap="flat">
                <a:noFill/>
                <a:prstDash val="solid"/>
                <a:miter/>
              </a:ln>
            </p:spPr>
            <p:txBody>
              <a:bodyPr rtlCol="0" anchor="ctr"/>
              <a:lstStyle/>
              <a:p>
                <a:endParaRPr lang="es-BO" sz="1600" noProof="0" dirty="0"/>
              </a:p>
            </p:txBody>
          </p:sp>
          <p:sp>
            <p:nvSpPr>
              <p:cNvPr id="455" name="Graphic 4">
                <a:extLst>
                  <a:ext uri="{FF2B5EF4-FFF2-40B4-BE49-F238E27FC236}">
                    <a16:creationId xmlns:a16="http://schemas.microsoft.com/office/drawing/2014/main" xmlns="" id="{C052194E-00C1-4FA9-EA17-200654F9DC19}"/>
                  </a:ext>
                </a:extLst>
              </p:cNvPr>
              <p:cNvSpPr/>
              <p:nvPr/>
            </p:nvSpPr>
            <p:spPr>
              <a:xfrm>
                <a:off x="10317993" y="5564967"/>
                <a:ext cx="123708" cy="110442"/>
              </a:xfrm>
              <a:custGeom>
                <a:avLst/>
                <a:gdLst>
                  <a:gd name="connsiteX0" fmla="*/ 46008 w 112462"/>
                  <a:gd name="connsiteY0" fmla="*/ 3192 h 110442"/>
                  <a:gd name="connsiteX1" fmla="*/ 50481 w 112462"/>
                  <a:gd name="connsiteY1" fmla="*/ 11491 h 110442"/>
                  <a:gd name="connsiteX2" fmla="*/ 51119 w 112462"/>
                  <a:gd name="connsiteY2" fmla="*/ 14045 h 110442"/>
                  <a:gd name="connsiteX3" fmla="*/ 51119 w 112462"/>
                  <a:gd name="connsiteY3" fmla="*/ 19790 h 110442"/>
                  <a:gd name="connsiteX4" fmla="*/ 44730 w 112462"/>
                  <a:gd name="connsiteY4" fmla="*/ 26174 h 110442"/>
                  <a:gd name="connsiteX5" fmla="*/ 34506 w 112462"/>
                  <a:gd name="connsiteY5" fmla="*/ 26174 h 110442"/>
                  <a:gd name="connsiteX6" fmla="*/ 21726 w 112462"/>
                  <a:gd name="connsiteY6" fmla="*/ 30643 h 110442"/>
                  <a:gd name="connsiteX7" fmla="*/ 17892 w 112462"/>
                  <a:gd name="connsiteY7" fmla="*/ 42134 h 110442"/>
                  <a:gd name="connsiteX8" fmla="*/ 20448 w 112462"/>
                  <a:gd name="connsiteY8" fmla="*/ 47241 h 110442"/>
                  <a:gd name="connsiteX9" fmla="*/ 27477 w 112462"/>
                  <a:gd name="connsiteY9" fmla="*/ 40219 h 110442"/>
                  <a:gd name="connsiteX10" fmla="*/ 27477 w 112462"/>
                  <a:gd name="connsiteY10" fmla="*/ 37027 h 110442"/>
                  <a:gd name="connsiteX11" fmla="*/ 33867 w 112462"/>
                  <a:gd name="connsiteY11" fmla="*/ 30643 h 110442"/>
                  <a:gd name="connsiteX12" fmla="*/ 40257 w 112462"/>
                  <a:gd name="connsiteY12" fmla="*/ 37027 h 110442"/>
                  <a:gd name="connsiteX13" fmla="*/ 40257 w 112462"/>
                  <a:gd name="connsiteY13" fmla="*/ 42773 h 110442"/>
                  <a:gd name="connsiteX14" fmla="*/ 38340 w 112462"/>
                  <a:gd name="connsiteY14" fmla="*/ 47241 h 110442"/>
                  <a:gd name="connsiteX15" fmla="*/ 26838 w 112462"/>
                  <a:gd name="connsiteY15" fmla="*/ 58733 h 110442"/>
                  <a:gd name="connsiteX16" fmla="*/ 22365 w 112462"/>
                  <a:gd name="connsiteY16" fmla="*/ 60648 h 110442"/>
                  <a:gd name="connsiteX17" fmla="*/ 13419 w 112462"/>
                  <a:gd name="connsiteY17" fmla="*/ 60648 h 110442"/>
                  <a:gd name="connsiteX18" fmla="*/ 9585 w 112462"/>
                  <a:gd name="connsiteY18" fmla="*/ 64478 h 110442"/>
                  <a:gd name="connsiteX19" fmla="*/ 5112 w 112462"/>
                  <a:gd name="connsiteY19" fmla="*/ 66393 h 110442"/>
                  <a:gd name="connsiteX20" fmla="*/ 1917 w 112462"/>
                  <a:gd name="connsiteY20" fmla="*/ 66393 h 110442"/>
                  <a:gd name="connsiteX21" fmla="*/ 0 w 112462"/>
                  <a:gd name="connsiteY21" fmla="*/ 68309 h 110442"/>
                  <a:gd name="connsiteX22" fmla="*/ 0 w 112462"/>
                  <a:gd name="connsiteY22" fmla="*/ 70862 h 110442"/>
                  <a:gd name="connsiteX23" fmla="*/ 13419 w 112462"/>
                  <a:gd name="connsiteY23" fmla="*/ 70862 h 110442"/>
                  <a:gd name="connsiteX24" fmla="*/ 17253 w 112462"/>
                  <a:gd name="connsiteY24" fmla="*/ 67032 h 110442"/>
                  <a:gd name="connsiteX25" fmla="*/ 21726 w 112462"/>
                  <a:gd name="connsiteY25" fmla="*/ 65117 h 110442"/>
                  <a:gd name="connsiteX26" fmla="*/ 38979 w 112462"/>
                  <a:gd name="connsiteY26" fmla="*/ 65117 h 110442"/>
                  <a:gd name="connsiteX27" fmla="*/ 44730 w 112462"/>
                  <a:gd name="connsiteY27" fmla="*/ 68947 h 110442"/>
                  <a:gd name="connsiteX28" fmla="*/ 48564 w 112462"/>
                  <a:gd name="connsiteY28" fmla="*/ 75969 h 110442"/>
                  <a:gd name="connsiteX29" fmla="*/ 51759 w 112462"/>
                  <a:gd name="connsiteY29" fmla="*/ 72777 h 110442"/>
                  <a:gd name="connsiteX30" fmla="*/ 56231 w 112462"/>
                  <a:gd name="connsiteY30" fmla="*/ 70862 h 110442"/>
                  <a:gd name="connsiteX31" fmla="*/ 61343 w 112462"/>
                  <a:gd name="connsiteY31" fmla="*/ 70862 h 110442"/>
                  <a:gd name="connsiteX32" fmla="*/ 67733 w 112462"/>
                  <a:gd name="connsiteY32" fmla="*/ 75969 h 110442"/>
                  <a:gd name="connsiteX33" fmla="*/ 73484 w 112462"/>
                  <a:gd name="connsiteY33" fmla="*/ 103421 h 110442"/>
                  <a:gd name="connsiteX34" fmla="*/ 77318 w 112462"/>
                  <a:gd name="connsiteY34" fmla="*/ 110443 h 110442"/>
                  <a:gd name="connsiteX35" fmla="*/ 81152 w 112462"/>
                  <a:gd name="connsiteY35" fmla="*/ 110443 h 110442"/>
                  <a:gd name="connsiteX36" fmla="*/ 84347 w 112462"/>
                  <a:gd name="connsiteY36" fmla="*/ 104059 h 110442"/>
                  <a:gd name="connsiteX37" fmla="*/ 84347 w 112462"/>
                  <a:gd name="connsiteY37" fmla="*/ 102782 h 110442"/>
                  <a:gd name="connsiteX38" fmla="*/ 80513 w 112462"/>
                  <a:gd name="connsiteY38" fmla="*/ 98952 h 110442"/>
                  <a:gd name="connsiteX39" fmla="*/ 78596 w 112462"/>
                  <a:gd name="connsiteY39" fmla="*/ 94483 h 110442"/>
                  <a:gd name="connsiteX40" fmla="*/ 78596 w 112462"/>
                  <a:gd name="connsiteY40" fmla="*/ 88099 h 110442"/>
                  <a:gd name="connsiteX41" fmla="*/ 80513 w 112462"/>
                  <a:gd name="connsiteY41" fmla="*/ 83630 h 110442"/>
                  <a:gd name="connsiteX42" fmla="*/ 84347 w 112462"/>
                  <a:gd name="connsiteY42" fmla="*/ 79800 h 110442"/>
                  <a:gd name="connsiteX43" fmla="*/ 84347 w 112462"/>
                  <a:gd name="connsiteY43" fmla="*/ 76608 h 110442"/>
                  <a:gd name="connsiteX44" fmla="*/ 90737 w 112462"/>
                  <a:gd name="connsiteY44" fmla="*/ 70224 h 110442"/>
                  <a:gd name="connsiteX45" fmla="*/ 96488 w 112462"/>
                  <a:gd name="connsiteY45" fmla="*/ 70224 h 110442"/>
                  <a:gd name="connsiteX46" fmla="*/ 100961 w 112462"/>
                  <a:gd name="connsiteY46" fmla="*/ 72139 h 110442"/>
                  <a:gd name="connsiteX47" fmla="*/ 112463 w 112462"/>
                  <a:gd name="connsiteY47" fmla="*/ 83630 h 110442"/>
                  <a:gd name="connsiteX48" fmla="*/ 48564 w 112462"/>
                  <a:gd name="connsiteY48" fmla="*/ 0 h 110442"/>
                  <a:gd name="connsiteX49" fmla="*/ 46008 w 112462"/>
                  <a:gd name="connsiteY49" fmla="*/ 3192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462" h="110442">
                    <a:moveTo>
                      <a:pt x="46008" y="3192"/>
                    </a:moveTo>
                    <a:lnTo>
                      <a:pt x="50481" y="11491"/>
                    </a:lnTo>
                    <a:cubicBezTo>
                      <a:pt x="51119" y="12129"/>
                      <a:pt x="51119" y="13406"/>
                      <a:pt x="51119" y="14045"/>
                    </a:cubicBezTo>
                    <a:lnTo>
                      <a:pt x="51119" y="19790"/>
                    </a:lnTo>
                    <a:cubicBezTo>
                      <a:pt x="51119" y="23621"/>
                      <a:pt x="48564" y="26174"/>
                      <a:pt x="44730" y="26174"/>
                    </a:cubicBezTo>
                    <a:lnTo>
                      <a:pt x="34506" y="26174"/>
                    </a:lnTo>
                    <a:lnTo>
                      <a:pt x="21726" y="30643"/>
                    </a:lnTo>
                    <a:lnTo>
                      <a:pt x="17892" y="42134"/>
                    </a:lnTo>
                    <a:lnTo>
                      <a:pt x="20448" y="47241"/>
                    </a:lnTo>
                    <a:lnTo>
                      <a:pt x="27477" y="40219"/>
                    </a:lnTo>
                    <a:lnTo>
                      <a:pt x="27477" y="37027"/>
                    </a:lnTo>
                    <a:cubicBezTo>
                      <a:pt x="27477" y="33197"/>
                      <a:pt x="30033" y="30643"/>
                      <a:pt x="33867" y="30643"/>
                    </a:cubicBezTo>
                    <a:cubicBezTo>
                      <a:pt x="37701" y="30643"/>
                      <a:pt x="40257" y="33197"/>
                      <a:pt x="40257" y="37027"/>
                    </a:cubicBezTo>
                    <a:lnTo>
                      <a:pt x="40257" y="42773"/>
                    </a:lnTo>
                    <a:cubicBezTo>
                      <a:pt x="40257" y="44688"/>
                      <a:pt x="39618" y="45965"/>
                      <a:pt x="38340" y="47241"/>
                    </a:cubicBezTo>
                    <a:lnTo>
                      <a:pt x="26838" y="58733"/>
                    </a:lnTo>
                    <a:cubicBezTo>
                      <a:pt x="25560" y="60009"/>
                      <a:pt x="24282" y="60648"/>
                      <a:pt x="22365" y="60648"/>
                    </a:cubicBezTo>
                    <a:lnTo>
                      <a:pt x="13419" y="60648"/>
                    </a:lnTo>
                    <a:lnTo>
                      <a:pt x="9585" y="64478"/>
                    </a:lnTo>
                    <a:cubicBezTo>
                      <a:pt x="8307" y="65755"/>
                      <a:pt x="7029" y="66393"/>
                      <a:pt x="5112" y="66393"/>
                    </a:cubicBezTo>
                    <a:lnTo>
                      <a:pt x="1917" y="66393"/>
                    </a:lnTo>
                    <a:lnTo>
                      <a:pt x="0" y="68309"/>
                    </a:lnTo>
                    <a:lnTo>
                      <a:pt x="0" y="70862"/>
                    </a:lnTo>
                    <a:lnTo>
                      <a:pt x="13419" y="70862"/>
                    </a:lnTo>
                    <a:lnTo>
                      <a:pt x="17253" y="67032"/>
                    </a:lnTo>
                    <a:cubicBezTo>
                      <a:pt x="18531" y="65755"/>
                      <a:pt x="19809" y="65117"/>
                      <a:pt x="21726" y="65117"/>
                    </a:cubicBezTo>
                    <a:lnTo>
                      <a:pt x="38979" y="65117"/>
                    </a:lnTo>
                    <a:cubicBezTo>
                      <a:pt x="41535" y="65117"/>
                      <a:pt x="43452" y="66393"/>
                      <a:pt x="44730" y="68947"/>
                    </a:cubicBezTo>
                    <a:lnTo>
                      <a:pt x="48564" y="75969"/>
                    </a:lnTo>
                    <a:lnTo>
                      <a:pt x="51759" y="72777"/>
                    </a:lnTo>
                    <a:cubicBezTo>
                      <a:pt x="53036" y="71501"/>
                      <a:pt x="54314" y="70862"/>
                      <a:pt x="56231" y="70862"/>
                    </a:cubicBezTo>
                    <a:lnTo>
                      <a:pt x="61343" y="70862"/>
                    </a:lnTo>
                    <a:cubicBezTo>
                      <a:pt x="64538" y="70862"/>
                      <a:pt x="67094" y="72777"/>
                      <a:pt x="67733" y="75969"/>
                    </a:cubicBezTo>
                    <a:lnTo>
                      <a:pt x="73484" y="103421"/>
                    </a:lnTo>
                    <a:lnTo>
                      <a:pt x="77318" y="110443"/>
                    </a:lnTo>
                    <a:lnTo>
                      <a:pt x="81152" y="110443"/>
                    </a:lnTo>
                    <a:lnTo>
                      <a:pt x="84347" y="104059"/>
                    </a:lnTo>
                    <a:lnTo>
                      <a:pt x="84347" y="102782"/>
                    </a:lnTo>
                    <a:lnTo>
                      <a:pt x="80513" y="98952"/>
                    </a:lnTo>
                    <a:cubicBezTo>
                      <a:pt x="79235" y="97675"/>
                      <a:pt x="78596" y="96398"/>
                      <a:pt x="78596" y="94483"/>
                    </a:cubicBezTo>
                    <a:lnTo>
                      <a:pt x="78596" y="88099"/>
                    </a:lnTo>
                    <a:cubicBezTo>
                      <a:pt x="78596" y="86184"/>
                      <a:pt x="79235" y="84907"/>
                      <a:pt x="80513" y="83630"/>
                    </a:cubicBezTo>
                    <a:lnTo>
                      <a:pt x="84347" y="79800"/>
                    </a:lnTo>
                    <a:lnTo>
                      <a:pt x="84347" y="76608"/>
                    </a:lnTo>
                    <a:cubicBezTo>
                      <a:pt x="84347" y="72777"/>
                      <a:pt x="86903" y="70224"/>
                      <a:pt x="90737" y="70224"/>
                    </a:cubicBezTo>
                    <a:lnTo>
                      <a:pt x="96488" y="70224"/>
                    </a:lnTo>
                    <a:cubicBezTo>
                      <a:pt x="98405" y="70224"/>
                      <a:pt x="99683" y="70862"/>
                      <a:pt x="100961" y="72139"/>
                    </a:cubicBezTo>
                    <a:lnTo>
                      <a:pt x="112463" y="83630"/>
                    </a:lnTo>
                    <a:cubicBezTo>
                      <a:pt x="108629" y="45965"/>
                      <a:pt x="83708" y="13406"/>
                      <a:pt x="48564" y="0"/>
                    </a:cubicBezTo>
                    <a:lnTo>
                      <a:pt x="46008" y="3192"/>
                    </a:lnTo>
                    <a:close/>
                  </a:path>
                </a:pathLst>
              </a:custGeom>
              <a:grpFill/>
              <a:ln w="6390" cap="flat">
                <a:noFill/>
                <a:prstDash val="solid"/>
                <a:miter/>
              </a:ln>
            </p:spPr>
            <p:txBody>
              <a:bodyPr rtlCol="0" anchor="ctr"/>
              <a:lstStyle/>
              <a:p>
                <a:endParaRPr lang="es-BO" sz="1600" noProof="0" dirty="0"/>
              </a:p>
            </p:txBody>
          </p:sp>
          <p:sp>
            <p:nvSpPr>
              <p:cNvPr id="456" name="Graphic 4">
                <a:extLst>
                  <a:ext uri="{FF2B5EF4-FFF2-40B4-BE49-F238E27FC236}">
                    <a16:creationId xmlns:a16="http://schemas.microsoft.com/office/drawing/2014/main" xmlns="" id="{DEAFFD1E-ECC9-DB1F-341D-393E575FB6F1}"/>
                  </a:ext>
                </a:extLst>
              </p:cNvPr>
              <p:cNvSpPr/>
              <p:nvPr/>
            </p:nvSpPr>
            <p:spPr>
              <a:xfrm>
                <a:off x="10292689" y="5664557"/>
                <a:ext cx="104028" cy="91290"/>
              </a:xfrm>
              <a:custGeom>
                <a:avLst/>
                <a:gdLst>
                  <a:gd name="connsiteX0" fmla="*/ 67094 w 94571"/>
                  <a:gd name="connsiteY0" fmla="*/ 79162 h 91290"/>
                  <a:gd name="connsiteX1" fmla="*/ 69011 w 94571"/>
                  <a:gd name="connsiteY1" fmla="*/ 74693 h 91290"/>
                  <a:gd name="connsiteX2" fmla="*/ 78596 w 94571"/>
                  <a:gd name="connsiteY2" fmla="*/ 65117 h 91290"/>
                  <a:gd name="connsiteX3" fmla="*/ 78596 w 94571"/>
                  <a:gd name="connsiteY3" fmla="*/ 56179 h 91290"/>
                  <a:gd name="connsiteX4" fmla="*/ 80513 w 94571"/>
                  <a:gd name="connsiteY4" fmla="*/ 51710 h 91290"/>
                  <a:gd name="connsiteX5" fmla="*/ 94571 w 94571"/>
                  <a:gd name="connsiteY5" fmla="*/ 37666 h 91290"/>
                  <a:gd name="connsiteX6" fmla="*/ 83069 w 94571"/>
                  <a:gd name="connsiteY6" fmla="*/ 33835 h 91290"/>
                  <a:gd name="connsiteX7" fmla="*/ 79235 w 94571"/>
                  <a:gd name="connsiteY7" fmla="*/ 30643 h 91290"/>
                  <a:gd name="connsiteX8" fmla="*/ 67733 w 94571"/>
                  <a:gd name="connsiteY8" fmla="*/ 7661 h 91290"/>
                  <a:gd name="connsiteX9" fmla="*/ 67094 w 94571"/>
                  <a:gd name="connsiteY9" fmla="*/ 5746 h 91290"/>
                  <a:gd name="connsiteX10" fmla="*/ 58787 w 94571"/>
                  <a:gd name="connsiteY10" fmla="*/ 5746 h 91290"/>
                  <a:gd name="connsiteX11" fmla="*/ 54953 w 94571"/>
                  <a:gd name="connsiteY11" fmla="*/ 9576 h 91290"/>
                  <a:gd name="connsiteX12" fmla="*/ 50480 w 94571"/>
                  <a:gd name="connsiteY12" fmla="*/ 11491 h 91290"/>
                  <a:gd name="connsiteX13" fmla="*/ 44730 w 94571"/>
                  <a:gd name="connsiteY13" fmla="*/ 11491 h 91290"/>
                  <a:gd name="connsiteX14" fmla="*/ 40257 w 94571"/>
                  <a:gd name="connsiteY14" fmla="*/ 9576 h 91290"/>
                  <a:gd name="connsiteX15" fmla="*/ 30672 w 94571"/>
                  <a:gd name="connsiteY15" fmla="*/ 0 h 91290"/>
                  <a:gd name="connsiteX16" fmla="*/ 17892 w 94571"/>
                  <a:gd name="connsiteY16" fmla="*/ 0 h 91290"/>
                  <a:gd name="connsiteX17" fmla="*/ 8946 w 94571"/>
                  <a:gd name="connsiteY17" fmla="*/ 4469 h 91290"/>
                  <a:gd name="connsiteX18" fmla="*/ 0 w 94571"/>
                  <a:gd name="connsiteY18" fmla="*/ 13407 h 91290"/>
                  <a:gd name="connsiteX19" fmla="*/ 0 w 94571"/>
                  <a:gd name="connsiteY19" fmla="*/ 26813 h 91290"/>
                  <a:gd name="connsiteX20" fmla="*/ 4473 w 94571"/>
                  <a:gd name="connsiteY20" fmla="*/ 40219 h 91290"/>
                  <a:gd name="connsiteX21" fmla="*/ 12141 w 94571"/>
                  <a:gd name="connsiteY21" fmla="*/ 44050 h 91290"/>
                  <a:gd name="connsiteX22" fmla="*/ 27477 w 94571"/>
                  <a:gd name="connsiteY22" fmla="*/ 44050 h 91290"/>
                  <a:gd name="connsiteX23" fmla="*/ 30033 w 94571"/>
                  <a:gd name="connsiteY23" fmla="*/ 44688 h 91290"/>
                  <a:gd name="connsiteX24" fmla="*/ 41535 w 94571"/>
                  <a:gd name="connsiteY24" fmla="*/ 50434 h 91290"/>
                  <a:gd name="connsiteX25" fmla="*/ 45368 w 94571"/>
                  <a:gd name="connsiteY25" fmla="*/ 56179 h 91290"/>
                  <a:gd name="connsiteX26" fmla="*/ 45368 w 94571"/>
                  <a:gd name="connsiteY26" fmla="*/ 60648 h 91290"/>
                  <a:gd name="connsiteX27" fmla="*/ 50480 w 94571"/>
                  <a:gd name="connsiteY27" fmla="*/ 70862 h 91290"/>
                  <a:gd name="connsiteX28" fmla="*/ 51119 w 94571"/>
                  <a:gd name="connsiteY28" fmla="*/ 74054 h 91290"/>
                  <a:gd name="connsiteX29" fmla="*/ 51119 w 94571"/>
                  <a:gd name="connsiteY29" fmla="*/ 77885 h 91290"/>
                  <a:gd name="connsiteX30" fmla="*/ 54953 w 94571"/>
                  <a:gd name="connsiteY30" fmla="*/ 86184 h 91290"/>
                  <a:gd name="connsiteX31" fmla="*/ 64538 w 94571"/>
                  <a:gd name="connsiteY31" fmla="*/ 91291 h 91290"/>
                  <a:gd name="connsiteX32" fmla="*/ 66455 w 94571"/>
                  <a:gd name="connsiteY32" fmla="*/ 90653 h 91290"/>
                  <a:gd name="connsiteX33" fmla="*/ 67094 w 94571"/>
                  <a:gd name="connsiteY33" fmla="*/ 79162 h 9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4571" h="91290">
                    <a:moveTo>
                      <a:pt x="67094" y="79162"/>
                    </a:moveTo>
                    <a:cubicBezTo>
                      <a:pt x="67094" y="77246"/>
                      <a:pt x="67733" y="75970"/>
                      <a:pt x="69011" y="74693"/>
                    </a:cubicBezTo>
                    <a:lnTo>
                      <a:pt x="78596" y="65117"/>
                    </a:lnTo>
                    <a:lnTo>
                      <a:pt x="78596" y="56179"/>
                    </a:lnTo>
                    <a:cubicBezTo>
                      <a:pt x="78596" y="54264"/>
                      <a:pt x="79235" y="52987"/>
                      <a:pt x="80513" y="51710"/>
                    </a:cubicBezTo>
                    <a:lnTo>
                      <a:pt x="94571" y="37666"/>
                    </a:lnTo>
                    <a:lnTo>
                      <a:pt x="83069" y="33835"/>
                    </a:lnTo>
                    <a:cubicBezTo>
                      <a:pt x="81791" y="33197"/>
                      <a:pt x="79874" y="31920"/>
                      <a:pt x="79235" y="30643"/>
                    </a:cubicBezTo>
                    <a:lnTo>
                      <a:pt x="67733" y="7661"/>
                    </a:lnTo>
                    <a:cubicBezTo>
                      <a:pt x="67733" y="7023"/>
                      <a:pt x="67094" y="6384"/>
                      <a:pt x="67094" y="5746"/>
                    </a:cubicBezTo>
                    <a:lnTo>
                      <a:pt x="58787" y="5746"/>
                    </a:lnTo>
                    <a:lnTo>
                      <a:pt x="54953" y="9576"/>
                    </a:lnTo>
                    <a:cubicBezTo>
                      <a:pt x="53675" y="10853"/>
                      <a:pt x="52397" y="11491"/>
                      <a:pt x="50480" y="11491"/>
                    </a:cubicBezTo>
                    <a:lnTo>
                      <a:pt x="44730" y="11491"/>
                    </a:lnTo>
                    <a:cubicBezTo>
                      <a:pt x="42813" y="11491"/>
                      <a:pt x="41535" y="10853"/>
                      <a:pt x="40257" y="9576"/>
                    </a:cubicBezTo>
                    <a:lnTo>
                      <a:pt x="30672" y="0"/>
                    </a:lnTo>
                    <a:lnTo>
                      <a:pt x="17892" y="0"/>
                    </a:lnTo>
                    <a:lnTo>
                      <a:pt x="8946" y="4469"/>
                    </a:lnTo>
                    <a:lnTo>
                      <a:pt x="0" y="13407"/>
                    </a:lnTo>
                    <a:lnTo>
                      <a:pt x="0" y="26813"/>
                    </a:lnTo>
                    <a:lnTo>
                      <a:pt x="4473" y="40219"/>
                    </a:lnTo>
                    <a:lnTo>
                      <a:pt x="12141" y="44050"/>
                    </a:lnTo>
                    <a:lnTo>
                      <a:pt x="27477" y="44050"/>
                    </a:lnTo>
                    <a:cubicBezTo>
                      <a:pt x="28755" y="44050"/>
                      <a:pt x="29394" y="44050"/>
                      <a:pt x="30033" y="44688"/>
                    </a:cubicBezTo>
                    <a:lnTo>
                      <a:pt x="41535" y="50434"/>
                    </a:lnTo>
                    <a:cubicBezTo>
                      <a:pt x="43452" y="51710"/>
                      <a:pt x="44730" y="53626"/>
                      <a:pt x="45368" y="56179"/>
                    </a:cubicBezTo>
                    <a:lnTo>
                      <a:pt x="45368" y="60648"/>
                    </a:lnTo>
                    <a:lnTo>
                      <a:pt x="50480" y="70862"/>
                    </a:lnTo>
                    <a:cubicBezTo>
                      <a:pt x="51119" y="71501"/>
                      <a:pt x="51119" y="72778"/>
                      <a:pt x="51119" y="74054"/>
                    </a:cubicBezTo>
                    <a:lnTo>
                      <a:pt x="51119" y="77885"/>
                    </a:lnTo>
                    <a:lnTo>
                      <a:pt x="54953" y="86184"/>
                    </a:lnTo>
                    <a:lnTo>
                      <a:pt x="64538" y="91291"/>
                    </a:lnTo>
                    <a:lnTo>
                      <a:pt x="66455" y="90653"/>
                    </a:lnTo>
                    <a:lnTo>
                      <a:pt x="67094" y="79162"/>
                    </a:lnTo>
                    <a:close/>
                  </a:path>
                </a:pathLst>
              </a:custGeom>
              <a:grpFill/>
              <a:ln w="6390" cap="flat">
                <a:noFill/>
                <a:prstDash val="solid"/>
                <a:miter/>
              </a:ln>
            </p:spPr>
            <p:txBody>
              <a:bodyPr rtlCol="0" anchor="ctr"/>
              <a:lstStyle/>
              <a:p>
                <a:endParaRPr lang="es-BO" sz="1600" noProof="0" dirty="0"/>
              </a:p>
            </p:txBody>
          </p:sp>
          <p:sp>
            <p:nvSpPr>
              <p:cNvPr id="457" name="Graphic 4">
                <a:extLst>
                  <a:ext uri="{FF2B5EF4-FFF2-40B4-BE49-F238E27FC236}">
                    <a16:creationId xmlns:a16="http://schemas.microsoft.com/office/drawing/2014/main" xmlns="" id="{69AAF5A7-028B-F522-2DE2-109F0BF474E7}"/>
                  </a:ext>
                </a:extLst>
              </p:cNvPr>
              <p:cNvSpPr/>
              <p:nvPr/>
            </p:nvSpPr>
            <p:spPr>
              <a:xfrm>
                <a:off x="10217480" y="5557306"/>
                <a:ext cx="222816" cy="202372"/>
              </a:xfrm>
              <a:custGeom>
                <a:avLst/>
                <a:gdLst>
                  <a:gd name="connsiteX0" fmla="*/ 199366 w 202560"/>
                  <a:gd name="connsiteY0" fmla="*/ 105974 h 202372"/>
                  <a:gd name="connsiteX1" fmla="*/ 186586 w 202560"/>
                  <a:gd name="connsiteY1" fmla="*/ 93206 h 202372"/>
                  <a:gd name="connsiteX2" fmla="*/ 185308 w 202560"/>
                  <a:gd name="connsiteY2" fmla="*/ 94483 h 202372"/>
                  <a:gd name="connsiteX3" fmla="*/ 181474 w 202560"/>
                  <a:gd name="connsiteY3" fmla="*/ 98952 h 202372"/>
                  <a:gd name="connsiteX4" fmla="*/ 185308 w 202560"/>
                  <a:gd name="connsiteY4" fmla="*/ 102782 h 202372"/>
                  <a:gd name="connsiteX5" fmla="*/ 187225 w 202560"/>
                  <a:gd name="connsiteY5" fmla="*/ 107251 h 202372"/>
                  <a:gd name="connsiteX6" fmla="*/ 187225 w 202560"/>
                  <a:gd name="connsiteY6" fmla="*/ 112997 h 202372"/>
                  <a:gd name="connsiteX7" fmla="*/ 186586 w 202560"/>
                  <a:gd name="connsiteY7" fmla="*/ 115550 h 202372"/>
                  <a:gd name="connsiteX8" fmla="*/ 180835 w 202560"/>
                  <a:gd name="connsiteY8" fmla="*/ 127041 h 202372"/>
                  <a:gd name="connsiteX9" fmla="*/ 175084 w 202560"/>
                  <a:gd name="connsiteY9" fmla="*/ 130233 h 202372"/>
                  <a:gd name="connsiteX10" fmla="*/ 163582 w 202560"/>
                  <a:gd name="connsiteY10" fmla="*/ 130233 h 202372"/>
                  <a:gd name="connsiteX11" fmla="*/ 157831 w 202560"/>
                  <a:gd name="connsiteY11" fmla="*/ 127041 h 202372"/>
                  <a:gd name="connsiteX12" fmla="*/ 152080 w 202560"/>
                  <a:gd name="connsiteY12" fmla="*/ 115550 h 202372"/>
                  <a:gd name="connsiteX13" fmla="*/ 151441 w 202560"/>
                  <a:gd name="connsiteY13" fmla="*/ 114273 h 202372"/>
                  <a:gd name="connsiteX14" fmla="*/ 146969 w 202560"/>
                  <a:gd name="connsiteY14" fmla="*/ 93206 h 202372"/>
                  <a:gd name="connsiteX15" fmla="*/ 145052 w 202560"/>
                  <a:gd name="connsiteY15" fmla="*/ 95121 h 202372"/>
                  <a:gd name="connsiteX16" fmla="*/ 140579 w 202560"/>
                  <a:gd name="connsiteY16" fmla="*/ 97037 h 202372"/>
                  <a:gd name="connsiteX17" fmla="*/ 134828 w 202560"/>
                  <a:gd name="connsiteY17" fmla="*/ 97037 h 202372"/>
                  <a:gd name="connsiteX18" fmla="*/ 129077 w 202560"/>
                  <a:gd name="connsiteY18" fmla="*/ 93845 h 202372"/>
                  <a:gd name="connsiteX19" fmla="*/ 125243 w 202560"/>
                  <a:gd name="connsiteY19" fmla="*/ 86184 h 202372"/>
                  <a:gd name="connsiteX20" fmla="*/ 115019 w 202560"/>
                  <a:gd name="connsiteY20" fmla="*/ 86184 h 202372"/>
                  <a:gd name="connsiteX21" fmla="*/ 111185 w 202560"/>
                  <a:gd name="connsiteY21" fmla="*/ 90014 h 202372"/>
                  <a:gd name="connsiteX22" fmla="*/ 106712 w 202560"/>
                  <a:gd name="connsiteY22" fmla="*/ 91930 h 202372"/>
                  <a:gd name="connsiteX23" fmla="*/ 83708 w 202560"/>
                  <a:gd name="connsiteY23" fmla="*/ 91930 h 202372"/>
                  <a:gd name="connsiteX24" fmla="*/ 77318 w 202560"/>
                  <a:gd name="connsiteY24" fmla="*/ 85546 h 202372"/>
                  <a:gd name="connsiteX25" fmla="*/ 77318 w 202560"/>
                  <a:gd name="connsiteY25" fmla="*/ 74054 h 202372"/>
                  <a:gd name="connsiteX26" fmla="*/ 79235 w 202560"/>
                  <a:gd name="connsiteY26" fmla="*/ 69586 h 202372"/>
                  <a:gd name="connsiteX27" fmla="*/ 84986 w 202560"/>
                  <a:gd name="connsiteY27" fmla="*/ 63840 h 202372"/>
                  <a:gd name="connsiteX28" fmla="*/ 89459 w 202560"/>
                  <a:gd name="connsiteY28" fmla="*/ 61925 h 202372"/>
                  <a:gd name="connsiteX29" fmla="*/ 92654 w 202560"/>
                  <a:gd name="connsiteY29" fmla="*/ 61925 h 202372"/>
                  <a:gd name="connsiteX30" fmla="*/ 96488 w 202560"/>
                  <a:gd name="connsiteY30" fmla="*/ 58094 h 202372"/>
                  <a:gd name="connsiteX31" fmla="*/ 97127 w 202560"/>
                  <a:gd name="connsiteY31" fmla="*/ 57456 h 202372"/>
                  <a:gd name="connsiteX32" fmla="*/ 95210 w 202560"/>
                  <a:gd name="connsiteY32" fmla="*/ 53626 h 202372"/>
                  <a:gd name="connsiteX33" fmla="*/ 94571 w 202560"/>
                  <a:gd name="connsiteY33" fmla="*/ 48518 h 202372"/>
                  <a:gd name="connsiteX34" fmla="*/ 100322 w 202560"/>
                  <a:gd name="connsiteY34" fmla="*/ 31282 h 202372"/>
                  <a:gd name="connsiteX35" fmla="*/ 104156 w 202560"/>
                  <a:gd name="connsiteY35" fmla="*/ 27451 h 202372"/>
                  <a:gd name="connsiteX36" fmla="*/ 121409 w 202560"/>
                  <a:gd name="connsiteY36" fmla="*/ 21706 h 202372"/>
                  <a:gd name="connsiteX37" fmla="*/ 123326 w 202560"/>
                  <a:gd name="connsiteY37" fmla="*/ 21706 h 202372"/>
                  <a:gd name="connsiteX38" fmla="*/ 127160 w 202560"/>
                  <a:gd name="connsiteY38" fmla="*/ 21706 h 202372"/>
                  <a:gd name="connsiteX39" fmla="*/ 123326 w 202560"/>
                  <a:gd name="connsiteY39" fmla="*/ 14045 h 202372"/>
                  <a:gd name="connsiteX40" fmla="*/ 123326 w 202560"/>
                  <a:gd name="connsiteY40" fmla="*/ 8299 h 202372"/>
                  <a:gd name="connsiteX41" fmla="*/ 125882 w 202560"/>
                  <a:gd name="connsiteY41" fmla="*/ 3830 h 202372"/>
                  <a:gd name="connsiteX42" fmla="*/ 100961 w 202560"/>
                  <a:gd name="connsiteY42" fmla="*/ 0 h 202372"/>
                  <a:gd name="connsiteX43" fmla="*/ 83708 w 202560"/>
                  <a:gd name="connsiteY43" fmla="*/ 1277 h 202372"/>
                  <a:gd name="connsiteX44" fmla="*/ 84986 w 202560"/>
                  <a:gd name="connsiteY44" fmla="*/ 4469 h 202372"/>
                  <a:gd name="connsiteX45" fmla="*/ 84986 w 202560"/>
                  <a:gd name="connsiteY45" fmla="*/ 10214 h 202372"/>
                  <a:gd name="connsiteX46" fmla="*/ 81152 w 202560"/>
                  <a:gd name="connsiteY46" fmla="*/ 15960 h 202372"/>
                  <a:gd name="connsiteX47" fmla="*/ 69650 w 202560"/>
                  <a:gd name="connsiteY47" fmla="*/ 21706 h 202372"/>
                  <a:gd name="connsiteX48" fmla="*/ 67094 w 202560"/>
                  <a:gd name="connsiteY48" fmla="*/ 22344 h 202372"/>
                  <a:gd name="connsiteX49" fmla="*/ 58148 w 202560"/>
                  <a:gd name="connsiteY49" fmla="*/ 22344 h 202372"/>
                  <a:gd name="connsiteX50" fmla="*/ 50480 w 202560"/>
                  <a:gd name="connsiteY50" fmla="*/ 30005 h 202372"/>
                  <a:gd name="connsiteX51" fmla="*/ 50480 w 202560"/>
                  <a:gd name="connsiteY51" fmla="*/ 33197 h 202372"/>
                  <a:gd name="connsiteX52" fmla="*/ 48563 w 202560"/>
                  <a:gd name="connsiteY52" fmla="*/ 37666 h 202372"/>
                  <a:gd name="connsiteX53" fmla="*/ 42813 w 202560"/>
                  <a:gd name="connsiteY53" fmla="*/ 43411 h 202372"/>
                  <a:gd name="connsiteX54" fmla="*/ 40896 w 202560"/>
                  <a:gd name="connsiteY54" fmla="*/ 44688 h 202372"/>
                  <a:gd name="connsiteX55" fmla="*/ 17892 w 202560"/>
                  <a:gd name="connsiteY55" fmla="*/ 56179 h 202372"/>
                  <a:gd name="connsiteX56" fmla="*/ 15336 w 202560"/>
                  <a:gd name="connsiteY56" fmla="*/ 56818 h 202372"/>
                  <a:gd name="connsiteX57" fmla="*/ 9585 w 202560"/>
                  <a:gd name="connsiteY57" fmla="*/ 56818 h 202372"/>
                  <a:gd name="connsiteX58" fmla="*/ 0 w 202560"/>
                  <a:gd name="connsiteY58" fmla="*/ 89376 h 202372"/>
                  <a:gd name="connsiteX59" fmla="*/ 8946 w 202560"/>
                  <a:gd name="connsiteY59" fmla="*/ 102782 h 202372"/>
                  <a:gd name="connsiteX60" fmla="*/ 14058 w 202560"/>
                  <a:gd name="connsiteY60" fmla="*/ 107889 h 202372"/>
                  <a:gd name="connsiteX61" fmla="*/ 15975 w 202560"/>
                  <a:gd name="connsiteY61" fmla="*/ 112358 h 202372"/>
                  <a:gd name="connsiteX62" fmla="*/ 15975 w 202560"/>
                  <a:gd name="connsiteY62" fmla="*/ 127041 h 202372"/>
                  <a:gd name="connsiteX63" fmla="*/ 25560 w 202560"/>
                  <a:gd name="connsiteY63" fmla="*/ 141086 h 202372"/>
                  <a:gd name="connsiteX64" fmla="*/ 35145 w 202560"/>
                  <a:gd name="connsiteY64" fmla="*/ 146193 h 202372"/>
                  <a:gd name="connsiteX65" fmla="*/ 38979 w 202560"/>
                  <a:gd name="connsiteY65" fmla="*/ 151939 h 202372"/>
                  <a:gd name="connsiteX66" fmla="*/ 38979 w 202560"/>
                  <a:gd name="connsiteY66" fmla="*/ 157684 h 202372"/>
                  <a:gd name="connsiteX67" fmla="*/ 38340 w 202560"/>
                  <a:gd name="connsiteY67" fmla="*/ 160876 h 202372"/>
                  <a:gd name="connsiteX68" fmla="*/ 33228 w 202560"/>
                  <a:gd name="connsiteY68" fmla="*/ 171091 h 202372"/>
                  <a:gd name="connsiteX69" fmla="*/ 33228 w 202560"/>
                  <a:gd name="connsiteY69" fmla="*/ 176836 h 202372"/>
                  <a:gd name="connsiteX70" fmla="*/ 100961 w 202560"/>
                  <a:gd name="connsiteY70" fmla="*/ 202372 h 202372"/>
                  <a:gd name="connsiteX71" fmla="*/ 113102 w 202560"/>
                  <a:gd name="connsiteY71" fmla="*/ 201734 h 202372"/>
                  <a:gd name="connsiteX72" fmla="*/ 112463 w 202560"/>
                  <a:gd name="connsiteY72" fmla="*/ 200457 h 202372"/>
                  <a:gd name="connsiteX73" fmla="*/ 106712 w 202560"/>
                  <a:gd name="connsiteY73" fmla="*/ 188966 h 202372"/>
                  <a:gd name="connsiteX74" fmla="*/ 106073 w 202560"/>
                  <a:gd name="connsiteY74" fmla="*/ 185774 h 202372"/>
                  <a:gd name="connsiteX75" fmla="*/ 106073 w 202560"/>
                  <a:gd name="connsiteY75" fmla="*/ 181305 h 202372"/>
                  <a:gd name="connsiteX76" fmla="*/ 101600 w 202560"/>
                  <a:gd name="connsiteY76" fmla="*/ 172368 h 202372"/>
                  <a:gd name="connsiteX77" fmla="*/ 100961 w 202560"/>
                  <a:gd name="connsiteY77" fmla="*/ 169176 h 202372"/>
                  <a:gd name="connsiteX78" fmla="*/ 100961 w 202560"/>
                  <a:gd name="connsiteY78" fmla="*/ 167260 h 202372"/>
                  <a:gd name="connsiteX79" fmla="*/ 94571 w 202560"/>
                  <a:gd name="connsiteY79" fmla="*/ 164068 h 202372"/>
                  <a:gd name="connsiteX80" fmla="*/ 79235 w 202560"/>
                  <a:gd name="connsiteY80" fmla="*/ 164068 h 202372"/>
                  <a:gd name="connsiteX81" fmla="*/ 76679 w 202560"/>
                  <a:gd name="connsiteY81" fmla="*/ 163430 h 202372"/>
                  <a:gd name="connsiteX82" fmla="*/ 65177 w 202560"/>
                  <a:gd name="connsiteY82" fmla="*/ 157684 h 202372"/>
                  <a:gd name="connsiteX83" fmla="*/ 61982 w 202560"/>
                  <a:gd name="connsiteY83" fmla="*/ 153854 h 202372"/>
                  <a:gd name="connsiteX84" fmla="*/ 56231 w 202560"/>
                  <a:gd name="connsiteY84" fmla="*/ 136617 h 202372"/>
                  <a:gd name="connsiteX85" fmla="*/ 55592 w 202560"/>
                  <a:gd name="connsiteY85" fmla="*/ 134702 h 202372"/>
                  <a:gd name="connsiteX86" fmla="*/ 55592 w 202560"/>
                  <a:gd name="connsiteY86" fmla="*/ 117465 h 202372"/>
                  <a:gd name="connsiteX87" fmla="*/ 57509 w 202560"/>
                  <a:gd name="connsiteY87" fmla="*/ 112997 h 202372"/>
                  <a:gd name="connsiteX88" fmla="*/ 69011 w 202560"/>
                  <a:gd name="connsiteY88" fmla="*/ 101505 h 202372"/>
                  <a:gd name="connsiteX89" fmla="*/ 70928 w 202560"/>
                  <a:gd name="connsiteY89" fmla="*/ 100229 h 202372"/>
                  <a:gd name="connsiteX90" fmla="*/ 82430 w 202560"/>
                  <a:gd name="connsiteY90" fmla="*/ 94483 h 202372"/>
                  <a:gd name="connsiteX91" fmla="*/ 84986 w 202560"/>
                  <a:gd name="connsiteY91" fmla="*/ 93845 h 202372"/>
                  <a:gd name="connsiteX92" fmla="*/ 101600 w 202560"/>
                  <a:gd name="connsiteY92" fmla="*/ 93845 h 202372"/>
                  <a:gd name="connsiteX93" fmla="*/ 106073 w 202560"/>
                  <a:gd name="connsiteY93" fmla="*/ 95760 h 202372"/>
                  <a:gd name="connsiteX94" fmla="*/ 115658 w 202560"/>
                  <a:gd name="connsiteY94" fmla="*/ 105336 h 202372"/>
                  <a:gd name="connsiteX95" fmla="*/ 119492 w 202560"/>
                  <a:gd name="connsiteY95" fmla="*/ 101505 h 202372"/>
                  <a:gd name="connsiteX96" fmla="*/ 123965 w 202560"/>
                  <a:gd name="connsiteY96" fmla="*/ 99590 h 202372"/>
                  <a:gd name="connsiteX97" fmla="*/ 141218 w 202560"/>
                  <a:gd name="connsiteY97" fmla="*/ 99590 h 202372"/>
                  <a:gd name="connsiteX98" fmla="*/ 147607 w 202560"/>
                  <a:gd name="connsiteY98" fmla="*/ 105974 h 202372"/>
                  <a:gd name="connsiteX99" fmla="*/ 147607 w 202560"/>
                  <a:gd name="connsiteY99" fmla="*/ 110443 h 202372"/>
                  <a:gd name="connsiteX100" fmla="*/ 157192 w 202560"/>
                  <a:gd name="connsiteY100" fmla="*/ 129595 h 202372"/>
                  <a:gd name="connsiteX101" fmla="*/ 171889 w 202560"/>
                  <a:gd name="connsiteY101" fmla="*/ 134702 h 202372"/>
                  <a:gd name="connsiteX102" fmla="*/ 176362 w 202560"/>
                  <a:gd name="connsiteY102" fmla="*/ 141086 h 202372"/>
                  <a:gd name="connsiteX103" fmla="*/ 176362 w 202560"/>
                  <a:gd name="connsiteY103" fmla="*/ 146193 h 202372"/>
                  <a:gd name="connsiteX104" fmla="*/ 174445 w 202560"/>
                  <a:gd name="connsiteY104" fmla="*/ 150662 h 202372"/>
                  <a:gd name="connsiteX105" fmla="*/ 159109 w 202560"/>
                  <a:gd name="connsiteY105" fmla="*/ 165984 h 202372"/>
                  <a:gd name="connsiteX106" fmla="*/ 159109 w 202560"/>
                  <a:gd name="connsiteY106" fmla="*/ 174921 h 202372"/>
                  <a:gd name="connsiteX107" fmla="*/ 157192 w 202560"/>
                  <a:gd name="connsiteY107" fmla="*/ 179390 h 202372"/>
                  <a:gd name="connsiteX108" fmla="*/ 147607 w 202560"/>
                  <a:gd name="connsiteY108" fmla="*/ 188966 h 202372"/>
                  <a:gd name="connsiteX109" fmla="*/ 147607 w 202560"/>
                  <a:gd name="connsiteY109" fmla="*/ 191519 h 202372"/>
                  <a:gd name="connsiteX110" fmla="*/ 162943 w 202560"/>
                  <a:gd name="connsiteY110" fmla="*/ 181944 h 202372"/>
                  <a:gd name="connsiteX111" fmla="*/ 162943 w 202560"/>
                  <a:gd name="connsiteY111" fmla="*/ 169814 h 202372"/>
                  <a:gd name="connsiteX112" fmla="*/ 169333 w 202560"/>
                  <a:gd name="connsiteY112" fmla="*/ 163430 h 202372"/>
                  <a:gd name="connsiteX113" fmla="*/ 175723 w 202560"/>
                  <a:gd name="connsiteY113" fmla="*/ 169814 h 202372"/>
                  <a:gd name="connsiteX114" fmla="*/ 175723 w 202560"/>
                  <a:gd name="connsiteY114" fmla="*/ 170452 h 202372"/>
                  <a:gd name="connsiteX115" fmla="*/ 202561 w 202560"/>
                  <a:gd name="connsiteY115" fmla="*/ 107889 h 202372"/>
                  <a:gd name="connsiteX116" fmla="*/ 199366 w 202560"/>
                  <a:gd name="connsiteY116" fmla="*/ 105974 h 202372"/>
                  <a:gd name="connsiteX117" fmla="*/ 74762 w 202560"/>
                  <a:gd name="connsiteY117" fmla="*/ 45965 h 202372"/>
                  <a:gd name="connsiteX118" fmla="*/ 79235 w 202560"/>
                  <a:gd name="connsiteY118" fmla="*/ 41496 h 202372"/>
                  <a:gd name="connsiteX119" fmla="*/ 84347 w 202560"/>
                  <a:gd name="connsiteY119" fmla="*/ 26174 h 202372"/>
                  <a:gd name="connsiteX120" fmla="*/ 92015 w 202560"/>
                  <a:gd name="connsiteY120" fmla="*/ 21706 h 202372"/>
                  <a:gd name="connsiteX121" fmla="*/ 96488 w 202560"/>
                  <a:gd name="connsiteY121" fmla="*/ 29366 h 202372"/>
                  <a:gd name="connsiteX122" fmla="*/ 95849 w 202560"/>
                  <a:gd name="connsiteY122" fmla="*/ 30643 h 202372"/>
                  <a:gd name="connsiteX123" fmla="*/ 90098 w 202560"/>
                  <a:gd name="connsiteY123" fmla="*/ 47880 h 202372"/>
                  <a:gd name="connsiteX124" fmla="*/ 88820 w 202560"/>
                  <a:gd name="connsiteY124" fmla="*/ 50434 h 202372"/>
                  <a:gd name="connsiteX125" fmla="*/ 83069 w 202560"/>
                  <a:gd name="connsiteY125" fmla="*/ 56179 h 202372"/>
                  <a:gd name="connsiteX126" fmla="*/ 78596 w 202560"/>
                  <a:gd name="connsiteY126" fmla="*/ 58094 h 202372"/>
                  <a:gd name="connsiteX127" fmla="*/ 74123 w 202560"/>
                  <a:gd name="connsiteY127" fmla="*/ 56179 h 202372"/>
                  <a:gd name="connsiteX128" fmla="*/ 74762 w 202560"/>
                  <a:gd name="connsiteY128" fmla="*/ 45965 h 202372"/>
                  <a:gd name="connsiteX129" fmla="*/ 74762 w 202560"/>
                  <a:gd name="connsiteY129" fmla="*/ 45965 h 20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2560" h="202372">
                    <a:moveTo>
                      <a:pt x="199366" y="105974"/>
                    </a:moveTo>
                    <a:lnTo>
                      <a:pt x="186586" y="93206"/>
                    </a:lnTo>
                    <a:cubicBezTo>
                      <a:pt x="186586" y="93845"/>
                      <a:pt x="185947" y="93845"/>
                      <a:pt x="185308" y="94483"/>
                    </a:cubicBezTo>
                    <a:lnTo>
                      <a:pt x="181474" y="98952"/>
                    </a:lnTo>
                    <a:lnTo>
                      <a:pt x="185308" y="102782"/>
                    </a:lnTo>
                    <a:cubicBezTo>
                      <a:pt x="186586" y="104059"/>
                      <a:pt x="187225" y="105336"/>
                      <a:pt x="187225" y="107251"/>
                    </a:cubicBezTo>
                    <a:lnTo>
                      <a:pt x="187225" y="112997"/>
                    </a:lnTo>
                    <a:cubicBezTo>
                      <a:pt x="187225" y="114273"/>
                      <a:pt x="187225" y="114912"/>
                      <a:pt x="186586" y="115550"/>
                    </a:cubicBezTo>
                    <a:lnTo>
                      <a:pt x="180835" y="127041"/>
                    </a:lnTo>
                    <a:cubicBezTo>
                      <a:pt x="179557" y="128957"/>
                      <a:pt x="177640" y="130233"/>
                      <a:pt x="175084" y="130233"/>
                    </a:cubicBezTo>
                    <a:lnTo>
                      <a:pt x="163582" y="130233"/>
                    </a:lnTo>
                    <a:cubicBezTo>
                      <a:pt x="161026" y="130233"/>
                      <a:pt x="159109" y="128957"/>
                      <a:pt x="157831" y="127041"/>
                    </a:cubicBezTo>
                    <a:lnTo>
                      <a:pt x="152080" y="115550"/>
                    </a:lnTo>
                    <a:cubicBezTo>
                      <a:pt x="152080" y="114912"/>
                      <a:pt x="151441" y="114273"/>
                      <a:pt x="151441" y="114273"/>
                    </a:cubicBezTo>
                    <a:lnTo>
                      <a:pt x="146969" y="93206"/>
                    </a:lnTo>
                    <a:lnTo>
                      <a:pt x="145052" y="95121"/>
                    </a:lnTo>
                    <a:cubicBezTo>
                      <a:pt x="143774" y="96398"/>
                      <a:pt x="142496" y="97037"/>
                      <a:pt x="140579" y="97037"/>
                    </a:cubicBezTo>
                    <a:lnTo>
                      <a:pt x="134828" y="97037"/>
                    </a:lnTo>
                    <a:cubicBezTo>
                      <a:pt x="132272" y="97037"/>
                      <a:pt x="130355" y="95760"/>
                      <a:pt x="129077" y="93845"/>
                    </a:cubicBezTo>
                    <a:lnTo>
                      <a:pt x="125243" y="86184"/>
                    </a:lnTo>
                    <a:lnTo>
                      <a:pt x="115019" y="86184"/>
                    </a:lnTo>
                    <a:lnTo>
                      <a:pt x="111185" y="90014"/>
                    </a:lnTo>
                    <a:cubicBezTo>
                      <a:pt x="109907" y="91291"/>
                      <a:pt x="108629" y="91930"/>
                      <a:pt x="106712" y="91930"/>
                    </a:cubicBezTo>
                    <a:lnTo>
                      <a:pt x="83708" y="91930"/>
                    </a:lnTo>
                    <a:cubicBezTo>
                      <a:pt x="79874" y="91930"/>
                      <a:pt x="77318" y="89376"/>
                      <a:pt x="77318" y="85546"/>
                    </a:cubicBezTo>
                    <a:lnTo>
                      <a:pt x="77318" y="74054"/>
                    </a:lnTo>
                    <a:cubicBezTo>
                      <a:pt x="77318" y="72139"/>
                      <a:pt x="77957" y="70862"/>
                      <a:pt x="79235" y="69586"/>
                    </a:cubicBezTo>
                    <a:lnTo>
                      <a:pt x="84986" y="63840"/>
                    </a:lnTo>
                    <a:cubicBezTo>
                      <a:pt x="86264" y="62563"/>
                      <a:pt x="87542" y="61925"/>
                      <a:pt x="89459" y="61925"/>
                    </a:cubicBezTo>
                    <a:lnTo>
                      <a:pt x="92654" y="61925"/>
                    </a:lnTo>
                    <a:lnTo>
                      <a:pt x="96488" y="58094"/>
                    </a:lnTo>
                    <a:cubicBezTo>
                      <a:pt x="96488" y="58094"/>
                      <a:pt x="97127" y="58094"/>
                      <a:pt x="97127" y="57456"/>
                    </a:cubicBezTo>
                    <a:lnTo>
                      <a:pt x="95210" y="53626"/>
                    </a:lnTo>
                    <a:cubicBezTo>
                      <a:pt x="94571" y="52349"/>
                      <a:pt x="94571" y="50434"/>
                      <a:pt x="94571" y="48518"/>
                    </a:cubicBezTo>
                    <a:lnTo>
                      <a:pt x="100322" y="31282"/>
                    </a:lnTo>
                    <a:cubicBezTo>
                      <a:pt x="100961" y="29366"/>
                      <a:pt x="102239" y="28090"/>
                      <a:pt x="104156" y="27451"/>
                    </a:cubicBezTo>
                    <a:lnTo>
                      <a:pt x="121409" y="21706"/>
                    </a:lnTo>
                    <a:cubicBezTo>
                      <a:pt x="122048" y="21706"/>
                      <a:pt x="122687" y="21706"/>
                      <a:pt x="123326" y="21706"/>
                    </a:cubicBezTo>
                    <a:lnTo>
                      <a:pt x="127160" y="21706"/>
                    </a:lnTo>
                    <a:lnTo>
                      <a:pt x="123326" y="14045"/>
                    </a:lnTo>
                    <a:cubicBezTo>
                      <a:pt x="122687" y="12130"/>
                      <a:pt x="122687" y="10214"/>
                      <a:pt x="123326" y="8299"/>
                    </a:cubicBezTo>
                    <a:lnTo>
                      <a:pt x="125882" y="3830"/>
                    </a:lnTo>
                    <a:cubicBezTo>
                      <a:pt x="117575" y="1277"/>
                      <a:pt x="109268" y="638"/>
                      <a:pt x="100961" y="0"/>
                    </a:cubicBezTo>
                    <a:cubicBezTo>
                      <a:pt x="95210" y="0"/>
                      <a:pt x="89459" y="638"/>
                      <a:pt x="83708" y="1277"/>
                    </a:cubicBezTo>
                    <a:cubicBezTo>
                      <a:pt x="84347" y="2554"/>
                      <a:pt x="84986" y="3192"/>
                      <a:pt x="84986" y="4469"/>
                    </a:cubicBezTo>
                    <a:lnTo>
                      <a:pt x="84986" y="10214"/>
                    </a:lnTo>
                    <a:cubicBezTo>
                      <a:pt x="84986" y="12768"/>
                      <a:pt x="83708" y="14683"/>
                      <a:pt x="81152" y="15960"/>
                    </a:cubicBezTo>
                    <a:lnTo>
                      <a:pt x="69650" y="21706"/>
                    </a:lnTo>
                    <a:cubicBezTo>
                      <a:pt x="69011" y="22344"/>
                      <a:pt x="67733" y="22344"/>
                      <a:pt x="67094" y="22344"/>
                    </a:cubicBezTo>
                    <a:lnTo>
                      <a:pt x="58148" y="22344"/>
                    </a:lnTo>
                    <a:lnTo>
                      <a:pt x="50480" y="30005"/>
                    </a:lnTo>
                    <a:lnTo>
                      <a:pt x="50480" y="33197"/>
                    </a:lnTo>
                    <a:cubicBezTo>
                      <a:pt x="50480" y="35112"/>
                      <a:pt x="49841" y="36389"/>
                      <a:pt x="48563" y="37666"/>
                    </a:cubicBezTo>
                    <a:lnTo>
                      <a:pt x="42813" y="43411"/>
                    </a:lnTo>
                    <a:cubicBezTo>
                      <a:pt x="42174" y="44050"/>
                      <a:pt x="41535" y="44050"/>
                      <a:pt x="40896" y="44688"/>
                    </a:cubicBezTo>
                    <a:lnTo>
                      <a:pt x="17892" y="56179"/>
                    </a:lnTo>
                    <a:cubicBezTo>
                      <a:pt x="17253" y="56818"/>
                      <a:pt x="15975" y="56818"/>
                      <a:pt x="15336" y="56818"/>
                    </a:cubicBezTo>
                    <a:lnTo>
                      <a:pt x="9585" y="56818"/>
                    </a:lnTo>
                    <a:cubicBezTo>
                      <a:pt x="4473" y="67032"/>
                      <a:pt x="1278" y="77885"/>
                      <a:pt x="0" y="89376"/>
                    </a:cubicBezTo>
                    <a:lnTo>
                      <a:pt x="8946" y="102782"/>
                    </a:lnTo>
                    <a:lnTo>
                      <a:pt x="14058" y="107889"/>
                    </a:lnTo>
                    <a:cubicBezTo>
                      <a:pt x="15336" y="109166"/>
                      <a:pt x="15975" y="110443"/>
                      <a:pt x="15975" y="112358"/>
                    </a:cubicBezTo>
                    <a:lnTo>
                      <a:pt x="15975" y="127041"/>
                    </a:lnTo>
                    <a:lnTo>
                      <a:pt x="25560" y="141086"/>
                    </a:lnTo>
                    <a:lnTo>
                      <a:pt x="35145" y="146193"/>
                    </a:lnTo>
                    <a:cubicBezTo>
                      <a:pt x="37062" y="147470"/>
                      <a:pt x="38340" y="149385"/>
                      <a:pt x="38979" y="151939"/>
                    </a:cubicBezTo>
                    <a:lnTo>
                      <a:pt x="38979" y="157684"/>
                    </a:lnTo>
                    <a:cubicBezTo>
                      <a:pt x="38979" y="158961"/>
                      <a:pt x="38979" y="159600"/>
                      <a:pt x="38340" y="160876"/>
                    </a:cubicBezTo>
                    <a:lnTo>
                      <a:pt x="33228" y="171091"/>
                    </a:lnTo>
                    <a:lnTo>
                      <a:pt x="33228" y="176836"/>
                    </a:lnTo>
                    <a:cubicBezTo>
                      <a:pt x="51758" y="193435"/>
                      <a:pt x="76040" y="202372"/>
                      <a:pt x="100961" y="202372"/>
                    </a:cubicBezTo>
                    <a:cubicBezTo>
                      <a:pt x="104795" y="202372"/>
                      <a:pt x="109268" y="201734"/>
                      <a:pt x="113102" y="201734"/>
                    </a:cubicBezTo>
                    <a:cubicBezTo>
                      <a:pt x="112463" y="201095"/>
                      <a:pt x="112463" y="201095"/>
                      <a:pt x="112463" y="200457"/>
                    </a:cubicBezTo>
                    <a:lnTo>
                      <a:pt x="106712" y="188966"/>
                    </a:lnTo>
                    <a:cubicBezTo>
                      <a:pt x="106073" y="188327"/>
                      <a:pt x="106073" y="187051"/>
                      <a:pt x="106073" y="185774"/>
                    </a:cubicBezTo>
                    <a:lnTo>
                      <a:pt x="106073" y="181305"/>
                    </a:lnTo>
                    <a:lnTo>
                      <a:pt x="101600" y="172368"/>
                    </a:lnTo>
                    <a:cubicBezTo>
                      <a:pt x="100961" y="171729"/>
                      <a:pt x="100961" y="170452"/>
                      <a:pt x="100961" y="169176"/>
                    </a:cubicBezTo>
                    <a:lnTo>
                      <a:pt x="100961" y="167260"/>
                    </a:lnTo>
                    <a:lnTo>
                      <a:pt x="94571" y="164068"/>
                    </a:lnTo>
                    <a:lnTo>
                      <a:pt x="79235" y="164068"/>
                    </a:lnTo>
                    <a:cubicBezTo>
                      <a:pt x="77957" y="164068"/>
                      <a:pt x="77318" y="164068"/>
                      <a:pt x="76679" y="163430"/>
                    </a:cubicBezTo>
                    <a:lnTo>
                      <a:pt x="65177" y="157684"/>
                    </a:lnTo>
                    <a:cubicBezTo>
                      <a:pt x="63899" y="157046"/>
                      <a:pt x="62621" y="155769"/>
                      <a:pt x="61982" y="153854"/>
                    </a:cubicBezTo>
                    <a:lnTo>
                      <a:pt x="56231" y="136617"/>
                    </a:lnTo>
                    <a:cubicBezTo>
                      <a:pt x="56231" y="135979"/>
                      <a:pt x="56231" y="135341"/>
                      <a:pt x="55592" y="134702"/>
                    </a:cubicBezTo>
                    <a:lnTo>
                      <a:pt x="55592" y="117465"/>
                    </a:lnTo>
                    <a:cubicBezTo>
                      <a:pt x="55592" y="115550"/>
                      <a:pt x="56231" y="114273"/>
                      <a:pt x="57509" y="112997"/>
                    </a:cubicBezTo>
                    <a:lnTo>
                      <a:pt x="69011" y="101505"/>
                    </a:lnTo>
                    <a:cubicBezTo>
                      <a:pt x="69650" y="100867"/>
                      <a:pt x="70289" y="100867"/>
                      <a:pt x="70928" y="100229"/>
                    </a:cubicBezTo>
                    <a:lnTo>
                      <a:pt x="82430" y="94483"/>
                    </a:lnTo>
                    <a:cubicBezTo>
                      <a:pt x="83069" y="93845"/>
                      <a:pt x="84347" y="93845"/>
                      <a:pt x="84986" y="93845"/>
                    </a:cubicBezTo>
                    <a:lnTo>
                      <a:pt x="101600" y="93845"/>
                    </a:lnTo>
                    <a:cubicBezTo>
                      <a:pt x="103517" y="93845"/>
                      <a:pt x="104795" y="94483"/>
                      <a:pt x="106073" y="95760"/>
                    </a:cubicBezTo>
                    <a:lnTo>
                      <a:pt x="115658" y="105336"/>
                    </a:lnTo>
                    <a:lnTo>
                      <a:pt x="119492" y="101505"/>
                    </a:lnTo>
                    <a:cubicBezTo>
                      <a:pt x="120770" y="100229"/>
                      <a:pt x="122048" y="99590"/>
                      <a:pt x="123965" y="99590"/>
                    </a:cubicBezTo>
                    <a:lnTo>
                      <a:pt x="141218" y="99590"/>
                    </a:lnTo>
                    <a:cubicBezTo>
                      <a:pt x="145052" y="99590"/>
                      <a:pt x="147607" y="102144"/>
                      <a:pt x="147607" y="105974"/>
                    </a:cubicBezTo>
                    <a:lnTo>
                      <a:pt x="147607" y="110443"/>
                    </a:lnTo>
                    <a:lnTo>
                      <a:pt x="157192" y="129595"/>
                    </a:lnTo>
                    <a:lnTo>
                      <a:pt x="171889" y="134702"/>
                    </a:lnTo>
                    <a:cubicBezTo>
                      <a:pt x="174445" y="135341"/>
                      <a:pt x="176362" y="138533"/>
                      <a:pt x="176362" y="141086"/>
                    </a:cubicBezTo>
                    <a:lnTo>
                      <a:pt x="176362" y="146193"/>
                    </a:lnTo>
                    <a:cubicBezTo>
                      <a:pt x="176362" y="148108"/>
                      <a:pt x="175723" y="149385"/>
                      <a:pt x="174445" y="150662"/>
                    </a:cubicBezTo>
                    <a:lnTo>
                      <a:pt x="159109" y="165984"/>
                    </a:lnTo>
                    <a:lnTo>
                      <a:pt x="159109" y="174921"/>
                    </a:lnTo>
                    <a:cubicBezTo>
                      <a:pt x="159109" y="176836"/>
                      <a:pt x="158470" y="178113"/>
                      <a:pt x="157192" y="179390"/>
                    </a:cubicBezTo>
                    <a:lnTo>
                      <a:pt x="147607" y="188966"/>
                    </a:lnTo>
                    <a:lnTo>
                      <a:pt x="147607" y="191519"/>
                    </a:lnTo>
                    <a:cubicBezTo>
                      <a:pt x="153358" y="188966"/>
                      <a:pt x="158470" y="185135"/>
                      <a:pt x="162943" y="181944"/>
                    </a:cubicBezTo>
                    <a:lnTo>
                      <a:pt x="162943" y="169814"/>
                    </a:lnTo>
                    <a:cubicBezTo>
                      <a:pt x="162943" y="165984"/>
                      <a:pt x="165499" y="163430"/>
                      <a:pt x="169333" y="163430"/>
                    </a:cubicBezTo>
                    <a:cubicBezTo>
                      <a:pt x="173167" y="163430"/>
                      <a:pt x="175723" y="165984"/>
                      <a:pt x="175723" y="169814"/>
                    </a:cubicBezTo>
                    <a:lnTo>
                      <a:pt x="175723" y="170452"/>
                    </a:lnTo>
                    <a:cubicBezTo>
                      <a:pt x="191698" y="153216"/>
                      <a:pt x="200644" y="131510"/>
                      <a:pt x="202561" y="107889"/>
                    </a:cubicBezTo>
                    <a:cubicBezTo>
                      <a:pt x="201283" y="107251"/>
                      <a:pt x="200644" y="106613"/>
                      <a:pt x="199366" y="105974"/>
                    </a:cubicBezTo>
                    <a:close/>
                    <a:moveTo>
                      <a:pt x="74762" y="45965"/>
                    </a:moveTo>
                    <a:lnTo>
                      <a:pt x="79235" y="41496"/>
                    </a:lnTo>
                    <a:lnTo>
                      <a:pt x="84347" y="26174"/>
                    </a:lnTo>
                    <a:cubicBezTo>
                      <a:pt x="84986" y="22982"/>
                      <a:pt x="88820" y="20429"/>
                      <a:pt x="92015" y="21706"/>
                    </a:cubicBezTo>
                    <a:cubicBezTo>
                      <a:pt x="95210" y="22344"/>
                      <a:pt x="97766" y="26174"/>
                      <a:pt x="96488" y="29366"/>
                    </a:cubicBezTo>
                    <a:cubicBezTo>
                      <a:pt x="96488" y="30005"/>
                      <a:pt x="96488" y="30005"/>
                      <a:pt x="95849" y="30643"/>
                    </a:cubicBezTo>
                    <a:lnTo>
                      <a:pt x="90098" y="47880"/>
                    </a:lnTo>
                    <a:cubicBezTo>
                      <a:pt x="90098" y="48518"/>
                      <a:pt x="89459" y="49795"/>
                      <a:pt x="88820" y="50434"/>
                    </a:cubicBezTo>
                    <a:lnTo>
                      <a:pt x="83069" y="56179"/>
                    </a:lnTo>
                    <a:cubicBezTo>
                      <a:pt x="81791" y="57456"/>
                      <a:pt x="80513" y="58094"/>
                      <a:pt x="78596" y="58094"/>
                    </a:cubicBezTo>
                    <a:cubicBezTo>
                      <a:pt x="76679" y="58094"/>
                      <a:pt x="75401" y="57456"/>
                      <a:pt x="74123" y="56179"/>
                    </a:cubicBezTo>
                    <a:cubicBezTo>
                      <a:pt x="72845" y="52349"/>
                      <a:pt x="74123" y="49157"/>
                      <a:pt x="74762" y="45965"/>
                    </a:cubicBezTo>
                    <a:lnTo>
                      <a:pt x="74762" y="45965"/>
                    </a:lnTo>
                    <a:close/>
                  </a:path>
                </a:pathLst>
              </a:custGeom>
              <a:grpFill/>
              <a:ln w="6390" cap="flat">
                <a:noFill/>
                <a:prstDash val="solid"/>
                <a:miter/>
              </a:ln>
            </p:spPr>
            <p:txBody>
              <a:bodyPr rtlCol="0" anchor="ctr"/>
              <a:lstStyle/>
              <a:p>
                <a:endParaRPr lang="es-BO" sz="1600" noProof="0" dirty="0"/>
              </a:p>
            </p:txBody>
          </p:sp>
          <p:sp>
            <p:nvSpPr>
              <p:cNvPr id="458" name="Graphic 4">
                <a:extLst>
                  <a:ext uri="{FF2B5EF4-FFF2-40B4-BE49-F238E27FC236}">
                    <a16:creationId xmlns:a16="http://schemas.microsoft.com/office/drawing/2014/main" xmlns="" id="{045A7DB2-DB74-1576-3AA2-9EC43C06E6D7}"/>
                  </a:ext>
                </a:extLst>
              </p:cNvPr>
              <p:cNvSpPr/>
              <p:nvPr/>
            </p:nvSpPr>
            <p:spPr>
              <a:xfrm>
                <a:off x="10130321" y="5477506"/>
                <a:ext cx="398540"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95215 w 362309"/>
                  <a:gd name="connsiteY6" fmla="*/ 181305 h 361971"/>
                  <a:gd name="connsiteX7" fmla="*/ 253680 w 362309"/>
                  <a:gd name="connsiteY7" fmla="*/ 269404 h 361971"/>
                  <a:gd name="connsiteX8" fmla="*/ 253042 w 362309"/>
                  <a:gd name="connsiteY8" fmla="*/ 270042 h 361971"/>
                  <a:gd name="connsiteX9" fmla="*/ 223648 w 362309"/>
                  <a:gd name="connsiteY9" fmla="*/ 287279 h 361971"/>
                  <a:gd name="connsiteX10" fmla="*/ 222370 w 362309"/>
                  <a:gd name="connsiteY10" fmla="*/ 287917 h 361971"/>
                  <a:gd name="connsiteX11" fmla="*/ 214063 w 362309"/>
                  <a:gd name="connsiteY11" fmla="*/ 291109 h 361971"/>
                  <a:gd name="connsiteX12" fmla="*/ 212785 w 362309"/>
                  <a:gd name="connsiteY12" fmla="*/ 291109 h 361971"/>
                  <a:gd name="connsiteX13" fmla="*/ 104156 w 362309"/>
                  <a:gd name="connsiteY13" fmla="*/ 265574 h 361971"/>
                  <a:gd name="connsiteX14" fmla="*/ 102878 w 362309"/>
                  <a:gd name="connsiteY14" fmla="*/ 264297 h 361971"/>
                  <a:gd name="connsiteX15" fmla="*/ 80513 w 362309"/>
                  <a:gd name="connsiteY15" fmla="*/ 128318 h 361971"/>
                  <a:gd name="connsiteX16" fmla="*/ 80513 w 362309"/>
                  <a:gd name="connsiteY16" fmla="*/ 127680 h 361971"/>
                  <a:gd name="connsiteX17" fmla="*/ 235150 w 362309"/>
                  <a:gd name="connsiteY17" fmla="*/ 81077 h 361971"/>
                  <a:gd name="connsiteX18" fmla="*/ 295215 w 362309"/>
                  <a:gd name="connsiteY18" fmla="*/ 174283 h 361971"/>
                  <a:gd name="connsiteX19" fmla="*/ 295215 w 362309"/>
                  <a:gd name="connsiteY19" fmla="*/ 177475 h 361971"/>
                  <a:gd name="connsiteX20" fmla="*/ 295215 w 362309"/>
                  <a:gd name="connsiteY20" fmla="*/ 181305 h 361971"/>
                  <a:gd name="connsiteX21" fmla="*/ 295215 w 362309"/>
                  <a:gd name="connsiteY21" fmla="*/ 18130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1157" y="0"/>
                      <a:pt x="180835" y="0"/>
                    </a:cubicBezTo>
                    <a:close/>
                    <a:moveTo>
                      <a:pt x="295215" y="181305"/>
                    </a:moveTo>
                    <a:cubicBezTo>
                      <a:pt x="295215" y="215140"/>
                      <a:pt x="279879" y="247698"/>
                      <a:pt x="253680" y="269404"/>
                    </a:cubicBezTo>
                    <a:lnTo>
                      <a:pt x="253042" y="270042"/>
                    </a:lnTo>
                    <a:cubicBezTo>
                      <a:pt x="244096" y="277065"/>
                      <a:pt x="234511" y="283449"/>
                      <a:pt x="223648" y="287279"/>
                    </a:cubicBezTo>
                    <a:lnTo>
                      <a:pt x="222370" y="287917"/>
                    </a:lnTo>
                    <a:cubicBezTo>
                      <a:pt x="219814" y="289194"/>
                      <a:pt x="216619" y="289833"/>
                      <a:pt x="214063" y="291109"/>
                    </a:cubicBezTo>
                    <a:lnTo>
                      <a:pt x="212785" y="291109"/>
                    </a:lnTo>
                    <a:cubicBezTo>
                      <a:pt x="174445" y="301962"/>
                      <a:pt x="133550" y="292386"/>
                      <a:pt x="104156" y="265574"/>
                    </a:cubicBezTo>
                    <a:cubicBezTo>
                      <a:pt x="103517" y="264935"/>
                      <a:pt x="102878" y="264935"/>
                      <a:pt x="102878" y="264297"/>
                    </a:cubicBezTo>
                    <a:cubicBezTo>
                      <a:pt x="65816" y="229185"/>
                      <a:pt x="56871" y="173644"/>
                      <a:pt x="80513" y="128318"/>
                    </a:cubicBezTo>
                    <a:lnTo>
                      <a:pt x="80513" y="127680"/>
                    </a:lnTo>
                    <a:cubicBezTo>
                      <a:pt x="110546" y="72139"/>
                      <a:pt x="179557" y="51072"/>
                      <a:pt x="235150" y="81077"/>
                    </a:cubicBezTo>
                    <a:cubicBezTo>
                      <a:pt x="269655" y="99590"/>
                      <a:pt x="292659" y="134702"/>
                      <a:pt x="295215" y="174283"/>
                    </a:cubicBezTo>
                    <a:cubicBezTo>
                      <a:pt x="295215" y="175560"/>
                      <a:pt x="295215" y="176198"/>
                      <a:pt x="295215" y="177475"/>
                    </a:cubicBezTo>
                    <a:cubicBezTo>
                      <a:pt x="295215" y="178113"/>
                      <a:pt x="295215" y="179390"/>
                      <a:pt x="295215" y="181305"/>
                    </a:cubicBezTo>
                    <a:lnTo>
                      <a:pt x="295215" y="181305"/>
                    </a:lnTo>
                    <a:close/>
                  </a:path>
                </a:pathLst>
              </a:custGeom>
              <a:grpFill/>
              <a:ln w="6390" cap="flat">
                <a:noFill/>
                <a:prstDash val="solid"/>
                <a:miter/>
              </a:ln>
            </p:spPr>
            <p:txBody>
              <a:bodyPr rtlCol="0" anchor="ctr"/>
              <a:lstStyle/>
              <a:p>
                <a:endParaRPr lang="es-BO" sz="1600" noProof="0" dirty="0"/>
              </a:p>
            </p:txBody>
          </p:sp>
        </p:grpSp>
      </p:grpSp>
    </p:spTree>
    <p:extLst>
      <p:ext uri="{BB962C8B-B14F-4D97-AF65-F5344CB8AC3E}">
        <p14:creationId xmlns:p14="http://schemas.microsoft.com/office/powerpoint/2010/main" val="372410157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3496B9A-FE8D-BFC8-CE86-116AA7C3445A}"/>
            </a:ext>
          </a:extLst>
        </p:cNvPr>
        <p:cNvGrpSpPr/>
        <p:nvPr/>
      </p:nvGrpSpPr>
      <p:grpSpPr>
        <a:xfrm>
          <a:off x="0" y="0"/>
          <a:ext cx="0" cy="0"/>
          <a:chOff x="0" y="0"/>
          <a:chExt cx="0" cy="0"/>
        </a:xfrm>
      </p:grpSpPr>
      <p:sp>
        <p:nvSpPr>
          <p:cNvPr id="7" name="Rectangle: Rounded Corners 2">
            <a:extLst>
              <a:ext uri="{FF2B5EF4-FFF2-40B4-BE49-F238E27FC236}">
                <a16:creationId xmlns:a16="http://schemas.microsoft.com/office/drawing/2014/main" xmlns="" id="{0C818026-B78C-3716-1C61-D5982EF74C28}"/>
              </a:ext>
            </a:extLst>
          </p:cNvPr>
          <p:cNvSpPr/>
          <p:nvPr/>
        </p:nvSpPr>
        <p:spPr bwMode="gray">
          <a:xfrm>
            <a:off x="-759012" y="832512"/>
            <a:ext cx="10582282" cy="816963"/>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5" name="Object 4" hidden="1">
            <a:extLst>
              <a:ext uri="{FF2B5EF4-FFF2-40B4-BE49-F238E27FC236}">
                <a16:creationId xmlns:a16="http://schemas.microsoft.com/office/drawing/2014/main" xmlns="" id="{1F96034F-6008-01ED-0EA6-10D48BC8D9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xmlns="" id="{1F96034F-6008-01ED-0EA6-10D48BC8D9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Slide Number Placeholder 2">
            <a:extLst>
              <a:ext uri="{FF2B5EF4-FFF2-40B4-BE49-F238E27FC236}">
                <a16:creationId xmlns:a16="http://schemas.microsoft.com/office/drawing/2014/main" xmlns="" id="{9B066305-3A3C-2EDF-1D12-3D60925C31D5}"/>
              </a:ext>
            </a:extLst>
          </p:cNvPr>
          <p:cNvSpPr>
            <a:spLocks noGrp="1"/>
          </p:cNvSpPr>
          <p:nvPr>
            <p:ph type="sldNum" sz="quarter" idx="4"/>
          </p:nvPr>
        </p:nvSpPr>
        <p:spPr/>
        <p:txBody>
          <a:bodyPr/>
          <a:lstStyle/>
          <a:p>
            <a:fld id="{A8E5AD78-C39A-47FF-83FF-0E69177E1F7C}" type="slidenum">
              <a:rPr lang="es-BO" noProof="0" smtClean="0"/>
              <a:pPr/>
              <a:t>3</a:t>
            </a:fld>
            <a:endParaRPr lang="es-BO" noProof="0" dirty="0"/>
          </a:p>
        </p:txBody>
      </p:sp>
      <p:sp>
        <p:nvSpPr>
          <p:cNvPr id="4" name="Title 3">
            <a:extLst>
              <a:ext uri="{FF2B5EF4-FFF2-40B4-BE49-F238E27FC236}">
                <a16:creationId xmlns:a16="http://schemas.microsoft.com/office/drawing/2014/main" xmlns="" id="{175ED1B9-FF75-4877-379A-1E0B16735EDE}"/>
              </a:ext>
            </a:extLst>
          </p:cNvPr>
          <p:cNvSpPr>
            <a:spLocks noGrp="1"/>
          </p:cNvSpPr>
          <p:nvPr>
            <p:ph type="title"/>
          </p:nvPr>
        </p:nvSpPr>
        <p:spPr/>
        <p:txBody>
          <a:bodyPr vert="horz"/>
          <a:lstStyle/>
          <a:p>
            <a:r>
              <a:rPr lang="es-BO" noProof="0" dirty="0"/>
              <a:t>Hoja de Ruta y estrategia Nacional| Competitividad de Bolivia</a:t>
            </a:r>
          </a:p>
        </p:txBody>
      </p:sp>
      <p:sp>
        <p:nvSpPr>
          <p:cNvPr id="14" name="Text Placeholder 13">
            <a:extLst>
              <a:ext uri="{FF2B5EF4-FFF2-40B4-BE49-F238E27FC236}">
                <a16:creationId xmlns:a16="http://schemas.microsoft.com/office/drawing/2014/main" xmlns="" id="{97F2EE0E-28CA-0023-7135-D0D554905BA7}"/>
              </a:ext>
            </a:extLst>
          </p:cNvPr>
          <p:cNvSpPr>
            <a:spLocks noGrp="1"/>
          </p:cNvSpPr>
          <p:nvPr>
            <p:ph type="body" sz="quarter" idx="15"/>
          </p:nvPr>
        </p:nvSpPr>
        <p:spPr>
          <a:xfrm>
            <a:off x="515937" y="6259728"/>
            <a:ext cx="11160125" cy="369332"/>
          </a:xfrm>
        </p:spPr>
        <p:txBody>
          <a:bodyPr/>
          <a:lstStyle/>
          <a:p>
            <a:r>
              <a:rPr lang="es-BO" noProof="0" dirty="0">
                <a:solidFill>
                  <a:prstClr val="black"/>
                </a:solidFill>
                <a:latin typeface="Calibri Light" panose="020F0302020204030204"/>
              </a:rPr>
              <a:t>Nota: Cabe señalar que, a la fecha de elaboración de este documento, se tiene conocimiento de que existen complejidades y eventos climatológicos que están generando sequías en diferentes regiones del mundo, incluyendo varios países de América Latina. En este sentido, algunas zonas del país atraviesan algunas sequías, por lo que estos datos podrían ajustarse en el tiempo.</a:t>
            </a:r>
          </a:p>
          <a:p>
            <a:endParaRPr lang="es-BO" noProof="0" dirty="0"/>
          </a:p>
        </p:txBody>
      </p:sp>
      <p:sp>
        <p:nvSpPr>
          <p:cNvPr id="24" name="Text Placeholder 22">
            <a:extLst>
              <a:ext uri="{FF2B5EF4-FFF2-40B4-BE49-F238E27FC236}">
                <a16:creationId xmlns:a16="http://schemas.microsoft.com/office/drawing/2014/main" xmlns="" id="{C758EE94-644E-96F6-5708-CDC2A74E0A7C}"/>
              </a:ext>
            </a:extLst>
          </p:cNvPr>
          <p:cNvSpPr>
            <a:spLocks noGrp="1"/>
          </p:cNvSpPr>
          <p:nvPr>
            <p:ph type="body" sz="quarter" idx="14"/>
          </p:nvPr>
        </p:nvSpPr>
        <p:spPr>
          <a:xfrm>
            <a:off x="515937" y="6104154"/>
            <a:ext cx="11160125" cy="153888"/>
          </a:xfrm>
        </p:spPr>
        <p:txBody>
          <a:bodyPr/>
          <a:lstStyle/>
          <a:p>
            <a:r>
              <a:rPr lang="es-BO" noProof="0" dirty="0"/>
              <a:t>Fuente: Elaboración propia con base en documentación compartida por el Ministerio de Hidrocarburos y Energías de Bolivia</a:t>
            </a:r>
          </a:p>
        </p:txBody>
      </p:sp>
      <p:sp>
        <p:nvSpPr>
          <p:cNvPr id="9" name="Text Placeholder 3">
            <a:extLst>
              <a:ext uri="{FF2B5EF4-FFF2-40B4-BE49-F238E27FC236}">
                <a16:creationId xmlns:a16="http://schemas.microsoft.com/office/drawing/2014/main" xmlns="" id="{74CBC202-5C06-5AF6-1F3C-CC9265F1E1FB}"/>
              </a:ext>
            </a:extLst>
          </p:cNvPr>
          <p:cNvSpPr txBox="1">
            <a:spLocks/>
          </p:cNvSpPr>
          <p:nvPr/>
        </p:nvSpPr>
        <p:spPr>
          <a:xfrm>
            <a:off x="612829" y="899704"/>
            <a:ext cx="11521535" cy="719137"/>
          </a:xfrm>
          <a:prstGeom prst="rect">
            <a:avLst/>
          </a:prstGeom>
        </p:spPr>
        <p:txBody>
          <a:bodyPr lIns="0" tIns="0" rIns="0" bIns="0" anchor="ctr">
            <a:noAutofit/>
          </a:bodyPr>
          <a:lstStyle>
            <a:lvl1pPr marL="0" indent="0" algn="l" defTabSz="914400" rtl="0" eaLnBrk="1" latinLnBrk="0" hangingPunct="1">
              <a:spcBef>
                <a:spcPts val="0"/>
              </a:spcBef>
              <a:spcAft>
                <a:spcPts val="1000"/>
              </a:spcAft>
              <a:buSzPct val="100000"/>
              <a:buFontTx/>
              <a:buNone/>
              <a:defRPr sz="2000" b="1" kern="1200" baseline="0">
                <a:solidFill>
                  <a:schemeClr val="tx1"/>
                </a:solidFill>
                <a:latin typeface="+mj-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BO" noProof="0" dirty="0">
                <a:solidFill>
                  <a:schemeClr val="bg1"/>
                </a:solidFill>
              </a:rPr>
              <a:t>Estimación del potencial de hidrógeno </a:t>
            </a:r>
            <a:r>
              <a:rPr lang="es-BO" dirty="0">
                <a:solidFill>
                  <a:schemeClr val="bg1"/>
                </a:solidFill>
              </a:rPr>
              <a:t>v</a:t>
            </a:r>
            <a:r>
              <a:rPr lang="es-BO" noProof="0" dirty="0" err="1">
                <a:solidFill>
                  <a:schemeClr val="bg1"/>
                </a:solidFill>
              </a:rPr>
              <a:t>erde</a:t>
            </a:r>
            <a:r>
              <a:rPr lang="es-BO" noProof="0" dirty="0">
                <a:solidFill>
                  <a:schemeClr val="bg1"/>
                </a:solidFill>
              </a:rPr>
              <a:t>: energía, agua y producción</a:t>
            </a:r>
          </a:p>
        </p:txBody>
      </p:sp>
      <p:sp>
        <p:nvSpPr>
          <p:cNvPr id="28" name="Oval 27">
            <a:extLst>
              <a:ext uri="{FF2B5EF4-FFF2-40B4-BE49-F238E27FC236}">
                <a16:creationId xmlns:a16="http://schemas.microsoft.com/office/drawing/2014/main" xmlns="" id="{1C1526E4-C048-1EF1-E162-4132B21D10FD}"/>
              </a:ext>
            </a:extLst>
          </p:cNvPr>
          <p:cNvSpPr>
            <a:spLocks noChangeAspect="1"/>
          </p:cNvSpPr>
          <p:nvPr/>
        </p:nvSpPr>
        <p:spPr>
          <a:xfrm>
            <a:off x="432421" y="2002769"/>
            <a:ext cx="553212" cy="553212"/>
          </a:xfrm>
          <a:prstGeom prst="ellipse">
            <a:avLst/>
          </a:prstGeom>
          <a:solidFill>
            <a:schemeClr val="bg1">
              <a:alpha val="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BO" sz="6600" i="0" u="none" strike="noStrike" kern="1200" cap="none" spc="0" normalizeH="0" baseline="0" noProof="0" dirty="0">
                <a:ln>
                  <a:noFill/>
                </a:ln>
                <a:solidFill>
                  <a:schemeClr val="bg1">
                    <a:lumMod val="85000"/>
                  </a:schemeClr>
                </a:solidFill>
                <a:effectLst/>
                <a:uLnTx/>
                <a:uFillTx/>
                <a:latin typeface="Calibri Light" panose="020F0302020204030204" pitchFamily="34" charset="0"/>
                <a:cs typeface="Calibri Light" panose="020F0302020204030204" pitchFamily="34" charset="0"/>
              </a:rPr>
              <a:t>1</a:t>
            </a:r>
          </a:p>
        </p:txBody>
      </p:sp>
      <p:sp>
        <p:nvSpPr>
          <p:cNvPr id="32" name="Shape 175">
            <a:extLst>
              <a:ext uri="{FF2B5EF4-FFF2-40B4-BE49-F238E27FC236}">
                <a16:creationId xmlns:a16="http://schemas.microsoft.com/office/drawing/2014/main" xmlns="" id="{9151ED34-BB37-B0AE-5B8E-556954FE56FE}"/>
              </a:ext>
            </a:extLst>
          </p:cNvPr>
          <p:cNvSpPr/>
          <p:nvPr/>
        </p:nvSpPr>
        <p:spPr>
          <a:xfrm>
            <a:off x="4799348" y="1955617"/>
            <a:ext cx="2442771" cy="731520"/>
          </a:xfrm>
          <a:prstGeom prst="rect">
            <a:avLst/>
          </a:prstGeom>
          <a:noFill/>
          <a:ln>
            <a:noFill/>
          </a:ln>
        </p:spPr>
        <p:txBody>
          <a:bodyPr lIns="0" tIns="0" rIns="0" bIns="0" anchor="ctr" anchorCtr="0">
            <a:noAutofit/>
          </a:bodyPr>
          <a:lstStyle/>
          <a:p>
            <a:pPr marL="0" marR="0" lvl="0" indent="0" algn="ctr" defTabSz="914400" eaLnBrk="1" fontAlgn="auto" latinLnBrk="0" hangingPunct="1">
              <a:lnSpc>
                <a:spcPct val="100000"/>
              </a:lnSpc>
              <a:spcBef>
                <a:spcPts val="0"/>
              </a:spcBef>
              <a:spcAft>
                <a:spcPts val="1200"/>
              </a:spcAft>
              <a:buClr>
                <a:srgbClr val="FDD300"/>
              </a:buClr>
              <a:buSzPct val="25000"/>
              <a:buFontTx/>
              <a:buNone/>
              <a:tabLst/>
              <a:defRPr/>
            </a:pPr>
            <a:r>
              <a:rPr kumimoji="0" lang="es-BO" sz="2000" b="1" i="0" u="none" strike="noStrike" kern="1200" cap="none" spc="-75" normalizeH="0" baseline="0" noProof="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Estimación del potencial </a:t>
            </a:r>
            <a:r>
              <a:rPr kumimoji="0" lang="es-BO" sz="2000" b="1" i="0" u="none" strike="noStrike" kern="1200" cap="none" spc="-75" normalizeH="0" baseline="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h</a:t>
            </a:r>
            <a:r>
              <a:rPr kumimoji="0" lang="es-BO" sz="2000" b="1" i="0" u="none" strike="noStrike" kern="1200" cap="none" spc="-75" normalizeH="0" baseline="0" noProof="0" dirty="0" err="1">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ídrico</a:t>
            </a:r>
            <a:r>
              <a:rPr kumimoji="0" lang="es-BO" sz="2000" b="1" i="0" u="none" strike="noStrike" kern="1200" cap="none" spc="-75" normalizeH="0" baseline="0" noProof="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 </a:t>
            </a:r>
          </a:p>
        </p:txBody>
      </p:sp>
      <p:sp>
        <p:nvSpPr>
          <p:cNvPr id="33" name="Shape 176">
            <a:extLst>
              <a:ext uri="{FF2B5EF4-FFF2-40B4-BE49-F238E27FC236}">
                <a16:creationId xmlns:a16="http://schemas.microsoft.com/office/drawing/2014/main" xmlns="" id="{3301AC79-2BD0-E422-2300-142A6F83EEEA}"/>
              </a:ext>
            </a:extLst>
          </p:cNvPr>
          <p:cNvSpPr/>
          <p:nvPr/>
        </p:nvSpPr>
        <p:spPr>
          <a:xfrm>
            <a:off x="904577" y="1936628"/>
            <a:ext cx="2482426" cy="731520"/>
          </a:xfrm>
          <a:prstGeom prst="rect">
            <a:avLst/>
          </a:prstGeom>
          <a:noFill/>
          <a:ln>
            <a:noFill/>
          </a:ln>
        </p:spPr>
        <p:txBody>
          <a:bodyPr lIns="0" tIns="0" rIns="0" bIns="0" anchor="ctr" anchorCtr="0">
            <a:noAutofit/>
          </a:bodyPr>
          <a:lstStyle/>
          <a:p>
            <a:pPr marL="0" marR="0" lvl="0" indent="0" algn="ctr" defTabSz="914400" eaLnBrk="1" fontAlgn="auto" latinLnBrk="0" hangingPunct="1">
              <a:lnSpc>
                <a:spcPct val="100000"/>
              </a:lnSpc>
              <a:spcBef>
                <a:spcPts val="0"/>
              </a:spcBef>
              <a:spcAft>
                <a:spcPts val="1200"/>
              </a:spcAft>
              <a:buClr>
                <a:srgbClr val="FDD300"/>
              </a:buClr>
              <a:buSzPct val="25000"/>
              <a:buFontTx/>
              <a:buNone/>
              <a:tabLst/>
              <a:defRPr/>
            </a:pPr>
            <a:r>
              <a:rPr kumimoji="0" lang="es-BO" sz="2000" b="1" i="0" u="none" strike="noStrike" kern="1200" cap="none" spc="-75" normalizeH="0" baseline="0" noProof="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Estimación del potencial </a:t>
            </a:r>
            <a:r>
              <a:rPr kumimoji="0" lang="es-BO" sz="2000" b="1" i="0" u="none" strike="noStrike" kern="1200" cap="none" spc="-75" normalizeH="0" baseline="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e</a:t>
            </a:r>
            <a:r>
              <a:rPr kumimoji="0" lang="es-BO" sz="2000" b="1" i="0" u="none" strike="noStrike" kern="1200" cap="none" spc="-75" normalizeH="0" baseline="0" noProof="0" dirty="0" err="1">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nergético</a:t>
            </a:r>
            <a:endParaRPr kumimoji="0" lang="es-BO" sz="2000" b="1" i="0" u="none" strike="noStrike" kern="1200" cap="none" spc="-75" normalizeH="0" baseline="0" noProof="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endParaRPr>
          </a:p>
        </p:txBody>
      </p:sp>
      <p:sp>
        <p:nvSpPr>
          <p:cNvPr id="34" name="Shape 177">
            <a:extLst>
              <a:ext uri="{FF2B5EF4-FFF2-40B4-BE49-F238E27FC236}">
                <a16:creationId xmlns:a16="http://schemas.microsoft.com/office/drawing/2014/main" xmlns="" id="{641F2D89-8FB1-E15B-6030-305577EEDF0A}"/>
              </a:ext>
            </a:extLst>
          </p:cNvPr>
          <p:cNvSpPr/>
          <p:nvPr/>
        </p:nvSpPr>
        <p:spPr>
          <a:xfrm>
            <a:off x="8560179" y="1973598"/>
            <a:ext cx="2482426" cy="731520"/>
          </a:xfrm>
          <a:prstGeom prst="rect">
            <a:avLst/>
          </a:prstGeom>
          <a:noFill/>
          <a:ln>
            <a:noFill/>
          </a:ln>
        </p:spPr>
        <p:txBody>
          <a:bodyPr lIns="0" tIns="0" rIns="0" bIns="0" anchor="ctr" anchorCtr="0">
            <a:noAutofit/>
          </a:bodyPr>
          <a:lstStyle/>
          <a:p>
            <a:pPr marL="0" marR="0" lvl="0" indent="0" algn="ctr" defTabSz="914400" eaLnBrk="1" fontAlgn="auto" latinLnBrk="0" hangingPunct="1">
              <a:lnSpc>
                <a:spcPct val="100000"/>
              </a:lnSpc>
              <a:spcBef>
                <a:spcPts val="0"/>
              </a:spcBef>
              <a:spcAft>
                <a:spcPts val="1200"/>
              </a:spcAft>
              <a:buClr>
                <a:srgbClr val="FDD300"/>
              </a:buClr>
              <a:buSzPct val="25000"/>
              <a:buFontTx/>
              <a:buNone/>
              <a:tabLst/>
              <a:defRPr/>
            </a:pPr>
            <a:r>
              <a:rPr kumimoji="0" lang="es-BO" sz="2000" b="1" i="0" u="none" strike="noStrike" kern="1200" cap="none" spc="-75" normalizeH="0" baseline="0" noProof="0" dirty="0">
                <a:ln>
                  <a:noFill/>
                </a:ln>
                <a:solidFill>
                  <a:srgbClr val="000000"/>
                </a:solidFill>
                <a:effectLst/>
                <a:uLnTx/>
                <a:uFillTx/>
                <a:latin typeface="Calibri Light" panose="020F0302020204030204" pitchFamily="34" charset="0"/>
                <a:ea typeface="Open Sans Light" panose="020B0306030504020204" pitchFamily="34" charset="0"/>
                <a:cs typeface="Calibri Light" panose="020F0302020204030204" pitchFamily="34" charset="0"/>
                <a:sym typeface="Verdana"/>
              </a:rPr>
              <a:t>Estimación del potencial de producción</a:t>
            </a:r>
          </a:p>
        </p:txBody>
      </p:sp>
      <p:cxnSp>
        <p:nvCxnSpPr>
          <p:cNvPr id="35" name="Straight Arrow Connector 34">
            <a:extLst>
              <a:ext uri="{FF2B5EF4-FFF2-40B4-BE49-F238E27FC236}">
                <a16:creationId xmlns:a16="http://schemas.microsoft.com/office/drawing/2014/main" xmlns="" id="{27A00173-E4C3-C8E5-7D4D-154AF70EE963}"/>
              </a:ext>
            </a:extLst>
          </p:cNvPr>
          <p:cNvCxnSpPr>
            <a:cxnSpLocks/>
          </p:cNvCxnSpPr>
          <p:nvPr/>
        </p:nvCxnSpPr>
        <p:spPr>
          <a:xfrm>
            <a:off x="432421" y="2939773"/>
            <a:ext cx="11288230" cy="0"/>
          </a:xfrm>
          <a:prstGeom prst="straightConnector1">
            <a:avLst/>
          </a:prstGeom>
          <a:ln w="38100">
            <a:solidFill>
              <a:schemeClr val="bg1">
                <a:lumMod val="65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C325D21D-8589-0934-DAFC-61EAD4CE519D}"/>
              </a:ext>
            </a:extLst>
          </p:cNvPr>
          <p:cNvCxnSpPr/>
          <p:nvPr/>
        </p:nvCxnSpPr>
        <p:spPr>
          <a:xfrm>
            <a:off x="985633" y="1962388"/>
            <a:ext cx="246834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2B5541C6-0D1E-9247-F5C8-7D2BE728B00A}"/>
              </a:ext>
            </a:extLst>
          </p:cNvPr>
          <p:cNvCxnSpPr/>
          <p:nvPr/>
        </p:nvCxnSpPr>
        <p:spPr>
          <a:xfrm>
            <a:off x="987785" y="2716186"/>
            <a:ext cx="246834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C0897F47-C27F-6884-F9EE-17DE4C8B2726}"/>
              </a:ext>
            </a:extLst>
          </p:cNvPr>
          <p:cNvCxnSpPr/>
          <p:nvPr/>
        </p:nvCxnSpPr>
        <p:spPr>
          <a:xfrm>
            <a:off x="4773778" y="1962388"/>
            <a:ext cx="246834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5D7428A7-6E0F-821F-689C-0132676A1009}"/>
              </a:ext>
            </a:extLst>
          </p:cNvPr>
          <p:cNvCxnSpPr/>
          <p:nvPr/>
        </p:nvCxnSpPr>
        <p:spPr>
          <a:xfrm>
            <a:off x="4775930" y="2716186"/>
            <a:ext cx="246834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90FD3860-3DB0-270D-53D8-0E0C626B0881}"/>
              </a:ext>
            </a:extLst>
          </p:cNvPr>
          <p:cNvCxnSpPr/>
          <p:nvPr/>
        </p:nvCxnSpPr>
        <p:spPr>
          <a:xfrm>
            <a:off x="8560179" y="1962388"/>
            <a:ext cx="246834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271ED3A2-AF82-F4C2-25DA-9B9E7ED51842}"/>
              </a:ext>
            </a:extLst>
          </p:cNvPr>
          <p:cNvCxnSpPr/>
          <p:nvPr/>
        </p:nvCxnSpPr>
        <p:spPr>
          <a:xfrm>
            <a:off x="8562331" y="2716186"/>
            <a:ext cx="246834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xmlns="" id="{474AFC2A-2369-6C1C-06F6-0D48C907014B}"/>
              </a:ext>
            </a:extLst>
          </p:cNvPr>
          <p:cNvSpPr>
            <a:spLocks noChangeAspect="1"/>
          </p:cNvSpPr>
          <p:nvPr/>
        </p:nvSpPr>
        <p:spPr>
          <a:xfrm>
            <a:off x="4179166" y="2002769"/>
            <a:ext cx="553212" cy="553212"/>
          </a:xfrm>
          <a:prstGeom prst="ellipse">
            <a:avLst/>
          </a:prstGeom>
          <a:solidFill>
            <a:schemeClr val="bg1">
              <a:alpha val="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BO" sz="6600" noProof="0" dirty="0">
                <a:solidFill>
                  <a:schemeClr val="bg1">
                    <a:lumMod val="85000"/>
                  </a:schemeClr>
                </a:solidFill>
                <a:latin typeface="Calibri Light" panose="020F0302020204030204" pitchFamily="34" charset="0"/>
                <a:cs typeface="Calibri Light" panose="020F0302020204030204" pitchFamily="34" charset="0"/>
              </a:rPr>
              <a:t>2</a:t>
            </a:r>
            <a:endParaRPr kumimoji="0" lang="es-BO" sz="6600" i="0" u="none" strike="noStrike" kern="1200" cap="none" spc="0" normalizeH="0" baseline="0" noProof="0" dirty="0">
              <a:ln>
                <a:noFill/>
              </a:ln>
              <a:solidFill>
                <a:schemeClr val="bg1">
                  <a:lumMod val="85000"/>
                </a:schemeClr>
              </a:solidFill>
              <a:effectLst/>
              <a:uLnTx/>
              <a:uFillTx/>
              <a:latin typeface="Calibri Light" panose="020F0302020204030204" pitchFamily="34" charset="0"/>
              <a:cs typeface="Calibri Light" panose="020F0302020204030204" pitchFamily="34" charset="0"/>
            </a:endParaRPr>
          </a:p>
        </p:txBody>
      </p:sp>
      <p:sp>
        <p:nvSpPr>
          <p:cNvPr id="57" name="Oval 56">
            <a:extLst>
              <a:ext uri="{FF2B5EF4-FFF2-40B4-BE49-F238E27FC236}">
                <a16:creationId xmlns:a16="http://schemas.microsoft.com/office/drawing/2014/main" xmlns="" id="{4517CB6E-F7CE-C0BF-0365-C4C15E368509}"/>
              </a:ext>
            </a:extLst>
          </p:cNvPr>
          <p:cNvSpPr>
            <a:spLocks noChangeAspect="1"/>
          </p:cNvSpPr>
          <p:nvPr/>
        </p:nvSpPr>
        <p:spPr>
          <a:xfrm>
            <a:off x="8006967" y="2002769"/>
            <a:ext cx="553212" cy="553212"/>
          </a:xfrm>
          <a:prstGeom prst="ellipse">
            <a:avLst/>
          </a:prstGeom>
          <a:solidFill>
            <a:schemeClr val="bg1">
              <a:alpha val="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BO" sz="6600" noProof="0" dirty="0">
                <a:solidFill>
                  <a:schemeClr val="bg1">
                    <a:lumMod val="85000"/>
                  </a:schemeClr>
                </a:solidFill>
                <a:latin typeface="Calibri Light" panose="020F0302020204030204" pitchFamily="34" charset="0"/>
                <a:cs typeface="Calibri Light" panose="020F0302020204030204" pitchFamily="34" charset="0"/>
              </a:rPr>
              <a:t>3</a:t>
            </a:r>
            <a:endParaRPr kumimoji="0" lang="es-BO" sz="6600" i="0" u="none" strike="noStrike" kern="1200" cap="none" spc="0" normalizeH="0" baseline="0" noProof="0" dirty="0">
              <a:ln>
                <a:noFill/>
              </a:ln>
              <a:solidFill>
                <a:schemeClr val="bg1">
                  <a:lumMod val="85000"/>
                </a:schemeClr>
              </a:solidFill>
              <a:effectLst/>
              <a:uLnTx/>
              <a:uFillTx/>
              <a:latin typeface="Calibri Light" panose="020F0302020204030204" pitchFamily="34" charset="0"/>
              <a:cs typeface="Calibri Light" panose="020F0302020204030204" pitchFamily="34" charset="0"/>
            </a:endParaRPr>
          </a:p>
        </p:txBody>
      </p:sp>
      <p:graphicFrame>
        <p:nvGraphicFramePr>
          <p:cNvPr id="60" name="Table 8722">
            <a:extLst>
              <a:ext uri="{FF2B5EF4-FFF2-40B4-BE49-F238E27FC236}">
                <a16:creationId xmlns:a16="http://schemas.microsoft.com/office/drawing/2014/main" xmlns="" id="{92A5CA32-1AF5-3B3A-C759-4070BEDA9ED5}"/>
              </a:ext>
            </a:extLst>
          </p:cNvPr>
          <p:cNvGraphicFramePr>
            <a:graphicFrameLocks noGrp="1"/>
          </p:cNvGraphicFramePr>
          <p:nvPr>
            <p:extLst>
              <p:ext uri="{D42A27DB-BD31-4B8C-83A1-F6EECF244321}">
                <p14:modId xmlns:p14="http://schemas.microsoft.com/office/powerpoint/2010/main" val="1625929419"/>
              </p:ext>
            </p:extLst>
          </p:nvPr>
        </p:nvGraphicFramePr>
        <p:xfrm>
          <a:off x="7944222" y="3505603"/>
          <a:ext cx="3858361" cy="1495524"/>
        </p:xfrm>
        <a:graphic>
          <a:graphicData uri="http://schemas.openxmlformats.org/drawingml/2006/table">
            <a:tbl>
              <a:tblPr firstRow="1" bandRow="1">
                <a:tableStyleId>{2D5ABB26-0587-4C30-8999-92F81FD0307C}</a:tableStyleId>
              </a:tblPr>
              <a:tblGrid>
                <a:gridCol w="612027">
                  <a:extLst>
                    <a:ext uri="{9D8B030D-6E8A-4147-A177-3AD203B41FA5}">
                      <a16:colId xmlns:a16="http://schemas.microsoft.com/office/drawing/2014/main" xmlns="" val="1356877508"/>
                    </a:ext>
                  </a:extLst>
                </a:gridCol>
                <a:gridCol w="444335">
                  <a:extLst>
                    <a:ext uri="{9D8B030D-6E8A-4147-A177-3AD203B41FA5}">
                      <a16:colId xmlns:a16="http://schemas.microsoft.com/office/drawing/2014/main" xmlns="" val="3612422667"/>
                    </a:ext>
                  </a:extLst>
                </a:gridCol>
                <a:gridCol w="510685">
                  <a:extLst>
                    <a:ext uri="{9D8B030D-6E8A-4147-A177-3AD203B41FA5}">
                      <a16:colId xmlns:a16="http://schemas.microsoft.com/office/drawing/2014/main" xmlns="" val="1784455"/>
                    </a:ext>
                  </a:extLst>
                </a:gridCol>
                <a:gridCol w="510685">
                  <a:extLst>
                    <a:ext uri="{9D8B030D-6E8A-4147-A177-3AD203B41FA5}">
                      <a16:colId xmlns:a16="http://schemas.microsoft.com/office/drawing/2014/main" xmlns="" val="31785783"/>
                    </a:ext>
                  </a:extLst>
                </a:gridCol>
                <a:gridCol w="208280">
                  <a:extLst>
                    <a:ext uri="{9D8B030D-6E8A-4147-A177-3AD203B41FA5}">
                      <a16:colId xmlns:a16="http://schemas.microsoft.com/office/drawing/2014/main" xmlns="" val="1621899965"/>
                    </a:ext>
                  </a:extLst>
                </a:gridCol>
                <a:gridCol w="553751">
                  <a:extLst>
                    <a:ext uri="{9D8B030D-6E8A-4147-A177-3AD203B41FA5}">
                      <a16:colId xmlns:a16="http://schemas.microsoft.com/office/drawing/2014/main" xmlns="" val="3711891782"/>
                    </a:ext>
                  </a:extLst>
                </a:gridCol>
                <a:gridCol w="509299">
                  <a:extLst>
                    <a:ext uri="{9D8B030D-6E8A-4147-A177-3AD203B41FA5}">
                      <a16:colId xmlns:a16="http://schemas.microsoft.com/office/drawing/2014/main" xmlns="" val="1115300584"/>
                    </a:ext>
                  </a:extLst>
                </a:gridCol>
                <a:gridCol w="509299">
                  <a:extLst>
                    <a:ext uri="{9D8B030D-6E8A-4147-A177-3AD203B41FA5}">
                      <a16:colId xmlns:a16="http://schemas.microsoft.com/office/drawing/2014/main" xmlns="" val="2417675919"/>
                    </a:ext>
                  </a:extLst>
                </a:gridCol>
              </a:tblGrid>
              <a:tr h="127147">
                <a:tc>
                  <a:txBody>
                    <a:bodyPr/>
                    <a:lstStyle/>
                    <a:p>
                      <a:pPr algn="ctr" rtl="0"/>
                      <a:endParaRPr lang="es-BO" sz="900" noProof="0" dirty="0">
                        <a:solidFill>
                          <a:schemeClr val="tx1"/>
                        </a:solidFill>
                        <a:latin typeface="Calibri Light" panose="020F0302020204030204" pitchFamily="34" charset="0"/>
                        <a:cs typeface="Calibri Light" panose="020F0302020204030204" pitchFamily="34" charset="0"/>
                      </a:endParaRPr>
                    </a:p>
                  </a:txBody>
                  <a:tcPr marL="0" marR="0" marT="0" marB="0" anchor="ctr"/>
                </a:tc>
                <a:tc grid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BO" sz="900" b="1" u="none" strike="noStrike" kern="1200" cap="none" spc="0" normalizeH="0" baseline="0" noProof="0" dirty="0">
                          <a:ln>
                            <a:noFill/>
                          </a:ln>
                          <a:solidFill>
                            <a:schemeClr val="tx1"/>
                          </a:solidFill>
                          <a:effectLst/>
                          <a:uLnTx/>
                          <a:uFillTx/>
                          <a:latin typeface="Calibri Light" panose="020F0302020204030204" pitchFamily="34" charset="0"/>
                          <a:cs typeface="Calibri Light" panose="020F0302020204030204" pitchFamily="34" charset="0"/>
                        </a:rPr>
                        <a:t>Factor de planta 98%</a:t>
                      </a:r>
                      <a:endParaRPr kumimoji="0" lang="es-BO" sz="900" b="1" i="0" u="none" strike="noStrike" kern="1200" cap="none" spc="0" normalizeH="0" baseline="0" noProof="0" dirty="0">
                        <a:ln>
                          <a:noFill/>
                        </a:ln>
                        <a:solidFill>
                          <a:schemeClr val="tx1"/>
                        </a:solidFill>
                        <a:effectLst/>
                        <a:uLnTx/>
                        <a:uFillTx/>
                        <a:latin typeface="Calibri Light" panose="020F0302020204030204" pitchFamily="34" charset="0"/>
                        <a:ea typeface="+mn-ea"/>
                        <a:cs typeface="Calibri Light" panose="020F0302020204030204" pitchFamily="34" charset="0"/>
                      </a:endParaRPr>
                    </a:p>
                  </a:txBody>
                  <a:tcPr anchor="ct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900" b="0" i="0" u="none" strike="noStrike" kern="1200" cap="none" spc="0" normalizeH="0" baseline="0" noProof="0">
                          <a:ln>
                            <a:noFill/>
                          </a:ln>
                          <a:solidFill>
                            <a:prstClr val="white"/>
                          </a:solidFill>
                          <a:effectLst/>
                          <a:uLnTx/>
                          <a:uFillTx/>
                          <a:latin typeface="Calibri Light" panose="020F0302020204030204"/>
                          <a:ea typeface="+mn-ea"/>
                          <a:cs typeface="+mn-cs"/>
                        </a:rPr>
                        <a:t>Factor de planta 98%</a:t>
                      </a:r>
                    </a:p>
                  </a:txBody>
                  <a:tcPr>
                    <a:lnL w="12700" cmpd="sng">
                      <a:noFill/>
                    </a:lnL>
                    <a:lnR w="12700" cmpd="sng">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900" b="0" i="0" u="none" strike="noStrike" kern="1200" cap="none" spc="0" normalizeH="0" baseline="0" noProof="0">
                          <a:ln>
                            <a:noFill/>
                          </a:ln>
                          <a:solidFill>
                            <a:prstClr val="white"/>
                          </a:solidFill>
                          <a:effectLst/>
                          <a:uLnTx/>
                          <a:uFillTx/>
                          <a:latin typeface="Calibri Light" panose="020F0302020204030204"/>
                          <a:ea typeface="+mn-ea"/>
                          <a:cs typeface="+mn-cs"/>
                        </a:rPr>
                        <a:t>Factor de planta 98%</a:t>
                      </a:r>
                    </a:p>
                  </a:txBody>
                  <a:tcPr>
                    <a:lnL w="12700" cmpd="sng">
                      <a:noFill/>
                    </a:lnL>
                    <a:lnR w="12700" cmpd="sng">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BO" sz="9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a:txBody>
                  <a:tcPr anchor="ctr"/>
                </a:tc>
                <a:tc grid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a:r>
                        <a:rPr lang="es-BO" sz="900" b="1" noProof="0" dirty="0">
                          <a:solidFill>
                            <a:schemeClr val="tx1"/>
                          </a:solidFill>
                          <a:latin typeface="Calibri Light" panose="020F0302020204030204" pitchFamily="34" charset="0"/>
                          <a:cs typeface="Calibri Light" panose="020F0302020204030204" pitchFamily="34" charset="0"/>
                        </a:rPr>
                        <a:t>Factor de planta 25%</a:t>
                      </a:r>
                    </a:p>
                  </a:txBody>
                  <a:tcPr anchor="ctr"/>
                </a:tc>
                <a:tc hMerge="1">
                  <a:txBody>
                    <a:bodyPr/>
                    <a:lstStyle/>
                    <a:p>
                      <a:r>
                        <a:rPr lang="es-MX" sz="900" b="0">
                          <a:latin typeface="+mj-lt"/>
                        </a:rPr>
                        <a:t>Factor de planta 25%</a:t>
                      </a:r>
                    </a:p>
                  </a:txBody>
                  <a:tcPr>
                    <a:lnL w="12700" cmpd="sng">
                      <a:noFill/>
                    </a:lnL>
                    <a:lnR w="12700" cmpd="sng">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MX" sz="900" b="0">
                        <a:latin typeface="+mj-lt"/>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74318685"/>
                  </a:ext>
                </a:extLst>
              </a:tr>
              <a:tr h="35320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endParaRPr lang="es-BO" sz="900" noProof="0" dirty="0">
                        <a:solidFill>
                          <a:schemeClr val="tx1"/>
                        </a:solidFill>
                        <a:latin typeface="Calibri Light" panose="020F0302020204030204" pitchFamily="34" charset="0"/>
                        <a:cs typeface="Calibri Light" panose="020F0302020204030204" pitchFamily="34" charset="0"/>
                      </a:endParaRPr>
                    </a:p>
                  </a:txBody>
                  <a:tcPr marL="0" marR="0"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800" b="1" noProof="0" dirty="0">
                          <a:solidFill>
                            <a:schemeClr val="tx1"/>
                          </a:solidFill>
                          <a:latin typeface="Calibri Light" panose="020F0302020204030204" pitchFamily="34" charset="0"/>
                          <a:cs typeface="Calibri Light" panose="020F0302020204030204" pitchFamily="34" charset="0"/>
                        </a:rPr>
                        <a:t>% Energía renovable total</a:t>
                      </a:r>
                    </a:p>
                  </a:txBody>
                  <a:tcPr marL="0" marR="0" marT="0" marB="0" anchor="ctr">
                    <a:lnB w="28575"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800" b="1" noProof="0" dirty="0">
                          <a:solidFill>
                            <a:schemeClr val="tx1"/>
                          </a:solidFill>
                          <a:latin typeface="Calibri Light" panose="020F0302020204030204" pitchFamily="34" charset="0"/>
                          <a:cs typeface="Calibri Light" panose="020F0302020204030204" pitchFamily="34" charset="0"/>
                        </a:rPr>
                        <a:t>% del Recurso hídrico del total</a:t>
                      </a:r>
                    </a:p>
                  </a:txBody>
                  <a:tcPr marL="0" marR="0" marT="0" marB="0" anchor="ctr">
                    <a:lnB w="28575"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BO" sz="800" b="1" noProof="0" dirty="0">
                          <a:solidFill>
                            <a:schemeClr val="tx1"/>
                          </a:solidFill>
                          <a:latin typeface="Calibri Light" panose="020F0302020204030204" pitchFamily="34" charset="0"/>
                          <a:cs typeface="Calibri Light" panose="020F0302020204030204" pitchFamily="34" charset="0"/>
                        </a:rPr>
                        <a:t>Millones de toneladas</a:t>
                      </a:r>
                    </a:p>
                  </a:txBody>
                  <a:tcPr marL="0" marR="0" marT="0" marB="0" anchor="ctr">
                    <a:lnB w="28575" cap="flat" cmpd="sng" algn="ctr">
                      <a:solidFill>
                        <a:schemeClr val="accent1"/>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s-BO" sz="800" b="1" noProof="0" dirty="0">
                        <a:latin typeface="Calibri Light" panose="020F0302020204030204" pitchFamily="34" charset="0"/>
                        <a:cs typeface="Calibri Light" panose="020F0302020204030204" pitchFamily="34" charset="0"/>
                      </a:endParaRPr>
                    </a:p>
                  </a:txBody>
                  <a:tcPr marL="0" marR="0" marT="0" marB="0" anchor="ctr">
                    <a:lnB w="28575"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800" b="1" kern="1200" noProof="0" dirty="0">
                          <a:solidFill>
                            <a:schemeClr val="dk1"/>
                          </a:solidFill>
                          <a:latin typeface="Calibri Light" panose="020F0302020204030204" pitchFamily="34" charset="0"/>
                          <a:cs typeface="Calibri Light" panose="020F0302020204030204" pitchFamily="34" charset="0"/>
                        </a:rPr>
                        <a:t>% Energía renovable total</a:t>
                      </a:r>
                      <a:endParaRPr lang="es-BO" sz="800" b="1" kern="1200" noProof="0" dirty="0">
                        <a:solidFill>
                          <a:schemeClr val="dk1"/>
                        </a:solidFill>
                        <a:latin typeface="Calibri Light" panose="020F0302020204030204" pitchFamily="34" charset="0"/>
                        <a:ea typeface="+mn-ea"/>
                        <a:cs typeface="Calibri Light" panose="020F0302020204030204" pitchFamily="34" charset="0"/>
                      </a:endParaRPr>
                    </a:p>
                  </a:txBody>
                  <a:tcPr marL="0" marR="0" marT="0" marB="0" anchor="ctr">
                    <a:lnB w="28575"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800" b="1" noProof="0" dirty="0">
                          <a:latin typeface="Calibri Light" panose="020F0302020204030204" pitchFamily="34" charset="0"/>
                          <a:cs typeface="Calibri Light" panose="020F0302020204030204" pitchFamily="34" charset="0"/>
                        </a:rPr>
                        <a:t>% del Recurso hídrico del total</a:t>
                      </a:r>
                    </a:p>
                  </a:txBody>
                  <a:tcPr marL="0" marR="0" marT="0" marB="0" anchor="ctr">
                    <a:lnB w="28575"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BO" sz="800" b="1" noProof="0" dirty="0">
                          <a:latin typeface="Calibri Light" panose="020F0302020204030204" pitchFamily="34" charset="0"/>
                          <a:cs typeface="Calibri Light" panose="020F0302020204030204" pitchFamily="34" charset="0"/>
                        </a:rPr>
                        <a:t>Millones de toneladas</a:t>
                      </a:r>
                    </a:p>
                    <a:p>
                      <a:pPr algn="ctr" rtl="0"/>
                      <a:r>
                        <a:rPr lang="es-BO" sz="800" b="1" kern="1200" noProof="0" dirty="0">
                          <a:solidFill>
                            <a:schemeClr val="dk1"/>
                          </a:solidFill>
                          <a:latin typeface="Calibri Light" panose="020F0302020204030204" pitchFamily="34" charset="0"/>
                          <a:cs typeface="Calibri Light" panose="020F0302020204030204" pitchFamily="34" charset="0"/>
                        </a:rPr>
                        <a:t> </a:t>
                      </a:r>
                      <a:endParaRPr lang="es-BO" sz="800" b="1" kern="1200" baseline="-25000" noProof="0" dirty="0">
                        <a:solidFill>
                          <a:schemeClr val="dk1"/>
                        </a:solidFill>
                        <a:latin typeface="Calibri Light" panose="020F0302020204030204" pitchFamily="34" charset="0"/>
                        <a:ea typeface="+mn-ea"/>
                        <a:cs typeface="Calibri Light" panose="020F0302020204030204" pitchFamily="34" charset="0"/>
                      </a:endParaRPr>
                    </a:p>
                  </a:txBody>
                  <a:tcPr marL="0" marR="0" marT="0" marB="0" anchor="ctr">
                    <a:lnB w="285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2007338897"/>
                  </a:ext>
                </a:extLst>
              </a:tr>
              <a:tr h="2597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900" b="1" noProof="0" dirty="0">
                          <a:latin typeface="Calibri Light" panose="020F0302020204030204" pitchFamily="34" charset="0"/>
                          <a:cs typeface="Calibri Light" panose="020F0302020204030204" pitchFamily="34" charset="0"/>
                        </a:rPr>
                        <a:t>Alcalina</a:t>
                      </a:r>
                    </a:p>
                  </a:txBody>
                  <a:tcPr anchor="ctr">
                    <a:lnB w="3175" cap="flat" cmpd="sng" algn="ctr">
                      <a:solidFill>
                        <a:schemeClr val="bg1">
                          <a:lumMod val="50000"/>
                        </a:schemeClr>
                      </a:solidFill>
                      <a:prstDash val="solid"/>
                      <a:round/>
                      <a:headEnd type="none" w="med" len="med"/>
                      <a:tailEnd type="none" w="med" len="med"/>
                    </a:lnB>
                  </a:tcPr>
                </a:tc>
                <a:tc>
                  <a:txBody>
                    <a:bodyPr/>
                    <a:lstStyle/>
                    <a:p>
                      <a:pPr algn="ctr" rtl="0"/>
                      <a:r>
                        <a:rPr lang="es-BO" sz="1100" noProof="0" dirty="0">
                          <a:latin typeface="Calibri Light" panose="020F0302020204030204" pitchFamily="34" charset="0"/>
                          <a:cs typeface="Calibri Light" panose="020F0302020204030204" pitchFamily="34" charset="0"/>
                        </a:rPr>
                        <a:t>98%</a:t>
                      </a:r>
                    </a:p>
                  </a:txBody>
                  <a:tcPr anchor="ct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20,9%</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11.116 </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R w="31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L w="3175" cap="flat" cmpd="sng" algn="ctr">
                      <a:noFill/>
                      <a:prstDash val="solid"/>
                      <a:round/>
                      <a:headEnd type="none" w="med" len="med"/>
                      <a:tailEnd type="none" w="med" len="med"/>
                    </a:lnL>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a:r>
                        <a:rPr lang="es-BO" sz="1100" noProof="0" dirty="0">
                          <a:latin typeface="Calibri Light" panose="020F0302020204030204" pitchFamily="34" charset="0"/>
                          <a:cs typeface="Calibri Light" panose="020F0302020204030204" pitchFamily="34" charset="0"/>
                        </a:rPr>
                        <a:t>25%</a:t>
                      </a:r>
                    </a:p>
                  </a:txBody>
                  <a:tcPr anchor="ct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5,3%</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2.836</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285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784661473"/>
                  </a:ext>
                </a:extLst>
              </a:tr>
              <a:tr h="2597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900" b="1" noProof="0" dirty="0">
                          <a:latin typeface="Calibri Light" panose="020F0302020204030204" pitchFamily="34" charset="0"/>
                          <a:cs typeface="Calibri Light" panose="020F0302020204030204" pitchFamily="34" charset="0"/>
                        </a:rPr>
                        <a:t>PEM</a:t>
                      </a: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a:r>
                        <a:rPr kumimoji="0" lang="es-BO" sz="1100" b="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98%</a:t>
                      </a:r>
                      <a:endParaRPr lang="es-BO" sz="1100" noProof="0" dirty="0">
                        <a:latin typeface="Calibri Light" panose="020F0302020204030204" pitchFamily="34" charset="0"/>
                        <a:cs typeface="Calibri Light" panose="020F0302020204030204" pitchFamily="34" charset="0"/>
                      </a:endParaRP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20,0%</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11.988 </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R w="3175" cap="flat" cmpd="sng" algn="ctr">
                      <a:no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L w="3175" cap="flat" cmpd="sng" algn="ctr">
                      <a:noFill/>
                      <a:prstDash val="solid"/>
                      <a:round/>
                      <a:headEnd type="none" w="med" len="med"/>
                      <a:tailEnd type="none" w="med" len="med"/>
                    </a:lnL>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BO" sz="1100" b="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25%</a:t>
                      </a:r>
                      <a:endParaRPr kumimoji="0" lang="es-BO"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5,1%</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3.059 </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412791935"/>
                  </a:ext>
                </a:extLst>
              </a:tr>
              <a:tr h="2597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rtl="0"/>
                      <a:r>
                        <a:rPr lang="es-BO" sz="900" b="1" noProof="0" dirty="0">
                          <a:latin typeface="Calibri Light" panose="020F0302020204030204" pitchFamily="34" charset="0"/>
                          <a:cs typeface="Calibri Light" panose="020F0302020204030204" pitchFamily="34" charset="0"/>
                        </a:rPr>
                        <a:t>SOEC</a:t>
                      </a: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a:r>
                        <a:rPr kumimoji="0" lang="es-BO" sz="1100" b="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98%</a:t>
                      </a:r>
                      <a:endParaRPr lang="es-BO" sz="1100" noProof="0" dirty="0">
                        <a:latin typeface="Calibri Light" panose="020F0302020204030204" pitchFamily="34" charset="0"/>
                        <a:cs typeface="Calibri Light" panose="020F0302020204030204" pitchFamily="34" charset="0"/>
                      </a:endParaRP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23,1%</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13.896 </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R w="3175" cap="flat" cmpd="sng" algn="ctr">
                      <a:no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L w="3175" cap="flat" cmpd="sng" algn="ctr">
                      <a:noFill/>
                      <a:prstDash val="solid"/>
                      <a:round/>
                      <a:headEnd type="none" w="med" len="med"/>
                      <a:tailEnd type="none" w="med" len="med"/>
                    </a:lnL>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BO" sz="1100" b="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25%</a:t>
                      </a:r>
                      <a:endParaRPr kumimoji="0" lang="es-BO"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5,9%</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ctr" rtl="0" fontAlgn="b"/>
                      <a:r>
                        <a:rPr lang="es-BO" sz="1100" b="0" u="none" strike="noStrike" noProof="0" dirty="0">
                          <a:solidFill>
                            <a:srgbClr val="000000"/>
                          </a:solidFill>
                          <a:effectLst/>
                          <a:latin typeface="Calibri Light" panose="020F0302020204030204" pitchFamily="34" charset="0"/>
                          <a:cs typeface="Calibri Light" panose="020F0302020204030204" pitchFamily="34" charset="0"/>
                        </a:rPr>
                        <a:t>3.545 </a:t>
                      </a:r>
                      <a:endParaRPr lang="es-BO" sz="1100" b="0" i="0" u="none" strike="noStrike" noProof="0" dirty="0">
                        <a:solidFill>
                          <a:srgbClr val="000000"/>
                        </a:solidFill>
                        <a:effectLst/>
                        <a:latin typeface="Calibri Light" panose="020F0302020204030204" pitchFamily="34" charset="0"/>
                        <a:cs typeface="Calibri Light" panose="020F0302020204030204" pitchFamily="34" charset="0"/>
                      </a:endParaRPr>
                    </a:p>
                  </a:txBody>
                  <a:tcPr marL="0" marR="0" marT="0" marB="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064432160"/>
                  </a:ext>
                </a:extLst>
              </a:tr>
            </a:tbl>
          </a:graphicData>
        </a:graphic>
      </p:graphicFrame>
      <p:pic>
        <p:nvPicPr>
          <p:cNvPr id="78" name="Picture 6" descr="Resultado de imagen para circle highlight png">
            <a:extLst>
              <a:ext uri="{FF2B5EF4-FFF2-40B4-BE49-F238E27FC236}">
                <a16:creationId xmlns:a16="http://schemas.microsoft.com/office/drawing/2014/main" xmlns="" id="{5881E179-0B4B-6A78-308D-2BBCDB32C7B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1211674">
            <a:off x="11256587" y="4211716"/>
            <a:ext cx="581361" cy="266845"/>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xmlns="" id="{29A1883D-8F83-489B-54E4-F5F36E74932F}"/>
              </a:ext>
            </a:extLst>
          </p:cNvPr>
          <p:cNvPicPr>
            <a:picLocks noChangeAspect="1"/>
          </p:cNvPicPr>
          <p:nvPr/>
        </p:nvPicPr>
        <p:blipFill>
          <a:blip r:embed="rId8"/>
          <a:stretch>
            <a:fillRect/>
          </a:stretch>
        </p:blipFill>
        <p:spPr>
          <a:xfrm>
            <a:off x="4525897" y="3209357"/>
            <a:ext cx="1691706" cy="1537525"/>
          </a:xfrm>
          <a:prstGeom prst="rect">
            <a:avLst/>
          </a:prstGeom>
          <a:ln>
            <a:solidFill>
              <a:schemeClr val="tx1"/>
            </a:solidFill>
          </a:ln>
        </p:spPr>
      </p:pic>
      <p:pic>
        <p:nvPicPr>
          <p:cNvPr id="79" name="Picture 78">
            <a:extLst>
              <a:ext uri="{FF2B5EF4-FFF2-40B4-BE49-F238E27FC236}">
                <a16:creationId xmlns:a16="http://schemas.microsoft.com/office/drawing/2014/main" xmlns="" id="{351E1048-1886-2C86-2F4D-A504F4C8C24D}"/>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2109" t="3271" r="-1"/>
          <a:stretch/>
        </p:blipFill>
        <p:spPr bwMode="auto">
          <a:xfrm>
            <a:off x="5834930" y="3448321"/>
            <a:ext cx="1562013" cy="1563362"/>
          </a:xfrm>
          <a:prstGeom prst="rect">
            <a:avLst/>
          </a:prstGeom>
          <a:noFill/>
          <a:ln>
            <a:solidFill>
              <a:schemeClr val="tx1"/>
            </a:solidFill>
          </a:ln>
          <a:extLst>
            <a:ext uri="{53640926-AAD7-44D8-BBD7-CCE9431645EC}">
              <a14:shadowObscured xmlns:a14="http://schemas.microsoft.com/office/drawing/2010/main"/>
            </a:ext>
          </a:extLst>
        </p:spPr>
      </p:pic>
      <p:grpSp>
        <p:nvGrpSpPr>
          <p:cNvPr id="92" name="Group 91">
            <a:extLst>
              <a:ext uri="{FF2B5EF4-FFF2-40B4-BE49-F238E27FC236}">
                <a16:creationId xmlns:a16="http://schemas.microsoft.com/office/drawing/2014/main" xmlns="" id="{1646E73F-B51D-310F-3E9F-F6DDBB32E017}"/>
              </a:ext>
            </a:extLst>
          </p:cNvPr>
          <p:cNvGrpSpPr/>
          <p:nvPr/>
        </p:nvGrpSpPr>
        <p:grpSpPr>
          <a:xfrm>
            <a:off x="4925361" y="5228161"/>
            <a:ext cx="1764852" cy="233524"/>
            <a:chOff x="955796" y="4955120"/>
            <a:chExt cx="1764852" cy="233524"/>
          </a:xfrm>
        </p:grpSpPr>
        <p:grpSp>
          <p:nvGrpSpPr>
            <p:cNvPr id="96" name="Graphic 6">
              <a:extLst>
                <a:ext uri="{FF2B5EF4-FFF2-40B4-BE49-F238E27FC236}">
                  <a16:creationId xmlns:a16="http://schemas.microsoft.com/office/drawing/2014/main" xmlns="" id="{BE7DE042-A275-F301-F349-384123CABE1E}"/>
                </a:ext>
              </a:extLst>
            </p:cNvPr>
            <p:cNvGrpSpPr/>
            <p:nvPr/>
          </p:nvGrpSpPr>
          <p:grpSpPr>
            <a:xfrm>
              <a:off x="955796" y="4955120"/>
              <a:ext cx="283920" cy="223200"/>
              <a:chOff x="11146237" y="1404236"/>
              <a:chExt cx="460873" cy="361971"/>
            </a:xfrm>
            <a:solidFill>
              <a:srgbClr val="007CB0"/>
            </a:solidFill>
          </p:grpSpPr>
          <p:sp>
            <p:nvSpPr>
              <p:cNvPr id="110" name="Graphic 6">
                <a:extLst>
                  <a:ext uri="{FF2B5EF4-FFF2-40B4-BE49-F238E27FC236}">
                    <a16:creationId xmlns:a16="http://schemas.microsoft.com/office/drawing/2014/main" xmlns="" id="{9723E0D0-1797-EBD4-7811-058AC0B32080}"/>
                  </a:ext>
                </a:extLst>
              </p:cNvPr>
              <p:cNvSpPr/>
              <p:nvPr/>
            </p:nvSpPr>
            <p:spPr>
              <a:xfrm>
                <a:off x="11501376" y="1520188"/>
                <a:ext cx="105734" cy="160275"/>
              </a:xfrm>
              <a:custGeom>
                <a:avLst/>
                <a:gdLst>
                  <a:gd name="connsiteX0" fmla="*/ 92525 w 105734"/>
                  <a:gd name="connsiteY0" fmla="*/ 65117 h 160275"/>
                  <a:gd name="connsiteX1" fmla="*/ 84218 w 105734"/>
                  <a:gd name="connsiteY1" fmla="*/ 52349 h 160275"/>
                  <a:gd name="connsiteX2" fmla="*/ 54186 w 105734"/>
                  <a:gd name="connsiteY2" fmla="*/ 4469 h 160275"/>
                  <a:gd name="connsiteX3" fmla="*/ 52269 w 105734"/>
                  <a:gd name="connsiteY3" fmla="*/ 0 h 160275"/>
                  <a:gd name="connsiteX4" fmla="*/ 38211 w 105734"/>
                  <a:gd name="connsiteY4" fmla="*/ 28089 h 160275"/>
                  <a:gd name="connsiteX5" fmla="*/ 36933 w 105734"/>
                  <a:gd name="connsiteY5" fmla="*/ 30005 h 160275"/>
                  <a:gd name="connsiteX6" fmla="*/ 31182 w 105734"/>
                  <a:gd name="connsiteY6" fmla="*/ 37027 h 160275"/>
                  <a:gd name="connsiteX7" fmla="*/ 7539 w 105734"/>
                  <a:gd name="connsiteY7" fmla="*/ 134702 h 160275"/>
                  <a:gd name="connsiteX8" fmla="*/ 50991 w 105734"/>
                  <a:gd name="connsiteY8" fmla="*/ 160238 h 160275"/>
                  <a:gd name="connsiteX9" fmla="*/ 91247 w 105734"/>
                  <a:gd name="connsiteY9" fmla="*/ 142363 h 160275"/>
                  <a:gd name="connsiteX10" fmla="*/ 93803 w 105734"/>
                  <a:gd name="connsiteY10" fmla="*/ 67032 h 160275"/>
                  <a:gd name="connsiteX11" fmla="*/ 92525 w 105734"/>
                  <a:gd name="connsiteY11" fmla="*/ 65117 h 160275"/>
                  <a:gd name="connsiteX12" fmla="*/ 35016 w 105734"/>
                  <a:gd name="connsiteY12" fmla="*/ 142363 h 160275"/>
                  <a:gd name="connsiteX13" fmla="*/ 33738 w 105734"/>
                  <a:gd name="connsiteY13" fmla="*/ 144278 h 160275"/>
                  <a:gd name="connsiteX14" fmla="*/ 29265 w 105734"/>
                  <a:gd name="connsiteY14" fmla="*/ 146193 h 160275"/>
                  <a:gd name="connsiteX15" fmla="*/ 24792 w 105734"/>
                  <a:gd name="connsiteY15" fmla="*/ 144278 h 160275"/>
                  <a:gd name="connsiteX16" fmla="*/ 22875 w 105734"/>
                  <a:gd name="connsiteY16" fmla="*/ 139809 h 160275"/>
                  <a:gd name="connsiteX17" fmla="*/ 24792 w 105734"/>
                  <a:gd name="connsiteY17" fmla="*/ 135341 h 160275"/>
                  <a:gd name="connsiteX18" fmla="*/ 33738 w 105734"/>
                  <a:gd name="connsiteY18" fmla="*/ 135341 h 160275"/>
                  <a:gd name="connsiteX19" fmla="*/ 35655 w 105734"/>
                  <a:gd name="connsiteY19" fmla="*/ 139809 h 160275"/>
                  <a:gd name="connsiteX20" fmla="*/ 35016 w 105734"/>
                  <a:gd name="connsiteY20" fmla="*/ 142363 h 160275"/>
                  <a:gd name="connsiteX21" fmla="*/ 40128 w 105734"/>
                  <a:gd name="connsiteY21" fmla="*/ 59371 h 160275"/>
                  <a:gd name="connsiteX22" fmla="*/ 26070 w 105734"/>
                  <a:gd name="connsiteY22" fmla="*/ 123211 h 160275"/>
                  <a:gd name="connsiteX23" fmla="*/ 22875 w 105734"/>
                  <a:gd name="connsiteY23" fmla="*/ 131510 h 160275"/>
                  <a:gd name="connsiteX24" fmla="*/ 20319 w 105734"/>
                  <a:gd name="connsiteY24" fmla="*/ 132149 h 160275"/>
                  <a:gd name="connsiteX25" fmla="*/ 14568 w 105734"/>
                  <a:gd name="connsiteY25" fmla="*/ 128318 h 160275"/>
                  <a:gd name="connsiteX26" fmla="*/ 31182 w 105734"/>
                  <a:gd name="connsiteY26" fmla="*/ 49795 h 160275"/>
                  <a:gd name="connsiteX27" fmla="*/ 40128 w 105734"/>
                  <a:gd name="connsiteY27" fmla="*/ 49795 h 160275"/>
                  <a:gd name="connsiteX28" fmla="*/ 40128 w 105734"/>
                  <a:gd name="connsiteY28" fmla="*/ 59371 h 16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5734" h="160275">
                    <a:moveTo>
                      <a:pt x="92525" y="65117"/>
                    </a:moveTo>
                    <a:cubicBezTo>
                      <a:pt x="91887" y="64478"/>
                      <a:pt x="88692" y="59371"/>
                      <a:pt x="84218" y="52349"/>
                    </a:cubicBezTo>
                    <a:cubicBezTo>
                      <a:pt x="70161" y="30643"/>
                      <a:pt x="56742" y="9576"/>
                      <a:pt x="54186" y="4469"/>
                    </a:cubicBezTo>
                    <a:cubicBezTo>
                      <a:pt x="53547" y="3192"/>
                      <a:pt x="52907" y="1277"/>
                      <a:pt x="52269" y="0"/>
                    </a:cubicBezTo>
                    <a:cubicBezTo>
                      <a:pt x="47157" y="15960"/>
                      <a:pt x="41406" y="23621"/>
                      <a:pt x="38211" y="28089"/>
                    </a:cubicBezTo>
                    <a:cubicBezTo>
                      <a:pt x="37572" y="28728"/>
                      <a:pt x="36933" y="29366"/>
                      <a:pt x="36933" y="30005"/>
                    </a:cubicBezTo>
                    <a:cubicBezTo>
                      <a:pt x="35655" y="31920"/>
                      <a:pt x="33738" y="34473"/>
                      <a:pt x="31182" y="37027"/>
                    </a:cubicBezTo>
                    <a:cubicBezTo>
                      <a:pt x="16485" y="55541"/>
                      <a:pt x="-14187" y="93206"/>
                      <a:pt x="7539" y="134702"/>
                    </a:cubicBezTo>
                    <a:cubicBezTo>
                      <a:pt x="15207" y="149385"/>
                      <a:pt x="32460" y="159600"/>
                      <a:pt x="50991" y="160238"/>
                    </a:cubicBezTo>
                    <a:cubicBezTo>
                      <a:pt x="65687" y="160876"/>
                      <a:pt x="82302" y="153216"/>
                      <a:pt x="91247" y="142363"/>
                    </a:cubicBezTo>
                    <a:cubicBezTo>
                      <a:pt x="116168" y="111081"/>
                      <a:pt x="103388" y="85545"/>
                      <a:pt x="93803" y="67032"/>
                    </a:cubicBezTo>
                    <a:lnTo>
                      <a:pt x="92525" y="65117"/>
                    </a:lnTo>
                    <a:close/>
                    <a:moveTo>
                      <a:pt x="35016" y="142363"/>
                    </a:moveTo>
                    <a:cubicBezTo>
                      <a:pt x="34377" y="143001"/>
                      <a:pt x="34377" y="143640"/>
                      <a:pt x="33738" y="144278"/>
                    </a:cubicBezTo>
                    <a:cubicBezTo>
                      <a:pt x="32460" y="145555"/>
                      <a:pt x="31182" y="146193"/>
                      <a:pt x="29265" y="146193"/>
                    </a:cubicBezTo>
                    <a:cubicBezTo>
                      <a:pt x="27348" y="146193"/>
                      <a:pt x="26070" y="145555"/>
                      <a:pt x="24792" y="144278"/>
                    </a:cubicBezTo>
                    <a:cubicBezTo>
                      <a:pt x="23514" y="143001"/>
                      <a:pt x="22875" y="141724"/>
                      <a:pt x="22875" y="139809"/>
                    </a:cubicBezTo>
                    <a:cubicBezTo>
                      <a:pt x="22875" y="137894"/>
                      <a:pt x="23514" y="136617"/>
                      <a:pt x="24792" y="135341"/>
                    </a:cubicBezTo>
                    <a:cubicBezTo>
                      <a:pt x="27348" y="132787"/>
                      <a:pt x="31182" y="132787"/>
                      <a:pt x="33738" y="135341"/>
                    </a:cubicBezTo>
                    <a:cubicBezTo>
                      <a:pt x="35016" y="136617"/>
                      <a:pt x="35655" y="137894"/>
                      <a:pt x="35655" y="139809"/>
                    </a:cubicBezTo>
                    <a:cubicBezTo>
                      <a:pt x="35655" y="140448"/>
                      <a:pt x="35016" y="141724"/>
                      <a:pt x="35016" y="142363"/>
                    </a:cubicBezTo>
                    <a:close/>
                    <a:moveTo>
                      <a:pt x="40128" y="59371"/>
                    </a:moveTo>
                    <a:cubicBezTo>
                      <a:pt x="38850" y="60648"/>
                      <a:pt x="9456" y="89376"/>
                      <a:pt x="26070" y="123211"/>
                    </a:cubicBezTo>
                    <a:cubicBezTo>
                      <a:pt x="27348" y="126403"/>
                      <a:pt x="26070" y="130233"/>
                      <a:pt x="22875" y="131510"/>
                    </a:cubicBezTo>
                    <a:cubicBezTo>
                      <a:pt x="22236" y="132149"/>
                      <a:pt x="20958" y="132149"/>
                      <a:pt x="20319" y="132149"/>
                    </a:cubicBezTo>
                    <a:cubicBezTo>
                      <a:pt x="17763" y="132149"/>
                      <a:pt x="15846" y="130872"/>
                      <a:pt x="14568" y="128318"/>
                    </a:cubicBezTo>
                    <a:cubicBezTo>
                      <a:pt x="-5880" y="86184"/>
                      <a:pt x="31182" y="50433"/>
                      <a:pt x="31182" y="49795"/>
                    </a:cubicBezTo>
                    <a:cubicBezTo>
                      <a:pt x="33738" y="47241"/>
                      <a:pt x="37572" y="47241"/>
                      <a:pt x="40128" y="49795"/>
                    </a:cubicBezTo>
                    <a:cubicBezTo>
                      <a:pt x="42684" y="52349"/>
                      <a:pt x="42684" y="56817"/>
                      <a:pt x="40128" y="59371"/>
                    </a:cubicBezTo>
                    <a:close/>
                  </a:path>
                </a:pathLst>
              </a:custGeom>
              <a:grpFill/>
              <a:ln w="6390" cap="flat">
                <a:noFill/>
                <a:prstDash val="solid"/>
                <a:miter/>
              </a:ln>
            </p:spPr>
            <p:txBody>
              <a:bodyPr rtlCol="0" anchor="ctr"/>
              <a:lstStyle/>
              <a:p>
                <a:endParaRPr lang="es-BO" noProof="0" dirty="0"/>
              </a:p>
            </p:txBody>
          </p:sp>
          <p:sp>
            <p:nvSpPr>
              <p:cNvPr id="113" name="Graphic 6">
                <a:extLst>
                  <a:ext uri="{FF2B5EF4-FFF2-40B4-BE49-F238E27FC236}">
                    <a16:creationId xmlns:a16="http://schemas.microsoft.com/office/drawing/2014/main" xmlns="" id="{673AE5FC-8DE3-82EB-4A99-66E6F58C3582}"/>
                  </a:ext>
                </a:extLst>
              </p:cNvPr>
              <p:cNvSpPr/>
              <p:nvPr/>
            </p:nvSpPr>
            <p:spPr>
              <a:xfrm>
                <a:off x="11146237" y="140423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181474 w 362309"/>
                  <a:gd name="connsiteY4" fmla="*/ 0 h 361971"/>
                  <a:gd name="connsiteX5" fmla="*/ 230038 w 362309"/>
                  <a:gd name="connsiteY5" fmla="*/ 264935 h 361971"/>
                  <a:gd name="connsiteX6" fmla="*/ 180836 w 362309"/>
                  <a:gd name="connsiteY6" fmla="*/ 287918 h 361971"/>
                  <a:gd name="connsiteX7" fmla="*/ 180197 w 362309"/>
                  <a:gd name="connsiteY7" fmla="*/ 287918 h 361971"/>
                  <a:gd name="connsiteX8" fmla="*/ 125882 w 362309"/>
                  <a:gd name="connsiteY8" fmla="*/ 255359 h 361971"/>
                  <a:gd name="connsiteX9" fmla="*/ 151442 w 362309"/>
                  <a:gd name="connsiteY9" fmla="*/ 144278 h 361971"/>
                  <a:gd name="connsiteX10" fmla="*/ 156553 w 362309"/>
                  <a:gd name="connsiteY10" fmla="*/ 137894 h 361971"/>
                  <a:gd name="connsiteX11" fmla="*/ 158471 w 362309"/>
                  <a:gd name="connsiteY11" fmla="*/ 135340 h 361971"/>
                  <a:gd name="connsiteX12" fmla="*/ 176363 w 362309"/>
                  <a:gd name="connsiteY12" fmla="*/ 79800 h 361971"/>
                  <a:gd name="connsiteX13" fmla="*/ 182753 w 362309"/>
                  <a:gd name="connsiteY13" fmla="*/ 74054 h 361971"/>
                  <a:gd name="connsiteX14" fmla="*/ 182753 w 362309"/>
                  <a:gd name="connsiteY14" fmla="*/ 74054 h 361971"/>
                  <a:gd name="connsiteX15" fmla="*/ 189143 w 362309"/>
                  <a:gd name="connsiteY15" fmla="*/ 79800 h 361971"/>
                  <a:gd name="connsiteX16" fmla="*/ 196172 w 362309"/>
                  <a:gd name="connsiteY16" fmla="*/ 114273 h 361971"/>
                  <a:gd name="connsiteX17" fmla="*/ 225565 w 362309"/>
                  <a:gd name="connsiteY17" fmla="*/ 160876 h 361971"/>
                  <a:gd name="connsiteX18" fmla="*/ 234511 w 362309"/>
                  <a:gd name="connsiteY18" fmla="*/ 174283 h 361971"/>
                  <a:gd name="connsiteX19" fmla="*/ 235789 w 362309"/>
                  <a:gd name="connsiteY19" fmla="*/ 176198 h 361971"/>
                  <a:gd name="connsiteX20" fmla="*/ 230038 w 362309"/>
                  <a:gd name="connsiteY20" fmla="*/ 2649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3" y="0"/>
                      <a:pt x="0" y="81077"/>
                      <a:pt x="0" y="180667"/>
                    </a:cubicBezTo>
                    <a:cubicBezTo>
                      <a:pt x="0" y="280257"/>
                      <a:pt x="81153" y="361972"/>
                      <a:pt x="180836" y="361972"/>
                    </a:cubicBezTo>
                    <a:cubicBezTo>
                      <a:pt x="281157" y="361972"/>
                      <a:pt x="362310" y="280895"/>
                      <a:pt x="362310" y="181305"/>
                    </a:cubicBezTo>
                    <a:cubicBezTo>
                      <a:pt x="362310" y="81715"/>
                      <a:pt x="281797" y="0"/>
                      <a:pt x="181474" y="0"/>
                    </a:cubicBezTo>
                    <a:close/>
                    <a:moveTo>
                      <a:pt x="230038" y="264935"/>
                    </a:moveTo>
                    <a:cubicBezTo>
                      <a:pt x="219175" y="278342"/>
                      <a:pt x="199367" y="287918"/>
                      <a:pt x="180836" y="287918"/>
                    </a:cubicBezTo>
                    <a:lnTo>
                      <a:pt x="180197" y="287918"/>
                    </a:lnTo>
                    <a:cubicBezTo>
                      <a:pt x="157193" y="287279"/>
                      <a:pt x="135467" y="274511"/>
                      <a:pt x="125882" y="255359"/>
                    </a:cubicBezTo>
                    <a:cubicBezTo>
                      <a:pt x="100322" y="206841"/>
                      <a:pt x="136106" y="162792"/>
                      <a:pt x="151442" y="144278"/>
                    </a:cubicBezTo>
                    <a:cubicBezTo>
                      <a:pt x="153358" y="141724"/>
                      <a:pt x="155276" y="139809"/>
                      <a:pt x="156553" y="137894"/>
                    </a:cubicBezTo>
                    <a:cubicBezTo>
                      <a:pt x="157193" y="137256"/>
                      <a:pt x="157832" y="136617"/>
                      <a:pt x="158471" y="135340"/>
                    </a:cubicBezTo>
                    <a:cubicBezTo>
                      <a:pt x="163583" y="128956"/>
                      <a:pt x="172528" y="117465"/>
                      <a:pt x="176363" y="79800"/>
                    </a:cubicBezTo>
                    <a:cubicBezTo>
                      <a:pt x="177002" y="76608"/>
                      <a:pt x="179558" y="74054"/>
                      <a:pt x="182753" y="74054"/>
                    </a:cubicBezTo>
                    <a:lnTo>
                      <a:pt x="182753" y="74054"/>
                    </a:lnTo>
                    <a:cubicBezTo>
                      <a:pt x="185948" y="74054"/>
                      <a:pt x="188503" y="76608"/>
                      <a:pt x="189143" y="79800"/>
                    </a:cubicBezTo>
                    <a:cubicBezTo>
                      <a:pt x="190420" y="90014"/>
                      <a:pt x="192977" y="108528"/>
                      <a:pt x="196172" y="114273"/>
                    </a:cubicBezTo>
                    <a:cubicBezTo>
                      <a:pt x="198728" y="118742"/>
                      <a:pt x="215980" y="146193"/>
                      <a:pt x="225565" y="160876"/>
                    </a:cubicBezTo>
                    <a:cubicBezTo>
                      <a:pt x="233872" y="173644"/>
                      <a:pt x="233872" y="173644"/>
                      <a:pt x="234511" y="174283"/>
                    </a:cubicBezTo>
                    <a:lnTo>
                      <a:pt x="235789" y="176198"/>
                    </a:lnTo>
                    <a:cubicBezTo>
                      <a:pt x="243457" y="195350"/>
                      <a:pt x="260071" y="227908"/>
                      <a:pt x="230038" y="264935"/>
                    </a:cubicBezTo>
                    <a:close/>
                  </a:path>
                </a:pathLst>
              </a:custGeom>
              <a:grpFill/>
              <a:ln w="6390" cap="flat">
                <a:noFill/>
                <a:prstDash val="solid"/>
                <a:miter/>
              </a:ln>
            </p:spPr>
            <p:txBody>
              <a:bodyPr rtlCol="0" anchor="ctr"/>
              <a:lstStyle/>
              <a:p>
                <a:endParaRPr lang="es-BO" noProof="0" dirty="0"/>
              </a:p>
            </p:txBody>
          </p:sp>
        </p:grpSp>
        <p:sp>
          <p:nvSpPr>
            <p:cNvPr id="107" name="TextBox 106">
              <a:extLst>
                <a:ext uri="{FF2B5EF4-FFF2-40B4-BE49-F238E27FC236}">
                  <a16:creationId xmlns:a16="http://schemas.microsoft.com/office/drawing/2014/main" xmlns="" id="{A27D30A0-73E6-2C47-685A-242B4C5EDB18}"/>
                </a:ext>
              </a:extLst>
            </p:cNvPr>
            <p:cNvSpPr txBox="1"/>
            <p:nvPr/>
          </p:nvSpPr>
          <p:spPr>
            <a:xfrm>
              <a:off x="1042801" y="4973200"/>
              <a:ext cx="1677847" cy="215444"/>
            </a:xfrm>
            <a:prstGeom prst="rect">
              <a:avLst/>
            </a:prstGeom>
            <a:noFill/>
          </p:spPr>
          <p:txBody>
            <a:bodyPr wrap="square" lIns="0" tIns="0" rIns="0" bIns="0" rtlCol="0">
              <a:spAutoFit/>
            </a:bodyPr>
            <a:lstStyle/>
            <a:p>
              <a:pPr algn="ctr">
                <a:spcBef>
                  <a:spcPts val="600"/>
                </a:spcBef>
                <a:buSzPct val="100000"/>
              </a:pPr>
              <a:r>
                <a:rPr lang="es-BO" sz="1400" b="1" noProof="0" dirty="0">
                  <a:latin typeface="Calibri Light" panose="020F0302020204030204" pitchFamily="34" charset="0"/>
                  <a:cs typeface="Calibri Light" panose="020F0302020204030204" pitchFamily="34" charset="0"/>
                </a:rPr>
                <a:t>    ~600.658 hm</a:t>
              </a:r>
              <a:r>
                <a:rPr lang="es-BO" sz="1400" b="1" baseline="30000" noProof="0" dirty="0">
                  <a:latin typeface="Calibri Light" panose="020F0302020204030204" pitchFamily="34" charset="0"/>
                  <a:cs typeface="Calibri Light" panose="020F0302020204030204" pitchFamily="34" charset="0"/>
                </a:rPr>
                <a:t>3</a:t>
              </a:r>
              <a:r>
                <a:rPr lang="es-BO" sz="1400" b="1" noProof="0" dirty="0">
                  <a:latin typeface="Calibri Light" panose="020F0302020204030204" pitchFamily="34" charset="0"/>
                  <a:cs typeface="Calibri Light" panose="020F0302020204030204" pitchFamily="34" charset="0"/>
                </a:rPr>
                <a:t>/año</a:t>
              </a:r>
            </a:p>
          </p:txBody>
        </p:sp>
      </p:grpSp>
      <p:cxnSp>
        <p:nvCxnSpPr>
          <p:cNvPr id="3" name="Straight Connector 2">
            <a:extLst>
              <a:ext uri="{FF2B5EF4-FFF2-40B4-BE49-F238E27FC236}">
                <a16:creationId xmlns:a16="http://schemas.microsoft.com/office/drawing/2014/main" xmlns="" id="{5DCF2E0D-8E3C-8BC1-20D8-2B67EEFA4836}"/>
              </a:ext>
            </a:extLst>
          </p:cNvPr>
          <p:cNvCxnSpPr/>
          <p:nvPr/>
        </p:nvCxnSpPr>
        <p:spPr>
          <a:xfrm>
            <a:off x="10148743" y="3505603"/>
            <a:ext cx="0" cy="143456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790D6D12-2940-D3C5-4BA3-897AF98D2DDC}"/>
              </a:ext>
            </a:extLst>
          </p:cNvPr>
          <p:cNvCxnSpPr>
            <a:cxnSpLocks/>
          </p:cNvCxnSpPr>
          <p:nvPr/>
        </p:nvCxnSpPr>
        <p:spPr>
          <a:xfrm>
            <a:off x="8556248" y="4157782"/>
            <a:ext cx="0" cy="7823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6" descr="Resultado de imagen para circle highlight png">
            <a:extLst>
              <a:ext uri="{FF2B5EF4-FFF2-40B4-BE49-F238E27FC236}">
                <a16:creationId xmlns:a16="http://schemas.microsoft.com/office/drawing/2014/main" xmlns="" id="{C18327F1-1278-C8B5-354E-5A2E78FEB04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1211674">
            <a:off x="9486756" y="4715085"/>
            <a:ext cx="581361" cy="266845"/>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8" name="Graphic 4">
            <a:extLst>
              <a:ext uri="{FF2B5EF4-FFF2-40B4-BE49-F238E27FC236}">
                <a16:creationId xmlns:a16="http://schemas.microsoft.com/office/drawing/2014/main" xmlns="" id="{C6FFBCDF-5156-F669-FA25-9C1823183774}"/>
              </a:ext>
            </a:extLst>
          </p:cNvPr>
          <p:cNvGrpSpPr/>
          <p:nvPr/>
        </p:nvGrpSpPr>
        <p:grpSpPr>
          <a:xfrm>
            <a:off x="10016756" y="3198462"/>
            <a:ext cx="263973" cy="281936"/>
            <a:chOff x="6828925" y="3884078"/>
            <a:chExt cx="212883" cy="227369"/>
          </a:xfrm>
          <a:solidFill>
            <a:schemeClr val="tx1"/>
          </a:solidFill>
        </p:grpSpPr>
        <p:sp>
          <p:nvSpPr>
            <p:cNvPr id="10" name="Graphic 4">
              <a:extLst>
                <a:ext uri="{FF2B5EF4-FFF2-40B4-BE49-F238E27FC236}">
                  <a16:creationId xmlns:a16="http://schemas.microsoft.com/office/drawing/2014/main" xmlns="" id="{BF657E1C-5F66-6A03-21B9-48FC42754F45}"/>
                </a:ext>
              </a:extLst>
            </p:cNvPr>
            <p:cNvSpPr/>
            <p:nvPr/>
          </p:nvSpPr>
          <p:spPr>
            <a:xfrm>
              <a:off x="6828925" y="3959426"/>
              <a:ext cx="165499" cy="152021"/>
            </a:xfrm>
            <a:custGeom>
              <a:avLst/>
              <a:gdLst>
                <a:gd name="connsiteX0" fmla="*/ 149525 w 165499"/>
                <a:gd name="connsiteY0" fmla="*/ 82 h 152021"/>
                <a:gd name="connsiteX1" fmla="*/ 58788 w 165499"/>
                <a:gd name="connsiteY1" fmla="*/ 82 h 152021"/>
                <a:gd name="connsiteX2" fmla="*/ 52398 w 165499"/>
                <a:gd name="connsiteY2" fmla="*/ 6466 h 152021"/>
                <a:gd name="connsiteX3" fmla="*/ 58788 w 165499"/>
                <a:gd name="connsiteY3" fmla="*/ 12850 h 152021"/>
                <a:gd name="connsiteX4" fmla="*/ 143774 w 165499"/>
                <a:gd name="connsiteY4" fmla="*/ 12850 h 152021"/>
                <a:gd name="connsiteX5" fmla="*/ 151442 w 165499"/>
                <a:gd name="connsiteY5" fmla="*/ 102864 h 152021"/>
                <a:gd name="connsiteX6" fmla="*/ 12780 w 165499"/>
                <a:gd name="connsiteY6" fmla="*/ 102864 h 152021"/>
                <a:gd name="connsiteX7" fmla="*/ 20448 w 165499"/>
                <a:gd name="connsiteY7" fmla="*/ 12850 h 152021"/>
                <a:gd name="connsiteX8" fmla="*/ 41535 w 165499"/>
                <a:gd name="connsiteY8" fmla="*/ 12850 h 152021"/>
                <a:gd name="connsiteX9" fmla="*/ 47925 w 165499"/>
                <a:gd name="connsiteY9" fmla="*/ 6466 h 152021"/>
                <a:gd name="connsiteX10" fmla="*/ 41535 w 165499"/>
                <a:gd name="connsiteY10" fmla="*/ 82 h 152021"/>
                <a:gd name="connsiteX11" fmla="*/ 14697 w 165499"/>
                <a:gd name="connsiteY11" fmla="*/ 82 h 152021"/>
                <a:gd name="connsiteX12" fmla="*/ 8307 w 165499"/>
                <a:gd name="connsiteY12" fmla="*/ 5828 h 152021"/>
                <a:gd name="connsiteX13" fmla="*/ 0 w 165499"/>
                <a:gd name="connsiteY13" fmla="*/ 108610 h 152021"/>
                <a:gd name="connsiteX14" fmla="*/ 1917 w 165499"/>
                <a:gd name="connsiteY14" fmla="*/ 113717 h 152021"/>
                <a:gd name="connsiteX15" fmla="*/ 6390 w 165499"/>
                <a:gd name="connsiteY15" fmla="*/ 115632 h 152021"/>
                <a:gd name="connsiteX16" fmla="*/ 67094 w 165499"/>
                <a:gd name="connsiteY16" fmla="*/ 115632 h 152021"/>
                <a:gd name="connsiteX17" fmla="*/ 61983 w 165499"/>
                <a:gd name="connsiteY17" fmla="*/ 122016 h 152021"/>
                <a:gd name="connsiteX18" fmla="*/ 61983 w 165499"/>
                <a:gd name="connsiteY18" fmla="*/ 139253 h 152021"/>
                <a:gd name="connsiteX19" fmla="*/ 46008 w 165499"/>
                <a:gd name="connsiteY19" fmla="*/ 139253 h 152021"/>
                <a:gd name="connsiteX20" fmla="*/ 39618 w 165499"/>
                <a:gd name="connsiteY20" fmla="*/ 145637 h 152021"/>
                <a:gd name="connsiteX21" fmla="*/ 46008 w 165499"/>
                <a:gd name="connsiteY21" fmla="*/ 152021 h 152021"/>
                <a:gd name="connsiteX22" fmla="*/ 119492 w 165499"/>
                <a:gd name="connsiteY22" fmla="*/ 152021 h 152021"/>
                <a:gd name="connsiteX23" fmla="*/ 125882 w 165499"/>
                <a:gd name="connsiteY23" fmla="*/ 145637 h 152021"/>
                <a:gd name="connsiteX24" fmla="*/ 119492 w 165499"/>
                <a:gd name="connsiteY24" fmla="*/ 139253 h 152021"/>
                <a:gd name="connsiteX25" fmla="*/ 104156 w 165499"/>
                <a:gd name="connsiteY25" fmla="*/ 139253 h 152021"/>
                <a:gd name="connsiteX26" fmla="*/ 104156 w 165499"/>
                <a:gd name="connsiteY26" fmla="*/ 115632 h 152021"/>
                <a:gd name="connsiteX27" fmla="*/ 159110 w 165499"/>
                <a:gd name="connsiteY27" fmla="*/ 115632 h 152021"/>
                <a:gd name="connsiteX28" fmla="*/ 165500 w 165499"/>
                <a:gd name="connsiteY28" fmla="*/ 109248 h 152021"/>
                <a:gd name="connsiteX29" fmla="*/ 165500 w 165499"/>
                <a:gd name="connsiteY29" fmla="*/ 108610 h 152021"/>
                <a:gd name="connsiteX30" fmla="*/ 157193 w 165499"/>
                <a:gd name="connsiteY30" fmla="*/ 5828 h 152021"/>
                <a:gd name="connsiteX31" fmla="*/ 149525 w 165499"/>
                <a:gd name="connsiteY31" fmla="*/ 82 h 152021"/>
                <a:gd name="connsiteX32" fmla="*/ 149525 w 165499"/>
                <a:gd name="connsiteY32" fmla="*/ 82 h 152021"/>
                <a:gd name="connsiteX33" fmla="*/ 90099 w 165499"/>
                <a:gd name="connsiteY33" fmla="*/ 138615 h 152021"/>
                <a:gd name="connsiteX34" fmla="*/ 73484 w 165499"/>
                <a:gd name="connsiteY34" fmla="*/ 138615 h 152021"/>
                <a:gd name="connsiteX35" fmla="*/ 73484 w 165499"/>
                <a:gd name="connsiteY35" fmla="*/ 121378 h 152021"/>
                <a:gd name="connsiteX36" fmla="*/ 68373 w 165499"/>
                <a:gd name="connsiteY36" fmla="*/ 114994 h 152021"/>
                <a:gd name="connsiteX37" fmla="*/ 90099 w 165499"/>
                <a:gd name="connsiteY37" fmla="*/ 114994 h 152021"/>
                <a:gd name="connsiteX38" fmla="*/ 90099 w 165499"/>
                <a:gd name="connsiteY38" fmla="*/ 138615 h 15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499" h="152021">
                  <a:moveTo>
                    <a:pt x="149525" y="82"/>
                  </a:moveTo>
                  <a:lnTo>
                    <a:pt x="58788" y="82"/>
                  </a:lnTo>
                  <a:cubicBezTo>
                    <a:pt x="54954" y="82"/>
                    <a:pt x="52398" y="2636"/>
                    <a:pt x="52398" y="6466"/>
                  </a:cubicBezTo>
                  <a:cubicBezTo>
                    <a:pt x="52398" y="10297"/>
                    <a:pt x="54954" y="12850"/>
                    <a:pt x="58788" y="12850"/>
                  </a:cubicBezTo>
                  <a:lnTo>
                    <a:pt x="143774" y="12850"/>
                  </a:lnTo>
                  <a:lnTo>
                    <a:pt x="151442" y="102864"/>
                  </a:lnTo>
                  <a:lnTo>
                    <a:pt x="12780" y="102864"/>
                  </a:lnTo>
                  <a:lnTo>
                    <a:pt x="20448" y="12850"/>
                  </a:lnTo>
                  <a:lnTo>
                    <a:pt x="41535" y="12850"/>
                  </a:lnTo>
                  <a:cubicBezTo>
                    <a:pt x="45369" y="12850"/>
                    <a:pt x="47925" y="10297"/>
                    <a:pt x="47925" y="6466"/>
                  </a:cubicBezTo>
                  <a:cubicBezTo>
                    <a:pt x="47925" y="2636"/>
                    <a:pt x="45369" y="82"/>
                    <a:pt x="41535" y="82"/>
                  </a:cubicBezTo>
                  <a:lnTo>
                    <a:pt x="14697" y="82"/>
                  </a:lnTo>
                  <a:cubicBezTo>
                    <a:pt x="11502" y="82"/>
                    <a:pt x="8307" y="2636"/>
                    <a:pt x="8307" y="5828"/>
                  </a:cubicBezTo>
                  <a:lnTo>
                    <a:pt x="0" y="108610"/>
                  </a:lnTo>
                  <a:cubicBezTo>
                    <a:pt x="0" y="110525"/>
                    <a:pt x="640" y="112440"/>
                    <a:pt x="1917" y="113717"/>
                  </a:cubicBezTo>
                  <a:cubicBezTo>
                    <a:pt x="3195" y="114994"/>
                    <a:pt x="5112" y="115632"/>
                    <a:pt x="6390" y="115632"/>
                  </a:cubicBezTo>
                  <a:lnTo>
                    <a:pt x="67094" y="115632"/>
                  </a:lnTo>
                  <a:cubicBezTo>
                    <a:pt x="63899" y="116271"/>
                    <a:pt x="61983" y="118824"/>
                    <a:pt x="61983" y="122016"/>
                  </a:cubicBezTo>
                  <a:lnTo>
                    <a:pt x="61983" y="139253"/>
                  </a:lnTo>
                  <a:lnTo>
                    <a:pt x="46008" y="139253"/>
                  </a:lnTo>
                  <a:cubicBezTo>
                    <a:pt x="42174" y="139253"/>
                    <a:pt x="39618" y="141807"/>
                    <a:pt x="39618" y="145637"/>
                  </a:cubicBezTo>
                  <a:cubicBezTo>
                    <a:pt x="39618" y="149467"/>
                    <a:pt x="42174" y="152021"/>
                    <a:pt x="46008" y="152021"/>
                  </a:cubicBezTo>
                  <a:lnTo>
                    <a:pt x="119492" y="152021"/>
                  </a:lnTo>
                  <a:cubicBezTo>
                    <a:pt x="123326" y="152021"/>
                    <a:pt x="125882" y="149467"/>
                    <a:pt x="125882" y="145637"/>
                  </a:cubicBezTo>
                  <a:cubicBezTo>
                    <a:pt x="125882" y="141807"/>
                    <a:pt x="123326" y="139253"/>
                    <a:pt x="119492" y="139253"/>
                  </a:cubicBezTo>
                  <a:lnTo>
                    <a:pt x="104156" y="139253"/>
                  </a:lnTo>
                  <a:lnTo>
                    <a:pt x="104156" y="115632"/>
                  </a:lnTo>
                  <a:lnTo>
                    <a:pt x="159110" y="115632"/>
                  </a:lnTo>
                  <a:cubicBezTo>
                    <a:pt x="162943" y="115632"/>
                    <a:pt x="165500" y="113079"/>
                    <a:pt x="165500" y="109248"/>
                  </a:cubicBezTo>
                  <a:cubicBezTo>
                    <a:pt x="165500" y="109248"/>
                    <a:pt x="165500" y="108610"/>
                    <a:pt x="165500" y="108610"/>
                  </a:cubicBezTo>
                  <a:lnTo>
                    <a:pt x="157193" y="5828"/>
                  </a:lnTo>
                  <a:cubicBezTo>
                    <a:pt x="155915" y="2636"/>
                    <a:pt x="152720" y="-556"/>
                    <a:pt x="149525" y="82"/>
                  </a:cubicBezTo>
                  <a:cubicBezTo>
                    <a:pt x="149525" y="82"/>
                    <a:pt x="149525" y="82"/>
                    <a:pt x="149525" y="82"/>
                  </a:cubicBezTo>
                  <a:close/>
                  <a:moveTo>
                    <a:pt x="90099" y="138615"/>
                  </a:moveTo>
                  <a:lnTo>
                    <a:pt x="73484" y="138615"/>
                  </a:lnTo>
                  <a:lnTo>
                    <a:pt x="73484" y="121378"/>
                  </a:lnTo>
                  <a:cubicBezTo>
                    <a:pt x="73484" y="118186"/>
                    <a:pt x="71568" y="115632"/>
                    <a:pt x="68373" y="114994"/>
                  </a:cubicBezTo>
                  <a:lnTo>
                    <a:pt x="90099" y="114994"/>
                  </a:lnTo>
                  <a:lnTo>
                    <a:pt x="90099" y="1386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Graphic 4">
              <a:extLst>
                <a:ext uri="{FF2B5EF4-FFF2-40B4-BE49-F238E27FC236}">
                  <a16:creationId xmlns:a16="http://schemas.microsoft.com/office/drawing/2014/main" xmlns="" id="{EBEA609C-7267-E94F-A41A-AB8988B2F468}"/>
                </a:ext>
              </a:extLst>
            </p:cNvPr>
            <p:cNvSpPr/>
            <p:nvPr/>
          </p:nvSpPr>
          <p:spPr>
            <a:xfrm>
              <a:off x="6852568" y="3981852"/>
              <a:ext cx="116296" cy="70862"/>
            </a:xfrm>
            <a:custGeom>
              <a:avLst/>
              <a:gdLst>
                <a:gd name="connsiteX0" fmla="*/ 4473 w 116296"/>
                <a:gd name="connsiteY0" fmla="*/ 5746 h 70862"/>
                <a:gd name="connsiteX1" fmla="*/ 0 w 116296"/>
                <a:gd name="connsiteY1" fmla="*/ 63840 h 70862"/>
                <a:gd name="connsiteX2" fmla="*/ 1917 w 116296"/>
                <a:gd name="connsiteY2" fmla="*/ 68947 h 70862"/>
                <a:gd name="connsiteX3" fmla="*/ 6390 w 116296"/>
                <a:gd name="connsiteY3" fmla="*/ 70862 h 70862"/>
                <a:gd name="connsiteX4" fmla="*/ 109907 w 116296"/>
                <a:gd name="connsiteY4" fmla="*/ 70862 h 70862"/>
                <a:gd name="connsiteX5" fmla="*/ 114380 w 116296"/>
                <a:gd name="connsiteY5" fmla="*/ 68947 h 70862"/>
                <a:gd name="connsiteX6" fmla="*/ 116297 w 116296"/>
                <a:gd name="connsiteY6" fmla="*/ 63840 h 70862"/>
                <a:gd name="connsiteX7" fmla="*/ 111824 w 116296"/>
                <a:gd name="connsiteY7" fmla="*/ 5746 h 70862"/>
                <a:gd name="connsiteX8" fmla="*/ 105434 w 116296"/>
                <a:gd name="connsiteY8" fmla="*/ 0 h 70862"/>
                <a:gd name="connsiteX9" fmla="*/ 11501 w 116296"/>
                <a:gd name="connsiteY9" fmla="*/ 0 h 70862"/>
                <a:gd name="connsiteX10" fmla="*/ 4473 w 116296"/>
                <a:gd name="connsiteY10" fmla="*/ 5746 h 70862"/>
                <a:gd name="connsiteX11" fmla="*/ 14696 w 116296"/>
                <a:gd name="connsiteY11" fmla="*/ 41496 h 70862"/>
                <a:gd name="connsiteX12" fmla="*/ 45368 w 116296"/>
                <a:gd name="connsiteY12" fmla="*/ 41496 h 70862"/>
                <a:gd name="connsiteX13" fmla="*/ 51119 w 116296"/>
                <a:gd name="connsiteY13" fmla="*/ 37027 h 70862"/>
                <a:gd name="connsiteX14" fmla="*/ 51119 w 116296"/>
                <a:gd name="connsiteY14" fmla="*/ 58094 h 70862"/>
                <a:gd name="connsiteX15" fmla="*/ 12780 w 116296"/>
                <a:gd name="connsiteY15" fmla="*/ 58094 h 70862"/>
                <a:gd name="connsiteX16" fmla="*/ 14696 w 116296"/>
                <a:gd name="connsiteY16" fmla="*/ 41496 h 70862"/>
                <a:gd name="connsiteX17" fmla="*/ 64538 w 116296"/>
                <a:gd name="connsiteY17" fmla="*/ 58094 h 70862"/>
                <a:gd name="connsiteX18" fmla="*/ 64538 w 116296"/>
                <a:gd name="connsiteY18" fmla="*/ 41496 h 70862"/>
                <a:gd name="connsiteX19" fmla="*/ 101600 w 116296"/>
                <a:gd name="connsiteY19" fmla="*/ 41496 h 70862"/>
                <a:gd name="connsiteX20" fmla="*/ 102878 w 116296"/>
                <a:gd name="connsiteY20" fmla="*/ 58094 h 70862"/>
                <a:gd name="connsiteX21" fmla="*/ 64538 w 116296"/>
                <a:gd name="connsiteY21" fmla="*/ 58094 h 70862"/>
                <a:gd name="connsiteX22" fmla="*/ 100322 w 116296"/>
                <a:gd name="connsiteY22" fmla="*/ 28728 h 70862"/>
                <a:gd name="connsiteX23" fmla="*/ 64538 w 116296"/>
                <a:gd name="connsiteY23" fmla="*/ 28728 h 70862"/>
                <a:gd name="connsiteX24" fmla="*/ 64538 w 116296"/>
                <a:gd name="connsiteY24" fmla="*/ 12130 h 70862"/>
                <a:gd name="connsiteX25" fmla="*/ 99044 w 116296"/>
                <a:gd name="connsiteY25" fmla="*/ 12130 h 70862"/>
                <a:gd name="connsiteX26" fmla="*/ 100322 w 116296"/>
                <a:gd name="connsiteY26" fmla="*/ 28728 h 70862"/>
                <a:gd name="connsiteX27" fmla="*/ 51758 w 116296"/>
                <a:gd name="connsiteY27" fmla="*/ 12768 h 70862"/>
                <a:gd name="connsiteX28" fmla="*/ 51758 w 116296"/>
                <a:gd name="connsiteY28" fmla="*/ 33197 h 70862"/>
                <a:gd name="connsiteX29" fmla="*/ 46007 w 116296"/>
                <a:gd name="connsiteY29" fmla="*/ 28728 h 70862"/>
                <a:gd name="connsiteX30" fmla="*/ 15975 w 116296"/>
                <a:gd name="connsiteY30" fmla="*/ 28728 h 70862"/>
                <a:gd name="connsiteX31" fmla="*/ 17253 w 116296"/>
                <a:gd name="connsiteY31" fmla="*/ 12768 h 70862"/>
                <a:gd name="connsiteX32" fmla="*/ 51758 w 116296"/>
                <a:gd name="connsiteY32" fmla="*/ 12768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6296" h="70862">
                  <a:moveTo>
                    <a:pt x="4473" y="5746"/>
                  </a:moveTo>
                  <a:lnTo>
                    <a:pt x="0" y="63840"/>
                  </a:lnTo>
                  <a:cubicBezTo>
                    <a:pt x="0" y="65755"/>
                    <a:pt x="639" y="67032"/>
                    <a:pt x="1917" y="68947"/>
                  </a:cubicBezTo>
                  <a:cubicBezTo>
                    <a:pt x="3195" y="70224"/>
                    <a:pt x="5111" y="70862"/>
                    <a:pt x="6390" y="70862"/>
                  </a:cubicBezTo>
                  <a:lnTo>
                    <a:pt x="109907" y="70862"/>
                  </a:lnTo>
                  <a:cubicBezTo>
                    <a:pt x="111824" y="70862"/>
                    <a:pt x="113102" y="70224"/>
                    <a:pt x="114380" y="68947"/>
                  </a:cubicBezTo>
                  <a:cubicBezTo>
                    <a:pt x="115658" y="67670"/>
                    <a:pt x="116297" y="65755"/>
                    <a:pt x="116297" y="63840"/>
                  </a:cubicBezTo>
                  <a:lnTo>
                    <a:pt x="111824" y="5746"/>
                  </a:lnTo>
                  <a:cubicBezTo>
                    <a:pt x="111824" y="2554"/>
                    <a:pt x="108629" y="0"/>
                    <a:pt x="105434" y="0"/>
                  </a:cubicBezTo>
                  <a:lnTo>
                    <a:pt x="11501" y="0"/>
                  </a:lnTo>
                  <a:cubicBezTo>
                    <a:pt x="7668" y="0"/>
                    <a:pt x="5111" y="2554"/>
                    <a:pt x="4473" y="5746"/>
                  </a:cubicBezTo>
                  <a:close/>
                  <a:moveTo>
                    <a:pt x="14696" y="41496"/>
                  </a:moveTo>
                  <a:lnTo>
                    <a:pt x="45368" y="41496"/>
                  </a:lnTo>
                  <a:cubicBezTo>
                    <a:pt x="47925" y="41496"/>
                    <a:pt x="50481" y="39581"/>
                    <a:pt x="51119" y="37027"/>
                  </a:cubicBezTo>
                  <a:lnTo>
                    <a:pt x="51119" y="58094"/>
                  </a:lnTo>
                  <a:lnTo>
                    <a:pt x="12780" y="58094"/>
                  </a:lnTo>
                  <a:lnTo>
                    <a:pt x="14696" y="41496"/>
                  </a:lnTo>
                  <a:close/>
                  <a:moveTo>
                    <a:pt x="64538" y="58094"/>
                  </a:moveTo>
                  <a:lnTo>
                    <a:pt x="64538" y="41496"/>
                  </a:lnTo>
                  <a:lnTo>
                    <a:pt x="101600" y="41496"/>
                  </a:lnTo>
                  <a:lnTo>
                    <a:pt x="102878" y="58094"/>
                  </a:lnTo>
                  <a:lnTo>
                    <a:pt x="64538" y="58094"/>
                  </a:lnTo>
                  <a:close/>
                  <a:moveTo>
                    <a:pt x="100322" y="28728"/>
                  </a:moveTo>
                  <a:lnTo>
                    <a:pt x="64538" y="28728"/>
                  </a:lnTo>
                  <a:lnTo>
                    <a:pt x="64538" y="12130"/>
                  </a:lnTo>
                  <a:lnTo>
                    <a:pt x="99044" y="12130"/>
                  </a:lnTo>
                  <a:lnTo>
                    <a:pt x="100322" y="28728"/>
                  </a:lnTo>
                  <a:close/>
                  <a:moveTo>
                    <a:pt x="51758" y="12768"/>
                  </a:moveTo>
                  <a:lnTo>
                    <a:pt x="51758" y="33197"/>
                  </a:lnTo>
                  <a:cubicBezTo>
                    <a:pt x="51119" y="30643"/>
                    <a:pt x="48563" y="28728"/>
                    <a:pt x="46007" y="28728"/>
                  </a:cubicBezTo>
                  <a:lnTo>
                    <a:pt x="15975" y="28728"/>
                  </a:lnTo>
                  <a:lnTo>
                    <a:pt x="17253" y="12768"/>
                  </a:lnTo>
                  <a:lnTo>
                    <a:pt x="51758"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Graphic 4">
              <a:extLst>
                <a:ext uri="{FF2B5EF4-FFF2-40B4-BE49-F238E27FC236}">
                  <a16:creationId xmlns:a16="http://schemas.microsoft.com/office/drawing/2014/main" xmlns="" id="{E6FBB923-9608-F1E5-02AC-7CF1B5D7A710}"/>
                </a:ext>
              </a:extLst>
            </p:cNvPr>
            <p:cNvSpPr/>
            <p:nvPr/>
          </p:nvSpPr>
          <p:spPr>
            <a:xfrm>
              <a:off x="7014873" y="3946004"/>
              <a:ext cx="26935" cy="14780"/>
            </a:xfrm>
            <a:custGeom>
              <a:avLst/>
              <a:gdLst>
                <a:gd name="connsiteX0" fmla="*/ 21086 w 26935"/>
                <a:gd name="connsiteY0" fmla="*/ 2013 h 14780"/>
                <a:gd name="connsiteX1" fmla="*/ 7029 w 26935"/>
                <a:gd name="connsiteY1" fmla="*/ 98 h 14780"/>
                <a:gd name="connsiteX2" fmla="*/ 0 w 26935"/>
                <a:gd name="connsiteY2" fmla="*/ 5843 h 14780"/>
                <a:gd name="connsiteX3" fmla="*/ 5750 w 26935"/>
                <a:gd name="connsiteY3" fmla="*/ 12866 h 14780"/>
                <a:gd name="connsiteX4" fmla="*/ 19809 w 26935"/>
                <a:gd name="connsiteY4" fmla="*/ 14781 h 14780"/>
                <a:gd name="connsiteX5" fmla="*/ 20447 w 26935"/>
                <a:gd name="connsiteY5" fmla="*/ 14781 h 14780"/>
                <a:gd name="connsiteX6" fmla="*/ 26837 w 26935"/>
                <a:gd name="connsiteY6" fmla="*/ 9035 h 14780"/>
                <a:gd name="connsiteX7" fmla="*/ 21086 w 26935"/>
                <a:gd name="connsiteY7" fmla="*/ 2013 h 14780"/>
                <a:gd name="connsiteX8" fmla="*/ 21086 w 26935"/>
                <a:gd name="connsiteY8" fmla="*/ 2013 h 1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35" h="14780">
                  <a:moveTo>
                    <a:pt x="21086" y="2013"/>
                  </a:moveTo>
                  <a:lnTo>
                    <a:pt x="7029" y="98"/>
                  </a:lnTo>
                  <a:cubicBezTo>
                    <a:pt x="3195" y="-541"/>
                    <a:pt x="0" y="2013"/>
                    <a:pt x="0" y="5843"/>
                  </a:cubicBezTo>
                  <a:cubicBezTo>
                    <a:pt x="0" y="9674"/>
                    <a:pt x="1917" y="12866"/>
                    <a:pt x="5750" y="12866"/>
                  </a:cubicBezTo>
                  <a:lnTo>
                    <a:pt x="19809" y="14781"/>
                  </a:lnTo>
                  <a:lnTo>
                    <a:pt x="20447" y="14781"/>
                  </a:lnTo>
                  <a:cubicBezTo>
                    <a:pt x="23642" y="14781"/>
                    <a:pt x="26199" y="12227"/>
                    <a:pt x="26837" y="9035"/>
                  </a:cubicBezTo>
                  <a:cubicBezTo>
                    <a:pt x="27476" y="5843"/>
                    <a:pt x="24920" y="2651"/>
                    <a:pt x="21086" y="2013"/>
                  </a:cubicBezTo>
                  <a:cubicBezTo>
                    <a:pt x="21086" y="2013"/>
                    <a:pt x="21086" y="2013"/>
                    <a:pt x="21086" y="201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Graphic 4">
              <a:extLst>
                <a:ext uri="{FF2B5EF4-FFF2-40B4-BE49-F238E27FC236}">
                  <a16:creationId xmlns:a16="http://schemas.microsoft.com/office/drawing/2014/main" xmlns="" id="{7B7E9BF6-55F6-2D07-9517-E93AE5EC1E90}"/>
                </a:ext>
              </a:extLst>
            </p:cNvPr>
            <p:cNvSpPr/>
            <p:nvPr/>
          </p:nvSpPr>
          <p:spPr>
            <a:xfrm>
              <a:off x="6917413" y="3931958"/>
              <a:ext cx="27170" cy="14781"/>
            </a:xfrm>
            <a:custGeom>
              <a:avLst/>
              <a:gdLst>
                <a:gd name="connsiteX0" fmla="*/ 5445 w 27170"/>
                <a:gd name="connsiteY0" fmla="*/ 12866 h 14781"/>
                <a:gd name="connsiteX1" fmla="*/ 19502 w 27170"/>
                <a:gd name="connsiteY1" fmla="*/ 14782 h 14781"/>
                <a:gd name="connsiteX2" fmla="*/ 20141 w 27170"/>
                <a:gd name="connsiteY2" fmla="*/ 14782 h 14781"/>
                <a:gd name="connsiteX3" fmla="*/ 27170 w 27170"/>
                <a:gd name="connsiteY3" fmla="*/ 9036 h 14781"/>
                <a:gd name="connsiteX4" fmla="*/ 21419 w 27170"/>
                <a:gd name="connsiteY4" fmla="*/ 2014 h 14781"/>
                <a:gd name="connsiteX5" fmla="*/ 21419 w 27170"/>
                <a:gd name="connsiteY5" fmla="*/ 2014 h 14781"/>
                <a:gd name="connsiteX6" fmla="*/ 7361 w 27170"/>
                <a:gd name="connsiteY6" fmla="*/ 98 h 14781"/>
                <a:gd name="connsiteX7" fmla="*/ 332 w 27170"/>
                <a:gd name="connsiteY7" fmla="*/ 5206 h 14781"/>
                <a:gd name="connsiteX8" fmla="*/ 5445 w 27170"/>
                <a:gd name="connsiteY8" fmla="*/ 12866 h 14781"/>
                <a:gd name="connsiteX9" fmla="*/ 5445 w 27170"/>
                <a:gd name="connsiteY9" fmla="*/ 12866 h 1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70" h="14781">
                  <a:moveTo>
                    <a:pt x="5445" y="12866"/>
                  </a:moveTo>
                  <a:lnTo>
                    <a:pt x="19502" y="14782"/>
                  </a:lnTo>
                  <a:lnTo>
                    <a:pt x="20141" y="14782"/>
                  </a:lnTo>
                  <a:cubicBezTo>
                    <a:pt x="23976" y="14782"/>
                    <a:pt x="26531" y="12228"/>
                    <a:pt x="27170" y="9036"/>
                  </a:cubicBezTo>
                  <a:cubicBezTo>
                    <a:pt x="27170" y="5206"/>
                    <a:pt x="24614" y="2652"/>
                    <a:pt x="21419" y="2014"/>
                  </a:cubicBezTo>
                  <a:lnTo>
                    <a:pt x="21419" y="2014"/>
                  </a:lnTo>
                  <a:lnTo>
                    <a:pt x="7361" y="98"/>
                  </a:lnTo>
                  <a:cubicBezTo>
                    <a:pt x="4166" y="-540"/>
                    <a:pt x="332" y="2014"/>
                    <a:pt x="332" y="5206"/>
                  </a:cubicBezTo>
                  <a:cubicBezTo>
                    <a:pt x="-945" y="9036"/>
                    <a:pt x="1611" y="12228"/>
                    <a:pt x="5445" y="12866"/>
                  </a:cubicBezTo>
                  <a:cubicBezTo>
                    <a:pt x="4806" y="12866"/>
                    <a:pt x="4806" y="12866"/>
                    <a:pt x="5445" y="12866"/>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Graphic 4">
              <a:extLst>
                <a:ext uri="{FF2B5EF4-FFF2-40B4-BE49-F238E27FC236}">
                  <a16:creationId xmlns:a16="http://schemas.microsoft.com/office/drawing/2014/main" xmlns="" id="{D29664BE-D97E-E07A-2E29-4AF20CB060A1}"/>
                </a:ext>
              </a:extLst>
            </p:cNvPr>
            <p:cNvSpPr/>
            <p:nvPr/>
          </p:nvSpPr>
          <p:spPr>
            <a:xfrm>
              <a:off x="6998422" y="3973716"/>
              <a:ext cx="20760" cy="24095"/>
            </a:xfrm>
            <a:custGeom>
              <a:avLst/>
              <a:gdLst>
                <a:gd name="connsiteX0" fmla="*/ 11339 w 20760"/>
                <a:gd name="connsiteY0" fmla="*/ 2390 h 24095"/>
                <a:gd name="connsiteX1" fmla="*/ 2393 w 20760"/>
                <a:gd name="connsiteY1" fmla="*/ 1114 h 24095"/>
                <a:gd name="connsiteX2" fmla="*/ 1115 w 20760"/>
                <a:gd name="connsiteY2" fmla="*/ 10051 h 24095"/>
                <a:gd name="connsiteX3" fmla="*/ 1115 w 20760"/>
                <a:gd name="connsiteY3" fmla="*/ 10051 h 24095"/>
                <a:gd name="connsiteX4" fmla="*/ 9421 w 20760"/>
                <a:gd name="connsiteY4" fmla="*/ 21542 h 24095"/>
                <a:gd name="connsiteX5" fmla="*/ 14534 w 20760"/>
                <a:gd name="connsiteY5" fmla="*/ 24096 h 24095"/>
                <a:gd name="connsiteX6" fmla="*/ 18367 w 20760"/>
                <a:gd name="connsiteY6" fmla="*/ 22819 h 24095"/>
                <a:gd name="connsiteX7" fmla="*/ 19646 w 20760"/>
                <a:gd name="connsiteY7" fmla="*/ 13882 h 24095"/>
                <a:gd name="connsiteX8" fmla="*/ 11339 w 20760"/>
                <a:gd name="connsiteY8" fmla="*/ 2390 h 2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60" h="24095">
                  <a:moveTo>
                    <a:pt x="11339" y="2390"/>
                  </a:moveTo>
                  <a:cubicBezTo>
                    <a:pt x="9421" y="-163"/>
                    <a:pt x="4949" y="-802"/>
                    <a:pt x="2393" y="1114"/>
                  </a:cubicBezTo>
                  <a:cubicBezTo>
                    <a:pt x="-164" y="3029"/>
                    <a:pt x="-802" y="7498"/>
                    <a:pt x="1115" y="10051"/>
                  </a:cubicBezTo>
                  <a:cubicBezTo>
                    <a:pt x="1115" y="10051"/>
                    <a:pt x="1115" y="10051"/>
                    <a:pt x="1115" y="10051"/>
                  </a:cubicBezTo>
                  <a:lnTo>
                    <a:pt x="9421" y="21542"/>
                  </a:lnTo>
                  <a:cubicBezTo>
                    <a:pt x="10700" y="23458"/>
                    <a:pt x="12616" y="24096"/>
                    <a:pt x="14534" y="24096"/>
                  </a:cubicBezTo>
                  <a:cubicBezTo>
                    <a:pt x="15811" y="24096"/>
                    <a:pt x="17090" y="23458"/>
                    <a:pt x="18367" y="22819"/>
                  </a:cubicBezTo>
                  <a:cubicBezTo>
                    <a:pt x="20924" y="20904"/>
                    <a:pt x="21562" y="16435"/>
                    <a:pt x="19646" y="13882"/>
                  </a:cubicBezTo>
                  <a:lnTo>
                    <a:pt x="11339" y="2390"/>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Graphic 4">
              <a:extLst>
                <a:ext uri="{FF2B5EF4-FFF2-40B4-BE49-F238E27FC236}">
                  <a16:creationId xmlns:a16="http://schemas.microsoft.com/office/drawing/2014/main" xmlns="" id="{7C6E38AA-1235-BF5F-1BEF-43A262ECE22C}"/>
                </a:ext>
              </a:extLst>
            </p:cNvPr>
            <p:cNvSpPr/>
            <p:nvPr/>
          </p:nvSpPr>
          <p:spPr>
            <a:xfrm>
              <a:off x="6938996" y="3894681"/>
              <a:ext cx="20759" cy="23969"/>
            </a:xfrm>
            <a:custGeom>
              <a:avLst/>
              <a:gdLst>
                <a:gd name="connsiteX0" fmla="*/ 9422 w 20759"/>
                <a:gd name="connsiteY0" fmla="*/ 21416 h 23969"/>
                <a:gd name="connsiteX1" fmla="*/ 14533 w 20759"/>
                <a:gd name="connsiteY1" fmla="*/ 23970 h 23969"/>
                <a:gd name="connsiteX2" fmla="*/ 18368 w 20759"/>
                <a:gd name="connsiteY2" fmla="*/ 22693 h 23969"/>
                <a:gd name="connsiteX3" fmla="*/ 19645 w 20759"/>
                <a:gd name="connsiteY3" fmla="*/ 13755 h 23969"/>
                <a:gd name="connsiteX4" fmla="*/ 19645 w 20759"/>
                <a:gd name="connsiteY4" fmla="*/ 13755 h 23969"/>
                <a:gd name="connsiteX5" fmla="*/ 11338 w 20759"/>
                <a:gd name="connsiteY5" fmla="*/ 2264 h 23969"/>
                <a:gd name="connsiteX6" fmla="*/ 2393 w 20759"/>
                <a:gd name="connsiteY6" fmla="*/ 1626 h 23969"/>
                <a:gd name="connsiteX7" fmla="*/ 1114 w 20759"/>
                <a:gd name="connsiteY7" fmla="*/ 9925 h 23969"/>
                <a:gd name="connsiteX8" fmla="*/ 9422 w 20759"/>
                <a:gd name="connsiteY8" fmla="*/ 21416 h 2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 h="23969">
                  <a:moveTo>
                    <a:pt x="9422" y="21416"/>
                  </a:moveTo>
                  <a:cubicBezTo>
                    <a:pt x="10699" y="23331"/>
                    <a:pt x="12616" y="23970"/>
                    <a:pt x="14533" y="23970"/>
                  </a:cubicBezTo>
                  <a:cubicBezTo>
                    <a:pt x="15811" y="23970"/>
                    <a:pt x="17089" y="23331"/>
                    <a:pt x="18368" y="22693"/>
                  </a:cubicBezTo>
                  <a:cubicBezTo>
                    <a:pt x="20923" y="20778"/>
                    <a:pt x="21563" y="16309"/>
                    <a:pt x="19645" y="13755"/>
                  </a:cubicBezTo>
                  <a:lnTo>
                    <a:pt x="19645" y="13755"/>
                  </a:lnTo>
                  <a:lnTo>
                    <a:pt x="11338" y="2264"/>
                  </a:lnTo>
                  <a:cubicBezTo>
                    <a:pt x="8783" y="-289"/>
                    <a:pt x="4948" y="-928"/>
                    <a:pt x="2393" y="1626"/>
                  </a:cubicBezTo>
                  <a:cubicBezTo>
                    <a:pt x="-163" y="3541"/>
                    <a:pt x="-802" y="7371"/>
                    <a:pt x="1114" y="9925"/>
                  </a:cubicBezTo>
                  <a:lnTo>
                    <a:pt x="9422" y="214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Graphic 4">
              <a:extLst>
                <a:ext uri="{FF2B5EF4-FFF2-40B4-BE49-F238E27FC236}">
                  <a16:creationId xmlns:a16="http://schemas.microsoft.com/office/drawing/2014/main" xmlns="" id="{02F606D7-ECB5-0F23-6E32-8F2C74AA0623}"/>
                </a:ext>
              </a:extLst>
            </p:cNvPr>
            <p:cNvSpPr/>
            <p:nvPr/>
          </p:nvSpPr>
          <p:spPr>
            <a:xfrm>
              <a:off x="6978990" y="3884078"/>
              <a:ext cx="14255" cy="26911"/>
            </a:xfrm>
            <a:custGeom>
              <a:avLst/>
              <a:gdLst>
                <a:gd name="connsiteX0" fmla="*/ 5211 w 14255"/>
                <a:gd name="connsiteY0" fmla="*/ 26911 h 26911"/>
                <a:gd name="connsiteX1" fmla="*/ 5850 w 14255"/>
                <a:gd name="connsiteY1" fmla="*/ 26911 h 26911"/>
                <a:gd name="connsiteX2" fmla="*/ 12240 w 14255"/>
                <a:gd name="connsiteY2" fmla="*/ 21166 h 26911"/>
                <a:gd name="connsiteX3" fmla="*/ 14157 w 14255"/>
                <a:gd name="connsiteY3" fmla="*/ 7121 h 26911"/>
                <a:gd name="connsiteX4" fmla="*/ 9045 w 14255"/>
                <a:gd name="connsiteY4" fmla="*/ 98 h 26911"/>
                <a:gd name="connsiteX5" fmla="*/ 2016 w 14255"/>
                <a:gd name="connsiteY5" fmla="*/ 5206 h 26911"/>
                <a:gd name="connsiteX6" fmla="*/ 99 w 14255"/>
                <a:gd name="connsiteY6" fmla="*/ 19250 h 26911"/>
                <a:gd name="connsiteX7" fmla="*/ 5211 w 14255"/>
                <a:gd name="connsiteY7" fmla="*/ 26911 h 2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5" h="26911">
                  <a:moveTo>
                    <a:pt x="5211" y="26911"/>
                  </a:moveTo>
                  <a:lnTo>
                    <a:pt x="5850" y="26911"/>
                  </a:lnTo>
                  <a:cubicBezTo>
                    <a:pt x="9045" y="26911"/>
                    <a:pt x="11601" y="24357"/>
                    <a:pt x="12240" y="21166"/>
                  </a:cubicBezTo>
                  <a:lnTo>
                    <a:pt x="14157" y="7121"/>
                  </a:lnTo>
                  <a:cubicBezTo>
                    <a:pt x="14796" y="3929"/>
                    <a:pt x="12240" y="98"/>
                    <a:pt x="9045" y="98"/>
                  </a:cubicBezTo>
                  <a:cubicBezTo>
                    <a:pt x="5850" y="-540"/>
                    <a:pt x="2016" y="2014"/>
                    <a:pt x="2016" y="5206"/>
                  </a:cubicBezTo>
                  <a:lnTo>
                    <a:pt x="99" y="19250"/>
                  </a:lnTo>
                  <a:cubicBezTo>
                    <a:pt x="-540" y="23081"/>
                    <a:pt x="2016" y="26273"/>
                    <a:pt x="5211" y="2691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Graphic 4">
              <a:extLst>
                <a:ext uri="{FF2B5EF4-FFF2-40B4-BE49-F238E27FC236}">
                  <a16:creationId xmlns:a16="http://schemas.microsoft.com/office/drawing/2014/main" xmlns="" id="{0B2143FA-0D88-2E52-5949-DE4C8DD246D4}"/>
                </a:ext>
              </a:extLst>
            </p:cNvPr>
            <p:cNvSpPr/>
            <p:nvPr/>
          </p:nvSpPr>
          <p:spPr>
            <a:xfrm>
              <a:off x="7006090" y="3906046"/>
              <a:ext cx="23954" cy="20903"/>
            </a:xfrm>
            <a:custGeom>
              <a:avLst/>
              <a:gdLst>
                <a:gd name="connsiteX0" fmla="*/ 6865 w 23954"/>
                <a:gd name="connsiteY0" fmla="*/ 20904 h 20903"/>
                <a:gd name="connsiteX1" fmla="*/ 10699 w 23954"/>
                <a:gd name="connsiteY1" fmla="*/ 19627 h 20903"/>
                <a:gd name="connsiteX2" fmla="*/ 21563 w 23954"/>
                <a:gd name="connsiteY2" fmla="*/ 11328 h 20903"/>
                <a:gd name="connsiteX3" fmla="*/ 22840 w 23954"/>
                <a:gd name="connsiteY3" fmla="*/ 2390 h 20903"/>
                <a:gd name="connsiteX4" fmla="*/ 13894 w 23954"/>
                <a:gd name="connsiteY4" fmla="*/ 1114 h 20903"/>
                <a:gd name="connsiteX5" fmla="*/ 2393 w 23954"/>
                <a:gd name="connsiteY5" fmla="*/ 9413 h 20903"/>
                <a:gd name="connsiteX6" fmla="*/ 1114 w 23954"/>
                <a:gd name="connsiteY6" fmla="*/ 18350 h 20903"/>
                <a:gd name="connsiteX7" fmla="*/ 6865 w 23954"/>
                <a:gd name="connsiteY7" fmla="*/ 20904 h 2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4" h="20903">
                  <a:moveTo>
                    <a:pt x="6865" y="20904"/>
                  </a:moveTo>
                  <a:cubicBezTo>
                    <a:pt x="8143" y="20904"/>
                    <a:pt x="9422" y="20266"/>
                    <a:pt x="10699" y="19627"/>
                  </a:cubicBezTo>
                  <a:lnTo>
                    <a:pt x="21563" y="11328"/>
                  </a:lnTo>
                  <a:cubicBezTo>
                    <a:pt x="24118" y="9413"/>
                    <a:pt x="24758" y="4944"/>
                    <a:pt x="22840" y="2390"/>
                  </a:cubicBezTo>
                  <a:cubicBezTo>
                    <a:pt x="20923" y="-163"/>
                    <a:pt x="16450" y="-802"/>
                    <a:pt x="13894" y="1114"/>
                  </a:cubicBezTo>
                  <a:lnTo>
                    <a:pt x="2393" y="9413"/>
                  </a:lnTo>
                  <a:cubicBezTo>
                    <a:pt x="-163" y="11328"/>
                    <a:pt x="-802" y="15797"/>
                    <a:pt x="1114" y="18350"/>
                  </a:cubicBezTo>
                  <a:cubicBezTo>
                    <a:pt x="3032" y="20266"/>
                    <a:pt x="4948" y="20904"/>
                    <a:pt x="6865" y="2090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Graphic 4">
              <a:extLst>
                <a:ext uri="{FF2B5EF4-FFF2-40B4-BE49-F238E27FC236}">
                  <a16:creationId xmlns:a16="http://schemas.microsoft.com/office/drawing/2014/main" xmlns="" id="{D9EC004E-82D7-BA7F-8AB9-6D05F5B1FA20}"/>
                </a:ext>
              </a:extLst>
            </p:cNvPr>
            <p:cNvSpPr/>
            <p:nvPr/>
          </p:nvSpPr>
          <p:spPr>
            <a:xfrm>
              <a:off x="6947139" y="3912245"/>
              <a:ext cx="64560" cy="61946"/>
            </a:xfrm>
            <a:custGeom>
              <a:avLst/>
              <a:gdLst>
                <a:gd name="connsiteX0" fmla="*/ 64539 w 64560"/>
                <a:gd name="connsiteY0" fmla="*/ 33857 h 61946"/>
                <a:gd name="connsiteX1" fmla="*/ 33867 w 64560"/>
                <a:gd name="connsiteY1" fmla="*/ 22 h 61946"/>
                <a:gd name="connsiteX2" fmla="*/ 0 w 64560"/>
                <a:gd name="connsiteY2" fmla="*/ 30665 h 61946"/>
                <a:gd name="connsiteX3" fmla="*/ 0 w 64560"/>
                <a:gd name="connsiteY3" fmla="*/ 33857 h 61946"/>
                <a:gd name="connsiteX4" fmla="*/ 640 w 64560"/>
                <a:gd name="connsiteY4" fmla="*/ 38964 h 61946"/>
                <a:gd name="connsiteX5" fmla="*/ 8307 w 64560"/>
                <a:gd name="connsiteY5" fmla="*/ 44071 h 61946"/>
                <a:gd name="connsiteX6" fmla="*/ 13419 w 64560"/>
                <a:gd name="connsiteY6" fmla="*/ 36411 h 61946"/>
                <a:gd name="connsiteX7" fmla="*/ 13419 w 64560"/>
                <a:gd name="connsiteY7" fmla="*/ 33219 h 61946"/>
                <a:gd name="connsiteX8" fmla="*/ 33228 w 64560"/>
                <a:gd name="connsiteY8" fmla="*/ 13428 h 61946"/>
                <a:gd name="connsiteX9" fmla="*/ 53037 w 64560"/>
                <a:gd name="connsiteY9" fmla="*/ 33219 h 61946"/>
                <a:gd name="connsiteX10" fmla="*/ 43452 w 64560"/>
                <a:gd name="connsiteY10" fmla="*/ 49817 h 61946"/>
                <a:gd name="connsiteX11" fmla="*/ 41535 w 64560"/>
                <a:gd name="connsiteY11" fmla="*/ 58755 h 61946"/>
                <a:gd name="connsiteX12" fmla="*/ 46647 w 64560"/>
                <a:gd name="connsiteY12" fmla="*/ 61947 h 61946"/>
                <a:gd name="connsiteX13" fmla="*/ 49842 w 64560"/>
                <a:gd name="connsiteY13" fmla="*/ 60670 h 61946"/>
                <a:gd name="connsiteX14" fmla="*/ 64539 w 64560"/>
                <a:gd name="connsiteY14" fmla="*/ 33857 h 6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60" h="61946">
                  <a:moveTo>
                    <a:pt x="64539" y="33857"/>
                  </a:moveTo>
                  <a:cubicBezTo>
                    <a:pt x="65178" y="15982"/>
                    <a:pt x="51759" y="660"/>
                    <a:pt x="33867" y="22"/>
                  </a:cubicBezTo>
                  <a:cubicBezTo>
                    <a:pt x="15975" y="-617"/>
                    <a:pt x="640" y="12790"/>
                    <a:pt x="0" y="30665"/>
                  </a:cubicBezTo>
                  <a:cubicBezTo>
                    <a:pt x="0" y="31303"/>
                    <a:pt x="0" y="32580"/>
                    <a:pt x="0" y="33857"/>
                  </a:cubicBezTo>
                  <a:cubicBezTo>
                    <a:pt x="0" y="35772"/>
                    <a:pt x="0" y="37687"/>
                    <a:pt x="640" y="38964"/>
                  </a:cubicBezTo>
                  <a:cubicBezTo>
                    <a:pt x="1278" y="42156"/>
                    <a:pt x="4473" y="44710"/>
                    <a:pt x="8307" y="44071"/>
                  </a:cubicBezTo>
                  <a:cubicBezTo>
                    <a:pt x="11502" y="43433"/>
                    <a:pt x="14058" y="40241"/>
                    <a:pt x="13419" y="36411"/>
                  </a:cubicBezTo>
                  <a:cubicBezTo>
                    <a:pt x="13419" y="35134"/>
                    <a:pt x="13419" y="34495"/>
                    <a:pt x="13419" y="33219"/>
                  </a:cubicBezTo>
                  <a:cubicBezTo>
                    <a:pt x="13419" y="22366"/>
                    <a:pt x="22365" y="13428"/>
                    <a:pt x="33228" y="13428"/>
                  </a:cubicBezTo>
                  <a:cubicBezTo>
                    <a:pt x="44091" y="13428"/>
                    <a:pt x="53037" y="22366"/>
                    <a:pt x="53037" y="33219"/>
                  </a:cubicBezTo>
                  <a:cubicBezTo>
                    <a:pt x="53037" y="40241"/>
                    <a:pt x="49203" y="46625"/>
                    <a:pt x="43452" y="49817"/>
                  </a:cubicBezTo>
                  <a:cubicBezTo>
                    <a:pt x="40257" y="51732"/>
                    <a:pt x="39618" y="55563"/>
                    <a:pt x="41535" y="58755"/>
                  </a:cubicBezTo>
                  <a:cubicBezTo>
                    <a:pt x="42813" y="60670"/>
                    <a:pt x="44730" y="61947"/>
                    <a:pt x="46647" y="61947"/>
                  </a:cubicBezTo>
                  <a:cubicBezTo>
                    <a:pt x="47925" y="61947"/>
                    <a:pt x="49203" y="61308"/>
                    <a:pt x="49842" y="60670"/>
                  </a:cubicBezTo>
                  <a:cubicBezTo>
                    <a:pt x="58788" y="55563"/>
                    <a:pt x="64539" y="45348"/>
                    <a:pt x="64539" y="3385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s-B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1" name="Picture 84">
            <a:extLst>
              <a:ext uri="{FF2B5EF4-FFF2-40B4-BE49-F238E27FC236}">
                <a16:creationId xmlns:a16="http://schemas.microsoft.com/office/drawing/2014/main" xmlns="" id="{17C5995D-4624-1ED4-BFD9-9898790D9554}"/>
              </a:ext>
            </a:extLst>
          </p:cNvPr>
          <p:cNvPicPr>
            <a:picLocks noChangeAspect="1"/>
          </p:cNvPicPr>
          <p:nvPr/>
        </p:nvPicPr>
        <p:blipFill>
          <a:blip r:embed="rId10"/>
          <a:stretch>
            <a:fillRect/>
          </a:stretch>
        </p:blipFill>
        <p:spPr>
          <a:xfrm>
            <a:off x="612829" y="3422227"/>
            <a:ext cx="3369077" cy="819049"/>
          </a:xfrm>
          <a:prstGeom prst="rect">
            <a:avLst/>
          </a:prstGeom>
        </p:spPr>
      </p:pic>
      <p:pic>
        <p:nvPicPr>
          <p:cNvPr id="22" name="Picture 86">
            <a:extLst>
              <a:ext uri="{FF2B5EF4-FFF2-40B4-BE49-F238E27FC236}">
                <a16:creationId xmlns:a16="http://schemas.microsoft.com/office/drawing/2014/main" xmlns="" id="{42C75BDA-FC93-A922-D0EF-7979605109DA}"/>
              </a:ext>
            </a:extLst>
          </p:cNvPr>
          <p:cNvPicPr>
            <a:picLocks noChangeAspect="1"/>
          </p:cNvPicPr>
          <p:nvPr/>
        </p:nvPicPr>
        <p:blipFill>
          <a:blip r:embed="rId11"/>
          <a:stretch>
            <a:fillRect/>
          </a:stretch>
        </p:blipFill>
        <p:spPr>
          <a:xfrm>
            <a:off x="672961" y="4293576"/>
            <a:ext cx="3214990" cy="805814"/>
          </a:xfrm>
          <a:prstGeom prst="rect">
            <a:avLst/>
          </a:prstGeom>
        </p:spPr>
      </p:pic>
      <p:sp>
        <p:nvSpPr>
          <p:cNvPr id="23" name="TextBox 88">
            <a:extLst>
              <a:ext uri="{FF2B5EF4-FFF2-40B4-BE49-F238E27FC236}">
                <a16:creationId xmlns:a16="http://schemas.microsoft.com/office/drawing/2014/main" xmlns="" id="{F2F91CA4-386E-BCD8-A142-E4A1C2765C4F}"/>
              </a:ext>
            </a:extLst>
          </p:cNvPr>
          <p:cNvSpPr txBox="1"/>
          <p:nvPr/>
        </p:nvSpPr>
        <p:spPr>
          <a:xfrm rot="16200000">
            <a:off x="259688" y="4409059"/>
            <a:ext cx="531683" cy="369332"/>
          </a:xfrm>
          <a:prstGeom prst="rect">
            <a:avLst/>
          </a:prstGeom>
          <a:noFill/>
        </p:spPr>
        <p:txBody>
          <a:bodyPr wrap="square" lIns="0" tIns="0" rIns="0" bIns="0" rtlCol="0">
            <a:spAutoFit/>
          </a:bodyPr>
          <a:lstStyle/>
          <a:p>
            <a:pPr algn="ctr">
              <a:spcBef>
                <a:spcPts val="600"/>
              </a:spcBef>
              <a:buSzPct val="100000"/>
            </a:pPr>
            <a:r>
              <a:rPr lang="es-BO" sz="1200" b="1" noProof="0" dirty="0">
                <a:solidFill>
                  <a:schemeClr val="tx1"/>
                </a:solidFill>
                <a:latin typeface="Calibri Light" panose="020F0302020204030204" pitchFamily="34" charset="0"/>
                <a:cs typeface="Calibri Light" panose="020F0302020204030204" pitchFamily="34" charset="0"/>
              </a:rPr>
              <a:t>Eólico 0,14 TW</a:t>
            </a:r>
          </a:p>
        </p:txBody>
      </p:sp>
      <p:sp>
        <p:nvSpPr>
          <p:cNvPr id="25" name="TextBox 90">
            <a:extLst>
              <a:ext uri="{FF2B5EF4-FFF2-40B4-BE49-F238E27FC236}">
                <a16:creationId xmlns:a16="http://schemas.microsoft.com/office/drawing/2014/main" xmlns="" id="{99D33336-53E5-352C-5CB0-FE1B0368B32E}"/>
              </a:ext>
            </a:extLst>
          </p:cNvPr>
          <p:cNvSpPr txBox="1"/>
          <p:nvPr/>
        </p:nvSpPr>
        <p:spPr>
          <a:xfrm rot="16200000">
            <a:off x="180962" y="3576699"/>
            <a:ext cx="689138" cy="369332"/>
          </a:xfrm>
          <a:prstGeom prst="rect">
            <a:avLst/>
          </a:prstGeom>
          <a:noFill/>
        </p:spPr>
        <p:txBody>
          <a:bodyPr wrap="square" lIns="0" tIns="0" rIns="0" bIns="0" rtlCol="0">
            <a:spAutoFit/>
          </a:bodyPr>
          <a:lstStyle/>
          <a:p>
            <a:pPr algn="ctr">
              <a:spcBef>
                <a:spcPts val="600"/>
              </a:spcBef>
              <a:buSzPct val="100000"/>
            </a:pPr>
            <a:r>
              <a:rPr lang="es-BO" sz="1200" b="1" noProof="0" dirty="0">
                <a:solidFill>
                  <a:schemeClr val="tx1"/>
                </a:solidFill>
                <a:latin typeface="Calibri Light" panose="020F0302020204030204" pitchFamily="34" charset="0"/>
                <a:cs typeface="Calibri Light" panose="020F0302020204030204" pitchFamily="34" charset="0"/>
              </a:rPr>
              <a:t>Solar  71,09 TW</a:t>
            </a:r>
          </a:p>
        </p:txBody>
      </p:sp>
      <p:sp>
        <p:nvSpPr>
          <p:cNvPr id="27" name="CuadroTexto 26">
            <a:extLst>
              <a:ext uri="{FF2B5EF4-FFF2-40B4-BE49-F238E27FC236}">
                <a16:creationId xmlns:a16="http://schemas.microsoft.com/office/drawing/2014/main" xmlns="" id="{EDE230C8-2210-AB65-8CEA-D237E64ADE24}"/>
              </a:ext>
            </a:extLst>
          </p:cNvPr>
          <p:cNvSpPr txBox="1"/>
          <p:nvPr/>
        </p:nvSpPr>
        <p:spPr>
          <a:xfrm>
            <a:off x="8793660" y="4950524"/>
            <a:ext cx="904752" cy="276999"/>
          </a:xfrm>
          <a:prstGeom prst="rect">
            <a:avLst/>
          </a:prstGeom>
          <a:noFill/>
        </p:spPr>
        <p:txBody>
          <a:bodyPr wrap="square">
            <a:spAutoFit/>
          </a:bodyPr>
          <a:lstStyle/>
          <a:p>
            <a:pPr algn="ctr" fontAlgn="b"/>
            <a:r>
              <a:rPr lang="es-BO" sz="1200" b="1" u="none" strike="noStrike" noProof="0" dirty="0">
                <a:solidFill>
                  <a:srgbClr val="000000"/>
                </a:solidFill>
                <a:effectLst/>
                <a:latin typeface="Calibri Light" panose="020F0302020204030204" pitchFamily="34" charset="0"/>
                <a:cs typeface="Calibri Light" panose="020F0302020204030204" pitchFamily="34" charset="0"/>
              </a:rPr>
              <a:t>̴̴̴ 20  %</a:t>
            </a:r>
            <a:endParaRPr lang="es-BO" sz="1200" b="1" i="0" u="none" strike="noStrike" noProof="0" dirty="0">
              <a:solidFill>
                <a:srgbClr val="000000"/>
              </a:solidFill>
              <a:effectLst/>
              <a:latin typeface="Calibri Light" panose="020F0302020204030204" pitchFamily="34" charset="0"/>
              <a:cs typeface="Calibri Light" panose="020F0302020204030204" pitchFamily="34" charset="0"/>
            </a:endParaRPr>
          </a:p>
        </p:txBody>
      </p:sp>
      <p:sp>
        <p:nvSpPr>
          <p:cNvPr id="29" name="CuadroTexto 28">
            <a:extLst>
              <a:ext uri="{FF2B5EF4-FFF2-40B4-BE49-F238E27FC236}">
                <a16:creationId xmlns:a16="http://schemas.microsoft.com/office/drawing/2014/main" xmlns="" id="{E1B1DB06-2323-463B-5737-7C4F59D769E3}"/>
              </a:ext>
            </a:extLst>
          </p:cNvPr>
          <p:cNvSpPr txBox="1"/>
          <p:nvPr/>
        </p:nvSpPr>
        <p:spPr>
          <a:xfrm>
            <a:off x="10576700" y="4957874"/>
            <a:ext cx="904752" cy="276999"/>
          </a:xfrm>
          <a:prstGeom prst="rect">
            <a:avLst/>
          </a:prstGeom>
          <a:noFill/>
        </p:spPr>
        <p:txBody>
          <a:bodyPr wrap="square">
            <a:spAutoFit/>
          </a:bodyPr>
          <a:lstStyle/>
          <a:p>
            <a:pPr algn="ctr" fontAlgn="b"/>
            <a:r>
              <a:rPr lang="es-BO" sz="1200" b="1" u="none" strike="noStrike" noProof="0" dirty="0">
                <a:solidFill>
                  <a:srgbClr val="000000"/>
                </a:solidFill>
                <a:effectLst/>
                <a:latin typeface="Calibri Light" panose="020F0302020204030204" pitchFamily="34" charset="0"/>
                <a:cs typeface="Calibri Light" panose="020F0302020204030204" pitchFamily="34" charset="0"/>
              </a:rPr>
              <a:t>̴̴̴ 5  %</a:t>
            </a:r>
            <a:endParaRPr lang="es-BO" sz="1200" b="1" i="0" u="none" strike="noStrike" noProof="0" dirty="0">
              <a:solidFill>
                <a:srgbClr val="000000"/>
              </a:solidFill>
              <a:effectLs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715982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xmlns="" id="{C18B08A3-307D-0F6D-8E4C-22D574C44DE1}"/>
              </a:ext>
            </a:extLst>
          </p:cNvPr>
          <p:cNvSpPr/>
          <p:nvPr/>
        </p:nvSpPr>
        <p:spPr bwMode="gray">
          <a:xfrm>
            <a:off x="-975470" y="965884"/>
            <a:ext cx="9551992" cy="816963"/>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1" name="Object 10" hidden="1">
            <a:extLst>
              <a:ext uri="{FF2B5EF4-FFF2-40B4-BE49-F238E27FC236}">
                <a16:creationId xmlns:a16="http://schemas.microsoft.com/office/drawing/2014/main" xmlns="" id="{2699E277-D9B1-4F95-B4D0-CA5CDC14483A}"/>
              </a:ext>
            </a:extLst>
          </p:cNvPr>
          <p:cNvGraphicFramePr>
            <a:graphicFrameLocks noChangeAspect="1"/>
          </p:cNvGraphicFramePr>
          <p:nvPr>
            <p:custDataLst>
              <p:tags r:id="rId2"/>
            </p:custDataLst>
            <p:extLst>
              <p:ext uri="{D42A27DB-BD31-4B8C-83A1-F6EECF244321}">
                <p14:modId xmlns:p14="http://schemas.microsoft.com/office/powerpoint/2010/main" val="1165021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36" imgW="395" imgH="396" progId="TCLayout.ActiveDocument.1">
                  <p:embed/>
                </p:oleObj>
              </mc:Choice>
              <mc:Fallback>
                <p:oleObj name="think-cell Slide" r:id="rId36" imgW="395" imgH="396" progId="TCLayout.ActiveDocument.1">
                  <p:embed/>
                  <p:pic>
                    <p:nvPicPr>
                      <p:cNvPr id="11" name="Object 10" hidden="1">
                        <a:extLst>
                          <a:ext uri="{FF2B5EF4-FFF2-40B4-BE49-F238E27FC236}">
                            <a16:creationId xmlns:a16="http://schemas.microsoft.com/office/drawing/2014/main" xmlns="" id="{2699E277-D9B1-4F95-B4D0-CA5CDC14483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85" name="TextBox 84">
            <a:extLst>
              <a:ext uri="{FF2B5EF4-FFF2-40B4-BE49-F238E27FC236}">
                <a16:creationId xmlns:a16="http://schemas.microsoft.com/office/drawing/2014/main" xmlns="" id="{767199A8-506F-4FCD-998E-4EEBAED2325F}"/>
              </a:ext>
            </a:extLst>
          </p:cNvPr>
          <p:cNvSpPr txBox="1"/>
          <p:nvPr/>
        </p:nvSpPr>
        <p:spPr>
          <a:xfrm>
            <a:off x="8239394" y="2851813"/>
            <a:ext cx="3394327" cy="1354217"/>
          </a:xfrm>
          <a:prstGeom prst="rect">
            <a:avLst/>
          </a:prstGeom>
          <a:noFill/>
        </p:spPr>
        <p:txBody>
          <a:bodyPr wrap="square">
            <a:spAutoFit/>
          </a:bodyPr>
          <a:lstStyle/>
          <a:p>
            <a:pPr algn="just">
              <a:spcBef>
                <a:spcPts val="600"/>
              </a:spcBef>
              <a:buSzPct val="100000"/>
            </a:pPr>
            <a:r>
              <a:rPr lang="es-BO" sz="1200" noProof="0" dirty="0">
                <a:solidFill>
                  <a:srgbClr val="313131"/>
                </a:solidFill>
                <a:latin typeface="Calibri Light" panose="020F0302020204030204" pitchFamily="34" charset="0"/>
                <a:cs typeface="Calibri Light" panose="020F0302020204030204" pitchFamily="34" charset="0"/>
              </a:rPr>
              <a:t>El interés del H2V en el tejido empresarial de Bolivia ha ido aumentando en los últimos años.</a:t>
            </a:r>
          </a:p>
          <a:p>
            <a:pPr algn="just">
              <a:spcBef>
                <a:spcPts val="600"/>
              </a:spcBef>
              <a:buSzPct val="100000"/>
            </a:pPr>
            <a:endParaRPr lang="es-BO" sz="1200" noProof="0" dirty="0">
              <a:solidFill>
                <a:srgbClr val="313131"/>
              </a:solidFill>
              <a:latin typeface="Calibri Light" panose="020F0302020204030204" pitchFamily="34" charset="0"/>
              <a:cs typeface="Calibri Light" panose="020F0302020204030204" pitchFamily="34" charset="0"/>
            </a:endParaRPr>
          </a:p>
          <a:p>
            <a:pPr algn="just">
              <a:spcBef>
                <a:spcPts val="600"/>
              </a:spcBef>
              <a:buSzPct val="100000"/>
            </a:pPr>
            <a:r>
              <a:rPr lang="es-BO" sz="1200" noProof="0" dirty="0">
                <a:solidFill>
                  <a:srgbClr val="313131"/>
                </a:solidFill>
                <a:latin typeface="Calibri Light" panose="020F0302020204030204" pitchFamily="34" charset="0"/>
                <a:cs typeface="Calibri Light" panose="020F0302020204030204" pitchFamily="34" charset="0"/>
              </a:rPr>
              <a:t>El mercado internacional está mostrando interés en la producción, almacenamiento, distribución y aplicaciones energéticas y no energéticas en el país.</a:t>
            </a:r>
          </a:p>
        </p:txBody>
      </p:sp>
      <p:sp>
        <p:nvSpPr>
          <p:cNvPr id="2" name="Slide Number Placeholder 1">
            <a:extLst>
              <a:ext uri="{FF2B5EF4-FFF2-40B4-BE49-F238E27FC236}">
                <a16:creationId xmlns:a16="http://schemas.microsoft.com/office/drawing/2014/main" xmlns="" id="{A1DBDBB0-ACE2-462C-B422-C114B0C8A683}"/>
              </a:ext>
            </a:extLst>
          </p:cNvPr>
          <p:cNvSpPr>
            <a:spLocks noGrp="1"/>
          </p:cNvSpPr>
          <p:nvPr>
            <p:ph type="sldNum" sz="quarter" idx="4"/>
          </p:nvPr>
        </p:nvSpPr>
        <p:spPr/>
        <p:txBody>
          <a:bodyPr/>
          <a:lstStyle/>
          <a:p>
            <a:fld id="{A8E5AD78-C39A-47FF-83FF-0E69177E1F7C}" type="slidenum">
              <a:rPr lang="es-BO" noProof="0" smtClean="0"/>
              <a:pPr/>
              <a:t>4</a:t>
            </a:fld>
            <a:endParaRPr lang="es-BO" noProof="0" dirty="0"/>
          </a:p>
        </p:txBody>
      </p:sp>
      <p:sp>
        <p:nvSpPr>
          <p:cNvPr id="8" name="Title 2">
            <a:extLst>
              <a:ext uri="{FF2B5EF4-FFF2-40B4-BE49-F238E27FC236}">
                <a16:creationId xmlns:a16="http://schemas.microsoft.com/office/drawing/2014/main" xmlns="" id="{F137C6D2-315E-5273-CE3B-549615793976}"/>
              </a:ext>
            </a:extLst>
          </p:cNvPr>
          <p:cNvSpPr>
            <a:spLocks noGrp="1"/>
          </p:cNvSpPr>
          <p:nvPr>
            <p:ph type="title"/>
          </p:nvPr>
        </p:nvSpPr>
        <p:spPr/>
        <p:txBody>
          <a:bodyPr vert="horz"/>
          <a:lstStyle/>
          <a:p>
            <a:r>
              <a:rPr lang="es-BO" noProof="0" dirty="0"/>
              <a:t>Hoja de Ruta y estrategia Nacional| Competitividad de Bolivia</a:t>
            </a:r>
          </a:p>
        </p:txBody>
      </p:sp>
      <p:sp>
        <p:nvSpPr>
          <p:cNvPr id="4" name="Text Placeholder 3">
            <a:extLst>
              <a:ext uri="{FF2B5EF4-FFF2-40B4-BE49-F238E27FC236}">
                <a16:creationId xmlns:a16="http://schemas.microsoft.com/office/drawing/2014/main" xmlns="" id="{9CFC8756-9D2F-4448-8A19-97C1FE4D885F}"/>
              </a:ext>
            </a:extLst>
          </p:cNvPr>
          <p:cNvSpPr>
            <a:spLocks noGrp="1"/>
          </p:cNvSpPr>
          <p:nvPr>
            <p:ph type="body" sz="quarter" idx="13"/>
          </p:nvPr>
        </p:nvSpPr>
        <p:spPr>
          <a:xfrm>
            <a:off x="473596" y="989901"/>
            <a:ext cx="11160125" cy="719137"/>
          </a:xfrm>
        </p:spPr>
        <p:txBody>
          <a:bodyPr anchor="ctr"/>
          <a:lstStyle/>
          <a:p>
            <a:r>
              <a:rPr lang="es-BO" noProof="0" dirty="0">
                <a:solidFill>
                  <a:schemeClr val="bg1"/>
                </a:solidFill>
              </a:rPr>
              <a:t>Bolivia ante el desafío: innovación y desarrollo para el hidrógeno </a:t>
            </a:r>
            <a:r>
              <a:rPr lang="es-BO" dirty="0">
                <a:solidFill>
                  <a:schemeClr val="bg1"/>
                </a:solidFill>
              </a:rPr>
              <a:t>v</a:t>
            </a:r>
            <a:r>
              <a:rPr lang="es-BO" noProof="0" dirty="0" err="1">
                <a:solidFill>
                  <a:schemeClr val="bg1"/>
                </a:solidFill>
              </a:rPr>
              <a:t>erde</a:t>
            </a:r>
            <a:endParaRPr lang="es-BO" noProof="0" dirty="0">
              <a:solidFill>
                <a:schemeClr val="bg1"/>
              </a:solidFill>
            </a:endParaRPr>
          </a:p>
        </p:txBody>
      </p:sp>
      <p:sp>
        <p:nvSpPr>
          <p:cNvPr id="71" name="Text Placeholder 4">
            <a:extLst>
              <a:ext uri="{FF2B5EF4-FFF2-40B4-BE49-F238E27FC236}">
                <a16:creationId xmlns:a16="http://schemas.microsoft.com/office/drawing/2014/main" xmlns="" id="{7995098B-EC5E-4D5E-BD30-CB8115800F65}"/>
              </a:ext>
            </a:extLst>
          </p:cNvPr>
          <p:cNvSpPr>
            <a:spLocks noGrp="1"/>
          </p:cNvSpPr>
          <p:nvPr>
            <p:ph type="body" sz="quarter" idx="14"/>
          </p:nvPr>
        </p:nvSpPr>
        <p:spPr>
          <a:xfrm>
            <a:off x="515938" y="6099278"/>
            <a:ext cx="11160125" cy="153888"/>
          </a:xfrm>
        </p:spPr>
        <p:txBody>
          <a:bodyPr/>
          <a:lstStyle/>
          <a:p>
            <a:r>
              <a:rPr lang="es-BO" noProof="0" dirty="0"/>
              <a:t>Fuente: Elaboración propia con base en documentación pública disponible de Bolivia y de acuerdos Internacionales.</a:t>
            </a:r>
          </a:p>
        </p:txBody>
      </p:sp>
      <p:grpSp>
        <p:nvGrpSpPr>
          <p:cNvPr id="50" name="Graphic 4">
            <a:extLst>
              <a:ext uri="{FF2B5EF4-FFF2-40B4-BE49-F238E27FC236}">
                <a16:creationId xmlns:a16="http://schemas.microsoft.com/office/drawing/2014/main" xmlns="" id="{39884C95-FBE4-4E90-9F6D-0E6E51712C42}"/>
              </a:ext>
            </a:extLst>
          </p:cNvPr>
          <p:cNvGrpSpPr/>
          <p:nvPr/>
        </p:nvGrpSpPr>
        <p:grpSpPr>
          <a:xfrm>
            <a:off x="11336349" y="2104102"/>
            <a:ext cx="227336" cy="354013"/>
            <a:chOff x="1617932" y="3399633"/>
            <a:chExt cx="155274" cy="241952"/>
          </a:xfrm>
          <a:solidFill>
            <a:schemeClr val="tx1"/>
          </a:solidFill>
        </p:grpSpPr>
        <p:sp>
          <p:nvSpPr>
            <p:cNvPr id="52" name="Graphic 4">
              <a:extLst>
                <a:ext uri="{FF2B5EF4-FFF2-40B4-BE49-F238E27FC236}">
                  <a16:creationId xmlns:a16="http://schemas.microsoft.com/office/drawing/2014/main" xmlns="" id="{D68E82D4-D5CC-418B-AF1A-F3359608D413}"/>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3" name="Graphic 4">
              <a:extLst>
                <a:ext uri="{FF2B5EF4-FFF2-40B4-BE49-F238E27FC236}">
                  <a16:creationId xmlns:a16="http://schemas.microsoft.com/office/drawing/2014/main" xmlns="" id="{6E1CF1FE-1D51-491B-A3E7-6B48A2A2617B}"/>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4" name="Graphic 4">
              <a:extLst>
                <a:ext uri="{FF2B5EF4-FFF2-40B4-BE49-F238E27FC236}">
                  <a16:creationId xmlns:a16="http://schemas.microsoft.com/office/drawing/2014/main" xmlns="" id="{4A41448D-32BE-4C6F-8F8C-BE25119A32BA}"/>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5" name="Graphic 4">
              <a:extLst>
                <a:ext uri="{FF2B5EF4-FFF2-40B4-BE49-F238E27FC236}">
                  <a16:creationId xmlns:a16="http://schemas.microsoft.com/office/drawing/2014/main" xmlns="" id="{4794A395-BB6C-4002-A468-9E772F68F3F2}"/>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6" name="Graphic 4">
              <a:extLst>
                <a:ext uri="{FF2B5EF4-FFF2-40B4-BE49-F238E27FC236}">
                  <a16:creationId xmlns:a16="http://schemas.microsoft.com/office/drawing/2014/main" xmlns="" id="{74441851-17C5-485D-8851-240ED8E3177F}"/>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7" name="Graphic 4">
              <a:extLst>
                <a:ext uri="{FF2B5EF4-FFF2-40B4-BE49-F238E27FC236}">
                  <a16:creationId xmlns:a16="http://schemas.microsoft.com/office/drawing/2014/main" xmlns="" id="{DC3D09C2-6CAB-431D-A5D9-D4604F21B6DE}"/>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8" name="Graphic 4">
              <a:extLst>
                <a:ext uri="{FF2B5EF4-FFF2-40B4-BE49-F238E27FC236}">
                  <a16:creationId xmlns:a16="http://schemas.microsoft.com/office/drawing/2014/main" xmlns="" id="{80F938FF-C135-44FF-B3A5-1D7A457F6491}"/>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s-BO" noProof="0" dirty="0">
                <a:highlight>
                  <a:srgbClr val="FFFF00"/>
                </a:highlight>
              </a:endParaRPr>
            </a:p>
          </p:txBody>
        </p:sp>
        <p:sp>
          <p:nvSpPr>
            <p:cNvPr id="59" name="Graphic 4">
              <a:extLst>
                <a:ext uri="{FF2B5EF4-FFF2-40B4-BE49-F238E27FC236}">
                  <a16:creationId xmlns:a16="http://schemas.microsoft.com/office/drawing/2014/main" xmlns="" id="{FFE42FF3-DB6C-4885-87B3-70852149B9CA}"/>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s-BO" noProof="0" dirty="0">
                <a:highlight>
                  <a:srgbClr val="FFFF00"/>
                </a:highlight>
              </a:endParaRPr>
            </a:p>
          </p:txBody>
        </p:sp>
      </p:grpSp>
      <p:sp>
        <p:nvSpPr>
          <p:cNvPr id="62" name="Graphic 4">
            <a:extLst>
              <a:ext uri="{FF2B5EF4-FFF2-40B4-BE49-F238E27FC236}">
                <a16:creationId xmlns:a16="http://schemas.microsoft.com/office/drawing/2014/main" xmlns="" id="{28E346F7-061C-4A58-A770-C36183864D63}"/>
              </a:ext>
            </a:extLst>
          </p:cNvPr>
          <p:cNvSpPr/>
          <p:nvPr/>
        </p:nvSpPr>
        <p:spPr>
          <a:xfrm>
            <a:off x="7501187" y="2173952"/>
            <a:ext cx="352800" cy="227013"/>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solidFill>
            <a:schemeClr val="tx1"/>
          </a:solidFill>
          <a:ln w="6390" cap="flat">
            <a:noFill/>
            <a:prstDash val="solid"/>
            <a:miter/>
          </a:ln>
        </p:spPr>
        <p:txBody>
          <a:bodyPr rtlCol="0" anchor="ctr"/>
          <a:lstStyle/>
          <a:p>
            <a:endParaRPr lang="es-BO" noProof="0" dirty="0"/>
          </a:p>
        </p:txBody>
      </p:sp>
      <p:sp>
        <p:nvSpPr>
          <p:cNvPr id="76" name="Rectangle 59">
            <a:extLst>
              <a:ext uri="{FF2B5EF4-FFF2-40B4-BE49-F238E27FC236}">
                <a16:creationId xmlns:a16="http://schemas.microsoft.com/office/drawing/2014/main" xmlns="" id="{A76567A6-0B76-4E17-9421-D44E119BDA33}"/>
              </a:ext>
            </a:extLst>
          </p:cNvPr>
          <p:cNvSpPr>
            <a:spLocks noChangeArrowheads="1"/>
          </p:cNvSpPr>
          <p:nvPr/>
        </p:nvSpPr>
        <p:spPr bwMode="gray">
          <a:xfrm>
            <a:off x="8225711" y="2542252"/>
            <a:ext cx="3394327" cy="119063"/>
          </a:xfrm>
          <a:prstGeom prst="rect">
            <a:avLst/>
          </a:prstGeom>
          <a:solidFill>
            <a:schemeClr val="bg1"/>
          </a:solidFill>
          <a:ln w="28575" algn="ctr">
            <a:solidFill>
              <a:schemeClr val="tx1"/>
            </a:solidFill>
            <a:miter lim="800000"/>
            <a:headEnd/>
            <a:tailEnd/>
          </a:ln>
        </p:spPr>
        <p:txBody>
          <a:bodyPr tIns="91440" rIns="72000" bIns="72000" anchor="ctr" anchorCtr="0"/>
          <a:lstStyle/>
          <a:p>
            <a:pPr lvl="0">
              <a:spcBef>
                <a:spcPts val="500"/>
              </a:spcBef>
              <a:buSzPct val="100000"/>
              <a:defRPr/>
            </a:pPr>
            <a:endParaRPr lang="es-BO" sz="1000" kern="0" noProof="0" dirty="0">
              <a:solidFill>
                <a:prstClr val="black"/>
              </a:solidFill>
              <a:highlight>
                <a:srgbClr val="FFFF00"/>
              </a:highlight>
              <a:latin typeface="Calibri Light" panose="020F0302020204030204" pitchFamily="34" charset="0"/>
              <a:cs typeface="Calibri Light" panose="020F0302020204030204" pitchFamily="34" charset="0"/>
            </a:endParaRPr>
          </a:p>
        </p:txBody>
      </p:sp>
      <p:sp>
        <p:nvSpPr>
          <p:cNvPr id="77" name="Rectangle 59">
            <a:extLst>
              <a:ext uri="{FF2B5EF4-FFF2-40B4-BE49-F238E27FC236}">
                <a16:creationId xmlns:a16="http://schemas.microsoft.com/office/drawing/2014/main" xmlns="" id="{2CBC3115-1B3E-489A-83DE-4A79B7DC79EF}"/>
              </a:ext>
            </a:extLst>
          </p:cNvPr>
          <p:cNvSpPr>
            <a:spLocks noChangeArrowheads="1"/>
          </p:cNvSpPr>
          <p:nvPr/>
        </p:nvSpPr>
        <p:spPr bwMode="gray">
          <a:xfrm>
            <a:off x="4470325" y="2542252"/>
            <a:ext cx="3394327" cy="117475"/>
          </a:xfrm>
          <a:prstGeom prst="rect">
            <a:avLst/>
          </a:prstGeom>
          <a:solidFill>
            <a:schemeClr val="bg1"/>
          </a:solidFill>
          <a:ln w="28575" algn="ctr">
            <a:solidFill>
              <a:schemeClr val="tx1"/>
            </a:solidFill>
            <a:miter lim="800000"/>
            <a:headEnd/>
            <a:tailEnd/>
          </a:ln>
        </p:spPr>
        <p:txBody>
          <a:bodyPr tIns="91440" rIns="72000" bIns="72000" anchor="ctr" anchorCtr="0"/>
          <a:lstStyle/>
          <a:p>
            <a:pPr lvl="0">
              <a:spcBef>
                <a:spcPts val="500"/>
              </a:spcBef>
              <a:buSzPct val="100000"/>
              <a:defRPr/>
            </a:pPr>
            <a:endParaRPr lang="es-BO" sz="1000" kern="0" noProof="0" dirty="0">
              <a:solidFill>
                <a:prstClr val="black"/>
              </a:solidFill>
              <a:highlight>
                <a:srgbClr val="FFFF00"/>
              </a:highlight>
              <a:latin typeface="Calibri Light" panose="020F0302020204030204" pitchFamily="34" charset="0"/>
              <a:cs typeface="Calibri Light" panose="020F0302020204030204" pitchFamily="34" charset="0"/>
            </a:endParaRPr>
          </a:p>
        </p:txBody>
      </p:sp>
      <p:sp>
        <p:nvSpPr>
          <p:cNvPr id="78" name="Text Box 60">
            <a:extLst>
              <a:ext uri="{FF2B5EF4-FFF2-40B4-BE49-F238E27FC236}">
                <a16:creationId xmlns:a16="http://schemas.microsoft.com/office/drawing/2014/main" xmlns="" id="{73C5FC08-6DE4-4D33-B3AC-A03BACB127C5}"/>
              </a:ext>
            </a:extLst>
          </p:cNvPr>
          <p:cNvSpPr txBox="1">
            <a:spLocks noChangeArrowheads="1"/>
          </p:cNvSpPr>
          <p:nvPr/>
        </p:nvSpPr>
        <p:spPr bwMode="gray">
          <a:xfrm>
            <a:off x="4857059" y="2420014"/>
            <a:ext cx="1595563" cy="2047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kumimoji="0" lang="es-BO" sz="1400" b="1" i="0" u="none" strike="noStrike" kern="1200" cap="none" spc="0" normalizeH="0" baseline="0" noProof="0" dirty="0">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rPr>
              <a:t>Entorno académico</a:t>
            </a:r>
          </a:p>
        </p:txBody>
      </p:sp>
      <p:sp>
        <p:nvSpPr>
          <p:cNvPr id="79" name="Text Box 60">
            <a:extLst>
              <a:ext uri="{FF2B5EF4-FFF2-40B4-BE49-F238E27FC236}">
                <a16:creationId xmlns:a16="http://schemas.microsoft.com/office/drawing/2014/main" xmlns="" id="{608CA78B-EEAB-41A5-9AED-C1C6B00C03FD}"/>
              </a:ext>
            </a:extLst>
          </p:cNvPr>
          <p:cNvSpPr txBox="1">
            <a:spLocks noChangeArrowheads="1"/>
          </p:cNvSpPr>
          <p:nvPr/>
        </p:nvSpPr>
        <p:spPr bwMode="gray">
          <a:xfrm>
            <a:off x="8605621" y="2420014"/>
            <a:ext cx="1693887" cy="2047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kumimoji="0" lang="es-BO" sz="1400" b="1" i="0" u="none" strike="noStrike" kern="1200" cap="none" spc="0" normalizeH="0" baseline="0" noProof="0" dirty="0">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rPr>
              <a:t>Entorno empresarial </a:t>
            </a:r>
          </a:p>
        </p:txBody>
      </p:sp>
      <p:graphicFrame>
        <p:nvGraphicFramePr>
          <p:cNvPr id="6" name="Chart 5">
            <a:extLst>
              <a:ext uri="{FF2B5EF4-FFF2-40B4-BE49-F238E27FC236}">
                <a16:creationId xmlns:a16="http://schemas.microsoft.com/office/drawing/2014/main" xmlns="" id="{69C68D32-CE4E-1570-7610-EE5C09FB00EB}"/>
              </a:ext>
            </a:extLst>
          </p:cNvPr>
          <p:cNvGraphicFramePr/>
          <p:nvPr>
            <p:custDataLst>
              <p:tags r:id="rId3"/>
            </p:custDataLst>
            <p:extLst>
              <p:ext uri="{D42A27DB-BD31-4B8C-83A1-F6EECF244321}">
                <p14:modId xmlns:p14="http://schemas.microsoft.com/office/powerpoint/2010/main" val="393823370"/>
              </p:ext>
            </p:extLst>
          </p:nvPr>
        </p:nvGraphicFramePr>
        <p:xfrm>
          <a:off x="4989563" y="2730370"/>
          <a:ext cx="2814638" cy="1916112"/>
        </p:xfrm>
        <a:graphic>
          <a:graphicData uri="http://schemas.openxmlformats.org/drawingml/2006/chart">
            <c:chart xmlns:c="http://schemas.openxmlformats.org/drawingml/2006/chart" xmlns:r="http://schemas.openxmlformats.org/officeDocument/2006/relationships" r:id="rId38"/>
          </a:graphicData>
        </a:graphic>
      </p:graphicFrame>
      <p:cxnSp>
        <p:nvCxnSpPr>
          <p:cNvPr id="295" name="Straight Connector 294">
            <a:extLst>
              <a:ext uri="{FF2B5EF4-FFF2-40B4-BE49-F238E27FC236}">
                <a16:creationId xmlns:a16="http://schemas.microsoft.com/office/drawing/2014/main" xmlns="" id="{FE3FCD7A-D895-49D8-964C-B57182714E24}"/>
              </a:ext>
            </a:extLst>
          </p:cNvPr>
          <p:cNvCxnSpPr/>
          <p:nvPr>
            <p:custDataLst>
              <p:tags r:id="rId4"/>
            </p:custDataLst>
          </p:nvPr>
        </p:nvCxnSpPr>
        <p:spPr bwMode="auto">
          <a:xfrm>
            <a:off x="7069188" y="3705096"/>
            <a:ext cx="0" cy="404813"/>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xmlns="" id="{5DBF723C-688E-4523-9FD2-6CCC69371B81}"/>
              </a:ext>
            </a:extLst>
          </p:cNvPr>
          <p:cNvCxnSpPr/>
          <p:nvPr>
            <p:custDataLst>
              <p:tags r:id="rId5"/>
            </p:custDataLst>
          </p:nvPr>
        </p:nvCxnSpPr>
        <p:spPr bwMode="auto">
          <a:xfrm>
            <a:off x="5232450" y="3705095"/>
            <a:ext cx="1836738"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xmlns="" id="{F9B71EF2-55DF-4C8B-B5A0-19675313CE81}"/>
              </a:ext>
            </a:extLst>
          </p:cNvPr>
          <p:cNvCxnSpPr/>
          <p:nvPr>
            <p:custDataLst>
              <p:tags r:id="rId6"/>
            </p:custDataLst>
          </p:nvPr>
        </p:nvCxnSpPr>
        <p:spPr bwMode="auto">
          <a:xfrm>
            <a:off x="5232450" y="4109907"/>
            <a:ext cx="1836738"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xmlns="" id="{7D990A00-598E-44BB-A43A-6E8ED9289B84}"/>
              </a:ext>
            </a:extLst>
          </p:cNvPr>
          <p:cNvCxnSpPr/>
          <p:nvPr>
            <p:custDataLst>
              <p:tags r:id="rId7"/>
            </p:custDataLst>
          </p:nvPr>
        </p:nvCxnSpPr>
        <p:spPr bwMode="auto">
          <a:xfrm>
            <a:off x="7273976" y="2974845"/>
            <a:ext cx="0" cy="40640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xmlns="" id="{BCB81664-E185-437F-A9AD-FA4D06300193}"/>
              </a:ext>
            </a:extLst>
          </p:cNvPr>
          <p:cNvCxnSpPr/>
          <p:nvPr>
            <p:custDataLst>
              <p:tags r:id="rId8"/>
            </p:custDataLst>
          </p:nvPr>
        </p:nvCxnSpPr>
        <p:spPr bwMode="auto">
          <a:xfrm>
            <a:off x="5232451" y="2974845"/>
            <a:ext cx="2041525"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xmlns="" id="{DE74962A-9BDF-4BC0-8484-0F15A1F6552F}"/>
              </a:ext>
            </a:extLst>
          </p:cNvPr>
          <p:cNvCxnSpPr/>
          <p:nvPr>
            <p:custDataLst>
              <p:tags r:id="rId9"/>
            </p:custDataLst>
          </p:nvPr>
        </p:nvCxnSpPr>
        <p:spPr bwMode="auto">
          <a:xfrm>
            <a:off x="5232451" y="3381245"/>
            <a:ext cx="2041525"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1" name="Rectangle 180">
            <a:extLst>
              <a:ext uri="{FF2B5EF4-FFF2-40B4-BE49-F238E27FC236}">
                <a16:creationId xmlns:a16="http://schemas.microsoft.com/office/drawing/2014/main" xmlns="" id="{A658B5C2-9FF8-453C-8712-33F3749BD902}"/>
              </a:ext>
            </a:extLst>
          </p:cNvPr>
          <p:cNvSpPr/>
          <p:nvPr>
            <p:custDataLst>
              <p:tags r:id="rId10"/>
            </p:custDataLst>
          </p:nvPr>
        </p:nvSpPr>
        <p:spPr bwMode="gray">
          <a:xfrm>
            <a:off x="7253338" y="3068507"/>
            <a:ext cx="268288" cy="219075"/>
          </a:xfrm>
          <a:prstGeom prst="rect">
            <a:avLst/>
          </a:prstGeom>
          <a:solidFill>
            <a:schemeClr val="accent1"/>
          </a:solidFill>
          <a:ln w="19050" cap="flat" cmpd="sng" algn="ctr">
            <a:noFill/>
            <a:prstDash val="solid"/>
            <a:miter lim="800000"/>
            <a:headEnd type="none" w="med" len="med"/>
            <a:tailEnd type="none" w="med" len="med"/>
          </a:ln>
          <a:effectLst/>
        </p:spPr>
        <p:txBody>
          <a:bodyPr vert="horz" wrap="none" lIns="17463" tIns="0" rIns="17463" bIns="0" numCol="1" spcCol="0" rtlCol="0" anchor="ctr" anchorCtr="0">
            <a:noAutofit/>
          </a:bodyPr>
          <a:lstStyle/>
          <a:p>
            <a:pPr algn="ctr">
              <a:lnSpc>
                <a:spcPct val="90000"/>
              </a:lnSpc>
              <a:spcBef>
                <a:spcPct val="0"/>
              </a:spcBef>
              <a:spcAft>
                <a:spcPct val="0"/>
              </a:spcAft>
            </a:pPr>
            <a:fld id="{951D7F00-E80D-4870-B0C5-FD421FD88875}" type="datetime'''''''''''''''''''''''''1''''''''''1'">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11</a:t>
            </a:fld>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t>
            </a:r>
          </a:p>
          <a:p>
            <a:pPr algn="ctr">
              <a:lnSpc>
                <a:spcPct val="90000"/>
              </a:lnSpc>
              <a:spcBef>
                <a:spcPct val="0"/>
              </a:spcBef>
              <a:spcAft>
                <a:spcPct val="0"/>
              </a:spcAft>
            </a:pPr>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9DFA9DEB-5455-4623-A1C5-8F9313BB7C35}" type="datetime'''''''''''''10''''''''%'''''''''''''''''''''''''''''''''''">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10%</a:t>
            </a:fld>
            <a:r>
              <a:rPr lang="es-BO" sz="8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228" name="Rectangle 227">
            <a:extLst>
              <a:ext uri="{FF2B5EF4-FFF2-40B4-BE49-F238E27FC236}">
                <a16:creationId xmlns:a16="http://schemas.microsoft.com/office/drawing/2014/main" xmlns="" id="{BD4E344A-503E-41F7-971D-EB7BCA20F646}"/>
              </a:ext>
            </a:extLst>
          </p:cNvPr>
          <p:cNvSpPr/>
          <p:nvPr>
            <p:custDataLst>
              <p:tags r:id="rId11"/>
            </p:custDataLst>
          </p:nvPr>
        </p:nvSpPr>
        <p:spPr bwMode="gray">
          <a:xfrm>
            <a:off x="6116688" y="3068507"/>
            <a:ext cx="2682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numCol="1" spcCol="0" rtlCol="0" anchor="ctr" anchorCtr="0">
            <a:noAutofit/>
          </a:bodyPr>
          <a:lstStyle/>
          <a:p>
            <a:pPr algn="ctr">
              <a:lnSpc>
                <a:spcPct val="90000"/>
              </a:lnSpc>
              <a:spcBef>
                <a:spcPct val="0"/>
              </a:spcBef>
              <a:spcAft>
                <a:spcPct val="0"/>
              </a:spcAft>
            </a:pPr>
            <a:fld id="{27FE3DA0-F8F9-41D7-B541-939A1E491825}" type="datetime'''''''''''''''''''9''''''''''''''''''''8'''''''''''''">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98</a:t>
            </a:fld>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 </a:t>
            </a:r>
          </a:p>
          <a:p>
            <a:pPr algn="ctr">
              <a:lnSpc>
                <a:spcPct val="90000"/>
              </a:lnSpc>
              <a:spcBef>
                <a:spcPct val="0"/>
              </a:spcBef>
              <a:spcAft>
                <a:spcPct val="0"/>
              </a:spcAft>
            </a:pPr>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a:t>
            </a:r>
            <a:fld id="{006D4744-504B-4CAB-848B-2BA983613B9F}" type="datetime'''''''''''9''''''''''''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90%</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73" name="Rectangle 172">
            <a:extLst>
              <a:ext uri="{FF2B5EF4-FFF2-40B4-BE49-F238E27FC236}">
                <a16:creationId xmlns:a16="http://schemas.microsoft.com/office/drawing/2014/main" xmlns="" id="{A3C1718B-6A36-4134-AB80-0C6999EC3FCB}"/>
              </a:ext>
            </a:extLst>
          </p:cNvPr>
          <p:cNvSpPr/>
          <p:nvPr>
            <p:custDataLst>
              <p:tags r:id="rId12"/>
            </p:custDataLst>
          </p:nvPr>
        </p:nvSpPr>
        <p:spPr bwMode="auto">
          <a:xfrm>
            <a:off x="4530776" y="3114545"/>
            <a:ext cx="596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gn="r">
              <a:lnSpc>
                <a:spcPct val="106000"/>
              </a:lnSpc>
              <a:spcBef>
                <a:spcPct val="0"/>
              </a:spcBef>
              <a:spcAft>
                <a:spcPct val="0"/>
              </a:spcAft>
            </a:pPr>
            <a:fld id="{F91F9765-7C38-4D3C-B141-A6D9DF3EF338}" type="datetime'''''Un''''i''''v''''''''e''''rs''''i''''''dad''''''es'' '">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r">
                <a:lnSpc>
                  <a:spcPct val="106000"/>
                </a:lnSpc>
                <a:spcBef>
                  <a:spcPct val="0"/>
                </a:spcBef>
                <a:spcAft>
                  <a:spcPct val="0"/>
                </a:spcAft>
              </a:pPr>
              <a:t>Universidades </a:t>
            </a:fld>
            <a:endParaRPr lang="es-BO" sz="8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9" name="Rectangle 228">
            <a:extLst>
              <a:ext uri="{FF2B5EF4-FFF2-40B4-BE49-F238E27FC236}">
                <a16:creationId xmlns:a16="http://schemas.microsoft.com/office/drawing/2014/main" xmlns="" id="{9A1F5E88-D0C5-4218-9C35-99AF5B86347C}"/>
              </a:ext>
            </a:extLst>
          </p:cNvPr>
          <p:cNvSpPr/>
          <p:nvPr>
            <p:custDataLst>
              <p:tags r:id="rId13"/>
            </p:custDataLst>
          </p:nvPr>
        </p:nvSpPr>
        <p:spPr bwMode="gray">
          <a:xfrm>
            <a:off x="7151738" y="3797170"/>
            <a:ext cx="2682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75787B"/>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numCol="1" spcCol="0" rtlCol="0" anchor="ctr" anchorCtr="0">
            <a:noAutofit/>
          </a:bodyPr>
          <a:lstStyle/>
          <a:p>
            <a:pPr algn="ctr">
              <a:lnSpc>
                <a:spcPct val="90000"/>
              </a:lnSpc>
              <a:spcBef>
                <a:spcPct val="0"/>
              </a:spcBef>
              <a:spcAft>
                <a:spcPct val="0"/>
              </a:spcAft>
            </a:pPr>
            <a:fld id="{4E4AE42A-637C-4329-94A5-1A5AE04B756C}" type="datetime'3''''''''''''''''''''''''''''''''''''''''''2'''''''''''">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32</a:t>
            </a:fld>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t>
            </a:r>
          </a:p>
          <a:p>
            <a:pPr algn="ctr">
              <a:lnSpc>
                <a:spcPct val="90000"/>
              </a:lnSpc>
              <a:spcBef>
                <a:spcPct val="0"/>
              </a:spcBef>
              <a:spcAft>
                <a:spcPct val="0"/>
              </a:spcAft>
            </a:pPr>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AE3BBD68-8DD8-4E36-9D8F-FAB675E401A5}" type="datetime'''''''''1''''''''''''''''''''''9''''''''''''''''%'">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19%</a:t>
            </a:fld>
            <a:r>
              <a:rPr lang="es-BO" sz="8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230" name="Rectangle 229">
            <a:extLst>
              <a:ext uri="{FF2B5EF4-FFF2-40B4-BE49-F238E27FC236}">
                <a16:creationId xmlns:a16="http://schemas.microsoft.com/office/drawing/2014/main" xmlns="" id="{1FA41E28-6652-4216-B812-92B750B5FF01}"/>
              </a:ext>
            </a:extLst>
          </p:cNvPr>
          <p:cNvSpPr/>
          <p:nvPr>
            <p:custDataLst>
              <p:tags r:id="rId14"/>
            </p:custDataLst>
          </p:nvPr>
        </p:nvSpPr>
        <p:spPr bwMode="gray">
          <a:xfrm>
            <a:off x="6003977" y="3797170"/>
            <a:ext cx="290513"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numCol="1" spcCol="0" rtlCol="0" anchor="ctr" anchorCtr="0">
            <a:noAutofit/>
          </a:bodyPr>
          <a:lstStyle/>
          <a:p>
            <a:pPr algn="ctr">
              <a:lnSpc>
                <a:spcPct val="90000"/>
              </a:lnSpc>
              <a:spcBef>
                <a:spcPct val="0"/>
              </a:spcBef>
              <a:spcAft>
                <a:spcPct val="0"/>
              </a:spcAft>
            </a:pPr>
            <a:fld id="{047C0FAE-DC6C-4B4E-824E-F8F031A5ED64}" type="datetime'''''1''''''''''''''''''3''''''''''''''8'''''''">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138</a:t>
            </a:fld>
            <a:endParaRPr lang="es-BO" sz="800" noProof="0" dirty="0">
              <a:latin typeface="Calibri Light" panose="020F0302020204030204" pitchFamily="34" charset="0"/>
              <a:cs typeface="Calibri Light" panose="020F0302020204030204" pitchFamily="34" charset="0"/>
              <a:sym typeface="Calibri Light" panose="020F0302020204030204" pitchFamily="34" charset="0"/>
            </a:endParaRPr>
          </a:p>
          <a:p>
            <a:pPr algn="ctr">
              <a:lnSpc>
                <a:spcPct val="90000"/>
              </a:lnSpc>
              <a:spcBef>
                <a:spcPct val="0"/>
              </a:spcBef>
              <a:spcAft>
                <a:spcPct val="0"/>
              </a:spcAft>
            </a:pPr>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 (</a:t>
            </a:r>
            <a:fld id="{32715CD8-A994-476E-A388-761972299412}" type="datetime'''8''''''''''''''1''%'''''">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81%</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74" name="Rectangle 173">
            <a:extLst>
              <a:ext uri="{FF2B5EF4-FFF2-40B4-BE49-F238E27FC236}">
                <a16:creationId xmlns:a16="http://schemas.microsoft.com/office/drawing/2014/main" xmlns="" id="{C8E99DD3-005E-4A87-80F0-C2FABB785A39}"/>
              </a:ext>
            </a:extLst>
          </p:cNvPr>
          <p:cNvSpPr/>
          <p:nvPr>
            <p:custDataLst>
              <p:tags r:id="rId15"/>
            </p:custDataLst>
          </p:nvPr>
        </p:nvSpPr>
        <p:spPr bwMode="auto">
          <a:xfrm>
            <a:off x="4600626" y="3714620"/>
            <a:ext cx="527050" cy="3857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gn="r">
              <a:lnSpc>
                <a:spcPct val="106000"/>
              </a:lnSpc>
              <a:spcBef>
                <a:spcPct val="0"/>
              </a:spcBef>
              <a:spcAft>
                <a:spcPct val="0"/>
              </a:spcAft>
            </a:pPr>
            <a:endPar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endParaRPr>
          </a:p>
          <a:p>
            <a:pPr algn="r">
              <a:lnSpc>
                <a:spcPct val="106000"/>
              </a:lnSpc>
              <a:spcBef>
                <a:spcPct val="0"/>
              </a:spcBef>
              <a:spcAft>
                <a:spcPct val="0"/>
              </a:spcAft>
            </a:pPr>
            <a:r>
              <a:rPr lang="es-BO" sz="800" noProof="0" dirty="0">
                <a:latin typeface="Calibri Light" panose="020F0302020204030204" pitchFamily="34" charset="0"/>
                <a:cs typeface="Calibri Light" panose="020F0302020204030204" pitchFamily="34" charset="0"/>
                <a:sym typeface="Calibri Light" panose="020F0302020204030204" pitchFamily="34" charset="0"/>
              </a:rPr>
              <a:t>Institutos</a:t>
            </a:r>
          </a:p>
          <a:p>
            <a:pPr algn="r">
              <a:lnSpc>
                <a:spcPct val="106000"/>
              </a:lnSpc>
              <a:spcBef>
                <a:spcPct val="0"/>
              </a:spcBef>
              <a:spcAft>
                <a:spcPct val="0"/>
              </a:spcAft>
            </a:pPr>
            <a:r>
              <a:rPr lang="es-BO" sz="800" dirty="0">
                <a:latin typeface="Calibri Light" panose="020F0302020204030204" pitchFamily="34" charset="0"/>
                <a:cs typeface="Calibri Light" panose="020F0302020204030204" pitchFamily="34" charset="0"/>
                <a:sym typeface="Calibri Light" panose="020F0302020204030204" pitchFamily="34" charset="0"/>
              </a:rPr>
              <a:t>t</a:t>
            </a:r>
            <a:r>
              <a:rPr lang="es-BO" sz="800" noProof="0" dirty="0" err="1">
                <a:latin typeface="Calibri Light" panose="020F0302020204030204" pitchFamily="34" charset="0"/>
                <a:cs typeface="Calibri Light" panose="020F0302020204030204" pitchFamily="34" charset="0"/>
                <a:sym typeface="Calibri Light" panose="020F0302020204030204" pitchFamily="34" charset="0"/>
              </a:rPr>
              <a:t>ecnológicos</a:t>
            </a:r>
            <a:endParaRPr lang="es-BO" sz="8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Rectangle 128">
            <a:extLst>
              <a:ext uri="{FF2B5EF4-FFF2-40B4-BE49-F238E27FC236}">
                <a16:creationId xmlns:a16="http://schemas.microsoft.com/office/drawing/2014/main" xmlns="" id="{FA545062-E742-4FA7-A335-95CED16E3F26}"/>
              </a:ext>
            </a:extLst>
          </p:cNvPr>
          <p:cNvSpPr/>
          <p:nvPr>
            <p:custDataLst>
              <p:tags r:id="rId16"/>
            </p:custDataLst>
          </p:nvPr>
        </p:nvSpPr>
        <p:spPr bwMode="gray">
          <a:xfrm>
            <a:off x="7540677" y="3109782"/>
            <a:ext cx="231775" cy="1365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20638" tIns="0" rIns="20638" bIns="0" numCol="1" spcCol="0" rtlCol="0" anchor="ctr" anchorCtr="0">
            <a:noAutofit/>
          </a:bodyPr>
          <a:lstStyle/>
          <a:p>
            <a:pPr>
              <a:lnSpc>
                <a:spcPct val="90000"/>
              </a:lnSpc>
              <a:spcBef>
                <a:spcPct val="0"/>
              </a:spcBef>
              <a:spcAft>
                <a:spcPct val="0"/>
              </a:spcAft>
            </a:pPr>
            <a:fld id="{9556B27F-1326-4BE5-B0FE-6B603A892697}" type="datetime'''''''''''''''''''''1''''''''''''''''''''''''''''''0''''''9'''">
              <a:rPr lang="es-BO" sz="1000" b="1"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90000"/>
                </a:lnSpc>
                <a:spcBef>
                  <a:spcPct val="0"/>
                </a:spcBef>
                <a:spcAft>
                  <a:spcPct val="0"/>
                </a:spcAft>
              </a:pPr>
              <a:t>109</a:t>
            </a:fld>
            <a:endParaRPr lang="es-BO" sz="10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1" name="Rectangle 130">
            <a:extLst>
              <a:ext uri="{FF2B5EF4-FFF2-40B4-BE49-F238E27FC236}">
                <a16:creationId xmlns:a16="http://schemas.microsoft.com/office/drawing/2014/main" xmlns="" id="{EE1E8864-12E5-45ED-911E-3B72B1EE9403}"/>
              </a:ext>
            </a:extLst>
          </p:cNvPr>
          <p:cNvSpPr/>
          <p:nvPr>
            <p:custDataLst>
              <p:tags r:id="rId17"/>
            </p:custDataLst>
          </p:nvPr>
        </p:nvSpPr>
        <p:spPr bwMode="gray">
          <a:xfrm>
            <a:off x="7540677" y="3838445"/>
            <a:ext cx="231775" cy="1365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20638" tIns="0" rIns="20638" bIns="0" numCol="1" spcCol="0" rtlCol="0" anchor="ctr" anchorCtr="0">
            <a:noAutofit/>
          </a:bodyPr>
          <a:lstStyle/>
          <a:p>
            <a:pPr>
              <a:lnSpc>
                <a:spcPct val="90000"/>
              </a:lnSpc>
              <a:spcBef>
                <a:spcPct val="0"/>
              </a:spcBef>
              <a:spcAft>
                <a:spcPct val="0"/>
              </a:spcAft>
            </a:pPr>
            <a:fld id="{BCBA487D-C5B2-4AA0-A32E-2C8B0C91BA98}" type="datetime'''''1''''''''''''''''''''''''''''7''0'''''''">
              <a:rPr lang="es-BO" sz="1000" b="1"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90000"/>
                </a:lnSpc>
                <a:spcBef>
                  <a:spcPct val="0"/>
                </a:spcBef>
                <a:spcAft>
                  <a:spcPct val="0"/>
                </a:spcAft>
              </a:pPr>
              <a:t>170</a:t>
            </a:fld>
            <a:endParaRPr lang="es-BO" sz="10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0" name="Rectangle 199">
            <a:extLst>
              <a:ext uri="{FF2B5EF4-FFF2-40B4-BE49-F238E27FC236}">
                <a16:creationId xmlns:a16="http://schemas.microsoft.com/office/drawing/2014/main" xmlns="" id="{2D6F227B-9367-4A53-919C-37F9D50721F6}"/>
              </a:ext>
            </a:extLst>
          </p:cNvPr>
          <p:cNvSpPr/>
          <p:nvPr>
            <p:custDataLst>
              <p:tags r:id="rId18"/>
            </p:custDataLst>
          </p:nvPr>
        </p:nvSpPr>
        <p:spPr bwMode="auto">
          <a:xfrm>
            <a:off x="4635551" y="4854445"/>
            <a:ext cx="179388" cy="133350"/>
          </a:xfrm>
          <a:prstGeom prst="rect">
            <a:avLst/>
          </a:prstGeom>
          <a:solidFill>
            <a:schemeClr val="accent1"/>
          </a:solidFill>
          <a:ln w="19050" cap="flat" cmpd="sng" algn="ctr">
            <a:noFill/>
            <a:prstDash val="solid"/>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199" name="Rectangle 198">
            <a:extLst>
              <a:ext uri="{FF2B5EF4-FFF2-40B4-BE49-F238E27FC236}">
                <a16:creationId xmlns:a16="http://schemas.microsoft.com/office/drawing/2014/main" xmlns="" id="{6ABEF954-63DE-4763-9903-73B5C5F7357F}"/>
              </a:ext>
            </a:extLst>
          </p:cNvPr>
          <p:cNvSpPr/>
          <p:nvPr>
            <p:custDataLst>
              <p:tags r:id="rId19"/>
            </p:custDataLst>
          </p:nvPr>
        </p:nvSpPr>
        <p:spPr bwMode="auto">
          <a:xfrm>
            <a:off x="6559601" y="4854445"/>
            <a:ext cx="179388" cy="133350"/>
          </a:xfrm>
          <a:prstGeom prst="rect">
            <a:avLst/>
          </a:prstGeom>
          <a:solidFill>
            <a:srgbClr val="FFFFFF"/>
          </a:solidFill>
          <a:ln w="6350" cap="flat" cmpd="sng" algn="ctr">
            <a:solidFill>
              <a:schemeClr val="tx1"/>
            </a:solidFill>
            <a:prstDash val="lgDash"/>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127" name="Rectangle 126">
            <a:extLst>
              <a:ext uri="{FF2B5EF4-FFF2-40B4-BE49-F238E27FC236}">
                <a16:creationId xmlns:a16="http://schemas.microsoft.com/office/drawing/2014/main" xmlns="" id="{493A6531-8FC8-48FF-A9D9-1360BFA477CE}"/>
              </a:ext>
            </a:extLst>
          </p:cNvPr>
          <p:cNvSpPr/>
          <p:nvPr>
            <p:custDataLst>
              <p:tags r:id="rId20"/>
            </p:custDataLst>
          </p:nvPr>
        </p:nvSpPr>
        <p:spPr bwMode="auto">
          <a:xfrm>
            <a:off x="4865738" y="4843332"/>
            <a:ext cx="1592263"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nSpc>
                <a:spcPct val="106000"/>
              </a:lnSpc>
              <a:spcBef>
                <a:spcPct val="0"/>
              </a:spcBef>
              <a:spcAft>
                <a:spcPct val="0"/>
              </a:spcAft>
            </a:pPr>
            <a:fld id="{8EDAA605-21A5-4A3C-AF54-EEDCF32557B1}" type="datetime'Carre''ras'' ''e''''nfo''cada''''s'' en ene''rgí''a'' '">
              <a:rPr lang="es-BO" sz="10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pPr>
              <a:t>Carreras enfocadas en energía </a:t>
            </a:fld>
            <a:endParaRPr lang="es-BO" sz="10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8" name="Rectangle 127">
            <a:extLst>
              <a:ext uri="{FF2B5EF4-FFF2-40B4-BE49-F238E27FC236}">
                <a16:creationId xmlns:a16="http://schemas.microsoft.com/office/drawing/2014/main" xmlns="" id="{B133A2E3-8A63-42D3-A49B-494F7C0DCF5D}"/>
              </a:ext>
            </a:extLst>
          </p:cNvPr>
          <p:cNvSpPr/>
          <p:nvPr>
            <p:custDataLst>
              <p:tags r:id="rId21"/>
            </p:custDataLst>
          </p:nvPr>
        </p:nvSpPr>
        <p:spPr bwMode="auto">
          <a:xfrm>
            <a:off x="6789788" y="4843332"/>
            <a:ext cx="755650"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nSpc>
                <a:spcPct val="106000"/>
              </a:lnSpc>
              <a:spcBef>
                <a:spcPct val="0"/>
              </a:spcBef>
              <a:spcAft>
                <a:spcPct val="0"/>
              </a:spcAft>
            </a:pPr>
            <a:fld id="{3D1C6D41-D16D-42C9-9A25-4CA27127711A}" type="datetime'O''tr''''a''''s'' ''ca''''''r''''re''''''''''r''''a''s'''''' '">
              <a:rPr lang="es-BO" sz="10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pPr>
              <a:t>Otras carreras </a:t>
            </a:fld>
            <a:endParaRPr lang="es-BO" sz="1000" noProof="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64" name="Graphic 4">
            <a:extLst>
              <a:ext uri="{FF2B5EF4-FFF2-40B4-BE49-F238E27FC236}">
                <a16:creationId xmlns:a16="http://schemas.microsoft.com/office/drawing/2014/main" xmlns="" id="{EEFD06F4-5A05-4196-8BEC-61232E84A270}"/>
              </a:ext>
            </a:extLst>
          </p:cNvPr>
          <p:cNvGrpSpPr/>
          <p:nvPr/>
        </p:nvGrpSpPr>
        <p:grpSpPr>
          <a:xfrm>
            <a:off x="3763144" y="2116802"/>
            <a:ext cx="298800" cy="334963"/>
            <a:chOff x="1590209" y="1463371"/>
            <a:chExt cx="211049" cy="240676"/>
          </a:xfrm>
          <a:solidFill>
            <a:schemeClr val="tx1"/>
          </a:solidFill>
        </p:grpSpPr>
        <p:sp>
          <p:nvSpPr>
            <p:cNvPr id="67" name="Graphic 4">
              <a:extLst>
                <a:ext uri="{FF2B5EF4-FFF2-40B4-BE49-F238E27FC236}">
                  <a16:creationId xmlns:a16="http://schemas.microsoft.com/office/drawing/2014/main" xmlns="" id="{6C38D280-105F-47D8-8704-E5D510199628}"/>
                </a:ext>
              </a:extLst>
            </p:cNvPr>
            <p:cNvSpPr/>
            <p:nvPr/>
          </p:nvSpPr>
          <p:spPr>
            <a:xfrm>
              <a:off x="1590209" y="1463371"/>
              <a:ext cx="211049" cy="240676"/>
            </a:xfrm>
            <a:custGeom>
              <a:avLst/>
              <a:gdLst>
                <a:gd name="connsiteX0" fmla="*/ 208557 w 211049"/>
                <a:gd name="connsiteY0" fmla="*/ 58094 h 240676"/>
                <a:gd name="connsiteX1" fmla="*/ 141463 w 211049"/>
                <a:gd name="connsiteY1" fmla="*/ 56817 h 240676"/>
                <a:gd name="connsiteX2" fmla="*/ 105679 w 211049"/>
                <a:gd name="connsiteY2" fmla="*/ 0 h 240676"/>
                <a:gd name="connsiteX3" fmla="*/ 69896 w 211049"/>
                <a:gd name="connsiteY3" fmla="*/ 55541 h 240676"/>
                <a:gd name="connsiteX4" fmla="*/ 52643 w 211049"/>
                <a:gd name="connsiteY4" fmla="*/ 49795 h 240676"/>
                <a:gd name="connsiteX5" fmla="*/ 4079 w 211049"/>
                <a:gd name="connsiteY5" fmla="*/ 55541 h 240676"/>
                <a:gd name="connsiteX6" fmla="*/ 36029 w 211049"/>
                <a:gd name="connsiteY6" fmla="*/ 119380 h 240676"/>
                <a:gd name="connsiteX7" fmla="*/ 2801 w 211049"/>
                <a:gd name="connsiteY7" fmla="*/ 182582 h 240676"/>
                <a:gd name="connsiteX8" fmla="*/ 27083 w 211049"/>
                <a:gd name="connsiteY8" fmla="*/ 192796 h 240676"/>
                <a:gd name="connsiteX9" fmla="*/ 51365 w 211049"/>
                <a:gd name="connsiteY9" fmla="*/ 189604 h 240676"/>
                <a:gd name="connsiteX10" fmla="*/ 69896 w 211049"/>
                <a:gd name="connsiteY10" fmla="*/ 183859 h 240676"/>
                <a:gd name="connsiteX11" fmla="*/ 105679 w 211049"/>
                <a:gd name="connsiteY11" fmla="*/ 240676 h 240676"/>
                <a:gd name="connsiteX12" fmla="*/ 140824 w 211049"/>
                <a:gd name="connsiteY12" fmla="*/ 185774 h 240676"/>
                <a:gd name="connsiteX13" fmla="*/ 182998 w 211049"/>
                <a:gd name="connsiteY13" fmla="*/ 195350 h 240676"/>
                <a:gd name="connsiteX14" fmla="*/ 206001 w 211049"/>
                <a:gd name="connsiteY14" fmla="*/ 185774 h 240676"/>
                <a:gd name="connsiteX15" fmla="*/ 174052 w 211049"/>
                <a:gd name="connsiteY15" fmla="*/ 121934 h 240676"/>
                <a:gd name="connsiteX16" fmla="*/ 208557 w 211049"/>
                <a:gd name="connsiteY16" fmla="*/ 58094 h 240676"/>
                <a:gd name="connsiteX17" fmla="*/ 105679 w 211049"/>
                <a:gd name="connsiteY17" fmla="*/ 13406 h 240676"/>
                <a:gd name="connsiteX18" fmla="*/ 129322 w 211049"/>
                <a:gd name="connsiteY18" fmla="*/ 61925 h 240676"/>
                <a:gd name="connsiteX19" fmla="*/ 106318 w 211049"/>
                <a:gd name="connsiteY19" fmla="*/ 72777 h 240676"/>
                <a:gd name="connsiteX20" fmla="*/ 82037 w 211049"/>
                <a:gd name="connsiteY20" fmla="*/ 60648 h 240676"/>
                <a:gd name="connsiteX21" fmla="*/ 105679 w 211049"/>
                <a:gd name="connsiteY21" fmla="*/ 13406 h 240676"/>
                <a:gd name="connsiteX22" fmla="*/ 105679 w 211049"/>
                <a:gd name="connsiteY22" fmla="*/ 13406 h 240676"/>
                <a:gd name="connsiteX23" fmla="*/ 134434 w 211049"/>
                <a:gd name="connsiteY23" fmla="*/ 120019 h 240676"/>
                <a:gd name="connsiteX24" fmla="*/ 133795 w 211049"/>
                <a:gd name="connsiteY24" fmla="*/ 135979 h 240676"/>
                <a:gd name="connsiteX25" fmla="*/ 120376 w 211049"/>
                <a:gd name="connsiteY25" fmla="*/ 144278 h 240676"/>
                <a:gd name="connsiteX26" fmla="*/ 105040 w 211049"/>
                <a:gd name="connsiteY26" fmla="*/ 153216 h 240676"/>
                <a:gd name="connsiteX27" fmla="*/ 89705 w 211049"/>
                <a:gd name="connsiteY27" fmla="*/ 144278 h 240676"/>
                <a:gd name="connsiteX28" fmla="*/ 76925 w 211049"/>
                <a:gd name="connsiteY28" fmla="*/ 135340 h 240676"/>
                <a:gd name="connsiteX29" fmla="*/ 76286 w 211049"/>
                <a:gd name="connsiteY29" fmla="*/ 120019 h 240676"/>
                <a:gd name="connsiteX30" fmla="*/ 76925 w 211049"/>
                <a:gd name="connsiteY30" fmla="*/ 104059 h 240676"/>
                <a:gd name="connsiteX31" fmla="*/ 90344 w 211049"/>
                <a:gd name="connsiteY31" fmla="*/ 95121 h 240676"/>
                <a:gd name="connsiteX32" fmla="*/ 105679 w 211049"/>
                <a:gd name="connsiteY32" fmla="*/ 86184 h 240676"/>
                <a:gd name="connsiteX33" fmla="*/ 121015 w 211049"/>
                <a:gd name="connsiteY33" fmla="*/ 95121 h 240676"/>
                <a:gd name="connsiteX34" fmla="*/ 133795 w 211049"/>
                <a:gd name="connsiteY34" fmla="*/ 104059 h 240676"/>
                <a:gd name="connsiteX35" fmla="*/ 134434 w 211049"/>
                <a:gd name="connsiteY35" fmla="*/ 120019 h 240676"/>
                <a:gd name="connsiteX36" fmla="*/ 134434 w 211049"/>
                <a:gd name="connsiteY36" fmla="*/ 120019 h 240676"/>
                <a:gd name="connsiteX37" fmla="*/ 147214 w 211049"/>
                <a:gd name="connsiteY37" fmla="*/ 114273 h 240676"/>
                <a:gd name="connsiteX38" fmla="*/ 155521 w 211049"/>
                <a:gd name="connsiteY38" fmla="*/ 120657 h 240676"/>
                <a:gd name="connsiteX39" fmla="*/ 147214 w 211049"/>
                <a:gd name="connsiteY39" fmla="*/ 127041 h 240676"/>
                <a:gd name="connsiteX40" fmla="*/ 147214 w 211049"/>
                <a:gd name="connsiteY40" fmla="*/ 120019 h 240676"/>
                <a:gd name="connsiteX41" fmla="*/ 147214 w 211049"/>
                <a:gd name="connsiteY41" fmla="*/ 114273 h 240676"/>
                <a:gd name="connsiteX42" fmla="*/ 147214 w 211049"/>
                <a:gd name="connsiteY42" fmla="*/ 114273 h 240676"/>
                <a:gd name="connsiteX43" fmla="*/ 133156 w 211049"/>
                <a:gd name="connsiteY43" fmla="*/ 151939 h 240676"/>
                <a:gd name="connsiteX44" fmla="*/ 131239 w 211049"/>
                <a:gd name="connsiteY44" fmla="*/ 166622 h 240676"/>
                <a:gd name="connsiteX45" fmla="*/ 118459 w 211049"/>
                <a:gd name="connsiteY45" fmla="*/ 160238 h 240676"/>
                <a:gd name="connsiteX46" fmla="*/ 127405 w 211049"/>
                <a:gd name="connsiteY46" fmla="*/ 155131 h 240676"/>
                <a:gd name="connsiteX47" fmla="*/ 133156 w 211049"/>
                <a:gd name="connsiteY47" fmla="*/ 151939 h 240676"/>
                <a:gd name="connsiteX48" fmla="*/ 91622 w 211049"/>
                <a:gd name="connsiteY48" fmla="*/ 160876 h 240676"/>
                <a:gd name="connsiteX49" fmla="*/ 79481 w 211049"/>
                <a:gd name="connsiteY49" fmla="*/ 165984 h 240676"/>
                <a:gd name="connsiteX50" fmla="*/ 78203 w 211049"/>
                <a:gd name="connsiteY50" fmla="*/ 151939 h 240676"/>
                <a:gd name="connsiteX51" fmla="*/ 83315 w 211049"/>
                <a:gd name="connsiteY51" fmla="*/ 155131 h 240676"/>
                <a:gd name="connsiteX52" fmla="*/ 91622 w 211049"/>
                <a:gd name="connsiteY52" fmla="*/ 160876 h 240676"/>
                <a:gd name="connsiteX53" fmla="*/ 64145 w 211049"/>
                <a:gd name="connsiteY53" fmla="*/ 126403 h 240676"/>
                <a:gd name="connsiteX54" fmla="*/ 55838 w 211049"/>
                <a:gd name="connsiteY54" fmla="*/ 120019 h 240676"/>
                <a:gd name="connsiteX55" fmla="*/ 64145 w 211049"/>
                <a:gd name="connsiteY55" fmla="*/ 113635 h 240676"/>
                <a:gd name="connsiteX56" fmla="*/ 64145 w 211049"/>
                <a:gd name="connsiteY56" fmla="*/ 120657 h 240676"/>
                <a:gd name="connsiteX57" fmla="*/ 64145 w 211049"/>
                <a:gd name="connsiteY57" fmla="*/ 126403 h 240676"/>
                <a:gd name="connsiteX58" fmla="*/ 64145 w 211049"/>
                <a:gd name="connsiteY58" fmla="*/ 126403 h 240676"/>
                <a:gd name="connsiteX59" fmla="*/ 78203 w 211049"/>
                <a:gd name="connsiteY59" fmla="*/ 88099 h 240676"/>
                <a:gd name="connsiteX60" fmla="*/ 80120 w 211049"/>
                <a:gd name="connsiteY60" fmla="*/ 73416 h 240676"/>
                <a:gd name="connsiteX61" fmla="*/ 92899 w 211049"/>
                <a:gd name="connsiteY61" fmla="*/ 79161 h 240676"/>
                <a:gd name="connsiteX62" fmla="*/ 83954 w 211049"/>
                <a:gd name="connsiteY62" fmla="*/ 84269 h 240676"/>
                <a:gd name="connsiteX63" fmla="*/ 78203 w 211049"/>
                <a:gd name="connsiteY63" fmla="*/ 88099 h 240676"/>
                <a:gd name="connsiteX64" fmla="*/ 78203 w 211049"/>
                <a:gd name="connsiteY64" fmla="*/ 88099 h 240676"/>
                <a:gd name="connsiteX65" fmla="*/ 128044 w 211049"/>
                <a:gd name="connsiteY65" fmla="*/ 85545 h 240676"/>
                <a:gd name="connsiteX66" fmla="*/ 119737 w 211049"/>
                <a:gd name="connsiteY66" fmla="*/ 80438 h 240676"/>
                <a:gd name="connsiteX67" fmla="*/ 131878 w 211049"/>
                <a:gd name="connsiteY67" fmla="*/ 74693 h 240676"/>
                <a:gd name="connsiteX68" fmla="*/ 133156 w 211049"/>
                <a:gd name="connsiteY68" fmla="*/ 88737 h 240676"/>
                <a:gd name="connsiteX69" fmla="*/ 128044 w 211049"/>
                <a:gd name="connsiteY69" fmla="*/ 85545 h 240676"/>
                <a:gd name="connsiteX70" fmla="*/ 14942 w 211049"/>
                <a:gd name="connsiteY70" fmla="*/ 62563 h 240676"/>
                <a:gd name="connsiteX71" fmla="*/ 27083 w 211049"/>
                <a:gd name="connsiteY71" fmla="*/ 58733 h 240676"/>
                <a:gd name="connsiteX72" fmla="*/ 48809 w 211049"/>
                <a:gd name="connsiteY72" fmla="*/ 62563 h 240676"/>
                <a:gd name="connsiteX73" fmla="*/ 67340 w 211049"/>
                <a:gd name="connsiteY73" fmla="*/ 68947 h 240676"/>
                <a:gd name="connsiteX74" fmla="*/ 64145 w 211049"/>
                <a:gd name="connsiteY74" fmla="*/ 97675 h 240676"/>
                <a:gd name="connsiteX75" fmla="*/ 45614 w 211049"/>
                <a:gd name="connsiteY75" fmla="*/ 111720 h 240676"/>
                <a:gd name="connsiteX76" fmla="*/ 14942 w 211049"/>
                <a:gd name="connsiteY76" fmla="*/ 62563 h 240676"/>
                <a:gd name="connsiteX77" fmla="*/ 14942 w 211049"/>
                <a:gd name="connsiteY77" fmla="*/ 62563 h 240676"/>
                <a:gd name="connsiteX78" fmla="*/ 48170 w 211049"/>
                <a:gd name="connsiteY78" fmla="*/ 176836 h 240676"/>
                <a:gd name="connsiteX79" fmla="*/ 13664 w 211049"/>
                <a:gd name="connsiteY79" fmla="*/ 175560 h 240676"/>
                <a:gd name="connsiteX80" fmla="*/ 45614 w 211049"/>
                <a:gd name="connsiteY80" fmla="*/ 127680 h 240676"/>
                <a:gd name="connsiteX81" fmla="*/ 64145 w 211049"/>
                <a:gd name="connsiteY81" fmla="*/ 142363 h 240676"/>
                <a:gd name="connsiteX82" fmla="*/ 67340 w 211049"/>
                <a:gd name="connsiteY82" fmla="*/ 170452 h 240676"/>
                <a:gd name="connsiteX83" fmla="*/ 48170 w 211049"/>
                <a:gd name="connsiteY83" fmla="*/ 176836 h 240676"/>
                <a:gd name="connsiteX84" fmla="*/ 48170 w 211049"/>
                <a:gd name="connsiteY84" fmla="*/ 176836 h 240676"/>
                <a:gd name="connsiteX85" fmla="*/ 105679 w 211049"/>
                <a:gd name="connsiteY85" fmla="*/ 227270 h 240676"/>
                <a:gd name="connsiteX86" fmla="*/ 82037 w 211049"/>
                <a:gd name="connsiteY86" fmla="*/ 178752 h 240676"/>
                <a:gd name="connsiteX87" fmla="*/ 105040 w 211049"/>
                <a:gd name="connsiteY87" fmla="*/ 167899 h 240676"/>
                <a:gd name="connsiteX88" fmla="*/ 128683 w 211049"/>
                <a:gd name="connsiteY88" fmla="*/ 180028 h 240676"/>
                <a:gd name="connsiteX89" fmla="*/ 105679 w 211049"/>
                <a:gd name="connsiteY89" fmla="*/ 227270 h 240676"/>
                <a:gd name="connsiteX90" fmla="*/ 105679 w 211049"/>
                <a:gd name="connsiteY90" fmla="*/ 227270 h 240676"/>
                <a:gd name="connsiteX91" fmla="*/ 196417 w 211049"/>
                <a:gd name="connsiteY91" fmla="*/ 178113 h 240676"/>
                <a:gd name="connsiteX92" fmla="*/ 144019 w 211049"/>
                <a:gd name="connsiteY92" fmla="*/ 172368 h 240676"/>
                <a:gd name="connsiteX93" fmla="*/ 147214 w 211049"/>
                <a:gd name="connsiteY93" fmla="*/ 143640 h 240676"/>
                <a:gd name="connsiteX94" fmla="*/ 165745 w 211049"/>
                <a:gd name="connsiteY94" fmla="*/ 129595 h 240676"/>
                <a:gd name="connsiteX95" fmla="*/ 196417 w 211049"/>
                <a:gd name="connsiteY95" fmla="*/ 178113 h 240676"/>
                <a:gd name="connsiteX96" fmla="*/ 196417 w 211049"/>
                <a:gd name="connsiteY96" fmla="*/ 178113 h 240676"/>
                <a:gd name="connsiteX97" fmla="*/ 165745 w 211049"/>
                <a:gd name="connsiteY97" fmla="*/ 112358 h 240676"/>
                <a:gd name="connsiteX98" fmla="*/ 147214 w 211049"/>
                <a:gd name="connsiteY98" fmla="*/ 97675 h 240676"/>
                <a:gd name="connsiteX99" fmla="*/ 144019 w 211049"/>
                <a:gd name="connsiteY99" fmla="*/ 69585 h 240676"/>
                <a:gd name="connsiteX100" fmla="*/ 184915 w 211049"/>
                <a:gd name="connsiteY100" fmla="*/ 60648 h 240676"/>
                <a:gd name="connsiteX101" fmla="*/ 197694 w 211049"/>
                <a:gd name="connsiteY101" fmla="*/ 64478 h 240676"/>
                <a:gd name="connsiteX102" fmla="*/ 165745 w 211049"/>
                <a:gd name="connsiteY102" fmla="*/ 112358 h 240676"/>
                <a:gd name="connsiteX103" fmla="*/ 165745 w 211049"/>
                <a:gd name="connsiteY103" fmla="*/ 112358 h 24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11049" h="240676">
                  <a:moveTo>
                    <a:pt x="208557" y="58094"/>
                  </a:moveTo>
                  <a:cubicBezTo>
                    <a:pt x="199612" y="43411"/>
                    <a:pt x="172774" y="45326"/>
                    <a:pt x="141463" y="56817"/>
                  </a:cubicBezTo>
                  <a:cubicBezTo>
                    <a:pt x="135073" y="24259"/>
                    <a:pt x="122932" y="0"/>
                    <a:pt x="105679" y="0"/>
                  </a:cubicBezTo>
                  <a:cubicBezTo>
                    <a:pt x="88427" y="0"/>
                    <a:pt x="76925" y="22982"/>
                    <a:pt x="69896" y="55541"/>
                  </a:cubicBezTo>
                  <a:cubicBezTo>
                    <a:pt x="64145" y="52987"/>
                    <a:pt x="58394" y="51710"/>
                    <a:pt x="52643" y="49795"/>
                  </a:cubicBezTo>
                  <a:cubicBezTo>
                    <a:pt x="27722" y="42773"/>
                    <a:pt x="11108" y="44688"/>
                    <a:pt x="4079" y="55541"/>
                  </a:cubicBezTo>
                  <a:cubicBezTo>
                    <a:pt x="-5506" y="70862"/>
                    <a:pt x="9830" y="95121"/>
                    <a:pt x="36029" y="119380"/>
                  </a:cubicBezTo>
                  <a:cubicBezTo>
                    <a:pt x="9191" y="143001"/>
                    <a:pt x="-6783" y="166622"/>
                    <a:pt x="2801" y="182582"/>
                  </a:cubicBezTo>
                  <a:cubicBezTo>
                    <a:pt x="6635" y="189604"/>
                    <a:pt x="14942" y="192796"/>
                    <a:pt x="27083" y="192796"/>
                  </a:cubicBezTo>
                  <a:cubicBezTo>
                    <a:pt x="35390" y="192796"/>
                    <a:pt x="43058" y="191519"/>
                    <a:pt x="51365" y="189604"/>
                  </a:cubicBezTo>
                  <a:cubicBezTo>
                    <a:pt x="57755" y="187689"/>
                    <a:pt x="63506" y="185774"/>
                    <a:pt x="69896" y="183859"/>
                  </a:cubicBezTo>
                  <a:cubicBezTo>
                    <a:pt x="76286" y="216417"/>
                    <a:pt x="88427" y="240676"/>
                    <a:pt x="105679" y="240676"/>
                  </a:cubicBezTo>
                  <a:cubicBezTo>
                    <a:pt x="122932" y="240676"/>
                    <a:pt x="134434" y="217694"/>
                    <a:pt x="140824" y="185774"/>
                  </a:cubicBezTo>
                  <a:cubicBezTo>
                    <a:pt x="154243" y="191519"/>
                    <a:pt x="168301" y="194711"/>
                    <a:pt x="182998" y="195350"/>
                  </a:cubicBezTo>
                  <a:cubicBezTo>
                    <a:pt x="193861" y="195350"/>
                    <a:pt x="202167" y="192158"/>
                    <a:pt x="206001" y="185774"/>
                  </a:cubicBezTo>
                  <a:cubicBezTo>
                    <a:pt x="215586" y="170452"/>
                    <a:pt x="200251" y="146193"/>
                    <a:pt x="174052" y="121934"/>
                  </a:cubicBezTo>
                  <a:cubicBezTo>
                    <a:pt x="201528" y="97037"/>
                    <a:pt x="217503" y="73416"/>
                    <a:pt x="208557" y="58094"/>
                  </a:cubicBezTo>
                  <a:close/>
                  <a:moveTo>
                    <a:pt x="105679" y="13406"/>
                  </a:moveTo>
                  <a:cubicBezTo>
                    <a:pt x="113347" y="13406"/>
                    <a:pt x="123571" y="31281"/>
                    <a:pt x="129322" y="61925"/>
                  </a:cubicBezTo>
                  <a:cubicBezTo>
                    <a:pt x="121654" y="65117"/>
                    <a:pt x="113986" y="68947"/>
                    <a:pt x="106318" y="72777"/>
                  </a:cubicBezTo>
                  <a:cubicBezTo>
                    <a:pt x="98012" y="68309"/>
                    <a:pt x="90344" y="64478"/>
                    <a:pt x="82037" y="60648"/>
                  </a:cubicBezTo>
                  <a:cubicBezTo>
                    <a:pt x="88427" y="30643"/>
                    <a:pt x="98012" y="12768"/>
                    <a:pt x="105679" y="13406"/>
                  </a:cubicBezTo>
                  <a:lnTo>
                    <a:pt x="105679" y="13406"/>
                  </a:lnTo>
                  <a:close/>
                  <a:moveTo>
                    <a:pt x="134434" y="120019"/>
                  </a:moveTo>
                  <a:cubicBezTo>
                    <a:pt x="134434" y="125764"/>
                    <a:pt x="134434" y="130872"/>
                    <a:pt x="133795" y="135979"/>
                  </a:cubicBezTo>
                  <a:cubicBezTo>
                    <a:pt x="129322" y="138532"/>
                    <a:pt x="124849" y="141724"/>
                    <a:pt x="120376" y="144278"/>
                  </a:cubicBezTo>
                  <a:cubicBezTo>
                    <a:pt x="115903" y="146832"/>
                    <a:pt x="110152" y="150024"/>
                    <a:pt x="105040" y="153216"/>
                  </a:cubicBezTo>
                  <a:cubicBezTo>
                    <a:pt x="99928" y="150662"/>
                    <a:pt x="94817" y="147470"/>
                    <a:pt x="89705" y="144278"/>
                  </a:cubicBezTo>
                  <a:cubicBezTo>
                    <a:pt x="84593" y="141086"/>
                    <a:pt x="80759" y="138532"/>
                    <a:pt x="76925" y="135340"/>
                  </a:cubicBezTo>
                  <a:cubicBezTo>
                    <a:pt x="76925" y="130233"/>
                    <a:pt x="76286" y="125126"/>
                    <a:pt x="76286" y="120019"/>
                  </a:cubicBezTo>
                  <a:cubicBezTo>
                    <a:pt x="76286" y="114912"/>
                    <a:pt x="76286" y="109166"/>
                    <a:pt x="76925" y="104059"/>
                  </a:cubicBezTo>
                  <a:cubicBezTo>
                    <a:pt x="81398" y="101505"/>
                    <a:pt x="85871" y="98313"/>
                    <a:pt x="90344" y="95121"/>
                  </a:cubicBezTo>
                  <a:cubicBezTo>
                    <a:pt x="94817" y="91929"/>
                    <a:pt x="100567" y="89376"/>
                    <a:pt x="105679" y="86184"/>
                  </a:cubicBezTo>
                  <a:cubicBezTo>
                    <a:pt x="110791" y="88737"/>
                    <a:pt x="115903" y="91929"/>
                    <a:pt x="121015" y="95121"/>
                  </a:cubicBezTo>
                  <a:cubicBezTo>
                    <a:pt x="126127" y="98313"/>
                    <a:pt x="129961" y="100867"/>
                    <a:pt x="133795" y="104059"/>
                  </a:cubicBezTo>
                  <a:cubicBezTo>
                    <a:pt x="134434" y="109166"/>
                    <a:pt x="134434" y="114912"/>
                    <a:pt x="134434" y="120019"/>
                  </a:cubicBezTo>
                  <a:lnTo>
                    <a:pt x="134434" y="120019"/>
                  </a:lnTo>
                  <a:close/>
                  <a:moveTo>
                    <a:pt x="147214" y="114273"/>
                  </a:moveTo>
                  <a:cubicBezTo>
                    <a:pt x="149770" y="116188"/>
                    <a:pt x="152965" y="118742"/>
                    <a:pt x="155521" y="120657"/>
                  </a:cubicBezTo>
                  <a:cubicBezTo>
                    <a:pt x="152965" y="122572"/>
                    <a:pt x="150409" y="124488"/>
                    <a:pt x="147214" y="127041"/>
                  </a:cubicBezTo>
                  <a:cubicBezTo>
                    <a:pt x="147214" y="124488"/>
                    <a:pt x="147214" y="122572"/>
                    <a:pt x="147214" y="120019"/>
                  </a:cubicBezTo>
                  <a:cubicBezTo>
                    <a:pt x="147214" y="117465"/>
                    <a:pt x="147214" y="116188"/>
                    <a:pt x="147214" y="114273"/>
                  </a:cubicBezTo>
                  <a:lnTo>
                    <a:pt x="147214" y="114273"/>
                  </a:lnTo>
                  <a:close/>
                  <a:moveTo>
                    <a:pt x="133156" y="151939"/>
                  </a:moveTo>
                  <a:cubicBezTo>
                    <a:pt x="132517" y="157046"/>
                    <a:pt x="131878" y="162153"/>
                    <a:pt x="131239" y="166622"/>
                  </a:cubicBezTo>
                  <a:cubicBezTo>
                    <a:pt x="126766" y="164707"/>
                    <a:pt x="122932" y="162792"/>
                    <a:pt x="118459" y="160238"/>
                  </a:cubicBezTo>
                  <a:lnTo>
                    <a:pt x="127405" y="155131"/>
                  </a:lnTo>
                  <a:lnTo>
                    <a:pt x="133156" y="151939"/>
                  </a:lnTo>
                  <a:close/>
                  <a:moveTo>
                    <a:pt x="91622" y="160876"/>
                  </a:moveTo>
                  <a:cubicBezTo>
                    <a:pt x="87788" y="162792"/>
                    <a:pt x="83315" y="164707"/>
                    <a:pt x="79481" y="165984"/>
                  </a:cubicBezTo>
                  <a:cubicBezTo>
                    <a:pt x="78842" y="161515"/>
                    <a:pt x="78203" y="157046"/>
                    <a:pt x="78203" y="151939"/>
                  </a:cubicBezTo>
                  <a:lnTo>
                    <a:pt x="83315" y="155131"/>
                  </a:lnTo>
                  <a:lnTo>
                    <a:pt x="91622" y="160876"/>
                  </a:lnTo>
                  <a:close/>
                  <a:moveTo>
                    <a:pt x="64145" y="126403"/>
                  </a:moveTo>
                  <a:cubicBezTo>
                    <a:pt x="61589" y="124488"/>
                    <a:pt x="58394" y="121934"/>
                    <a:pt x="55838" y="120019"/>
                  </a:cubicBezTo>
                  <a:cubicBezTo>
                    <a:pt x="58394" y="118104"/>
                    <a:pt x="60950" y="116188"/>
                    <a:pt x="64145" y="113635"/>
                  </a:cubicBezTo>
                  <a:cubicBezTo>
                    <a:pt x="64145" y="116188"/>
                    <a:pt x="64145" y="118104"/>
                    <a:pt x="64145" y="120657"/>
                  </a:cubicBezTo>
                  <a:cubicBezTo>
                    <a:pt x="64145" y="123211"/>
                    <a:pt x="64145" y="123849"/>
                    <a:pt x="64145" y="126403"/>
                  </a:cubicBezTo>
                  <a:lnTo>
                    <a:pt x="64145" y="126403"/>
                  </a:lnTo>
                  <a:close/>
                  <a:moveTo>
                    <a:pt x="78203" y="88099"/>
                  </a:moveTo>
                  <a:cubicBezTo>
                    <a:pt x="78842" y="82992"/>
                    <a:pt x="79481" y="77885"/>
                    <a:pt x="80120" y="73416"/>
                  </a:cubicBezTo>
                  <a:cubicBezTo>
                    <a:pt x="83954" y="75331"/>
                    <a:pt x="88427" y="77246"/>
                    <a:pt x="92899" y="79161"/>
                  </a:cubicBezTo>
                  <a:cubicBezTo>
                    <a:pt x="89705" y="81077"/>
                    <a:pt x="87149" y="82353"/>
                    <a:pt x="83954" y="84269"/>
                  </a:cubicBezTo>
                  <a:cubicBezTo>
                    <a:pt x="80759" y="86184"/>
                    <a:pt x="80120" y="86822"/>
                    <a:pt x="78203" y="88099"/>
                  </a:cubicBezTo>
                  <a:lnTo>
                    <a:pt x="78203" y="88099"/>
                  </a:lnTo>
                  <a:close/>
                  <a:moveTo>
                    <a:pt x="128044" y="85545"/>
                  </a:moveTo>
                  <a:lnTo>
                    <a:pt x="119737" y="80438"/>
                  </a:lnTo>
                  <a:cubicBezTo>
                    <a:pt x="123571" y="78523"/>
                    <a:pt x="127405" y="76608"/>
                    <a:pt x="131878" y="74693"/>
                  </a:cubicBezTo>
                  <a:cubicBezTo>
                    <a:pt x="132517" y="79161"/>
                    <a:pt x="133156" y="83630"/>
                    <a:pt x="133156" y="88737"/>
                  </a:cubicBezTo>
                  <a:lnTo>
                    <a:pt x="128044" y="85545"/>
                  </a:lnTo>
                  <a:close/>
                  <a:moveTo>
                    <a:pt x="14942" y="62563"/>
                  </a:moveTo>
                  <a:cubicBezTo>
                    <a:pt x="16220" y="60648"/>
                    <a:pt x="20054" y="58733"/>
                    <a:pt x="27083" y="58733"/>
                  </a:cubicBezTo>
                  <a:cubicBezTo>
                    <a:pt x="34751" y="58733"/>
                    <a:pt x="41780" y="60009"/>
                    <a:pt x="48809" y="62563"/>
                  </a:cubicBezTo>
                  <a:cubicBezTo>
                    <a:pt x="55199" y="64478"/>
                    <a:pt x="60950" y="66393"/>
                    <a:pt x="67340" y="68947"/>
                  </a:cubicBezTo>
                  <a:cubicBezTo>
                    <a:pt x="66062" y="77885"/>
                    <a:pt x="64784" y="88099"/>
                    <a:pt x="64145" y="97675"/>
                  </a:cubicBezTo>
                  <a:cubicBezTo>
                    <a:pt x="57755" y="102144"/>
                    <a:pt x="51365" y="106612"/>
                    <a:pt x="45614" y="111720"/>
                  </a:cubicBezTo>
                  <a:cubicBezTo>
                    <a:pt x="21332" y="88099"/>
                    <a:pt x="11108" y="68947"/>
                    <a:pt x="14942" y="62563"/>
                  </a:cubicBezTo>
                  <a:lnTo>
                    <a:pt x="14942" y="62563"/>
                  </a:lnTo>
                  <a:close/>
                  <a:moveTo>
                    <a:pt x="48170" y="176836"/>
                  </a:moveTo>
                  <a:cubicBezTo>
                    <a:pt x="26444" y="181944"/>
                    <a:pt x="16220" y="179390"/>
                    <a:pt x="13664" y="175560"/>
                  </a:cubicBezTo>
                  <a:cubicBezTo>
                    <a:pt x="9830" y="168537"/>
                    <a:pt x="20693" y="150024"/>
                    <a:pt x="45614" y="127680"/>
                  </a:cubicBezTo>
                  <a:cubicBezTo>
                    <a:pt x="51365" y="132787"/>
                    <a:pt x="57755" y="137256"/>
                    <a:pt x="64145" y="142363"/>
                  </a:cubicBezTo>
                  <a:cubicBezTo>
                    <a:pt x="64784" y="151939"/>
                    <a:pt x="65423" y="161515"/>
                    <a:pt x="67340" y="170452"/>
                  </a:cubicBezTo>
                  <a:cubicBezTo>
                    <a:pt x="60950" y="173006"/>
                    <a:pt x="54560" y="174921"/>
                    <a:pt x="48170" y="176836"/>
                  </a:cubicBezTo>
                  <a:lnTo>
                    <a:pt x="48170" y="176836"/>
                  </a:lnTo>
                  <a:close/>
                  <a:moveTo>
                    <a:pt x="105679" y="227270"/>
                  </a:moveTo>
                  <a:cubicBezTo>
                    <a:pt x="98012" y="227270"/>
                    <a:pt x="87788" y="209395"/>
                    <a:pt x="82037" y="178752"/>
                  </a:cubicBezTo>
                  <a:cubicBezTo>
                    <a:pt x="89705" y="175560"/>
                    <a:pt x="97373" y="171729"/>
                    <a:pt x="105040" y="167899"/>
                  </a:cubicBezTo>
                  <a:cubicBezTo>
                    <a:pt x="113347" y="172368"/>
                    <a:pt x="121015" y="176198"/>
                    <a:pt x="128683" y="180028"/>
                  </a:cubicBezTo>
                  <a:cubicBezTo>
                    <a:pt x="122932" y="209395"/>
                    <a:pt x="113347" y="227270"/>
                    <a:pt x="105679" y="227270"/>
                  </a:cubicBezTo>
                  <a:lnTo>
                    <a:pt x="105679" y="227270"/>
                  </a:lnTo>
                  <a:close/>
                  <a:moveTo>
                    <a:pt x="196417" y="178113"/>
                  </a:moveTo>
                  <a:cubicBezTo>
                    <a:pt x="192583" y="184497"/>
                    <a:pt x="172135" y="183220"/>
                    <a:pt x="144019" y="172368"/>
                  </a:cubicBezTo>
                  <a:cubicBezTo>
                    <a:pt x="145297" y="163430"/>
                    <a:pt x="146575" y="153216"/>
                    <a:pt x="147214" y="143640"/>
                  </a:cubicBezTo>
                  <a:cubicBezTo>
                    <a:pt x="153604" y="139171"/>
                    <a:pt x="159994" y="134702"/>
                    <a:pt x="165745" y="129595"/>
                  </a:cubicBezTo>
                  <a:cubicBezTo>
                    <a:pt x="189388" y="151939"/>
                    <a:pt x="200251" y="171091"/>
                    <a:pt x="196417" y="178113"/>
                  </a:cubicBezTo>
                  <a:lnTo>
                    <a:pt x="196417" y="178113"/>
                  </a:lnTo>
                  <a:close/>
                  <a:moveTo>
                    <a:pt x="165745" y="112358"/>
                  </a:moveTo>
                  <a:cubicBezTo>
                    <a:pt x="159994" y="107251"/>
                    <a:pt x="153604" y="102144"/>
                    <a:pt x="147214" y="97675"/>
                  </a:cubicBezTo>
                  <a:cubicBezTo>
                    <a:pt x="146575" y="88099"/>
                    <a:pt x="145936" y="78523"/>
                    <a:pt x="144019" y="69585"/>
                  </a:cubicBezTo>
                  <a:cubicBezTo>
                    <a:pt x="156799" y="64478"/>
                    <a:pt x="170857" y="61286"/>
                    <a:pt x="184915" y="60648"/>
                  </a:cubicBezTo>
                  <a:cubicBezTo>
                    <a:pt x="191944" y="60648"/>
                    <a:pt x="196417" y="61925"/>
                    <a:pt x="197694" y="64478"/>
                  </a:cubicBezTo>
                  <a:cubicBezTo>
                    <a:pt x="201528" y="71501"/>
                    <a:pt x="190027" y="90014"/>
                    <a:pt x="165745" y="112358"/>
                  </a:cubicBezTo>
                  <a:lnTo>
                    <a:pt x="165745" y="112358"/>
                  </a:lnTo>
                  <a:close/>
                </a:path>
              </a:pathLst>
            </a:custGeom>
            <a:grpFill/>
            <a:ln w="6390" cap="flat">
              <a:noFill/>
              <a:prstDash val="solid"/>
              <a:miter/>
            </a:ln>
          </p:spPr>
          <p:txBody>
            <a:bodyPr rtlCol="0" anchor="ctr"/>
            <a:lstStyle/>
            <a:p>
              <a:endParaRPr lang="es-BO" noProof="0" dirty="0"/>
            </a:p>
          </p:txBody>
        </p:sp>
        <p:sp>
          <p:nvSpPr>
            <p:cNvPr id="68" name="Graphic 4">
              <a:extLst>
                <a:ext uri="{FF2B5EF4-FFF2-40B4-BE49-F238E27FC236}">
                  <a16:creationId xmlns:a16="http://schemas.microsoft.com/office/drawing/2014/main" xmlns="" id="{D97205C1-264B-44EA-AE10-8419501D2F28}"/>
                </a:ext>
              </a:extLst>
            </p:cNvPr>
            <p:cNvSpPr/>
            <p:nvPr/>
          </p:nvSpPr>
          <p:spPr>
            <a:xfrm>
              <a:off x="1672885" y="1560407"/>
              <a:ext cx="46007" cy="45964"/>
            </a:xfrm>
            <a:custGeom>
              <a:avLst/>
              <a:gdLst>
                <a:gd name="connsiteX0" fmla="*/ 0 w 46007"/>
                <a:gd name="connsiteY0" fmla="*/ 22982 h 45964"/>
                <a:gd name="connsiteX1" fmla="*/ 23004 w 46007"/>
                <a:gd name="connsiteY1" fmla="*/ 45965 h 45964"/>
                <a:gd name="connsiteX2" fmla="*/ 46008 w 46007"/>
                <a:gd name="connsiteY2" fmla="*/ 22982 h 45964"/>
                <a:gd name="connsiteX3" fmla="*/ 23004 w 46007"/>
                <a:gd name="connsiteY3" fmla="*/ 0 h 45964"/>
                <a:gd name="connsiteX4" fmla="*/ 0 w 46007"/>
                <a:gd name="connsiteY4" fmla="*/ 22982 h 45964"/>
                <a:gd name="connsiteX5" fmla="*/ 33228 w 46007"/>
                <a:gd name="connsiteY5" fmla="*/ 22982 h 45964"/>
                <a:gd name="connsiteX6" fmla="*/ 23004 w 46007"/>
                <a:gd name="connsiteY6" fmla="*/ 33197 h 45964"/>
                <a:gd name="connsiteX7" fmla="*/ 12780 w 46007"/>
                <a:gd name="connsiteY7" fmla="*/ 22982 h 45964"/>
                <a:gd name="connsiteX8" fmla="*/ 23004 w 46007"/>
                <a:gd name="connsiteY8" fmla="*/ 12768 h 45964"/>
                <a:gd name="connsiteX9" fmla="*/ 33228 w 46007"/>
                <a:gd name="connsiteY9" fmla="*/ 22982 h 45964"/>
                <a:gd name="connsiteX10" fmla="*/ 33228 w 46007"/>
                <a:gd name="connsiteY10" fmla="*/ 22982 h 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07" h="45964">
                  <a:moveTo>
                    <a:pt x="0" y="22982"/>
                  </a:moveTo>
                  <a:cubicBezTo>
                    <a:pt x="0" y="35750"/>
                    <a:pt x="10224" y="45965"/>
                    <a:pt x="23004" y="45965"/>
                  </a:cubicBezTo>
                  <a:cubicBezTo>
                    <a:pt x="35784" y="45965"/>
                    <a:pt x="46008" y="35750"/>
                    <a:pt x="46008" y="22982"/>
                  </a:cubicBezTo>
                  <a:cubicBezTo>
                    <a:pt x="46008" y="10214"/>
                    <a:pt x="35784" y="0"/>
                    <a:pt x="23004" y="0"/>
                  </a:cubicBezTo>
                  <a:cubicBezTo>
                    <a:pt x="10224" y="0"/>
                    <a:pt x="0" y="10214"/>
                    <a:pt x="0" y="22982"/>
                  </a:cubicBezTo>
                  <a:close/>
                  <a:moveTo>
                    <a:pt x="33228" y="22982"/>
                  </a:moveTo>
                  <a:cubicBezTo>
                    <a:pt x="33228" y="28728"/>
                    <a:pt x="28755" y="33197"/>
                    <a:pt x="23004" y="33197"/>
                  </a:cubicBezTo>
                  <a:cubicBezTo>
                    <a:pt x="17253" y="33197"/>
                    <a:pt x="12780" y="28728"/>
                    <a:pt x="12780" y="22982"/>
                  </a:cubicBezTo>
                  <a:cubicBezTo>
                    <a:pt x="12780" y="17237"/>
                    <a:pt x="17253" y="12768"/>
                    <a:pt x="23004" y="12768"/>
                  </a:cubicBezTo>
                  <a:cubicBezTo>
                    <a:pt x="28755" y="12768"/>
                    <a:pt x="33228" y="17237"/>
                    <a:pt x="33228" y="22982"/>
                  </a:cubicBezTo>
                  <a:lnTo>
                    <a:pt x="33228" y="22982"/>
                  </a:lnTo>
                  <a:close/>
                </a:path>
              </a:pathLst>
            </a:custGeom>
            <a:grpFill/>
            <a:ln w="6390" cap="flat">
              <a:noFill/>
              <a:prstDash val="solid"/>
              <a:miter/>
            </a:ln>
          </p:spPr>
          <p:txBody>
            <a:bodyPr rtlCol="0" anchor="ctr"/>
            <a:lstStyle/>
            <a:p>
              <a:endParaRPr lang="es-BO" noProof="0" dirty="0"/>
            </a:p>
          </p:txBody>
        </p:sp>
      </p:grpSp>
      <p:sp>
        <p:nvSpPr>
          <p:cNvPr id="69" name="Rectangle 59">
            <a:extLst>
              <a:ext uri="{FF2B5EF4-FFF2-40B4-BE49-F238E27FC236}">
                <a16:creationId xmlns:a16="http://schemas.microsoft.com/office/drawing/2014/main" xmlns="" id="{FC6D3355-8786-49E3-B8AC-68C8CDDF850C}"/>
              </a:ext>
            </a:extLst>
          </p:cNvPr>
          <p:cNvSpPr>
            <a:spLocks noChangeArrowheads="1"/>
          </p:cNvSpPr>
          <p:nvPr/>
        </p:nvSpPr>
        <p:spPr bwMode="gray">
          <a:xfrm>
            <a:off x="734206" y="2542252"/>
            <a:ext cx="3394327" cy="117475"/>
          </a:xfrm>
          <a:prstGeom prst="rect">
            <a:avLst/>
          </a:prstGeom>
          <a:solidFill>
            <a:schemeClr val="bg1"/>
          </a:solidFill>
          <a:ln w="28575" algn="ctr">
            <a:solidFill>
              <a:schemeClr val="tx1"/>
            </a:solidFill>
            <a:miter lim="800000"/>
            <a:headEnd/>
            <a:tailEnd/>
          </a:ln>
        </p:spPr>
        <p:txBody>
          <a:bodyPr tIns="91440" rIns="72000" bIns="72000" anchor="ctr" anchorCtr="0"/>
          <a:lstStyle/>
          <a:p>
            <a:pPr lvl="0">
              <a:spcBef>
                <a:spcPts val="500"/>
              </a:spcBef>
              <a:buSzPct val="100000"/>
              <a:defRPr/>
            </a:pPr>
            <a:endParaRPr lang="es-BO" sz="1000" kern="0" noProof="0" dirty="0">
              <a:solidFill>
                <a:prstClr val="black"/>
              </a:solidFill>
              <a:highlight>
                <a:srgbClr val="FFFF00"/>
              </a:highlight>
              <a:latin typeface="Calibri Light" panose="020F0302020204030204" pitchFamily="34" charset="0"/>
              <a:cs typeface="Calibri Light" panose="020F0302020204030204" pitchFamily="34" charset="0"/>
            </a:endParaRPr>
          </a:p>
        </p:txBody>
      </p:sp>
      <p:sp>
        <p:nvSpPr>
          <p:cNvPr id="70" name="Text Box 60">
            <a:extLst>
              <a:ext uri="{FF2B5EF4-FFF2-40B4-BE49-F238E27FC236}">
                <a16:creationId xmlns:a16="http://schemas.microsoft.com/office/drawing/2014/main" xmlns="" id="{61BE2272-51FB-46DE-90B6-C5DCE06D010C}"/>
              </a:ext>
            </a:extLst>
          </p:cNvPr>
          <p:cNvSpPr txBox="1">
            <a:spLocks noChangeArrowheads="1"/>
          </p:cNvSpPr>
          <p:nvPr/>
        </p:nvSpPr>
        <p:spPr bwMode="gray">
          <a:xfrm>
            <a:off x="1120939" y="2420014"/>
            <a:ext cx="2136659" cy="204671"/>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kumimoji="0" lang="es-BO" sz="1400" b="1" i="0" u="none" strike="noStrike" kern="1200" cap="none" spc="0" normalizeH="0" baseline="0" noProof="0" dirty="0">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rPr>
              <a:t>Entorno de </a:t>
            </a:r>
            <a:r>
              <a:rPr kumimoji="0" lang="es-BO" sz="1400" b="1" i="0" u="none" strike="noStrike" kern="1200" cap="none" spc="0" normalizeH="0" baseline="0" dirty="0">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rPr>
              <a:t>i</a:t>
            </a:r>
            <a:r>
              <a:rPr kumimoji="0" lang="es-BO" sz="1400" b="1" i="0" u="none" strike="noStrike" kern="1200" cap="none" spc="0" normalizeH="0" baseline="0" noProof="0" dirty="0" err="1">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rPr>
              <a:t>nvestigación</a:t>
            </a:r>
            <a:endParaRPr kumimoji="0" lang="es-BO" sz="1400" b="1" i="0" u="none" strike="noStrike" kern="1200" cap="none" spc="0" normalizeH="0" baseline="0" noProof="0" dirty="0">
              <a:ln>
                <a:noFill/>
              </a:ln>
              <a:solidFill>
                <a:srgbClr val="000000"/>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aphicFrame>
        <p:nvGraphicFramePr>
          <p:cNvPr id="72" name="Chart 8">
            <a:extLst>
              <a:ext uri="{FF2B5EF4-FFF2-40B4-BE49-F238E27FC236}">
                <a16:creationId xmlns:a16="http://schemas.microsoft.com/office/drawing/2014/main" xmlns="" id="{7D9E7214-24C1-E9C4-D2EF-DCB8FDA5887D}"/>
              </a:ext>
            </a:extLst>
          </p:cNvPr>
          <p:cNvGraphicFramePr/>
          <p:nvPr>
            <p:custDataLst>
              <p:tags r:id="rId22"/>
            </p:custDataLst>
            <p:extLst>
              <p:ext uri="{D42A27DB-BD31-4B8C-83A1-F6EECF244321}">
                <p14:modId xmlns:p14="http://schemas.microsoft.com/office/powerpoint/2010/main" val="2903458501"/>
              </p:ext>
            </p:extLst>
          </p:nvPr>
        </p:nvGraphicFramePr>
        <p:xfrm>
          <a:off x="1174801" y="2730370"/>
          <a:ext cx="2913062" cy="1139825"/>
        </p:xfrm>
        <a:graphic>
          <a:graphicData uri="http://schemas.openxmlformats.org/drawingml/2006/chart">
            <c:chart xmlns:c="http://schemas.openxmlformats.org/drawingml/2006/chart" xmlns:r="http://schemas.openxmlformats.org/officeDocument/2006/relationships" r:id="rId39"/>
          </a:graphicData>
        </a:graphic>
      </p:graphicFrame>
      <p:cxnSp>
        <p:nvCxnSpPr>
          <p:cNvPr id="73" name="Straight Connector 329">
            <a:extLst>
              <a:ext uri="{FF2B5EF4-FFF2-40B4-BE49-F238E27FC236}">
                <a16:creationId xmlns:a16="http://schemas.microsoft.com/office/drawing/2014/main" xmlns="" id="{20538577-857A-4EEF-885D-5F1F9EC847BC}"/>
              </a:ext>
            </a:extLst>
          </p:cNvPr>
          <p:cNvCxnSpPr/>
          <p:nvPr>
            <p:custDataLst>
              <p:tags r:id="rId23"/>
            </p:custDataLst>
          </p:nvPr>
        </p:nvCxnSpPr>
        <p:spPr bwMode="auto">
          <a:xfrm>
            <a:off x="3257601" y="2960557"/>
            <a:ext cx="0" cy="371475"/>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330">
            <a:extLst>
              <a:ext uri="{FF2B5EF4-FFF2-40B4-BE49-F238E27FC236}">
                <a16:creationId xmlns:a16="http://schemas.microsoft.com/office/drawing/2014/main" xmlns="" id="{79DA6E1B-1AB1-4A60-85B4-FD6E7EC0847C}"/>
              </a:ext>
            </a:extLst>
          </p:cNvPr>
          <p:cNvCxnSpPr/>
          <p:nvPr>
            <p:custDataLst>
              <p:tags r:id="rId24"/>
            </p:custDataLst>
          </p:nvPr>
        </p:nvCxnSpPr>
        <p:spPr bwMode="auto">
          <a:xfrm>
            <a:off x="1424038" y="2960557"/>
            <a:ext cx="1833563"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331">
            <a:extLst>
              <a:ext uri="{FF2B5EF4-FFF2-40B4-BE49-F238E27FC236}">
                <a16:creationId xmlns:a16="http://schemas.microsoft.com/office/drawing/2014/main" xmlns="" id="{E4E3E7C9-5E4C-4D5E-A152-8F3BF8EB25DB}"/>
              </a:ext>
            </a:extLst>
          </p:cNvPr>
          <p:cNvCxnSpPr/>
          <p:nvPr>
            <p:custDataLst>
              <p:tags r:id="rId25"/>
            </p:custDataLst>
          </p:nvPr>
        </p:nvCxnSpPr>
        <p:spPr bwMode="auto">
          <a:xfrm>
            <a:off x="1424038" y="3332032"/>
            <a:ext cx="1833563" cy="0"/>
          </a:xfrm>
          <a:prstGeom prst="line">
            <a:avLst/>
          </a:prstGeom>
          <a:ln w="63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Rectangle 337">
            <a:extLst>
              <a:ext uri="{FF2B5EF4-FFF2-40B4-BE49-F238E27FC236}">
                <a16:creationId xmlns:a16="http://schemas.microsoft.com/office/drawing/2014/main" xmlns="" id="{7A5C4B76-2AB6-4941-888E-EB3A21D7FDF0}"/>
              </a:ext>
            </a:extLst>
          </p:cNvPr>
          <p:cNvSpPr/>
          <p:nvPr>
            <p:custDataLst>
              <p:tags r:id="rId26"/>
            </p:custDataLst>
          </p:nvPr>
        </p:nvSpPr>
        <p:spPr bwMode="gray">
          <a:xfrm>
            <a:off x="3383013" y="3036757"/>
            <a:ext cx="2682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75787B"/>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numCol="1" spcCol="0" rtlCol="0" anchor="ctr" anchorCtr="0">
            <a:noAutofit/>
          </a:bodyPr>
          <a:lstStyle/>
          <a:p>
            <a:pPr algn="ctr">
              <a:lnSpc>
                <a:spcPct val="90000"/>
              </a:lnSpc>
              <a:spcBef>
                <a:spcPct val="0"/>
              </a:spcBef>
              <a:spcAft>
                <a:spcPct val="0"/>
              </a:spcAft>
            </a:pPr>
            <a:fld id="{32DF916E-915D-4356-8425-C815FFF197DF}" type="datetime'''''''''''''''''8'''''''''''''''''''''''''''''''''''''">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8</a:t>
            </a:fld>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t>
            </a:r>
          </a:p>
          <a:p>
            <a:pPr algn="ctr">
              <a:lnSpc>
                <a:spcPct val="90000"/>
              </a:lnSpc>
              <a:spcBef>
                <a:spcPct val="0"/>
              </a:spcBef>
              <a:spcAft>
                <a:spcPct val="0"/>
              </a:spcAft>
            </a:pPr>
            <a:r>
              <a:rPr lang="es-BO" sz="8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CCF4D583-65B3-482B-9EFC-AE9B5119A165}" type="datetime'2''''''''2''''''''''''''''''''''''%'''''''''''''''''''''''">
              <a:rPr lang="es-BO" sz="800" noProof="0" smtClean="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22%</a:t>
            </a:fld>
            <a:r>
              <a:rPr lang="es-BO" sz="8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83" name="Rectangle 338">
            <a:extLst>
              <a:ext uri="{FF2B5EF4-FFF2-40B4-BE49-F238E27FC236}">
                <a16:creationId xmlns:a16="http://schemas.microsoft.com/office/drawing/2014/main" xmlns="" id="{9357CE3C-2A91-4ECA-91BB-426D64D1838F}"/>
              </a:ext>
            </a:extLst>
          </p:cNvPr>
          <p:cNvSpPr/>
          <p:nvPr>
            <p:custDataLst>
              <p:tags r:id="rId27"/>
            </p:custDataLst>
          </p:nvPr>
        </p:nvSpPr>
        <p:spPr bwMode="gray">
          <a:xfrm>
            <a:off x="2205088" y="3036757"/>
            <a:ext cx="2682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numCol="1" spcCol="0" rtlCol="0" anchor="ctr" anchorCtr="0">
            <a:noAutofit/>
          </a:bodyPr>
          <a:lstStyle/>
          <a:p>
            <a:pPr algn="ctr">
              <a:lnSpc>
                <a:spcPct val="90000"/>
              </a:lnSpc>
              <a:spcBef>
                <a:spcPct val="0"/>
              </a:spcBef>
              <a:spcAft>
                <a:spcPct val="0"/>
              </a:spcAft>
            </a:pPr>
            <a:fld id="{5F8564E7-CCAF-4836-A343-20951AB71CD4}" type="datetime'''''''''2''''''''7'">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27</a:t>
            </a:fld>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 </a:t>
            </a:r>
          </a:p>
          <a:p>
            <a:pPr algn="ctr">
              <a:lnSpc>
                <a:spcPct val="90000"/>
              </a:lnSpc>
              <a:spcBef>
                <a:spcPct val="0"/>
              </a:spcBef>
              <a:spcAft>
                <a:spcPct val="0"/>
              </a:spcAft>
            </a:pPr>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a:t>
            </a:r>
            <a:fld id="{662CE3B9-B2C3-4CD0-9A2B-F9C072E2D816}" type="datetime'''''''''''''''7''''''8''''''''''''''''''%'''''''''''''''''">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pPr>
              <a:t>78%</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84" name="Rectangle 369">
            <a:extLst>
              <a:ext uri="{FF2B5EF4-FFF2-40B4-BE49-F238E27FC236}">
                <a16:creationId xmlns:a16="http://schemas.microsoft.com/office/drawing/2014/main" xmlns="" id="{F14FBD69-A69C-4D9A-9D5E-574F7B5F14E5}"/>
              </a:ext>
            </a:extLst>
          </p:cNvPr>
          <p:cNvSpPr/>
          <p:nvPr>
            <p:custDataLst>
              <p:tags r:id="rId28"/>
            </p:custDataLst>
          </p:nvPr>
        </p:nvSpPr>
        <p:spPr bwMode="auto">
          <a:xfrm>
            <a:off x="785863" y="3017707"/>
            <a:ext cx="533400" cy="2571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gn="r">
              <a:lnSpc>
                <a:spcPct val="106000"/>
              </a:lnSpc>
              <a:spcBef>
                <a:spcPct val="0"/>
              </a:spcBef>
              <a:spcAft>
                <a:spcPct val="0"/>
              </a:spcAft>
            </a:pPr>
            <a:r>
              <a:rPr lang="es-BO" sz="800" noProof="0" dirty="0">
                <a:effectLst/>
                <a:latin typeface="Calibri Light" panose="020F0302020204030204" pitchFamily="34" charset="0"/>
                <a:cs typeface="Calibri Light" panose="020F0302020204030204" pitchFamily="34" charset="0"/>
                <a:sym typeface="Calibri Light" panose="020F0302020204030204" pitchFamily="34" charset="0"/>
              </a:rPr>
              <a:t>Institutos de</a:t>
            </a:r>
          </a:p>
          <a:p>
            <a:pPr algn="r">
              <a:lnSpc>
                <a:spcPct val="106000"/>
              </a:lnSpc>
              <a:spcBef>
                <a:spcPct val="0"/>
              </a:spcBef>
              <a:spcAft>
                <a:spcPct val="0"/>
              </a:spcAft>
            </a:pPr>
            <a:r>
              <a:rPr lang="es-BO" sz="800" dirty="0">
                <a:latin typeface="Calibri Light" panose="020F0302020204030204" pitchFamily="34" charset="0"/>
                <a:cs typeface="Calibri Light" panose="020F0302020204030204" pitchFamily="34" charset="0"/>
                <a:sym typeface="Calibri Light" panose="020F0302020204030204" pitchFamily="34" charset="0"/>
              </a:rPr>
              <a:t>i</a:t>
            </a:r>
            <a:r>
              <a:rPr lang="es-BO" sz="800" noProof="0" dirty="0" err="1">
                <a:latin typeface="Calibri Light" panose="020F0302020204030204" pitchFamily="34" charset="0"/>
                <a:cs typeface="Calibri Light" panose="020F0302020204030204" pitchFamily="34" charset="0"/>
                <a:sym typeface="Calibri Light" panose="020F0302020204030204" pitchFamily="34" charset="0"/>
              </a:rPr>
              <a:t>nvestigación</a:t>
            </a:r>
            <a:endParaRPr lang="es-BO" sz="8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 name="Rectangle 333">
            <a:extLst>
              <a:ext uri="{FF2B5EF4-FFF2-40B4-BE49-F238E27FC236}">
                <a16:creationId xmlns:a16="http://schemas.microsoft.com/office/drawing/2014/main" xmlns="" id="{4D879E4D-A5E2-4978-8E8C-3A304C7A7EF5}"/>
              </a:ext>
            </a:extLst>
          </p:cNvPr>
          <p:cNvSpPr/>
          <p:nvPr>
            <p:custDataLst>
              <p:tags r:id="rId29"/>
            </p:custDataLst>
          </p:nvPr>
        </p:nvSpPr>
        <p:spPr bwMode="gray">
          <a:xfrm>
            <a:off x="3800526" y="3074857"/>
            <a:ext cx="177800" cy="144463"/>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22225" tIns="0" rIns="22225" bIns="0" numCol="1" spcCol="0" rtlCol="0" anchor="ctr" anchorCtr="0">
            <a:noAutofit/>
          </a:bodyPr>
          <a:lstStyle/>
          <a:p>
            <a:pPr>
              <a:lnSpc>
                <a:spcPct val="90000"/>
              </a:lnSpc>
              <a:spcBef>
                <a:spcPct val="0"/>
              </a:spcBef>
              <a:spcAft>
                <a:spcPct val="0"/>
              </a:spcAft>
            </a:pPr>
            <a:fld id="{1E971996-7CA0-45D3-AAE5-81F6D152AD42}" type="datetime'''''''''''''''3''''''''''''''''''5'''''''''''">
              <a:rPr lang="es-BO" sz="1050" b="1"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90000"/>
                </a:lnSpc>
                <a:spcBef>
                  <a:spcPct val="0"/>
                </a:spcBef>
                <a:spcAft>
                  <a:spcPct val="0"/>
                </a:spcAft>
              </a:pPr>
              <a:t>35</a:t>
            </a:fld>
            <a:endParaRPr lang="es-BO" sz="105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 name="Rectangle 340">
            <a:extLst>
              <a:ext uri="{FF2B5EF4-FFF2-40B4-BE49-F238E27FC236}">
                <a16:creationId xmlns:a16="http://schemas.microsoft.com/office/drawing/2014/main" xmlns="" id="{11303F39-B288-4E81-A410-99ED6BE399D6}"/>
              </a:ext>
            </a:extLst>
          </p:cNvPr>
          <p:cNvSpPr/>
          <p:nvPr>
            <p:custDataLst>
              <p:tags r:id="rId30"/>
            </p:custDataLst>
          </p:nvPr>
        </p:nvSpPr>
        <p:spPr bwMode="auto">
          <a:xfrm>
            <a:off x="784276" y="4854445"/>
            <a:ext cx="179388" cy="133350"/>
          </a:xfrm>
          <a:prstGeom prst="rect">
            <a:avLst/>
          </a:prstGeom>
          <a:solidFill>
            <a:schemeClr val="accent1"/>
          </a:solidFill>
          <a:ln w="19050" cap="flat" cmpd="sng" algn="ctr">
            <a:noFill/>
            <a:prstDash val="solid"/>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8" name="Rectangle 341">
            <a:extLst>
              <a:ext uri="{FF2B5EF4-FFF2-40B4-BE49-F238E27FC236}">
                <a16:creationId xmlns:a16="http://schemas.microsoft.com/office/drawing/2014/main" xmlns="" id="{F580AE33-C645-468E-9A03-CAB8866847CF}"/>
              </a:ext>
            </a:extLst>
          </p:cNvPr>
          <p:cNvSpPr/>
          <p:nvPr>
            <p:custDataLst>
              <p:tags r:id="rId31"/>
            </p:custDataLst>
          </p:nvPr>
        </p:nvSpPr>
        <p:spPr bwMode="auto">
          <a:xfrm>
            <a:off x="2827388" y="4854445"/>
            <a:ext cx="179388" cy="133350"/>
          </a:xfrm>
          <a:prstGeom prst="rect">
            <a:avLst/>
          </a:prstGeom>
          <a:solidFill>
            <a:srgbClr val="FFFFFF"/>
          </a:solidFill>
          <a:ln w="6350" cap="flat" cmpd="sng" algn="ctr">
            <a:solidFill>
              <a:schemeClr val="tx1"/>
            </a:solidFill>
            <a:prstDash val="lgDash"/>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9" name="Rectangle 343">
            <a:extLst>
              <a:ext uri="{FF2B5EF4-FFF2-40B4-BE49-F238E27FC236}">
                <a16:creationId xmlns:a16="http://schemas.microsoft.com/office/drawing/2014/main" xmlns="" id="{79179A01-A036-45E5-8AD9-FA1190FFEBA5}"/>
              </a:ext>
            </a:extLst>
          </p:cNvPr>
          <p:cNvSpPr/>
          <p:nvPr>
            <p:custDataLst>
              <p:tags r:id="rId32"/>
            </p:custDataLst>
          </p:nvPr>
        </p:nvSpPr>
        <p:spPr bwMode="auto">
          <a:xfrm>
            <a:off x="1014464" y="4843332"/>
            <a:ext cx="1711325"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nSpc>
                <a:spcPct val="106000"/>
              </a:lnSpc>
              <a:spcBef>
                <a:spcPct val="0"/>
              </a:spcBef>
              <a:spcAft>
                <a:spcPct val="0"/>
              </a:spcAft>
            </a:pPr>
            <a:fld id="{E616AE28-E7C7-4AB4-B4FE-8C62EB54432B}" type="datetime'Inves''tigac''ió''n'''''' e''nfocada'' ''a ene''''rgí''''a '">
              <a:rPr lang="es-BO" sz="1000" noProof="0" smtClean="0">
                <a:latin typeface="Calibri Light" panose="020F0302020204030204" pitchFamily="34" charset="0"/>
                <a:cs typeface="Calibri Light" panose="020F0302020204030204" pitchFamily="34" charset="0"/>
              </a:rPr>
              <a:pPr/>
              <a:t>Investigación enfocada a energía </a:t>
            </a:fld>
            <a:endParaRPr lang="es-BO" sz="10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0" name="Rectangle 342">
            <a:extLst>
              <a:ext uri="{FF2B5EF4-FFF2-40B4-BE49-F238E27FC236}">
                <a16:creationId xmlns:a16="http://schemas.microsoft.com/office/drawing/2014/main" xmlns="" id="{7742149A-4353-4FF6-8266-A1D348F20260}"/>
              </a:ext>
            </a:extLst>
          </p:cNvPr>
          <p:cNvSpPr/>
          <p:nvPr>
            <p:custDataLst>
              <p:tags r:id="rId33"/>
            </p:custDataLst>
          </p:nvPr>
        </p:nvSpPr>
        <p:spPr bwMode="auto">
          <a:xfrm>
            <a:off x="3057576" y="4843332"/>
            <a:ext cx="955675"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numCol="1" spcCol="0" rtlCol="0" anchor="ctr" anchorCtr="0">
            <a:noAutofit/>
          </a:bodyPr>
          <a:lstStyle/>
          <a:p>
            <a:pPr>
              <a:lnSpc>
                <a:spcPct val="106000"/>
              </a:lnSpc>
              <a:spcBef>
                <a:spcPct val="0"/>
              </a:spcBef>
              <a:spcAft>
                <a:spcPct val="0"/>
              </a:spcAft>
            </a:pPr>
            <a:fld id="{6FCDBE5A-10D2-46EB-A9B1-E13D4D6D00EF}" type="datetime'Ot''ra'''''''''''''''' i''n''''''vest''iga''c''''''ión '''">
              <a:rPr lang="es-BO" sz="10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pPr>
              <a:t>Otra investigación </a:t>
            </a:fld>
            <a:endParaRPr lang="es-BO" sz="1000" noProof="0" dirty="0">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67051482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3308926-B06E-D32E-0835-161891336467}"/>
            </a:ext>
          </a:extLst>
        </p:cNvPr>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xmlns="" id="{CA56D946-5101-5849-4A9A-0F77BEF6B7B7}"/>
              </a:ext>
            </a:extLst>
          </p:cNvPr>
          <p:cNvSpPr/>
          <p:nvPr/>
        </p:nvSpPr>
        <p:spPr bwMode="gray">
          <a:xfrm>
            <a:off x="-1025104" y="423635"/>
            <a:ext cx="11806313" cy="657692"/>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BA1DBB2E-6F40-7672-CA32-75395976A4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xmlns="" id="{BA1DBB2E-6F40-7672-CA32-75395976A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357CD7BB-E227-74F9-A695-40ECE00D6781}"/>
              </a:ext>
            </a:extLst>
          </p:cNvPr>
          <p:cNvSpPr>
            <a:spLocks noGrp="1"/>
          </p:cNvSpPr>
          <p:nvPr>
            <p:ph type="sldNum" sz="quarter" idx="4"/>
          </p:nvPr>
        </p:nvSpPr>
        <p:spPr/>
        <p:txBody>
          <a:bodyPr/>
          <a:lstStyle/>
          <a:p>
            <a:fld id="{A8E5AD78-C39A-47FF-83FF-0E69177E1F7C}" type="slidenum">
              <a:rPr lang="es-BO" noProof="0" smtClean="0"/>
              <a:pPr/>
              <a:t>5</a:t>
            </a:fld>
            <a:endParaRPr lang="es-BO" noProof="0" dirty="0"/>
          </a:p>
        </p:txBody>
      </p:sp>
      <p:sp>
        <p:nvSpPr>
          <p:cNvPr id="4" name="Text Placeholder 3">
            <a:extLst>
              <a:ext uri="{FF2B5EF4-FFF2-40B4-BE49-F238E27FC236}">
                <a16:creationId xmlns:a16="http://schemas.microsoft.com/office/drawing/2014/main" xmlns="" id="{003B55F7-18E7-C54F-0AAF-CA846BF48176}"/>
              </a:ext>
            </a:extLst>
          </p:cNvPr>
          <p:cNvSpPr>
            <a:spLocks noGrp="1"/>
          </p:cNvSpPr>
          <p:nvPr>
            <p:ph type="body" sz="quarter" idx="13"/>
          </p:nvPr>
        </p:nvSpPr>
        <p:spPr>
          <a:xfrm>
            <a:off x="515937" y="347227"/>
            <a:ext cx="11160125" cy="719137"/>
          </a:xfrm>
        </p:spPr>
        <p:txBody>
          <a:bodyPr anchor="ctr"/>
          <a:lstStyle/>
          <a:p>
            <a:r>
              <a:rPr lang="es-BO" noProof="0" dirty="0">
                <a:solidFill>
                  <a:schemeClr val="bg1"/>
                </a:solidFill>
              </a:rPr>
              <a:t>Oportunidad: </a:t>
            </a:r>
            <a:r>
              <a:rPr lang="es-BO" dirty="0">
                <a:solidFill>
                  <a:schemeClr val="bg1"/>
                </a:solidFill>
              </a:rPr>
              <a:t>s</a:t>
            </a:r>
            <a:r>
              <a:rPr lang="es-BO" noProof="0" dirty="0" err="1">
                <a:solidFill>
                  <a:schemeClr val="bg1"/>
                </a:solidFill>
              </a:rPr>
              <a:t>ustitución</a:t>
            </a:r>
            <a:r>
              <a:rPr lang="es-BO" noProof="0" dirty="0">
                <a:solidFill>
                  <a:schemeClr val="bg1"/>
                </a:solidFill>
              </a:rPr>
              <a:t> de combustibles </a:t>
            </a:r>
            <a:r>
              <a:rPr lang="es-BO" dirty="0">
                <a:solidFill>
                  <a:schemeClr val="bg1"/>
                </a:solidFill>
              </a:rPr>
              <a:t>l</a:t>
            </a:r>
            <a:r>
              <a:rPr lang="es-BO" noProof="0" dirty="0" err="1">
                <a:solidFill>
                  <a:schemeClr val="bg1"/>
                </a:solidFill>
              </a:rPr>
              <a:t>íquidos</a:t>
            </a:r>
            <a:r>
              <a:rPr lang="es-BO" noProof="0" dirty="0">
                <a:solidFill>
                  <a:schemeClr val="bg1"/>
                </a:solidFill>
              </a:rPr>
              <a:t> por </a:t>
            </a:r>
            <a:r>
              <a:rPr lang="es-BO" dirty="0">
                <a:solidFill>
                  <a:schemeClr val="bg1"/>
                </a:solidFill>
              </a:rPr>
              <a:t>h</a:t>
            </a:r>
            <a:r>
              <a:rPr lang="es-BO" noProof="0" dirty="0" err="1">
                <a:solidFill>
                  <a:schemeClr val="bg1"/>
                </a:solidFill>
              </a:rPr>
              <a:t>idrógeno</a:t>
            </a:r>
            <a:r>
              <a:rPr lang="es-BO" noProof="0" dirty="0">
                <a:solidFill>
                  <a:schemeClr val="bg1"/>
                </a:solidFill>
              </a:rPr>
              <a:t> </a:t>
            </a:r>
            <a:r>
              <a:rPr lang="es-BO" dirty="0">
                <a:solidFill>
                  <a:schemeClr val="bg1"/>
                </a:solidFill>
              </a:rPr>
              <a:t>v</a:t>
            </a:r>
            <a:r>
              <a:rPr lang="es-BO" noProof="0" dirty="0" err="1">
                <a:solidFill>
                  <a:schemeClr val="bg1"/>
                </a:solidFill>
              </a:rPr>
              <a:t>erde</a:t>
            </a:r>
            <a:endParaRPr lang="es-BO" noProof="0" dirty="0">
              <a:solidFill>
                <a:schemeClr val="bg1"/>
              </a:solidFill>
            </a:endParaRPr>
          </a:p>
        </p:txBody>
      </p:sp>
      <p:sp>
        <p:nvSpPr>
          <p:cNvPr id="6" name="Text Placeholder 5">
            <a:extLst>
              <a:ext uri="{FF2B5EF4-FFF2-40B4-BE49-F238E27FC236}">
                <a16:creationId xmlns:a16="http://schemas.microsoft.com/office/drawing/2014/main" xmlns="" id="{692C53B6-D58E-9F30-538A-F13FCBFF3F9C}"/>
              </a:ext>
            </a:extLst>
          </p:cNvPr>
          <p:cNvSpPr>
            <a:spLocks noGrp="1"/>
          </p:cNvSpPr>
          <p:nvPr>
            <p:ph type="body" sz="quarter" idx="14"/>
          </p:nvPr>
        </p:nvSpPr>
        <p:spPr>
          <a:xfrm>
            <a:off x="515937" y="6104154"/>
            <a:ext cx="11160125" cy="307777"/>
          </a:xfrm>
        </p:spPr>
        <p:txBody>
          <a:bodyPr/>
          <a:lstStyle/>
          <a:p>
            <a:r>
              <a:rPr lang="es-BO" noProof="0" dirty="0"/>
              <a:t>Fuente: Elaboración propia con base en documentación compartida por el Ministerio de Hidrocarburos y Energías de Bolivia.</a:t>
            </a:r>
          </a:p>
          <a:p>
            <a:endParaRPr lang="es-BO" noProof="0" dirty="0"/>
          </a:p>
        </p:txBody>
      </p:sp>
      <p:sp>
        <p:nvSpPr>
          <p:cNvPr id="3" name="Text Placeholder 4">
            <a:extLst>
              <a:ext uri="{FF2B5EF4-FFF2-40B4-BE49-F238E27FC236}">
                <a16:creationId xmlns:a16="http://schemas.microsoft.com/office/drawing/2014/main" xmlns="" id="{16CD3816-C237-9917-93BE-BF70F3135088}"/>
              </a:ext>
            </a:extLst>
          </p:cNvPr>
          <p:cNvSpPr txBox="1">
            <a:spLocks/>
          </p:cNvSpPr>
          <p:nvPr/>
        </p:nvSpPr>
        <p:spPr>
          <a:xfrm>
            <a:off x="515937" y="5916165"/>
            <a:ext cx="11160125" cy="307777"/>
          </a:xfrm>
          <a:prstGeom prst="rect">
            <a:avLst/>
          </a:prstGeom>
        </p:spPr>
        <p:txBody>
          <a:bodyPr wrap="square" lIns="0" tIns="0" rIns="0" bIns="0">
            <a:spAutoFit/>
          </a:bodyPr>
          <a:lstStyle>
            <a:lvl1pPr marL="0" indent="0" algn="l" defTabSz="914400" rtl="0" eaLnBrk="1" latinLnBrk="0" hangingPunct="1">
              <a:spcBef>
                <a:spcPts val="0"/>
              </a:spcBef>
              <a:spcAft>
                <a:spcPts val="0"/>
              </a:spcAft>
              <a:buSzPct val="100000"/>
              <a:buFontTx/>
              <a:buNone/>
              <a:defRPr sz="1000" b="0" i="1" kern="1200">
                <a:solidFill>
                  <a:schemeClr val="tx1"/>
                </a:solidFill>
                <a:latin typeface="Calibri Light" panose="020F0302020204030204" pitchFamily="34" charset="0"/>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600" b="1" kern="1200">
                <a:solidFill>
                  <a:schemeClr val="tx1"/>
                </a:solidFill>
                <a:latin typeface="Calibri Light" panose="020F0302020204030204" pitchFamily="34" charset="0"/>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600" kern="1200">
                <a:solidFill>
                  <a:schemeClr val="tx1"/>
                </a:solidFill>
                <a:latin typeface="Calibri Light" panose="020F0302020204030204" pitchFamily="34" charset="0"/>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600" kern="1200" baseline="0">
                <a:solidFill>
                  <a:schemeClr val="tx1"/>
                </a:solidFill>
                <a:latin typeface="Calibri Light" panose="020F0302020204030204" pitchFamily="34" charset="0"/>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600" kern="1200" baseline="0">
                <a:solidFill>
                  <a:schemeClr val="tx1"/>
                </a:solidFill>
                <a:latin typeface="Calibri Light" panose="020F0302020204030204" pitchFamily="34" charset="0"/>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s-BO" noProof="0" dirty="0"/>
          </a:p>
          <a:p>
            <a:endParaRPr lang="es-BO" noProof="0" dirty="0"/>
          </a:p>
        </p:txBody>
      </p:sp>
      <p:grpSp>
        <p:nvGrpSpPr>
          <p:cNvPr id="2055" name="Group 72">
            <a:extLst>
              <a:ext uri="{FF2B5EF4-FFF2-40B4-BE49-F238E27FC236}">
                <a16:creationId xmlns:a16="http://schemas.microsoft.com/office/drawing/2014/main" xmlns="" id="{FBC639AA-3674-BE28-E0DB-4F36CED591B5}"/>
              </a:ext>
            </a:extLst>
          </p:cNvPr>
          <p:cNvGrpSpPr>
            <a:grpSpLocks/>
          </p:cNvGrpSpPr>
          <p:nvPr/>
        </p:nvGrpSpPr>
        <p:grpSpPr bwMode="auto">
          <a:xfrm>
            <a:off x="60325" y="-495300"/>
            <a:ext cx="168275" cy="153987"/>
            <a:chOff x="0" y="0"/>
            <a:chExt cx="362309" cy="361971"/>
          </a:xfrm>
        </p:grpSpPr>
      </p:grpSp>
      <p:grpSp>
        <p:nvGrpSpPr>
          <p:cNvPr id="2049" name="Group 88">
            <a:extLst>
              <a:ext uri="{FF2B5EF4-FFF2-40B4-BE49-F238E27FC236}">
                <a16:creationId xmlns:a16="http://schemas.microsoft.com/office/drawing/2014/main" xmlns="" id="{A7C6EDCA-E4D6-E833-8346-167EED7AF9BA}"/>
              </a:ext>
            </a:extLst>
          </p:cNvPr>
          <p:cNvGrpSpPr>
            <a:grpSpLocks/>
          </p:cNvGrpSpPr>
          <p:nvPr/>
        </p:nvGrpSpPr>
        <p:grpSpPr bwMode="auto">
          <a:xfrm>
            <a:off x="74613" y="-517525"/>
            <a:ext cx="168275" cy="153987"/>
            <a:chOff x="1" y="0"/>
            <a:chExt cx="362309" cy="361971"/>
          </a:xfrm>
        </p:grpSpPr>
      </p:grpSp>
      <p:grpSp>
        <p:nvGrpSpPr>
          <p:cNvPr id="2066" name="Group 18">
            <a:extLst>
              <a:ext uri="{FF2B5EF4-FFF2-40B4-BE49-F238E27FC236}">
                <a16:creationId xmlns:a16="http://schemas.microsoft.com/office/drawing/2014/main" xmlns="" id="{F96A9BEF-E6A4-1AFD-EE04-A76F5DC6066B}"/>
              </a:ext>
            </a:extLst>
          </p:cNvPr>
          <p:cNvGrpSpPr>
            <a:grpSpLocks/>
          </p:cNvGrpSpPr>
          <p:nvPr/>
        </p:nvGrpSpPr>
        <p:grpSpPr bwMode="auto">
          <a:xfrm>
            <a:off x="60325" y="-495300"/>
            <a:ext cx="168275" cy="153987"/>
            <a:chOff x="0" y="0"/>
            <a:chExt cx="362309" cy="361971"/>
          </a:xfrm>
        </p:grpSpPr>
      </p:grpSp>
      <p:grpSp>
        <p:nvGrpSpPr>
          <p:cNvPr id="2060" name="Group 12">
            <a:extLst>
              <a:ext uri="{FF2B5EF4-FFF2-40B4-BE49-F238E27FC236}">
                <a16:creationId xmlns:a16="http://schemas.microsoft.com/office/drawing/2014/main" xmlns="" id="{D176CCCD-9215-B8D7-581E-111482B08E33}"/>
              </a:ext>
            </a:extLst>
          </p:cNvPr>
          <p:cNvGrpSpPr>
            <a:grpSpLocks/>
          </p:cNvGrpSpPr>
          <p:nvPr/>
        </p:nvGrpSpPr>
        <p:grpSpPr bwMode="auto">
          <a:xfrm>
            <a:off x="74613" y="-517525"/>
            <a:ext cx="168275" cy="153987"/>
            <a:chOff x="1" y="0"/>
            <a:chExt cx="362309" cy="361971"/>
          </a:xfrm>
        </p:grpSpPr>
      </p:grpSp>
      <p:graphicFrame>
        <p:nvGraphicFramePr>
          <p:cNvPr id="10" name="Table 9">
            <a:extLst>
              <a:ext uri="{FF2B5EF4-FFF2-40B4-BE49-F238E27FC236}">
                <a16:creationId xmlns:a16="http://schemas.microsoft.com/office/drawing/2014/main" xmlns="" id="{C57EA54B-382C-2C2B-79AB-ECCF1894EE97}"/>
              </a:ext>
            </a:extLst>
          </p:cNvPr>
          <p:cNvGraphicFramePr>
            <a:graphicFrameLocks noGrp="1"/>
          </p:cNvGraphicFramePr>
          <p:nvPr>
            <p:extLst>
              <p:ext uri="{D42A27DB-BD31-4B8C-83A1-F6EECF244321}">
                <p14:modId xmlns:p14="http://schemas.microsoft.com/office/powerpoint/2010/main" val="2768898536"/>
              </p:ext>
            </p:extLst>
          </p:nvPr>
        </p:nvGraphicFramePr>
        <p:xfrm>
          <a:off x="5252988" y="1574839"/>
          <a:ext cx="5838279" cy="3779216"/>
        </p:xfrm>
        <a:graphic>
          <a:graphicData uri="http://schemas.openxmlformats.org/drawingml/2006/table">
            <a:tbl>
              <a:tblPr firstRow="1" firstCol="1" bandRow="1">
                <a:tableStyleId>{2D5ABB26-0587-4C30-8999-92F81FD0307C}</a:tableStyleId>
              </a:tblPr>
              <a:tblGrid>
                <a:gridCol w="735893">
                  <a:extLst>
                    <a:ext uri="{9D8B030D-6E8A-4147-A177-3AD203B41FA5}">
                      <a16:colId xmlns:a16="http://schemas.microsoft.com/office/drawing/2014/main" xmlns="" val="3515088428"/>
                    </a:ext>
                  </a:extLst>
                </a:gridCol>
                <a:gridCol w="1947793">
                  <a:extLst>
                    <a:ext uri="{9D8B030D-6E8A-4147-A177-3AD203B41FA5}">
                      <a16:colId xmlns:a16="http://schemas.microsoft.com/office/drawing/2014/main" xmlns="" val="4063086724"/>
                    </a:ext>
                  </a:extLst>
                </a:gridCol>
                <a:gridCol w="1051531">
                  <a:extLst>
                    <a:ext uri="{9D8B030D-6E8A-4147-A177-3AD203B41FA5}">
                      <a16:colId xmlns:a16="http://schemas.microsoft.com/office/drawing/2014/main" xmlns="" val="572154128"/>
                    </a:ext>
                  </a:extLst>
                </a:gridCol>
                <a:gridCol w="1051531">
                  <a:extLst>
                    <a:ext uri="{9D8B030D-6E8A-4147-A177-3AD203B41FA5}">
                      <a16:colId xmlns:a16="http://schemas.microsoft.com/office/drawing/2014/main" xmlns="" val="1470743200"/>
                    </a:ext>
                  </a:extLst>
                </a:gridCol>
                <a:gridCol w="1051531">
                  <a:extLst>
                    <a:ext uri="{9D8B030D-6E8A-4147-A177-3AD203B41FA5}">
                      <a16:colId xmlns:a16="http://schemas.microsoft.com/office/drawing/2014/main" xmlns="" val="1663525955"/>
                    </a:ext>
                  </a:extLst>
                </a:gridCol>
              </a:tblGrid>
              <a:tr h="314634">
                <a:tc>
                  <a:txBody>
                    <a:bodyPr/>
                    <a:lstStyle/>
                    <a:p>
                      <a:pPr algn="l" rtl="0"/>
                      <a:endParaRPr lang="es-BO" sz="1000" b="1" noProof="0" dirty="0">
                        <a:latin typeface="Calibri Light" panose="020F0302020204030204" pitchFamily="34" charset="0"/>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es-BO" sz="1100" b="1" noProof="0" dirty="0">
                          <a:latin typeface="Calibri Light" panose="020F0302020204030204" pitchFamily="34" charset="0"/>
                          <a:cs typeface="Calibri Light" panose="020F0302020204030204" pitchFamily="34" charset="0"/>
                        </a:rPr>
                        <a:t>Boliv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ct val="120000"/>
                        </a:lnSpc>
                        <a:spcAft>
                          <a:spcPts val="800"/>
                        </a:spcAft>
                      </a:pPr>
                      <a:r>
                        <a:rPr lang="es-BO" sz="1100" b="1" noProof="0" dirty="0">
                          <a:effectLst/>
                          <a:latin typeface="Calibri Light" panose="020F0302020204030204" pitchFamily="34" charset="0"/>
                          <a:cs typeface="Calibri Light" panose="020F0302020204030204" pitchFamily="34" charset="0"/>
                        </a:rPr>
                        <a:t>2030</a:t>
                      </a:r>
                      <a:endParaRPr lang="es-BO" sz="16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ct val="120000"/>
                        </a:lnSpc>
                        <a:spcAft>
                          <a:spcPts val="800"/>
                        </a:spcAft>
                      </a:pPr>
                      <a:r>
                        <a:rPr lang="es-BO" sz="1100" b="1" noProof="0" dirty="0">
                          <a:effectLst/>
                          <a:latin typeface="Calibri Light" panose="020F0302020204030204" pitchFamily="34" charset="0"/>
                          <a:cs typeface="Calibri Light" panose="020F0302020204030204" pitchFamily="34" charset="0"/>
                        </a:rPr>
                        <a:t>2040</a:t>
                      </a:r>
                      <a:endParaRPr lang="es-BO" sz="16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ct val="120000"/>
                        </a:lnSpc>
                        <a:spcAft>
                          <a:spcPts val="800"/>
                        </a:spcAft>
                      </a:pPr>
                      <a:r>
                        <a:rPr lang="es-BO" sz="1100" b="1" noProof="0" dirty="0">
                          <a:effectLst/>
                          <a:latin typeface="Calibri Light" panose="020F0302020204030204" pitchFamily="34" charset="0"/>
                          <a:cs typeface="Calibri Light" panose="020F0302020204030204" pitchFamily="34" charset="0"/>
                        </a:rPr>
                        <a:t>2050</a:t>
                      </a:r>
                      <a:endParaRPr lang="es-BO" sz="16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685878884"/>
                  </a:ext>
                </a:extLst>
              </a:tr>
              <a:tr h="260540">
                <a:tc rowSpan="3">
                  <a:txBody>
                    <a:bodyPr/>
                    <a:lstStyle/>
                    <a:p>
                      <a:pPr algn="l" rtl="0">
                        <a:lnSpc>
                          <a:spcPct val="120000"/>
                        </a:lnSpc>
                        <a:spcAft>
                          <a:spcPts val="800"/>
                        </a:spcAft>
                      </a:pPr>
                      <a:endParaRPr lang="es-BO" sz="11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Demanda potencial gasolina</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675,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683,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5.567,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863513646"/>
                  </a:ext>
                </a:extLst>
              </a:tr>
              <a:tr h="260540">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Porcentaje a atender</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49508579"/>
                  </a:ext>
                </a:extLst>
              </a:tr>
              <a:tr h="260540">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b="1" noProof="0" dirty="0">
                          <a:effectLst/>
                          <a:latin typeface="Calibri Light" panose="020F0302020204030204" pitchFamily="34" charset="0"/>
                          <a:cs typeface="Calibri Light" panose="020F0302020204030204" pitchFamily="34" charset="0"/>
                        </a:rPr>
                        <a:t>Demanda </a:t>
                      </a:r>
                      <a:r>
                        <a:rPr lang="es-BO" sz="900" b="1" noProof="0" dirty="0" smtClean="0">
                          <a:effectLst/>
                          <a:latin typeface="Calibri Light" panose="020F0302020204030204" pitchFamily="34" charset="0"/>
                          <a:cs typeface="Calibri Light" panose="020F0302020204030204" pitchFamily="34" charset="0"/>
                        </a:rPr>
                        <a:t>gasolina  (</a:t>
                      </a:r>
                      <a:r>
                        <a:rPr lang="es-BO" sz="900" b="1" noProof="0" dirty="0" err="1" smtClean="0">
                          <a:effectLst/>
                          <a:latin typeface="Calibri Light" panose="020F0302020204030204" pitchFamily="34" charset="0"/>
                          <a:cs typeface="Calibri Light" panose="020F0302020204030204" pitchFamily="34" charset="0"/>
                        </a:rPr>
                        <a:t>Blending</a:t>
                      </a:r>
                      <a:r>
                        <a:rPr lang="es-BO" sz="900" b="1" noProof="0" dirty="0" smtClean="0">
                          <a:effectLst/>
                          <a:latin typeface="Calibri Light" panose="020F0302020204030204" pitchFamily="34" charset="0"/>
                          <a:cs typeface="Calibri Light" panose="020F0302020204030204" pitchFamily="34" charset="0"/>
                        </a:rPr>
                        <a:t>)</a:t>
                      </a:r>
                      <a:endParaRPr lang="es-BO" sz="9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13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1.341,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4.175,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806009138"/>
                  </a:ext>
                </a:extLst>
              </a:tr>
              <a:tr h="260540">
                <a:tc rowSpan="3">
                  <a:txBody>
                    <a:bodyPr/>
                    <a:lstStyle/>
                    <a:p>
                      <a:pPr algn="l" rtl="0">
                        <a:lnSpc>
                          <a:spcPct val="120000"/>
                        </a:lnSpc>
                        <a:spcAft>
                          <a:spcPts val="800"/>
                        </a:spcAft>
                      </a:pPr>
                      <a:endParaRPr lang="es-BO" sz="11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Demanda potencial diésel</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700,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651,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5.33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32891034"/>
                  </a:ext>
                </a:extLst>
              </a:tr>
              <a:tr h="260540">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Porcentaje a atender</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737754207"/>
                  </a:ext>
                </a:extLst>
              </a:tr>
              <a:tr h="260540">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b="1" noProof="0" dirty="0">
                          <a:effectLst/>
                          <a:latin typeface="Calibri Light" panose="020F0302020204030204" pitchFamily="34" charset="0"/>
                          <a:cs typeface="Calibri Light" panose="020F0302020204030204" pitchFamily="34" charset="0"/>
                        </a:rPr>
                        <a:t>Demanda diésel (</a:t>
                      </a:r>
                      <a:r>
                        <a:rPr lang="es-BO" sz="900" b="1" noProof="0" dirty="0" err="1">
                          <a:effectLst/>
                          <a:latin typeface="Calibri Light" panose="020F0302020204030204" pitchFamily="34" charset="0"/>
                          <a:cs typeface="Calibri Light" panose="020F0302020204030204" pitchFamily="34" charset="0"/>
                        </a:rPr>
                        <a:t>Blending</a:t>
                      </a:r>
                      <a:r>
                        <a:rPr lang="es-BO" sz="900" b="1" noProof="0" dirty="0">
                          <a:effectLst/>
                          <a:latin typeface="Calibri Light" panose="020F0302020204030204" pitchFamily="34" charset="0"/>
                          <a:cs typeface="Calibri Light" panose="020F0302020204030204" pitchFamily="34" charset="0"/>
                        </a:rPr>
                        <a:t>)</a:t>
                      </a:r>
                      <a:endParaRPr lang="es-BO" sz="9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140,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1.325,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4.00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987013116"/>
                  </a:ext>
                </a:extLst>
              </a:tr>
              <a:tr h="260540">
                <a:tc rowSpan="3">
                  <a:txBody>
                    <a:bodyPr/>
                    <a:lstStyle/>
                    <a:p>
                      <a:pPr algn="l" rtl="0">
                        <a:lnSpc>
                          <a:spcPct val="120000"/>
                        </a:lnSpc>
                        <a:spcAft>
                          <a:spcPts val="800"/>
                        </a:spcAft>
                      </a:pPr>
                      <a:endParaRPr lang="es-BO" sz="11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Demanda potencial gas natural</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575,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2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304,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482109743"/>
                  </a:ext>
                </a:extLst>
              </a:tr>
              <a:tr h="260540">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Porcentaje a atender</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900" b="0" i="0" u="none" strike="noStrike" noProof="0" dirty="0">
                          <a:solidFill>
                            <a:srgbClr val="000000"/>
                          </a:solidFill>
                          <a:effectLst/>
                          <a:latin typeface="Calibri Light" panose="020F0302020204030204" pitchFamily="34" charset="0"/>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69649280"/>
                  </a:ext>
                </a:extLst>
              </a:tr>
              <a:tr h="310542">
                <a:tc vMerge="1">
                  <a:txBody>
                    <a:bodyPr/>
                    <a:lstStyle/>
                    <a:p>
                      <a:pPr algn="l">
                        <a:lnSpc>
                          <a:spcPct val="120000"/>
                        </a:lnSpc>
                        <a:spcAft>
                          <a:spcPts val="800"/>
                        </a:spcAft>
                      </a:pPr>
                      <a:endParaRPr lang="en-US" sz="110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a:lnSpc>
                          <a:spcPct val="120000"/>
                        </a:lnSpc>
                        <a:spcAft>
                          <a:spcPts val="800"/>
                        </a:spcAft>
                      </a:pPr>
                      <a:r>
                        <a:rPr lang="es-BO" sz="900" b="1" noProof="0" dirty="0">
                          <a:effectLst/>
                          <a:latin typeface="Calibri Light" panose="020F0302020204030204" pitchFamily="34" charset="0"/>
                          <a:cs typeface="Calibri Light" panose="020F0302020204030204" pitchFamily="34" charset="0"/>
                        </a:rPr>
                        <a:t>Demanda gas natural (</a:t>
                      </a:r>
                      <a:r>
                        <a:rPr lang="es-BO" sz="900" b="1" noProof="0" dirty="0" err="1">
                          <a:effectLst/>
                          <a:latin typeface="Calibri Light" panose="020F0302020204030204" pitchFamily="34" charset="0"/>
                          <a:cs typeface="Calibri Light" panose="020F0302020204030204" pitchFamily="34" charset="0"/>
                        </a:rPr>
                        <a:t>Blending</a:t>
                      </a:r>
                      <a:r>
                        <a:rPr lang="es-BO" sz="900" b="1" noProof="0" dirty="0">
                          <a:effectLst/>
                          <a:latin typeface="Calibri Light" panose="020F0302020204030204" pitchFamily="34" charset="0"/>
                          <a:cs typeface="Calibri Light" panose="020F0302020204030204" pitchFamily="34" charset="0"/>
                        </a:rPr>
                        <a:t>)</a:t>
                      </a:r>
                      <a:endParaRPr lang="es-BO" sz="9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45,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s-BO" sz="900" b="1" i="0" u="none" strike="noStrike" noProof="0" dirty="0">
                          <a:solidFill>
                            <a:srgbClr val="000000"/>
                          </a:solidFill>
                          <a:effectLst/>
                          <a:latin typeface="Calibri Light" panose="020F0302020204030204" pitchFamily="34" charset="0"/>
                        </a:rPr>
                        <a:t>91,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33666417"/>
                  </a:ext>
                </a:extLst>
              </a:tr>
              <a:tr h="327954">
                <a:tc>
                  <a:txBody>
                    <a:bodyPr/>
                    <a:lstStyle/>
                    <a:p>
                      <a:pPr algn="l" rtl="0">
                        <a:lnSpc>
                          <a:spcPct val="120000"/>
                        </a:lnSpc>
                        <a:spcAft>
                          <a:spcPts val="800"/>
                        </a:spcAft>
                      </a:pPr>
                      <a:endParaRPr lang="es-BO" sz="1200" b="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b="0" noProof="0" dirty="0">
                          <a:effectLst/>
                          <a:latin typeface="Calibri Light" panose="020F0302020204030204" pitchFamily="34" charset="0"/>
                          <a:cs typeface="Calibri Light" panose="020F0302020204030204" pitchFamily="34" charset="0"/>
                        </a:rPr>
                        <a:t>Demanda potencial Vehículos Celda </a:t>
                      </a:r>
                      <a:r>
                        <a:rPr lang="es-BO" sz="900" b="0" noProof="0" dirty="0" err="1">
                          <a:effectLst/>
                          <a:latin typeface="Calibri Light" panose="020F0302020204030204" pitchFamily="34" charset="0"/>
                          <a:cs typeface="Calibri Light" panose="020F0302020204030204" pitchFamily="34" charset="0"/>
                        </a:rPr>
                        <a:t>Comb</a:t>
                      </a:r>
                      <a:r>
                        <a:rPr lang="es-BO" sz="900" b="0" noProof="0" dirty="0">
                          <a:effectLst/>
                          <a:latin typeface="Calibri Light" panose="020F0302020204030204" pitchFamily="34" charset="0"/>
                          <a:cs typeface="Calibri Light" panose="020F0302020204030204" pitchFamily="34" charset="0"/>
                        </a:rPr>
                        <a:t>. H2V</a:t>
                      </a:r>
                      <a:endParaRPr lang="es-BO" sz="900" b="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45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48873132"/>
                  </a:ext>
                </a:extLst>
              </a:tr>
              <a:tr h="260540">
                <a:tc>
                  <a:txBody>
                    <a:bodyPr/>
                    <a:lstStyle/>
                    <a:p>
                      <a:pPr algn="l" rtl="0">
                        <a:lnSpc>
                          <a:spcPct val="120000"/>
                        </a:lnSpc>
                        <a:spcAft>
                          <a:spcPts val="800"/>
                        </a:spcAft>
                      </a:pPr>
                      <a:endParaRPr lang="es-BO" sz="12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noProof="0" dirty="0">
                          <a:effectLst/>
                          <a:latin typeface="Calibri Light" panose="020F0302020204030204" pitchFamily="34" charset="0"/>
                          <a:cs typeface="Calibri Light" panose="020F0302020204030204" pitchFamily="34" charset="0"/>
                        </a:rPr>
                        <a:t>Porcentaje a atender</a:t>
                      </a:r>
                      <a:endParaRPr lang="es-BO" sz="900"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s-BO" sz="900" b="0" i="0" u="none" strike="noStrike" noProof="0" dirty="0">
                          <a:solidFill>
                            <a:srgbClr val="000000"/>
                          </a:solidFill>
                          <a:effectLst/>
                          <a:latin typeface="Calibri Light" panose="020F030202020403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629230019"/>
                  </a:ext>
                </a:extLst>
              </a:tr>
              <a:tr h="260540">
                <a:tc>
                  <a:txBody>
                    <a:bodyPr/>
                    <a:lstStyle/>
                    <a:p>
                      <a:pPr algn="l" rtl="0">
                        <a:lnSpc>
                          <a:spcPct val="120000"/>
                        </a:lnSpc>
                        <a:spcAft>
                          <a:spcPts val="800"/>
                        </a:spcAft>
                      </a:pPr>
                      <a:endParaRPr lang="es-BO" sz="12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900" b="1" noProof="0" dirty="0">
                          <a:effectLst/>
                          <a:latin typeface="Calibri Light" panose="020F0302020204030204" pitchFamily="34" charset="0"/>
                          <a:ea typeface="Yu Mincho" panose="02020400000000000000" pitchFamily="18" charset="-128"/>
                          <a:cs typeface="Calibri Light" panose="020F0302020204030204" pitchFamily="34" charset="0"/>
                        </a:rPr>
                        <a:t>Demanda Vehículos Celda </a:t>
                      </a:r>
                      <a:r>
                        <a:rPr lang="es-BO" sz="900" b="1" noProof="0" dirty="0" err="1">
                          <a:effectLst/>
                          <a:latin typeface="Calibri Light" panose="020F0302020204030204" pitchFamily="34" charset="0"/>
                          <a:ea typeface="Yu Mincho" panose="02020400000000000000" pitchFamily="18" charset="-128"/>
                          <a:cs typeface="Calibri Light" panose="020F0302020204030204" pitchFamily="34" charset="0"/>
                        </a:rPr>
                        <a:t>Comb</a:t>
                      </a:r>
                      <a:r>
                        <a:rPr lang="es-BO" sz="900" b="1" noProof="0" dirty="0">
                          <a:effectLst/>
                          <a:latin typeface="Calibri Light" panose="020F0302020204030204" pitchFamily="34" charset="0"/>
                          <a:ea typeface="Yu Mincho" panose="02020400000000000000" pitchFamily="18" charset="-128"/>
                          <a:cs typeface="Calibri Light" panose="020F0302020204030204" pitchFamily="34" charset="0"/>
                        </a:rPr>
                        <a:t>. H2V</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s-BO" sz="900" b="1" i="0" u="none" strike="noStrike" noProof="0" dirty="0">
                          <a:solidFill>
                            <a:srgbClr val="000000"/>
                          </a:solidFill>
                          <a:effectLst/>
                          <a:latin typeface="Calibri Light" panose="020F030202020403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s-BO" sz="900" b="1" i="0" u="none" strike="noStrike" noProof="0" dirty="0">
                          <a:solidFill>
                            <a:srgbClr val="000000"/>
                          </a:solidFill>
                          <a:effectLst/>
                          <a:latin typeface="Calibri Light" panose="020F030202020403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s-BO" sz="900" b="1" i="0" u="none" strike="noStrike" noProof="0" dirty="0">
                          <a:solidFill>
                            <a:srgbClr val="000000"/>
                          </a:solidFill>
                          <a:effectLst/>
                          <a:latin typeface="Calibri Light" panose="020F0302020204030204" pitchFamily="34" charset="0"/>
                        </a:rPr>
                        <a:t>18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846584951"/>
                  </a:ext>
                </a:extLst>
              </a:tr>
              <a:tr h="211131">
                <a:tc>
                  <a:txBody>
                    <a:bodyPr/>
                    <a:lstStyle/>
                    <a:p>
                      <a:pPr algn="l" rtl="0">
                        <a:lnSpc>
                          <a:spcPct val="120000"/>
                        </a:lnSpc>
                        <a:spcAft>
                          <a:spcPts val="800"/>
                        </a:spcAft>
                      </a:pPr>
                      <a:endParaRPr lang="es-BO" sz="12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ct val="120000"/>
                        </a:lnSpc>
                        <a:spcAft>
                          <a:spcPts val="800"/>
                        </a:spcAft>
                      </a:pPr>
                      <a:r>
                        <a:rPr lang="es-BO" sz="1200" b="1" noProof="0" dirty="0">
                          <a:effectLst/>
                          <a:latin typeface="Calibri Light" panose="020F0302020204030204" pitchFamily="34" charset="0"/>
                          <a:cs typeface="Calibri Light" panose="020F0302020204030204" pitchFamily="34" charset="0"/>
                        </a:rPr>
                        <a:t>Total</a:t>
                      </a:r>
                      <a:endParaRPr lang="es-BO" sz="1200" b="1" noProof="0" dirty="0">
                        <a:effectLst/>
                        <a:latin typeface="Calibri Light" panose="020F0302020204030204" pitchFamily="34" charset="0"/>
                        <a:ea typeface="Yu Mincho" panose="02020400000000000000" pitchFamily="18" charset="-128"/>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1200" b="1" i="0" u="none" strike="noStrike" noProof="0" dirty="0">
                          <a:solidFill>
                            <a:srgbClr val="000000"/>
                          </a:solidFill>
                          <a:effectLst/>
                          <a:latin typeface="Calibri Light" panose="020F0302020204030204" pitchFamily="34" charset="0"/>
                        </a:rPr>
                        <a:t>3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1200" b="1" i="0" u="none" strike="noStrike" noProof="0" dirty="0">
                          <a:solidFill>
                            <a:srgbClr val="000000"/>
                          </a:solidFill>
                          <a:effectLst/>
                          <a:latin typeface="Calibri Light" panose="020F0302020204030204" pitchFamily="34" charset="0"/>
                        </a:rPr>
                        <a:t>2.71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BO" sz="1200" b="1" i="0" u="none" strike="noStrike" noProof="0" dirty="0">
                          <a:solidFill>
                            <a:srgbClr val="000000"/>
                          </a:solidFill>
                          <a:effectLst/>
                          <a:latin typeface="Calibri Light" panose="020F0302020204030204" pitchFamily="34" charset="0"/>
                        </a:rPr>
                        <a:t>8.44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08833610"/>
                  </a:ext>
                </a:extLst>
              </a:tr>
            </a:tbl>
          </a:graphicData>
        </a:graphic>
      </p:graphicFrame>
      <p:grpSp>
        <p:nvGrpSpPr>
          <p:cNvPr id="698" name="Graphic 4">
            <a:extLst>
              <a:ext uri="{FF2B5EF4-FFF2-40B4-BE49-F238E27FC236}">
                <a16:creationId xmlns:a16="http://schemas.microsoft.com/office/drawing/2014/main" xmlns="" id="{16BF3741-D16C-F438-3AB8-C95B225AD0AC}"/>
              </a:ext>
            </a:extLst>
          </p:cNvPr>
          <p:cNvGrpSpPr/>
          <p:nvPr/>
        </p:nvGrpSpPr>
        <p:grpSpPr>
          <a:xfrm>
            <a:off x="5338172" y="2868265"/>
            <a:ext cx="482400" cy="482400"/>
            <a:chOff x="5092779" y="2855717"/>
            <a:chExt cx="362309" cy="361971"/>
          </a:xfrm>
          <a:solidFill>
            <a:srgbClr val="9DD4CF"/>
          </a:solidFill>
        </p:grpSpPr>
        <p:sp>
          <p:nvSpPr>
            <p:cNvPr id="699" name="Graphic 4">
              <a:extLst>
                <a:ext uri="{FF2B5EF4-FFF2-40B4-BE49-F238E27FC236}">
                  <a16:creationId xmlns:a16="http://schemas.microsoft.com/office/drawing/2014/main" xmlns="" id="{D36090A5-C98D-C153-8AE6-3D6DCBE53FFD}"/>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BO" noProof="0" dirty="0"/>
            </a:p>
          </p:txBody>
        </p:sp>
        <p:sp>
          <p:nvSpPr>
            <p:cNvPr id="700" name="Graphic 4">
              <a:extLst>
                <a:ext uri="{FF2B5EF4-FFF2-40B4-BE49-F238E27FC236}">
                  <a16:creationId xmlns:a16="http://schemas.microsoft.com/office/drawing/2014/main" xmlns="" id="{1ECBF0D9-5C08-DCD5-BDA1-AE800FC99B34}"/>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BO" noProof="0" dirty="0"/>
            </a:p>
          </p:txBody>
        </p:sp>
        <p:sp>
          <p:nvSpPr>
            <p:cNvPr id="701" name="Graphic 4">
              <a:extLst>
                <a:ext uri="{FF2B5EF4-FFF2-40B4-BE49-F238E27FC236}">
                  <a16:creationId xmlns:a16="http://schemas.microsoft.com/office/drawing/2014/main" xmlns="" id="{EE463A7E-4082-8D1D-A825-2BDB41BE33CB}"/>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BO" noProof="0" dirty="0"/>
            </a:p>
          </p:txBody>
        </p:sp>
      </p:grpSp>
      <p:grpSp>
        <p:nvGrpSpPr>
          <p:cNvPr id="702" name="Group 701">
            <a:extLst>
              <a:ext uri="{FF2B5EF4-FFF2-40B4-BE49-F238E27FC236}">
                <a16:creationId xmlns:a16="http://schemas.microsoft.com/office/drawing/2014/main" xmlns="" id="{63DBC57B-CAC1-838F-FA2D-C0D6243B142B}"/>
              </a:ext>
            </a:extLst>
          </p:cNvPr>
          <p:cNvGrpSpPr/>
          <p:nvPr/>
        </p:nvGrpSpPr>
        <p:grpSpPr>
          <a:xfrm>
            <a:off x="5346037" y="2144812"/>
            <a:ext cx="482864" cy="482864"/>
            <a:chOff x="7354700" y="2479311"/>
            <a:chExt cx="362309" cy="361971"/>
          </a:xfrm>
          <a:solidFill>
            <a:srgbClr val="CB057C"/>
          </a:solidFill>
        </p:grpSpPr>
        <p:sp>
          <p:nvSpPr>
            <p:cNvPr id="703" name="Graphic 4">
              <a:extLst>
                <a:ext uri="{FF2B5EF4-FFF2-40B4-BE49-F238E27FC236}">
                  <a16:creationId xmlns:a16="http://schemas.microsoft.com/office/drawing/2014/main" xmlns="" id="{145E5239-6CBD-515D-9446-20CDE90002F7}"/>
                </a:ext>
              </a:extLst>
            </p:cNvPr>
            <p:cNvSpPr/>
            <p:nvPr/>
          </p:nvSpPr>
          <p:spPr>
            <a:xfrm>
              <a:off x="7475470" y="2723818"/>
              <a:ext cx="120769" cy="34473"/>
            </a:xfrm>
            <a:custGeom>
              <a:avLst/>
              <a:gdLst>
                <a:gd name="connsiteX0" fmla="*/ 0 w 120769"/>
                <a:gd name="connsiteY0" fmla="*/ 0 h 34473"/>
                <a:gd name="connsiteX1" fmla="*/ 120770 w 120769"/>
                <a:gd name="connsiteY1" fmla="*/ 0 h 34473"/>
                <a:gd name="connsiteX2" fmla="*/ 120770 w 120769"/>
                <a:gd name="connsiteY2" fmla="*/ 34474 h 34473"/>
                <a:gd name="connsiteX3" fmla="*/ 0 w 120769"/>
                <a:gd name="connsiteY3" fmla="*/ 34474 h 34473"/>
              </a:gdLst>
              <a:ahLst/>
              <a:cxnLst>
                <a:cxn ang="0">
                  <a:pos x="connsiteX0" y="connsiteY0"/>
                </a:cxn>
                <a:cxn ang="0">
                  <a:pos x="connsiteX1" y="connsiteY1"/>
                </a:cxn>
                <a:cxn ang="0">
                  <a:pos x="connsiteX2" y="connsiteY2"/>
                </a:cxn>
                <a:cxn ang="0">
                  <a:pos x="connsiteX3" y="connsiteY3"/>
                </a:cxn>
              </a:cxnLst>
              <a:rect l="l" t="t" r="r" b="b"/>
              <a:pathLst>
                <a:path w="120769" h="34473">
                  <a:moveTo>
                    <a:pt x="0" y="0"/>
                  </a:moveTo>
                  <a:lnTo>
                    <a:pt x="120770" y="0"/>
                  </a:lnTo>
                  <a:lnTo>
                    <a:pt x="120770" y="34474"/>
                  </a:lnTo>
                  <a:lnTo>
                    <a:pt x="0" y="34474"/>
                  </a:lnTo>
                  <a:close/>
                </a:path>
              </a:pathLst>
            </a:custGeom>
            <a:grpFill/>
            <a:ln w="6390" cap="flat">
              <a:noFill/>
              <a:prstDash val="solid"/>
              <a:miter/>
            </a:ln>
          </p:spPr>
          <p:txBody>
            <a:bodyPr rtlCol="0" anchor="ctr"/>
            <a:lstStyle/>
            <a:p>
              <a:endParaRPr lang="es-BO" noProof="0" dirty="0"/>
            </a:p>
          </p:txBody>
        </p:sp>
        <p:sp>
          <p:nvSpPr>
            <p:cNvPr id="192" name="Graphic 4">
              <a:extLst>
                <a:ext uri="{FF2B5EF4-FFF2-40B4-BE49-F238E27FC236}">
                  <a16:creationId xmlns:a16="http://schemas.microsoft.com/office/drawing/2014/main" xmlns="" id="{3195F044-6532-FC77-1C29-F7AD4B8A71CB}"/>
                </a:ext>
              </a:extLst>
            </p:cNvPr>
            <p:cNvSpPr/>
            <p:nvPr/>
          </p:nvSpPr>
          <p:spPr>
            <a:xfrm>
              <a:off x="7522117" y="2648487"/>
              <a:ext cx="30671" cy="40857"/>
            </a:xfrm>
            <a:custGeom>
              <a:avLst/>
              <a:gdLst>
                <a:gd name="connsiteX0" fmla="*/ 9585 w 30671"/>
                <a:gd name="connsiteY0" fmla="*/ 11491 h 40857"/>
                <a:gd name="connsiteX1" fmla="*/ 5751 w 30671"/>
                <a:gd name="connsiteY1" fmla="*/ 16598 h 40857"/>
                <a:gd name="connsiteX2" fmla="*/ 0 w 30671"/>
                <a:gd name="connsiteY2" fmla="*/ 25536 h 40857"/>
                <a:gd name="connsiteX3" fmla="*/ 15336 w 30671"/>
                <a:gd name="connsiteY3" fmla="*/ 40858 h 40857"/>
                <a:gd name="connsiteX4" fmla="*/ 30672 w 30671"/>
                <a:gd name="connsiteY4" fmla="*/ 25536 h 40857"/>
                <a:gd name="connsiteX5" fmla="*/ 30672 w 30671"/>
                <a:gd name="connsiteY5" fmla="*/ 25536 h 40857"/>
                <a:gd name="connsiteX6" fmla="*/ 16614 w 30671"/>
                <a:gd name="connsiteY6" fmla="*/ 0 h 40857"/>
                <a:gd name="connsiteX7" fmla="*/ 9585 w 30671"/>
                <a:gd name="connsiteY7" fmla="*/ 11491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40857">
                  <a:moveTo>
                    <a:pt x="9585" y="11491"/>
                  </a:moveTo>
                  <a:cubicBezTo>
                    <a:pt x="8307" y="13406"/>
                    <a:pt x="7029" y="14683"/>
                    <a:pt x="5751" y="16598"/>
                  </a:cubicBezTo>
                  <a:cubicBezTo>
                    <a:pt x="3195" y="19152"/>
                    <a:pt x="1278" y="22344"/>
                    <a:pt x="0" y="25536"/>
                  </a:cubicBezTo>
                  <a:cubicBezTo>
                    <a:pt x="0" y="33835"/>
                    <a:pt x="7029" y="40858"/>
                    <a:pt x="15336" y="40858"/>
                  </a:cubicBezTo>
                  <a:cubicBezTo>
                    <a:pt x="23643" y="40858"/>
                    <a:pt x="30672" y="33835"/>
                    <a:pt x="30672" y="25536"/>
                  </a:cubicBezTo>
                  <a:cubicBezTo>
                    <a:pt x="30672" y="25536"/>
                    <a:pt x="30672" y="25536"/>
                    <a:pt x="30672" y="25536"/>
                  </a:cubicBezTo>
                  <a:cubicBezTo>
                    <a:pt x="30672" y="17237"/>
                    <a:pt x="23004" y="7022"/>
                    <a:pt x="16614" y="0"/>
                  </a:cubicBezTo>
                  <a:cubicBezTo>
                    <a:pt x="14697" y="3830"/>
                    <a:pt x="12141" y="7661"/>
                    <a:pt x="9585" y="11491"/>
                  </a:cubicBezTo>
                  <a:close/>
                </a:path>
              </a:pathLst>
            </a:custGeom>
            <a:grpFill/>
            <a:ln w="6390" cap="flat">
              <a:noFill/>
              <a:prstDash val="solid"/>
              <a:miter/>
            </a:ln>
          </p:spPr>
          <p:txBody>
            <a:bodyPr rtlCol="0" anchor="ctr"/>
            <a:lstStyle/>
            <a:p>
              <a:endParaRPr lang="es-BO" noProof="0" dirty="0"/>
            </a:p>
          </p:txBody>
        </p:sp>
        <p:sp>
          <p:nvSpPr>
            <p:cNvPr id="193" name="Graphic 4">
              <a:extLst>
                <a:ext uri="{FF2B5EF4-FFF2-40B4-BE49-F238E27FC236}">
                  <a16:creationId xmlns:a16="http://schemas.microsoft.com/office/drawing/2014/main" xmlns="" id="{147750DC-9216-E239-C8B0-12A7B0A4655E}"/>
                </a:ext>
              </a:extLst>
            </p:cNvPr>
            <p:cNvSpPr/>
            <p:nvPr/>
          </p:nvSpPr>
          <p:spPr>
            <a:xfrm>
              <a:off x="7475470" y="2623589"/>
              <a:ext cx="120769" cy="87460"/>
            </a:xfrm>
            <a:custGeom>
              <a:avLst/>
              <a:gdLst>
                <a:gd name="connsiteX0" fmla="*/ 0 w 120769"/>
                <a:gd name="connsiteY0" fmla="*/ 0 h 87460"/>
                <a:gd name="connsiteX1" fmla="*/ 0 w 120769"/>
                <a:gd name="connsiteY1" fmla="*/ 87461 h 87460"/>
                <a:gd name="connsiteX2" fmla="*/ 120770 w 120769"/>
                <a:gd name="connsiteY2" fmla="*/ 87461 h 87460"/>
                <a:gd name="connsiteX3" fmla="*/ 120770 w 120769"/>
                <a:gd name="connsiteY3" fmla="*/ 0 h 87460"/>
                <a:gd name="connsiteX4" fmla="*/ 0 w 120769"/>
                <a:gd name="connsiteY4" fmla="*/ 0 h 87460"/>
                <a:gd name="connsiteX5" fmla="*/ 61982 w 120769"/>
                <a:gd name="connsiteY5" fmla="*/ 78523 h 87460"/>
                <a:gd name="connsiteX6" fmla="*/ 33867 w 120769"/>
                <a:gd name="connsiteY6" fmla="*/ 50434 h 87460"/>
                <a:gd name="connsiteX7" fmla="*/ 42173 w 120769"/>
                <a:gd name="connsiteY7" fmla="*/ 33835 h 87460"/>
                <a:gd name="connsiteX8" fmla="*/ 45368 w 120769"/>
                <a:gd name="connsiteY8" fmla="*/ 29367 h 87460"/>
                <a:gd name="connsiteX9" fmla="*/ 56231 w 120769"/>
                <a:gd name="connsiteY9" fmla="*/ 12130 h 87460"/>
                <a:gd name="connsiteX10" fmla="*/ 60704 w 120769"/>
                <a:gd name="connsiteY10" fmla="*/ 8938 h 87460"/>
                <a:gd name="connsiteX11" fmla="*/ 65816 w 120769"/>
                <a:gd name="connsiteY11" fmla="*/ 10215 h 87460"/>
                <a:gd name="connsiteX12" fmla="*/ 90098 w 120769"/>
                <a:gd name="connsiteY12" fmla="*/ 50434 h 87460"/>
                <a:gd name="connsiteX13" fmla="*/ 61982 w 120769"/>
                <a:gd name="connsiteY13" fmla="*/ 78523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769" h="87460">
                  <a:moveTo>
                    <a:pt x="0" y="0"/>
                  </a:moveTo>
                  <a:lnTo>
                    <a:pt x="0" y="87461"/>
                  </a:lnTo>
                  <a:lnTo>
                    <a:pt x="120770" y="87461"/>
                  </a:lnTo>
                  <a:lnTo>
                    <a:pt x="120770" y="0"/>
                  </a:lnTo>
                  <a:lnTo>
                    <a:pt x="0" y="0"/>
                  </a:lnTo>
                  <a:close/>
                  <a:moveTo>
                    <a:pt x="61982" y="78523"/>
                  </a:moveTo>
                  <a:cubicBezTo>
                    <a:pt x="46646" y="78523"/>
                    <a:pt x="33867" y="65755"/>
                    <a:pt x="33867" y="50434"/>
                  </a:cubicBezTo>
                  <a:cubicBezTo>
                    <a:pt x="34505" y="44050"/>
                    <a:pt x="37700" y="38304"/>
                    <a:pt x="42173" y="33835"/>
                  </a:cubicBezTo>
                  <a:lnTo>
                    <a:pt x="45368" y="29367"/>
                  </a:lnTo>
                  <a:cubicBezTo>
                    <a:pt x="51119" y="21067"/>
                    <a:pt x="56231" y="12768"/>
                    <a:pt x="56231" y="12130"/>
                  </a:cubicBezTo>
                  <a:cubicBezTo>
                    <a:pt x="57509" y="10215"/>
                    <a:pt x="58787" y="9576"/>
                    <a:pt x="60704" y="8938"/>
                  </a:cubicBezTo>
                  <a:cubicBezTo>
                    <a:pt x="62621" y="8938"/>
                    <a:pt x="64538" y="8938"/>
                    <a:pt x="65816" y="10215"/>
                  </a:cubicBezTo>
                  <a:cubicBezTo>
                    <a:pt x="68372" y="12130"/>
                    <a:pt x="90098" y="30643"/>
                    <a:pt x="90098" y="50434"/>
                  </a:cubicBezTo>
                  <a:cubicBezTo>
                    <a:pt x="90098" y="65755"/>
                    <a:pt x="77318" y="78523"/>
                    <a:pt x="61982" y="78523"/>
                  </a:cubicBezTo>
                  <a:close/>
                </a:path>
              </a:pathLst>
            </a:custGeom>
            <a:grpFill/>
            <a:ln w="6390" cap="flat">
              <a:noFill/>
              <a:prstDash val="solid"/>
              <a:miter/>
            </a:ln>
          </p:spPr>
          <p:txBody>
            <a:bodyPr rtlCol="0" anchor="ctr"/>
            <a:lstStyle/>
            <a:p>
              <a:endParaRPr lang="es-BO" noProof="0" dirty="0"/>
            </a:p>
          </p:txBody>
        </p:sp>
        <p:sp>
          <p:nvSpPr>
            <p:cNvPr id="194" name="Graphic 4">
              <a:extLst>
                <a:ext uri="{FF2B5EF4-FFF2-40B4-BE49-F238E27FC236}">
                  <a16:creationId xmlns:a16="http://schemas.microsoft.com/office/drawing/2014/main" xmlns="" id="{5825BEC4-D06E-238B-0BDA-865BCB6F47EE}"/>
                </a:ext>
              </a:extLst>
            </p:cNvPr>
            <p:cNvSpPr/>
            <p:nvPr/>
          </p:nvSpPr>
          <p:spPr>
            <a:xfrm>
              <a:off x="7354700" y="24793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24604 w 362309"/>
                <a:gd name="connsiteY6" fmla="*/ 70224 h 361971"/>
                <a:gd name="connsiteX7" fmla="*/ 146330 w 362309"/>
                <a:gd name="connsiteY7" fmla="*/ 70224 h 361971"/>
                <a:gd name="connsiteX8" fmla="*/ 152720 w 362309"/>
                <a:gd name="connsiteY8" fmla="*/ 76608 h 361971"/>
                <a:gd name="connsiteX9" fmla="*/ 146330 w 362309"/>
                <a:gd name="connsiteY9" fmla="*/ 82992 h 361971"/>
                <a:gd name="connsiteX10" fmla="*/ 124604 w 362309"/>
                <a:gd name="connsiteY10" fmla="*/ 82992 h 361971"/>
                <a:gd name="connsiteX11" fmla="*/ 118214 w 362309"/>
                <a:gd name="connsiteY11" fmla="*/ 76608 h 361971"/>
                <a:gd name="connsiteX12" fmla="*/ 124604 w 362309"/>
                <a:gd name="connsiteY12" fmla="*/ 70224 h 361971"/>
                <a:gd name="connsiteX13" fmla="*/ 258154 w 362309"/>
                <a:gd name="connsiteY13" fmla="*/ 137894 h 361971"/>
                <a:gd name="connsiteX14" fmla="*/ 254319 w 362309"/>
                <a:gd name="connsiteY14" fmla="*/ 143640 h 361971"/>
                <a:gd name="connsiteX15" fmla="*/ 254319 w 362309"/>
                <a:gd name="connsiteY15" fmla="*/ 232377 h 361971"/>
                <a:gd name="connsiteX16" fmla="*/ 257514 w 362309"/>
                <a:gd name="connsiteY16" fmla="*/ 240676 h 361971"/>
                <a:gd name="connsiteX17" fmla="*/ 254319 w 362309"/>
                <a:gd name="connsiteY17" fmla="*/ 243868 h 361971"/>
                <a:gd name="connsiteX18" fmla="*/ 254319 w 362309"/>
                <a:gd name="connsiteY18" fmla="*/ 279618 h 361971"/>
                <a:gd name="connsiteX19" fmla="*/ 258154 w 362309"/>
                <a:gd name="connsiteY19" fmla="*/ 285364 h 361971"/>
                <a:gd name="connsiteX20" fmla="*/ 251764 w 362309"/>
                <a:gd name="connsiteY20" fmla="*/ 291748 h 361971"/>
                <a:gd name="connsiteX21" fmla="*/ 111185 w 362309"/>
                <a:gd name="connsiteY21" fmla="*/ 291748 h 361971"/>
                <a:gd name="connsiteX22" fmla="*/ 104795 w 362309"/>
                <a:gd name="connsiteY22" fmla="*/ 285364 h 361971"/>
                <a:gd name="connsiteX23" fmla="*/ 108629 w 362309"/>
                <a:gd name="connsiteY23" fmla="*/ 279618 h 361971"/>
                <a:gd name="connsiteX24" fmla="*/ 108629 w 362309"/>
                <a:gd name="connsiteY24" fmla="*/ 243230 h 361971"/>
                <a:gd name="connsiteX25" fmla="*/ 106073 w 362309"/>
                <a:gd name="connsiteY25" fmla="*/ 234292 h 361971"/>
                <a:gd name="connsiteX26" fmla="*/ 108629 w 362309"/>
                <a:gd name="connsiteY26" fmla="*/ 231738 h 361971"/>
                <a:gd name="connsiteX27" fmla="*/ 108629 w 362309"/>
                <a:gd name="connsiteY27" fmla="*/ 143640 h 361971"/>
                <a:gd name="connsiteX28" fmla="*/ 104795 w 362309"/>
                <a:gd name="connsiteY28" fmla="*/ 137894 h 361971"/>
                <a:gd name="connsiteX29" fmla="*/ 108629 w 362309"/>
                <a:gd name="connsiteY29" fmla="*/ 132149 h 361971"/>
                <a:gd name="connsiteX30" fmla="*/ 108629 w 362309"/>
                <a:gd name="connsiteY30" fmla="*/ 100229 h 361971"/>
                <a:gd name="connsiteX31" fmla="*/ 104795 w 362309"/>
                <a:gd name="connsiteY31" fmla="*/ 94483 h 361971"/>
                <a:gd name="connsiteX32" fmla="*/ 111185 w 362309"/>
                <a:gd name="connsiteY32" fmla="*/ 88099 h 361971"/>
                <a:gd name="connsiteX33" fmla="*/ 251764 w 362309"/>
                <a:gd name="connsiteY33" fmla="*/ 88099 h 361971"/>
                <a:gd name="connsiteX34" fmla="*/ 258154 w 362309"/>
                <a:gd name="connsiteY34" fmla="*/ 94483 h 361971"/>
                <a:gd name="connsiteX35" fmla="*/ 254319 w 362309"/>
                <a:gd name="connsiteY35" fmla="*/ 100229 h 361971"/>
                <a:gd name="connsiteX36" fmla="*/ 254319 w 362309"/>
                <a:gd name="connsiteY36" fmla="*/ 132149 h 361971"/>
                <a:gd name="connsiteX37" fmla="*/ 258154 w 362309"/>
                <a:gd name="connsiteY37" fmla="*/ 137894 h 361971"/>
                <a:gd name="connsiteX38" fmla="*/ 258154 w 362309"/>
                <a:gd name="connsiteY38" fmla="*/ 1378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124604" y="70224"/>
                  </a:moveTo>
                  <a:lnTo>
                    <a:pt x="146330" y="70224"/>
                  </a:lnTo>
                  <a:cubicBezTo>
                    <a:pt x="150164" y="70224"/>
                    <a:pt x="152720" y="72778"/>
                    <a:pt x="152720" y="76608"/>
                  </a:cubicBezTo>
                  <a:cubicBezTo>
                    <a:pt x="152720" y="80438"/>
                    <a:pt x="150164" y="82992"/>
                    <a:pt x="146330" y="82992"/>
                  </a:cubicBezTo>
                  <a:lnTo>
                    <a:pt x="124604" y="82992"/>
                  </a:lnTo>
                  <a:cubicBezTo>
                    <a:pt x="120770" y="82992"/>
                    <a:pt x="118214" y="80438"/>
                    <a:pt x="118214" y="76608"/>
                  </a:cubicBezTo>
                  <a:cubicBezTo>
                    <a:pt x="118214" y="72778"/>
                    <a:pt x="120770" y="70224"/>
                    <a:pt x="124604" y="70224"/>
                  </a:cubicBezTo>
                  <a:close/>
                  <a:moveTo>
                    <a:pt x="258154" y="137894"/>
                  </a:moveTo>
                  <a:cubicBezTo>
                    <a:pt x="258154" y="140448"/>
                    <a:pt x="256876" y="142363"/>
                    <a:pt x="254319" y="143640"/>
                  </a:cubicBezTo>
                  <a:lnTo>
                    <a:pt x="254319" y="232377"/>
                  </a:lnTo>
                  <a:cubicBezTo>
                    <a:pt x="257514" y="233654"/>
                    <a:pt x="258792" y="237484"/>
                    <a:pt x="257514" y="240676"/>
                  </a:cubicBezTo>
                  <a:cubicBezTo>
                    <a:pt x="256876" y="241953"/>
                    <a:pt x="255597" y="243230"/>
                    <a:pt x="254319" y="243868"/>
                  </a:cubicBezTo>
                  <a:lnTo>
                    <a:pt x="254319" y="279618"/>
                  </a:lnTo>
                  <a:cubicBezTo>
                    <a:pt x="256876" y="280895"/>
                    <a:pt x="258154" y="282810"/>
                    <a:pt x="258154" y="285364"/>
                  </a:cubicBezTo>
                  <a:cubicBezTo>
                    <a:pt x="258154" y="289194"/>
                    <a:pt x="255597" y="291748"/>
                    <a:pt x="251764" y="291748"/>
                  </a:cubicBezTo>
                  <a:lnTo>
                    <a:pt x="111185" y="291748"/>
                  </a:lnTo>
                  <a:cubicBezTo>
                    <a:pt x="107351" y="291748"/>
                    <a:pt x="104795" y="289194"/>
                    <a:pt x="104795" y="285364"/>
                  </a:cubicBezTo>
                  <a:cubicBezTo>
                    <a:pt x="104795" y="282810"/>
                    <a:pt x="106073" y="280895"/>
                    <a:pt x="108629" y="279618"/>
                  </a:cubicBezTo>
                  <a:lnTo>
                    <a:pt x="108629" y="243230"/>
                  </a:lnTo>
                  <a:cubicBezTo>
                    <a:pt x="105434" y="241314"/>
                    <a:pt x="104156" y="237484"/>
                    <a:pt x="106073" y="234292"/>
                  </a:cubicBezTo>
                  <a:cubicBezTo>
                    <a:pt x="106712" y="233015"/>
                    <a:pt x="107351" y="232377"/>
                    <a:pt x="108629" y="231738"/>
                  </a:cubicBezTo>
                  <a:lnTo>
                    <a:pt x="108629" y="143640"/>
                  </a:lnTo>
                  <a:cubicBezTo>
                    <a:pt x="106712" y="142363"/>
                    <a:pt x="104795" y="140448"/>
                    <a:pt x="104795" y="137894"/>
                  </a:cubicBezTo>
                  <a:cubicBezTo>
                    <a:pt x="104795" y="135341"/>
                    <a:pt x="106073" y="133425"/>
                    <a:pt x="108629" y="132149"/>
                  </a:cubicBezTo>
                  <a:lnTo>
                    <a:pt x="108629" y="100229"/>
                  </a:lnTo>
                  <a:cubicBezTo>
                    <a:pt x="106712" y="98952"/>
                    <a:pt x="104795" y="97037"/>
                    <a:pt x="104795" y="94483"/>
                  </a:cubicBezTo>
                  <a:cubicBezTo>
                    <a:pt x="104795" y="90653"/>
                    <a:pt x="107351" y="88099"/>
                    <a:pt x="111185" y="88099"/>
                  </a:cubicBezTo>
                  <a:lnTo>
                    <a:pt x="251764" y="88099"/>
                  </a:lnTo>
                  <a:cubicBezTo>
                    <a:pt x="255597" y="88099"/>
                    <a:pt x="258154" y="90653"/>
                    <a:pt x="258154" y="94483"/>
                  </a:cubicBezTo>
                  <a:cubicBezTo>
                    <a:pt x="258154" y="97037"/>
                    <a:pt x="256876" y="99590"/>
                    <a:pt x="254319" y="100229"/>
                  </a:cubicBezTo>
                  <a:lnTo>
                    <a:pt x="254319" y="132149"/>
                  </a:lnTo>
                  <a:cubicBezTo>
                    <a:pt x="256876" y="133425"/>
                    <a:pt x="258154" y="135341"/>
                    <a:pt x="258154" y="137894"/>
                  </a:cubicBezTo>
                  <a:lnTo>
                    <a:pt x="258154" y="137894"/>
                  </a:lnTo>
                  <a:close/>
                </a:path>
              </a:pathLst>
            </a:custGeom>
            <a:grpFill/>
            <a:ln w="6390" cap="flat">
              <a:noFill/>
              <a:prstDash val="solid"/>
              <a:miter/>
            </a:ln>
          </p:spPr>
          <p:txBody>
            <a:bodyPr rtlCol="0" anchor="ctr"/>
            <a:lstStyle/>
            <a:p>
              <a:endParaRPr lang="es-BO" noProof="0" dirty="0"/>
            </a:p>
          </p:txBody>
        </p:sp>
        <p:sp>
          <p:nvSpPr>
            <p:cNvPr id="195" name="Graphic 4">
              <a:extLst>
                <a:ext uri="{FF2B5EF4-FFF2-40B4-BE49-F238E27FC236}">
                  <a16:creationId xmlns:a16="http://schemas.microsoft.com/office/drawing/2014/main" xmlns="" id="{24FE8ECC-AB8F-9491-B0D4-31F94E23F9FB}"/>
                </a:ext>
              </a:extLst>
            </p:cNvPr>
            <p:cNvSpPr/>
            <p:nvPr/>
          </p:nvSpPr>
          <p:spPr>
            <a:xfrm>
              <a:off x="7475470" y="2580178"/>
              <a:ext cx="120769" cy="30643"/>
            </a:xfrm>
            <a:custGeom>
              <a:avLst/>
              <a:gdLst>
                <a:gd name="connsiteX0" fmla="*/ 0 w 120769"/>
                <a:gd name="connsiteY0" fmla="*/ 0 h 30643"/>
                <a:gd name="connsiteX1" fmla="*/ 120770 w 120769"/>
                <a:gd name="connsiteY1" fmla="*/ 0 h 30643"/>
                <a:gd name="connsiteX2" fmla="*/ 120770 w 120769"/>
                <a:gd name="connsiteY2" fmla="*/ 30643 h 30643"/>
                <a:gd name="connsiteX3" fmla="*/ 0 w 120769"/>
                <a:gd name="connsiteY3" fmla="*/ 30643 h 30643"/>
              </a:gdLst>
              <a:ahLst/>
              <a:cxnLst>
                <a:cxn ang="0">
                  <a:pos x="connsiteX0" y="connsiteY0"/>
                </a:cxn>
                <a:cxn ang="0">
                  <a:pos x="connsiteX1" y="connsiteY1"/>
                </a:cxn>
                <a:cxn ang="0">
                  <a:pos x="connsiteX2" y="connsiteY2"/>
                </a:cxn>
                <a:cxn ang="0">
                  <a:pos x="connsiteX3" y="connsiteY3"/>
                </a:cxn>
              </a:cxnLst>
              <a:rect l="l" t="t" r="r" b="b"/>
              <a:pathLst>
                <a:path w="120769" h="30643">
                  <a:moveTo>
                    <a:pt x="0" y="0"/>
                  </a:moveTo>
                  <a:lnTo>
                    <a:pt x="120770" y="0"/>
                  </a:lnTo>
                  <a:lnTo>
                    <a:pt x="120770" y="30643"/>
                  </a:lnTo>
                  <a:lnTo>
                    <a:pt x="0" y="30643"/>
                  </a:lnTo>
                  <a:close/>
                </a:path>
              </a:pathLst>
            </a:custGeom>
            <a:grpFill/>
            <a:ln w="6390" cap="flat">
              <a:noFill/>
              <a:prstDash val="solid"/>
              <a:miter/>
            </a:ln>
          </p:spPr>
          <p:txBody>
            <a:bodyPr rtlCol="0" anchor="ctr"/>
            <a:lstStyle/>
            <a:p>
              <a:endParaRPr lang="es-BO" noProof="0" dirty="0"/>
            </a:p>
          </p:txBody>
        </p:sp>
      </p:grpSp>
      <p:grpSp>
        <p:nvGrpSpPr>
          <p:cNvPr id="210" name="Graphic 4">
            <a:extLst>
              <a:ext uri="{FF2B5EF4-FFF2-40B4-BE49-F238E27FC236}">
                <a16:creationId xmlns:a16="http://schemas.microsoft.com/office/drawing/2014/main" xmlns="" id="{3741249B-6A70-B581-2B89-3293282F369E}"/>
              </a:ext>
            </a:extLst>
          </p:cNvPr>
          <p:cNvGrpSpPr/>
          <p:nvPr/>
        </p:nvGrpSpPr>
        <p:grpSpPr>
          <a:xfrm>
            <a:off x="5344553" y="3635289"/>
            <a:ext cx="482400" cy="482400"/>
            <a:chOff x="5092779" y="1885990"/>
            <a:chExt cx="362309" cy="361971"/>
          </a:xfrm>
          <a:solidFill>
            <a:srgbClr val="9B6836"/>
          </a:solidFill>
        </p:grpSpPr>
        <p:sp>
          <p:nvSpPr>
            <p:cNvPr id="704" name="Graphic 4">
              <a:extLst>
                <a:ext uri="{FF2B5EF4-FFF2-40B4-BE49-F238E27FC236}">
                  <a16:creationId xmlns:a16="http://schemas.microsoft.com/office/drawing/2014/main" xmlns="" id="{F01DA85D-B1DE-DF05-DE4B-39B4D640E77A}"/>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BO" noProof="0" dirty="0"/>
            </a:p>
          </p:txBody>
        </p:sp>
        <p:sp>
          <p:nvSpPr>
            <p:cNvPr id="705" name="Graphic 4">
              <a:extLst>
                <a:ext uri="{FF2B5EF4-FFF2-40B4-BE49-F238E27FC236}">
                  <a16:creationId xmlns:a16="http://schemas.microsoft.com/office/drawing/2014/main" xmlns="" id="{95231305-9F70-844B-77E7-C41D992BEB4F}"/>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BO" noProof="0" dirty="0"/>
            </a:p>
          </p:txBody>
        </p:sp>
        <p:sp>
          <p:nvSpPr>
            <p:cNvPr id="706" name="Graphic 4">
              <a:extLst>
                <a:ext uri="{FF2B5EF4-FFF2-40B4-BE49-F238E27FC236}">
                  <a16:creationId xmlns:a16="http://schemas.microsoft.com/office/drawing/2014/main" xmlns="" id="{6C37370D-4492-2501-0C1C-993B368D5BA8}"/>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BO" noProof="0" dirty="0"/>
            </a:p>
          </p:txBody>
        </p:sp>
        <p:sp>
          <p:nvSpPr>
            <p:cNvPr id="707" name="Graphic 4">
              <a:extLst>
                <a:ext uri="{FF2B5EF4-FFF2-40B4-BE49-F238E27FC236}">
                  <a16:creationId xmlns:a16="http://schemas.microsoft.com/office/drawing/2014/main" xmlns="" id="{E1E62305-ACA6-BA4C-E615-952D1B9DD320}"/>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BO" noProof="0" dirty="0"/>
            </a:p>
          </p:txBody>
        </p:sp>
      </p:grpSp>
      <p:sp>
        <p:nvSpPr>
          <p:cNvPr id="709" name="TextBox 708">
            <a:extLst>
              <a:ext uri="{FF2B5EF4-FFF2-40B4-BE49-F238E27FC236}">
                <a16:creationId xmlns:a16="http://schemas.microsoft.com/office/drawing/2014/main" xmlns="" id="{F6FA8F45-5DF3-5403-8518-08CC46BFB7F5}"/>
              </a:ext>
            </a:extLst>
          </p:cNvPr>
          <p:cNvSpPr txBox="1"/>
          <p:nvPr/>
        </p:nvSpPr>
        <p:spPr>
          <a:xfrm>
            <a:off x="5337997" y="1185728"/>
            <a:ext cx="5668259" cy="369332"/>
          </a:xfrm>
          <a:prstGeom prst="rect">
            <a:avLst/>
          </a:prstGeom>
          <a:noFill/>
        </p:spPr>
        <p:txBody>
          <a:bodyPr wrap="square" lIns="0" tIns="0" rIns="0" bIns="0" rtlCol="0">
            <a:spAutoFit/>
          </a:bodyPr>
          <a:lstStyle/>
          <a:p>
            <a:pPr algn="ctr">
              <a:buSzPct val="100000"/>
            </a:pPr>
            <a:r>
              <a:rPr lang="es-BO" sz="1400" b="1" noProof="0" dirty="0">
                <a:solidFill>
                  <a:schemeClr val="accent3"/>
                </a:solidFill>
                <a:latin typeface="Calibri Light" panose="020F0302020204030204" pitchFamily="34" charset="0"/>
                <a:cs typeface="Calibri Light" panose="020F0302020204030204" pitchFamily="34" charset="0"/>
              </a:rPr>
              <a:t>Demanda proyectada por atender sustituyéndola por H2V</a:t>
            </a:r>
          </a:p>
          <a:p>
            <a:pPr algn="ctr">
              <a:buSzPct val="100000"/>
            </a:pPr>
            <a:r>
              <a:rPr lang="es-BO" sz="1000" noProof="0" dirty="0">
                <a:latin typeface="Calibri Light" panose="020F0302020204030204" pitchFamily="34" charset="0"/>
                <a:cs typeface="Calibri Light" panose="020F0302020204030204" pitchFamily="34" charset="0"/>
              </a:rPr>
              <a:t>(Miles de m</a:t>
            </a:r>
            <a:r>
              <a:rPr lang="es-BO" sz="1000" baseline="30000" noProof="0" dirty="0">
                <a:latin typeface="Calibri Light" panose="020F0302020204030204" pitchFamily="34" charset="0"/>
                <a:cs typeface="Calibri Light" panose="020F0302020204030204" pitchFamily="34" charset="0"/>
              </a:rPr>
              <a:t>3 </a:t>
            </a:r>
            <a:r>
              <a:rPr lang="es-BO" sz="1000" noProof="0" dirty="0">
                <a:latin typeface="Calibri Light" panose="020F0302020204030204" pitchFamily="34" charset="0"/>
                <a:cs typeface="Calibri Light" panose="020F0302020204030204" pitchFamily="34" charset="0"/>
              </a:rPr>
              <a:t> a 1 atm)</a:t>
            </a:r>
            <a:endParaRPr lang="es-BO" sz="1100" noProof="0" dirty="0">
              <a:latin typeface="Calibri Light" panose="020F0302020204030204" pitchFamily="34" charset="0"/>
              <a:cs typeface="Calibri Light" panose="020F0302020204030204" pitchFamily="34" charset="0"/>
            </a:endParaRPr>
          </a:p>
        </p:txBody>
      </p:sp>
      <p:pic>
        <p:nvPicPr>
          <p:cNvPr id="2261" name="Picture 6" descr="Resultado de imagen para circle highlight png">
            <a:extLst>
              <a:ext uri="{FF2B5EF4-FFF2-40B4-BE49-F238E27FC236}">
                <a16:creationId xmlns:a16="http://schemas.microsoft.com/office/drawing/2014/main" xmlns="" id="{466B8F01-0DC3-E3CE-4589-2EF0ED8D55BF}"/>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rot="21211674">
            <a:off x="10321940" y="2176303"/>
            <a:ext cx="449082" cy="206129"/>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262" name="Picture 6" descr="Resultado de imagen para circle highlight png">
            <a:extLst>
              <a:ext uri="{FF2B5EF4-FFF2-40B4-BE49-F238E27FC236}">
                <a16:creationId xmlns:a16="http://schemas.microsoft.com/office/drawing/2014/main" xmlns="" id="{B9ACEB93-F9A7-7BB9-7637-080271372560}"/>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rot="21211674">
            <a:off x="10321939" y="2956734"/>
            <a:ext cx="449082" cy="206129"/>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263" name="Picture 6" descr="Resultado de imagen para circle highlight png">
            <a:extLst>
              <a:ext uri="{FF2B5EF4-FFF2-40B4-BE49-F238E27FC236}">
                <a16:creationId xmlns:a16="http://schemas.microsoft.com/office/drawing/2014/main" xmlns="" id="{30F9A27D-98B4-4707-390D-F27EC05404F0}"/>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rot="21211674">
            <a:off x="10321937" y="3761970"/>
            <a:ext cx="449082" cy="206129"/>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292" name="Graphic 4">
            <a:extLst>
              <a:ext uri="{FF2B5EF4-FFF2-40B4-BE49-F238E27FC236}">
                <a16:creationId xmlns:a16="http://schemas.microsoft.com/office/drawing/2014/main" xmlns="" id="{641419B5-74F3-7BD9-E3A1-AEFDD2FDE7B5}"/>
              </a:ext>
            </a:extLst>
          </p:cNvPr>
          <p:cNvGrpSpPr/>
          <p:nvPr/>
        </p:nvGrpSpPr>
        <p:grpSpPr>
          <a:xfrm>
            <a:off x="5345340" y="4364485"/>
            <a:ext cx="498421" cy="506576"/>
            <a:chOff x="6146480" y="1893014"/>
            <a:chExt cx="362309" cy="361971"/>
          </a:xfrm>
          <a:solidFill>
            <a:srgbClr val="012169"/>
          </a:solidFill>
        </p:grpSpPr>
        <p:sp>
          <p:nvSpPr>
            <p:cNvPr id="2293" name="Graphic 4">
              <a:extLst>
                <a:ext uri="{FF2B5EF4-FFF2-40B4-BE49-F238E27FC236}">
                  <a16:creationId xmlns:a16="http://schemas.microsoft.com/office/drawing/2014/main" xmlns="" id="{239FF555-4EEF-717A-7DF6-1FD3A27F31C3}"/>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BO" noProof="0" dirty="0"/>
            </a:p>
          </p:txBody>
        </p:sp>
        <p:sp>
          <p:nvSpPr>
            <p:cNvPr id="2294" name="Graphic 4">
              <a:extLst>
                <a:ext uri="{FF2B5EF4-FFF2-40B4-BE49-F238E27FC236}">
                  <a16:creationId xmlns:a16="http://schemas.microsoft.com/office/drawing/2014/main" xmlns="" id="{660BAD25-A79F-AFA5-040B-0CFB1F24AAE7}"/>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BO" noProof="0" dirty="0"/>
            </a:p>
          </p:txBody>
        </p:sp>
        <p:sp>
          <p:nvSpPr>
            <p:cNvPr id="2295" name="Graphic 4">
              <a:extLst>
                <a:ext uri="{FF2B5EF4-FFF2-40B4-BE49-F238E27FC236}">
                  <a16:creationId xmlns:a16="http://schemas.microsoft.com/office/drawing/2014/main" xmlns="" id="{C4CC5C5A-DD84-D1E3-88A9-964ED889659D}"/>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BO" noProof="0" dirty="0"/>
            </a:p>
          </p:txBody>
        </p:sp>
        <p:sp>
          <p:nvSpPr>
            <p:cNvPr id="2296" name="Graphic 4">
              <a:extLst>
                <a:ext uri="{FF2B5EF4-FFF2-40B4-BE49-F238E27FC236}">
                  <a16:creationId xmlns:a16="http://schemas.microsoft.com/office/drawing/2014/main" xmlns="" id="{6D52F25D-C4E6-BE4B-BDC1-E1593D7159EC}"/>
                </a:ext>
              </a:extLst>
            </p:cNvPr>
            <p:cNvSpPr/>
            <p:nvPr/>
          </p:nvSpPr>
          <p:spPr>
            <a:xfrm>
              <a:off x="6146480" y="1893014"/>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BO" noProof="0" dirty="0"/>
            </a:p>
          </p:txBody>
        </p:sp>
        <p:sp>
          <p:nvSpPr>
            <p:cNvPr id="2297" name="Graphic 4">
              <a:extLst>
                <a:ext uri="{FF2B5EF4-FFF2-40B4-BE49-F238E27FC236}">
                  <a16:creationId xmlns:a16="http://schemas.microsoft.com/office/drawing/2014/main" xmlns="" id="{FD6F52D7-B947-5767-1B8F-9839689499BD}"/>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BO" noProof="0" dirty="0"/>
            </a:p>
          </p:txBody>
        </p:sp>
      </p:grpSp>
      <p:pic>
        <p:nvPicPr>
          <p:cNvPr id="2298" name="Picture 6" descr="Resultado de imagen para circle highlight png">
            <a:extLst>
              <a:ext uri="{FF2B5EF4-FFF2-40B4-BE49-F238E27FC236}">
                <a16:creationId xmlns:a16="http://schemas.microsoft.com/office/drawing/2014/main" xmlns="" id="{EE08CC27-F0B6-8C5D-DB41-CA984A22EF31}"/>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rot="21211674">
            <a:off x="10321937" y="4675025"/>
            <a:ext cx="449082" cy="206129"/>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22" name="CuadroTexto 421">
            <a:extLst>
              <a:ext uri="{FF2B5EF4-FFF2-40B4-BE49-F238E27FC236}">
                <a16:creationId xmlns:a16="http://schemas.microsoft.com/office/drawing/2014/main" xmlns="" id="{CFEC9C17-E138-FD20-757E-6A5277BEFB8F}"/>
              </a:ext>
            </a:extLst>
          </p:cNvPr>
          <p:cNvSpPr txBox="1"/>
          <p:nvPr/>
        </p:nvSpPr>
        <p:spPr>
          <a:xfrm>
            <a:off x="5910980" y="5400639"/>
            <a:ext cx="5598901" cy="669414"/>
          </a:xfrm>
          <a:prstGeom prst="rect">
            <a:avLst/>
          </a:prstGeom>
          <a:noFill/>
        </p:spPr>
        <p:txBody>
          <a:bodyPr wrap="square">
            <a:spAutoFit/>
          </a:bodyPr>
          <a:lstStyle/>
          <a:p>
            <a:pPr>
              <a:spcAft>
                <a:spcPts val="300"/>
              </a:spcAft>
            </a:pPr>
            <a:r>
              <a:rPr lang="es-BO" sz="900" b="1" i="1" noProof="0" dirty="0">
                <a:solidFill>
                  <a:srgbClr val="0D0D0D"/>
                </a:solidFill>
                <a:latin typeface="Calibri Light" panose="020F0302020204030204" pitchFamily="34" charset="0"/>
                <a:cs typeface="Calibri Light" panose="020F0302020204030204" pitchFamily="34" charset="0"/>
              </a:rPr>
              <a:t>Nota: </a:t>
            </a:r>
            <a:r>
              <a:rPr lang="es-BO" sz="900" i="1" noProof="0" dirty="0">
                <a:solidFill>
                  <a:srgbClr val="0D0D0D"/>
                </a:solidFill>
                <a:latin typeface="Calibri Light" panose="020F0302020204030204" pitchFamily="34" charset="0"/>
                <a:cs typeface="Calibri Light" panose="020F0302020204030204" pitchFamily="34" charset="0"/>
              </a:rPr>
              <a:t>Se ha realizado la proyección de la demanda tomando en cuenta el comportamiento histórico y debido a las limitaciones tecnológicas actuales para la sustitución de combustibles se ha estimado el 30% del consumo de 2023 como la demanda potencial y de esta se iniciará la sustitución con el 20% incrementándose anualmente hasta el 2050.</a:t>
            </a:r>
          </a:p>
          <a:p>
            <a:pPr>
              <a:spcAft>
                <a:spcPts val="300"/>
              </a:spcAft>
            </a:pPr>
            <a:endParaRPr lang="es-BO" sz="800" b="1" noProof="0" dirty="0">
              <a:solidFill>
                <a:srgbClr val="0D0D0D"/>
              </a:solidFill>
              <a:latin typeface="Calibri Light" panose="020F0302020204030204" pitchFamily="34" charset="0"/>
              <a:cs typeface="Calibri Light" panose="020F0302020204030204" pitchFamily="34" charset="0"/>
            </a:endParaRPr>
          </a:p>
        </p:txBody>
      </p:sp>
      <p:sp>
        <p:nvSpPr>
          <p:cNvPr id="7" name="TextBox 24">
            <a:extLst>
              <a:ext uri="{FF2B5EF4-FFF2-40B4-BE49-F238E27FC236}">
                <a16:creationId xmlns:a16="http://schemas.microsoft.com/office/drawing/2014/main" xmlns="" id="{3814B5C9-4BD8-0A04-CD0F-59E0629BC5A6}"/>
              </a:ext>
            </a:extLst>
          </p:cNvPr>
          <p:cNvSpPr txBox="1"/>
          <p:nvPr/>
        </p:nvSpPr>
        <p:spPr>
          <a:xfrm>
            <a:off x="641821" y="1526354"/>
            <a:ext cx="2484701" cy="215444"/>
          </a:xfrm>
          <a:prstGeom prst="rect">
            <a:avLst/>
          </a:prstGeom>
          <a:noFill/>
        </p:spPr>
        <p:txBody>
          <a:bodyPr wrap="square" lIns="0" tIns="0" rIns="0" bIns="0" rtlCol="0">
            <a:spAutoFit/>
          </a:bodyPr>
          <a:lstStyle/>
          <a:p>
            <a:pPr>
              <a:buSzPct val="100000"/>
            </a:pPr>
            <a:r>
              <a:rPr lang="es-419" sz="1400" b="1">
                <a:solidFill>
                  <a:schemeClr val="accent3"/>
                </a:solidFill>
                <a:latin typeface="Calibri Light" panose="020F0302020204030204" pitchFamily="34" charset="0"/>
                <a:cs typeface="Calibri Light" panose="020F0302020204030204" pitchFamily="34" charset="0"/>
              </a:rPr>
              <a:t>Localización de la demanda a 2050 </a:t>
            </a:r>
          </a:p>
        </p:txBody>
      </p:sp>
      <p:graphicFrame>
        <p:nvGraphicFramePr>
          <p:cNvPr id="8" name="Table 9">
            <a:extLst>
              <a:ext uri="{FF2B5EF4-FFF2-40B4-BE49-F238E27FC236}">
                <a16:creationId xmlns:a16="http://schemas.microsoft.com/office/drawing/2014/main" xmlns="" id="{5FF7A4C3-6421-7BA9-BA40-AA654D09FF3F}"/>
              </a:ext>
            </a:extLst>
          </p:cNvPr>
          <p:cNvGraphicFramePr>
            <a:graphicFrameLocks noGrp="1"/>
          </p:cNvGraphicFramePr>
          <p:nvPr/>
        </p:nvGraphicFramePr>
        <p:xfrm>
          <a:off x="3440931" y="1939159"/>
          <a:ext cx="1787140" cy="2301733"/>
        </p:xfrm>
        <a:graphic>
          <a:graphicData uri="http://schemas.openxmlformats.org/drawingml/2006/table">
            <a:tbl>
              <a:tblPr firstRow="1" bandRow="1">
                <a:tableStyleId>{3B4B98B0-60AC-42C2-AFA5-B58CD77FA1E5}</a:tableStyleId>
              </a:tblPr>
              <a:tblGrid>
                <a:gridCol w="893570">
                  <a:extLst>
                    <a:ext uri="{9D8B030D-6E8A-4147-A177-3AD203B41FA5}">
                      <a16:colId xmlns:a16="http://schemas.microsoft.com/office/drawing/2014/main" xmlns="" val="829983457"/>
                    </a:ext>
                  </a:extLst>
                </a:gridCol>
                <a:gridCol w="893570">
                  <a:extLst>
                    <a:ext uri="{9D8B030D-6E8A-4147-A177-3AD203B41FA5}">
                      <a16:colId xmlns:a16="http://schemas.microsoft.com/office/drawing/2014/main" xmlns="" val="3351742782"/>
                    </a:ext>
                  </a:extLst>
                </a:gridCol>
              </a:tblGrid>
              <a:tr h="328819">
                <a:tc>
                  <a:txBody>
                    <a:bodyPr/>
                    <a:lstStyle/>
                    <a:p>
                      <a:pPr rtl="0"/>
                      <a:r>
                        <a:rPr lang="es-419" sz="900" b="1">
                          <a:latin typeface="Calibri Light" panose="020F0302020204030204" pitchFamily="34" charset="0"/>
                          <a:cs typeface="Calibri Light" panose="020F0302020204030204" pitchFamily="34" charset="0"/>
                        </a:rPr>
                        <a:t>Departamento</a:t>
                      </a: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rtl="0"/>
                      <a:r>
                        <a:rPr lang="es-419" sz="900" b="1">
                          <a:latin typeface="Calibri Light" panose="020F0302020204030204" pitchFamily="34" charset="0"/>
                          <a:cs typeface="Calibri Light" panose="020F0302020204030204" pitchFamily="34" charset="0"/>
                        </a:rPr>
                        <a:t>Demanda</a:t>
                      </a:r>
                    </a:p>
                  </a:txBody>
                  <a:tcPr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726898780"/>
                  </a:ext>
                </a:extLst>
              </a:tr>
              <a:tr h="328819">
                <a:tc>
                  <a:txBody>
                    <a:bodyPr/>
                    <a:lstStyle/>
                    <a:p>
                      <a:pPr rtl="0"/>
                      <a:r>
                        <a:rPr lang="es-419" sz="900">
                          <a:latin typeface="Calibri Light" panose="020F0302020204030204" pitchFamily="34" charset="0"/>
                          <a:cs typeface="Calibri Light" panose="020F0302020204030204" pitchFamily="34" charset="0"/>
                        </a:rPr>
                        <a:t>Santa Cruz</a:t>
                      </a:r>
                    </a:p>
                  </a:txBody>
                  <a:tcPr>
                    <a:lnT w="3175" cap="flat" cmpd="sng" algn="ctr">
                      <a:solidFill>
                        <a:schemeClr val="bg1">
                          <a:lumMod val="50000"/>
                        </a:schemeClr>
                      </a:solidFill>
                      <a:prstDash val="solid"/>
                      <a:round/>
                      <a:headEnd type="none" w="med" len="med"/>
                      <a:tailEnd type="none" w="med" len="med"/>
                    </a:lnT>
                    <a:noFill/>
                  </a:tcPr>
                </a:tc>
                <a:tc>
                  <a:txBody>
                    <a:bodyPr/>
                    <a:lstStyle/>
                    <a:p>
                      <a:pPr rtl="0"/>
                      <a:endParaRPr lang="es-419" sz="800">
                        <a:latin typeface="Calibri Light" panose="020F0302020204030204" pitchFamily="34" charset="0"/>
                        <a:cs typeface="Calibri Light" panose="020F0302020204030204" pitchFamily="34" charset="0"/>
                      </a:endParaRPr>
                    </a:p>
                  </a:txBody>
                  <a:tcPr>
                    <a:lnT w="3175"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xmlns="" val="1160057125"/>
                  </a:ext>
                </a:extLst>
              </a:tr>
              <a:tr h="328819">
                <a:tc>
                  <a:txBody>
                    <a:bodyPr/>
                    <a:lstStyle/>
                    <a:p>
                      <a:pPr rtl="0"/>
                      <a:r>
                        <a:rPr lang="es-419" sz="900">
                          <a:latin typeface="Calibri Light" panose="020F0302020204030204" pitchFamily="34" charset="0"/>
                          <a:cs typeface="Calibri Light" panose="020F0302020204030204" pitchFamily="34" charset="0"/>
                        </a:rPr>
                        <a:t>Cochabamba</a:t>
                      </a:r>
                    </a:p>
                  </a:txBody>
                  <a:tcPr>
                    <a:noFill/>
                  </a:tcPr>
                </a:tc>
                <a:tc>
                  <a:txBody>
                    <a:bodyPr/>
                    <a:lstStyle/>
                    <a:p>
                      <a:pPr rtl="0"/>
                      <a:endParaRPr lang="es-419" sz="800">
                        <a:latin typeface="Calibri Light" panose="020F0302020204030204" pitchFamily="34" charset="0"/>
                        <a:cs typeface="Calibri Light" panose="020F0302020204030204" pitchFamily="34" charset="0"/>
                      </a:endParaRPr>
                    </a:p>
                  </a:txBody>
                  <a:tcPr>
                    <a:noFill/>
                  </a:tcPr>
                </a:tc>
                <a:extLst>
                  <a:ext uri="{0D108BD9-81ED-4DB2-BD59-A6C34878D82A}">
                    <a16:rowId xmlns:a16="http://schemas.microsoft.com/office/drawing/2014/main" xmlns="" val="1161850381"/>
                  </a:ext>
                </a:extLst>
              </a:tr>
              <a:tr h="328819">
                <a:tc>
                  <a:txBody>
                    <a:bodyPr/>
                    <a:lstStyle/>
                    <a:p>
                      <a:pPr rtl="0"/>
                      <a:r>
                        <a:rPr lang="es-419" sz="900">
                          <a:latin typeface="Calibri Light" panose="020F0302020204030204" pitchFamily="34" charset="0"/>
                          <a:cs typeface="Calibri Light" panose="020F0302020204030204" pitchFamily="34" charset="0"/>
                        </a:rPr>
                        <a:t>La Paz</a:t>
                      </a:r>
                    </a:p>
                  </a:txBody>
                  <a:tcPr>
                    <a:noFill/>
                  </a:tcPr>
                </a:tc>
                <a:tc>
                  <a:txBody>
                    <a:bodyPr/>
                    <a:lstStyle/>
                    <a:p>
                      <a:pPr rtl="0"/>
                      <a:endParaRPr lang="es-419" sz="800">
                        <a:latin typeface="Calibri Light" panose="020F0302020204030204" pitchFamily="34" charset="0"/>
                        <a:cs typeface="Calibri Light" panose="020F0302020204030204" pitchFamily="34" charset="0"/>
                      </a:endParaRPr>
                    </a:p>
                  </a:txBody>
                  <a:tcPr>
                    <a:noFill/>
                  </a:tcPr>
                </a:tc>
                <a:extLst>
                  <a:ext uri="{0D108BD9-81ED-4DB2-BD59-A6C34878D82A}">
                    <a16:rowId xmlns:a16="http://schemas.microsoft.com/office/drawing/2014/main" xmlns="" val="4276173574"/>
                  </a:ext>
                </a:extLst>
              </a:tr>
              <a:tr h="328819">
                <a:tc>
                  <a:txBody>
                    <a:bodyPr/>
                    <a:lstStyle/>
                    <a:p>
                      <a:pPr rtl="0"/>
                      <a:r>
                        <a:rPr lang="es-419" sz="900">
                          <a:latin typeface="Calibri Light" panose="020F0302020204030204" pitchFamily="34" charset="0"/>
                          <a:cs typeface="Calibri Light" panose="020F0302020204030204" pitchFamily="34" charset="0"/>
                        </a:rPr>
                        <a:t>Oruro</a:t>
                      </a:r>
                    </a:p>
                  </a:txBody>
                  <a:tcPr>
                    <a:noFill/>
                  </a:tcPr>
                </a:tc>
                <a:tc>
                  <a:txBody>
                    <a:bodyPr/>
                    <a:lstStyle/>
                    <a:p>
                      <a:pPr rtl="0"/>
                      <a:endParaRPr lang="es-419" sz="800">
                        <a:latin typeface="Calibri Light" panose="020F0302020204030204" pitchFamily="34" charset="0"/>
                        <a:cs typeface="Calibri Light" panose="020F0302020204030204" pitchFamily="34" charset="0"/>
                      </a:endParaRPr>
                    </a:p>
                  </a:txBody>
                  <a:tcPr>
                    <a:noFill/>
                  </a:tcPr>
                </a:tc>
                <a:extLst>
                  <a:ext uri="{0D108BD9-81ED-4DB2-BD59-A6C34878D82A}">
                    <a16:rowId xmlns:a16="http://schemas.microsoft.com/office/drawing/2014/main" xmlns="" val="1734915252"/>
                  </a:ext>
                </a:extLst>
              </a:tr>
              <a:tr h="328819">
                <a:tc>
                  <a:txBody>
                    <a:bodyPr/>
                    <a:lstStyle/>
                    <a:p>
                      <a:pPr rtl="0"/>
                      <a:r>
                        <a:rPr lang="es-419" sz="900">
                          <a:latin typeface="Calibri Light" panose="020F0302020204030204" pitchFamily="34" charset="0"/>
                          <a:cs typeface="Calibri Light" panose="020F0302020204030204" pitchFamily="34" charset="0"/>
                        </a:rPr>
                        <a:t>Potosí</a:t>
                      </a:r>
                    </a:p>
                  </a:txBody>
                  <a:tcPr>
                    <a:noFill/>
                  </a:tcPr>
                </a:tc>
                <a:tc>
                  <a:txBody>
                    <a:bodyPr/>
                    <a:lstStyle/>
                    <a:p>
                      <a:pPr rtl="0"/>
                      <a:endParaRPr lang="es-419" sz="800">
                        <a:latin typeface="Calibri Light" panose="020F0302020204030204" pitchFamily="34" charset="0"/>
                        <a:cs typeface="Calibri Light" panose="020F0302020204030204" pitchFamily="34" charset="0"/>
                      </a:endParaRPr>
                    </a:p>
                  </a:txBody>
                  <a:tcPr>
                    <a:noFill/>
                  </a:tcPr>
                </a:tc>
                <a:extLst>
                  <a:ext uri="{0D108BD9-81ED-4DB2-BD59-A6C34878D82A}">
                    <a16:rowId xmlns:a16="http://schemas.microsoft.com/office/drawing/2014/main" xmlns="" val="3262527296"/>
                  </a:ext>
                </a:extLst>
              </a:tr>
              <a:tr h="328819">
                <a:tc>
                  <a:txBody>
                    <a:bodyPr/>
                    <a:lstStyle/>
                    <a:p>
                      <a:pPr rtl="0"/>
                      <a:r>
                        <a:rPr lang="es-419" sz="900">
                          <a:latin typeface="Calibri Light" panose="020F0302020204030204" pitchFamily="34" charset="0"/>
                          <a:cs typeface="Calibri Light" panose="020F0302020204030204" pitchFamily="34" charset="0"/>
                        </a:rPr>
                        <a:t>Tarija</a:t>
                      </a:r>
                    </a:p>
                  </a:txBody>
                  <a:tcPr>
                    <a:lnB w="3175" cap="flat" cmpd="sng" algn="ctr">
                      <a:solidFill>
                        <a:schemeClr val="bg1">
                          <a:lumMod val="50000"/>
                        </a:schemeClr>
                      </a:solidFill>
                      <a:prstDash val="solid"/>
                      <a:round/>
                      <a:headEnd type="none" w="med" len="med"/>
                      <a:tailEnd type="none" w="med" len="med"/>
                    </a:lnB>
                    <a:noFill/>
                  </a:tcPr>
                </a:tc>
                <a:tc>
                  <a:txBody>
                    <a:bodyPr/>
                    <a:lstStyle/>
                    <a:p>
                      <a:pPr rtl="0"/>
                      <a:endParaRPr lang="es-419" sz="800">
                        <a:latin typeface="Calibri Light" panose="020F0302020204030204" pitchFamily="34" charset="0"/>
                        <a:cs typeface="Calibri Light" panose="020F0302020204030204" pitchFamily="34" charset="0"/>
                      </a:endParaRPr>
                    </a:p>
                  </a:txBody>
                  <a:tcPr>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667447764"/>
                  </a:ext>
                </a:extLst>
              </a:tr>
            </a:tbl>
          </a:graphicData>
        </a:graphic>
      </p:graphicFrame>
      <p:sp>
        <p:nvSpPr>
          <p:cNvPr id="9" name="Speech Bubble: Rectangle with Corners Rounded 707">
            <a:extLst>
              <a:ext uri="{FF2B5EF4-FFF2-40B4-BE49-F238E27FC236}">
                <a16:creationId xmlns:a16="http://schemas.microsoft.com/office/drawing/2014/main" xmlns="" id="{A8AF6663-DA3A-FE16-0786-DEF10566F69B}"/>
              </a:ext>
            </a:extLst>
          </p:cNvPr>
          <p:cNvSpPr/>
          <p:nvPr/>
        </p:nvSpPr>
        <p:spPr bwMode="gray">
          <a:xfrm>
            <a:off x="747982" y="5473220"/>
            <a:ext cx="4640547" cy="366482"/>
          </a:xfrm>
          <a:prstGeom prst="wedgeRoundRectCallout">
            <a:avLst>
              <a:gd name="adj1" fmla="val -39585"/>
              <a:gd name="adj2" fmla="val -34136"/>
              <a:gd name="adj3" fmla="val 16667"/>
            </a:avLst>
          </a:prstGeom>
          <a:ln w="9525">
            <a:noFill/>
            <a:prstDash val="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spcAft>
                <a:spcPts val="300"/>
              </a:spcAft>
            </a:pPr>
            <a:r>
              <a:rPr lang="es-419" sz="1000" b="1" i="0" dirty="0">
                <a:solidFill>
                  <a:srgbClr val="0D0D0D"/>
                </a:solidFill>
                <a:effectLst/>
                <a:latin typeface="Calibri Light" panose="020F0302020204030204" pitchFamily="34" charset="0"/>
                <a:cs typeface="Calibri Light" panose="020F0302020204030204" pitchFamily="34" charset="0"/>
              </a:rPr>
              <a:t>La demanda se concentra principalmente en Santa Cruz, seguido La Paz, Cochabamba, Tarija, Oruro y Potosí </a:t>
            </a:r>
            <a:endParaRPr lang="es-419" sz="1000" b="1" dirty="0">
              <a:latin typeface="Calibri Light" panose="020F0302020204030204" pitchFamily="34" charset="0"/>
              <a:cs typeface="Calibri Light" panose="020F0302020204030204" pitchFamily="34" charset="0"/>
            </a:endParaRPr>
          </a:p>
        </p:txBody>
      </p:sp>
      <p:grpSp>
        <p:nvGrpSpPr>
          <p:cNvPr id="11" name="Group 710">
            <a:extLst>
              <a:ext uri="{FF2B5EF4-FFF2-40B4-BE49-F238E27FC236}">
                <a16:creationId xmlns:a16="http://schemas.microsoft.com/office/drawing/2014/main" xmlns="" id="{F659C89F-C538-36CF-2EF1-C62CA258C6AD}"/>
              </a:ext>
            </a:extLst>
          </p:cNvPr>
          <p:cNvGrpSpPr/>
          <p:nvPr/>
        </p:nvGrpSpPr>
        <p:grpSpPr>
          <a:xfrm>
            <a:off x="515937" y="1921755"/>
            <a:ext cx="3297581" cy="3233523"/>
            <a:chOff x="515937" y="1921755"/>
            <a:chExt cx="3297581" cy="3233523"/>
          </a:xfrm>
        </p:grpSpPr>
        <p:grpSp>
          <p:nvGrpSpPr>
            <p:cNvPr id="13" name="Group 711">
              <a:extLst>
                <a:ext uri="{FF2B5EF4-FFF2-40B4-BE49-F238E27FC236}">
                  <a16:creationId xmlns:a16="http://schemas.microsoft.com/office/drawing/2014/main" xmlns="" id="{64D1267C-2C53-0E1D-17A5-7A9BCE39E53E}"/>
                </a:ext>
              </a:extLst>
            </p:cNvPr>
            <p:cNvGrpSpPr/>
            <p:nvPr/>
          </p:nvGrpSpPr>
          <p:grpSpPr>
            <a:xfrm>
              <a:off x="515937" y="1921755"/>
              <a:ext cx="3297581" cy="3233523"/>
              <a:chOff x="3035299" y="1135064"/>
              <a:chExt cx="5715001" cy="5603877"/>
            </a:xfrm>
          </p:grpSpPr>
          <p:grpSp>
            <p:nvGrpSpPr>
              <p:cNvPr id="2290" name="Admin 1 areas">
                <a:extLst>
                  <a:ext uri="{FF2B5EF4-FFF2-40B4-BE49-F238E27FC236}">
                    <a16:creationId xmlns:a16="http://schemas.microsoft.com/office/drawing/2014/main" xmlns="" id="{4F9037A2-0574-FEF3-86B4-52463A9D8B08}"/>
                  </a:ext>
                </a:extLst>
              </p:cNvPr>
              <p:cNvGrpSpPr>
                <a:grpSpLocks noChangeAspect="1"/>
              </p:cNvGrpSpPr>
              <p:nvPr/>
            </p:nvGrpSpPr>
            <p:grpSpPr bwMode="auto">
              <a:xfrm>
                <a:off x="3035299" y="1135064"/>
                <a:ext cx="5029196" cy="5603877"/>
                <a:chOff x="1944" y="723"/>
                <a:chExt cx="3168" cy="3530"/>
              </a:xfrm>
            </p:grpSpPr>
            <p:sp>
              <p:nvSpPr>
                <p:cNvPr id="2071" name="Beni" hidden="1">
                  <a:extLst>
                    <a:ext uri="{FF2B5EF4-FFF2-40B4-BE49-F238E27FC236}">
                      <a16:creationId xmlns:a16="http://schemas.microsoft.com/office/drawing/2014/main" xmlns="" id="{7C2E3F9C-83F1-FB7A-C706-F5AEBD114B6D}"/>
                    </a:ext>
                  </a:extLst>
                </p:cNvPr>
                <p:cNvSpPr>
                  <a:spLocks/>
                </p:cNvSpPr>
                <p:nvPr/>
              </p:nvSpPr>
              <p:spPr bwMode="auto">
                <a:xfrm>
                  <a:off x="2488" y="911"/>
                  <a:ext cx="1559" cy="1618"/>
                </a:xfrm>
                <a:custGeom>
                  <a:avLst/>
                  <a:gdLst>
                    <a:gd name="T0" fmla="*/ 585 w 1559"/>
                    <a:gd name="T1" fmla="*/ 137 h 1618"/>
                    <a:gd name="T2" fmla="*/ 588 w 1559"/>
                    <a:gd name="T3" fmla="*/ 299 h 1618"/>
                    <a:gd name="T4" fmla="*/ 646 w 1559"/>
                    <a:gd name="T5" fmla="*/ 417 h 1618"/>
                    <a:gd name="T6" fmla="*/ 714 w 1559"/>
                    <a:gd name="T7" fmla="*/ 450 h 1618"/>
                    <a:gd name="T8" fmla="*/ 785 w 1559"/>
                    <a:gd name="T9" fmla="*/ 522 h 1618"/>
                    <a:gd name="T10" fmla="*/ 868 w 1559"/>
                    <a:gd name="T11" fmla="*/ 552 h 1618"/>
                    <a:gd name="T12" fmla="*/ 914 w 1559"/>
                    <a:gd name="T13" fmla="*/ 562 h 1618"/>
                    <a:gd name="T14" fmla="*/ 971 w 1559"/>
                    <a:gd name="T15" fmla="*/ 542 h 1618"/>
                    <a:gd name="T16" fmla="*/ 1046 w 1559"/>
                    <a:gd name="T17" fmla="*/ 575 h 1618"/>
                    <a:gd name="T18" fmla="*/ 1107 w 1559"/>
                    <a:gd name="T19" fmla="*/ 607 h 1618"/>
                    <a:gd name="T20" fmla="*/ 1142 w 1559"/>
                    <a:gd name="T21" fmla="*/ 596 h 1618"/>
                    <a:gd name="T22" fmla="*/ 1169 w 1559"/>
                    <a:gd name="T23" fmla="*/ 630 h 1618"/>
                    <a:gd name="T24" fmla="*/ 1206 w 1559"/>
                    <a:gd name="T25" fmla="*/ 657 h 1618"/>
                    <a:gd name="T26" fmla="*/ 1241 w 1559"/>
                    <a:gd name="T27" fmla="*/ 694 h 1618"/>
                    <a:gd name="T28" fmla="*/ 1280 w 1559"/>
                    <a:gd name="T29" fmla="*/ 693 h 1618"/>
                    <a:gd name="T30" fmla="*/ 1325 w 1559"/>
                    <a:gd name="T31" fmla="*/ 714 h 1618"/>
                    <a:gd name="T32" fmla="*/ 1365 w 1559"/>
                    <a:gd name="T33" fmla="*/ 729 h 1618"/>
                    <a:gd name="T34" fmla="*/ 1406 w 1559"/>
                    <a:gd name="T35" fmla="*/ 730 h 1618"/>
                    <a:gd name="T36" fmla="*/ 1434 w 1559"/>
                    <a:gd name="T37" fmla="*/ 785 h 1618"/>
                    <a:gd name="T38" fmla="*/ 1476 w 1559"/>
                    <a:gd name="T39" fmla="*/ 830 h 1618"/>
                    <a:gd name="T40" fmla="*/ 1528 w 1559"/>
                    <a:gd name="T41" fmla="*/ 826 h 1618"/>
                    <a:gd name="T42" fmla="*/ 936 w 1559"/>
                    <a:gd name="T43" fmla="*/ 1157 h 1618"/>
                    <a:gd name="T44" fmla="*/ 937 w 1559"/>
                    <a:gd name="T45" fmla="*/ 1202 h 1618"/>
                    <a:gd name="T46" fmla="*/ 933 w 1559"/>
                    <a:gd name="T47" fmla="*/ 1239 h 1618"/>
                    <a:gd name="T48" fmla="*/ 950 w 1559"/>
                    <a:gd name="T49" fmla="*/ 1268 h 1618"/>
                    <a:gd name="T50" fmla="*/ 959 w 1559"/>
                    <a:gd name="T51" fmla="*/ 1294 h 1618"/>
                    <a:gd name="T52" fmla="*/ 979 w 1559"/>
                    <a:gd name="T53" fmla="*/ 1326 h 1618"/>
                    <a:gd name="T54" fmla="*/ 989 w 1559"/>
                    <a:gd name="T55" fmla="*/ 1342 h 1618"/>
                    <a:gd name="T56" fmla="*/ 1001 w 1559"/>
                    <a:gd name="T57" fmla="*/ 1367 h 1618"/>
                    <a:gd name="T58" fmla="*/ 1019 w 1559"/>
                    <a:gd name="T59" fmla="*/ 1386 h 1618"/>
                    <a:gd name="T60" fmla="*/ 1047 w 1559"/>
                    <a:gd name="T61" fmla="*/ 1397 h 1618"/>
                    <a:gd name="T62" fmla="*/ 1067 w 1559"/>
                    <a:gd name="T63" fmla="*/ 1418 h 1618"/>
                    <a:gd name="T64" fmla="*/ 1068 w 1559"/>
                    <a:gd name="T65" fmla="*/ 1443 h 1618"/>
                    <a:gd name="T66" fmla="*/ 318 w 1559"/>
                    <a:gd name="T67" fmla="*/ 1519 h 1618"/>
                    <a:gd name="T68" fmla="*/ 173 w 1559"/>
                    <a:gd name="T69" fmla="*/ 1382 h 1618"/>
                    <a:gd name="T70" fmla="*/ 146 w 1559"/>
                    <a:gd name="T71" fmla="*/ 1353 h 1618"/>
                    <a:gd name="T72" fmla="*/ 121 w 1559"/>
                    <a:gd name="T73" fmla="*/ 1333 h 1618"/>
                    <a:gd name="T74" fmla="*/ 114 w 1559"/>
                    <a:gd name="T75" fmla="*/ 1299 h 1618"/>
                    <a:gd name="T76" fmla="*/ 101 w 1559"/>
                    <a:gd name="T77" fmla="*/ 1270 h 1618"/>
                    <a:gd name="T78" fmla="*/ 88 w 1559"/>
                    <a:gd name="T79" fmla="*/ 1249 h 1618"/>
                    <a:gd name="T80" fmla="*/ 62 w 1559"/>
                    <a:gd name="T81" fmla="*/ 1241 h 1618"/>
                    <a:gd name="T82" fmla="*/ 41 w 1559"/>
                    <a:gd name="T83" fmla="*/ 1218 h 1618"/>
                    <a:gd name="T84" fmla="*/ 42 w 1559"/>
                    <a:gd name="T85" fmla="*/ 1186 h 1618"/>
                    <a:gd name="T86" fmla="*/ 35 w 1559"/>
                    <a:gd name="T87" fmla="*/ 1161 h 1618"/>
                    <a:gd name="T88" fmla="*/ 10 w 1559"/>
                    <a:gd name="T89" fmla="*/ 1127 h 1618"/>
                    <a:gd name="T90" fmla="*/ 2 w 1559"/>
                    <a:gd name="T91" fmla="*/ 1058 h 1618"/>
                    <a:gd name="T92" fmla="*/ 14 w 1559"/>
                    <a:gd name="T93" fmla="*/ 985 h 1618"/>
                    <a:gd name="T94" fmla="*/ 7 w 1559"/>
                    <a:gd name="T95" fmla="*/ 907 h 1618"/>
                    <a:gd name="T96" fmla="*/ 49 w 1559"/>
                    <a:gd name="T97" fmla="*/ 849 h 1618"/>
                    <a:gd name="T98" fmla="*/ 54 w 1559"/>
                    <a:gd name="T99" fmla="*/ 798 h 1618"/>
                    <a:gd name="T100" fmla="*/ 98 w 1559"/>
                    <a:gd name="T101" fmla="*/ 740 h 1618"/>
                    <a:gd name="T102" fmla="*/ 128 w 1559"/>
                    <a:gd name="T103" fmla="*/ 689 h 1618"/>
                    <a:gd name="T104" fmla="*/ 146 w 1559"/>
                    <a:gd name="T105" fmla="*/ 643 h 1618"/>
                    <a:gd name="T106" fmla="*/ 145 w 1559"/>
                    <a:gd name="T107" fmla="*/ 584 h 1618"/>
                    <a:gd name="T108" fmla="*/ 164 w 1559"/>
                    <a:gd name="T109" fmla="*/ 529 h 1618"/>
                    <a:gd name="T110" fmla="*/ 156 w 1559"/>
                    <a:gd name="T111" fmla="*/ 478 h 1618"/>
                    <a:gd name="T112" fmla="*/ 157 w 1559"/>
                    <a:gd name="T113" fmla="*/ 420 h 1618"/>
                    <a:gd name="T114" fmla="*/ 173 w 1559"/>
                    <a:gd name="T115" fmla="*/ 370 h 1618"/>
                    <a:gd name="T116" fmla="*/ 217 w 1559"/>
                    <a:gd name="T117" fmla="*/ 317 h 1618"/>
                    <a:gd name="T118" fmla="*/ 290 w 1559"/>
                    <a:gd name="T119" fmla="*/ 266 h 1618"/>
                    <a:gd name="T120" fmla="*/ 338 w 1559"/>
                    <a:gd name="T121" fmla="*/ 198 h 1618"/>
                    <a:gd name="T122" fmla="*/ 415 w 1559"/>
                    <a:gd name="T123" fmla="*/ 119 h 1618"/>
                    <a:gd name="T124" fmla="*/ 527 w 1559"/>
                    <a:gd name="T125" fmla="*/ 21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9" h="1618">
                      <a:moveTo>
                        <a:pt x="555" y="9"/>
                      </a:moveTo>
                      <a:lnTo>
                        <a:pt x="554" y="10"/>
                      </a:lnTo>
                      <a:lnTo>
                        <a:pt x="554" y="11"/>
                      </a:lnTo>
                      <a:lnTo>
                        <a:pt x="554" y="13"/>
                      </a:lnTo>
                      <a:lnTo>
                        <a:pt x="554" y="13"/>
                      </a:lnTo>
                      <a:lnTo>
                        <a:pt x="554" y="15"/>
                      </a:lnTo>
                      <a:lnTo>
                        <a:pt x="553" y="15"/>
                      </a:lnTo>
                      <a:lnTo>
                        <a:pt x="552" y="16"/>
                      </a:lnTo>
                      <a:lnTo>
                        <a:pt x="552" y="17"/>
                      </a:lnTo>
                      <a:lnTo>
                        <a:pt x="550" y="18"/>
                      </a:lnTo>
                      <a:lnTo>
                        <a:pt x="550" y="19"/>
                      </a:lnTo>
                      <a:lnTo>
                        <a:pt x="550" y="21"/>
                      </a:lnTo>
                      <a:lnTo>
                        <a:pt x="548" y="22"/>
                      </a:lnTo>
                      <a:lnTo>
                        <a:pt x="548" y="22"/>
                      </a:lnTo>
                      <a:lnTo>
                        <a:pt x="546" y="22"/>
                      </a:lnTo>
                      <a:lnTo>
                        <a:pt x="545" y="21"/>
                      </a:lnTo>
                      <a:lnTo>
                        <a:pt x="544" y="21"/>
                      </a:lnTo>
                      <a:lnTo>
                        <a:pt x="543" y="22"/>
                      </a:lnTo>
                      <a:lnTo>
                        <a:pt x="543" y="23"/>
                      </a:lnTo>
                      <a:lnTo>
                        <a:pt x="542" y="24"/>
                      </a:lnTo>
                      <a:lnTo>
                        <a:pt x="542" y="25"/>
                      </a:lnTo>
                      <a:lnTo>
                        <a:pt x="542" y="26"/>
                      </a:lnTo>
                      <a:lnTo>
                        <a:pt x="542" y="27"/>
                      </a:lnTo>
                      <a:lnTo>
                        <a:pt x="542" y="28"/>
                      </a:lnTo>
                      <a:lnTo>
                        <a:pt x="543" y="30"/>
                      </a:lnTo>
                      <a:lnTo>
                        <a:pt x="545" y="31"/>
                      </a:lnTo>
                      <a:lnTo>
                        <a:pt x="546" y="32"/>
                      </a:lnTo>
                      <a:lnTo>
                        <a:pt x="546" y="33"/>
                      </a:lnTo>
                      <a:lnTo>
                        <a:pt x="547" y="34"/>
                      </a:lnTo>
                      <a:lnTo>
                        <a:pt x="546" y="35"/>
                      </a:lnTo>
                      <a:lnTo>
                        <a:pt x="546" y="36"/>
                      </a:lnTo>
                      <a:lnTo>
                        <a:pt x="546" y="37"/>
                      </a:lnTo>
                      <a:lnTo>
                        <a:pt x="544" y="38"/>
                      </a:lnTo>
                      <a:lnTo>
                        <a:pt x="544" y="40"/>
                      </a:lnTo>
                      <a:lnTo>
                        <a:pt x="544" y="41"/>
                      </a:lnTo>
                      <a:lnTo>
                        <a:pt x="545" y="42"/>
                      </a:lnTo>
                      <a:lnTo>
                        <a:pt x="546" y="44"/>
                      </a:lnTo>
                      <a:lnTo>
                        <a:pt x="548" y="44"/>
                      </a:lnTo>
                      <a:lnTo>
                        <a:pt x="548" y="46"/>
                      </a:lnTo>
                      <a:lnTo>
                        <a:pt x="548" y="47"/>
                      </a:lnTo>
                      <a:lnTo>
                        <a:pt x="549" y="49"/>
                      </a:lnTo>
                      <a:lnTo>
                        <a:pt x="550" y="51"/>
                      </a:lnTo>
                      <a:lnTo>
                        <a:pt x="550" y="52"/>
                      </a:lnTo>
                      <a:lnTo>
                        <a:pt x="551" y="53"/>
                      </a:lnTo>
                      <a:lnTo>
                        <a:pt x="550" y="54"/>
                      </a:lnTo>
                      <a:lnTo>
                        <a:pt x="550" y="55"/>
                      </a:lnTo>
                      <a:lnTo>
                        <a:pt x="549" y="56"/>
                      </a:lnTo>
                      <a:lnTo>
                        <a:pt x="548" y="57"/>
                      </a:lnTo>
                      <a:lnTo>
                        <a:pt x="548" y="57"/>
                      </a:lnTo>
                      <a:lnTo>
                        <a:pt x="547" y="59"/>
                      </a:lnTo>
                      <a:lnTo>
                        <a:pt x="547" y="60"/>
                      </a:lnTo>
                      <a:lnTo>
                        <a:pt x="547" y="61"/>
                      </a:lnTo>
                      <a:lnTo>
                        <a:pt x="548" y="63"/>
                      </a:lnTo>
                      <a:lnTo>
                        <a:pt x="548" y="63"/>
                      </a:lnTo>
                      <a:lnTo>
                        <a:pt x="548" y="64"/>
                      </a:lnTo>
                      <a:lnTo>
                        <a:pt x="549" y="65"/>
                      </a:lnTo>
                      <a:lnTo>
                        <a:pt x="548" y="66"/>
                      </a:lnTo>
                      <a:lnTo>
                        <a:pt x="548" y="67"/>
                      </a:lnTo>
                      <a:lnTo>
                        <a:pt x="548" y="68"/>
                      </a:lnTo>
                      <a:lnTo>
                        <a:pt x="548" y="69"/>
                      </a:lnTo>
                      <a:lnTo>
                        <a:pt x="549" y="70"/>
                      </a:lnTo>
                      <a:lnTo>
                        <a:pt x="550" y="70"/>
                      </a:lnTo>
                      <a:lnTo>
                        <a:pt x="552" y="70"/>
                      </a:lnTo>
                      <a:lnTo>
                        <a:pt x="554" y="70"/>
                      </a:lnTo>
                      <a:lnTo>
                        <a:pt x="555" y="70"/>
                      </a:lnTo>
                      <a:lnTo>
                        <a:pt x="557" y="70"/>
                      </a:lnTo>
                      <a:lnTo>
                        <a:pt x="559" y="72"/>
                      </a:lnTo>
                      <a:lnTo>
                        <a:pt x="561" y="73"/>
                      </a:lnTo>
                      <a:lnTo>
                        <a:pt x="562" y="74"/>
                      </a:lnTo>
                      <a:lnTo>
                        <a:pt x="563" y="76"/>
                      </a:lnTo>
                      <a:lnTo>
                        <a:pt x="564" y="80"/>
                      </a:lnTo>
                      <a:lnTo>
                        <a:pt x="564" y="82"/>
                      </a:lnTo>
                      <a:lnTo>
                        <a:pt x="565" y="85"/>
                      </a:lnTo>
                      <a:lnTo>
                        <a:pt x="565" y="90"/>
                      </a:lnTo>
                      <a:lnTo>
                        <a:pt x="563" y="93"/>
                      </a:lnTo>
                      <a:lnTo>
                        <a:pt x="563" y="95"/>
                      </a:lnTo>
                      <a:lnTo>
                        <a:pt x="564" y="98"/>
                      </a:lnTo>
                      <a:lnTo>
                        <a:pt x="565" y="100"/>
                      </a:lnTo>
                      <a:lnTo>
                        <a:pt x="565" y="102"/>
                      </a:lnTo>
                      <a:lnTo>
                        <a:pt x="565" y="103"/>
                      </a:lnTo>
                      <a:lnTo>
                        <a:pt x="564" y="104"/>
                      </a:lnTo>
                      <a:lnTo>
                        <a:pt x="564" y="105"/>
                      </a:lnTo>
                      <a:lnTo>
                        <a:pt x="563" y="105"/>
                      </a:lnTo>
                      <a:lnTo>
                        <a:pt x="561" y="106"/>
                      </a:lnTo>
                      <a:lnTo>
                        <a:pt x="560" y="107"/>
                      </a:lnTo>
                      <a:lnTo>
                        <a:pt x="560" y="109"/>
                      </a:lnTo>
                      <a:lnTo>
                        <a:pt x="561" y="110"/>
                      </a:lnTo>
                      <a:lnTo>
                        <a:pt x="563" y="110"/>
                      </a:lnTo>
                      <a:lnTo>
                        <a:pt x="564" y="112"/>
                      </a:lnTo>
                      <a:lnTo>
                        <a:pt x="569" y="116"/>
                      </a:lnTo>
                      <a:lnTo>
                        <a:pt x="572" y="118"/>
                      </a:lnTo>
                      <a:lnTo>
                        <a:pt x="574" y="120"/>
                      </a:lnTo>
                      <a:lnTo>
                        <a:pt x="577" y="123"/>
                      </a:lnTo>
                      <a:lnTo>
                        <a:pt x="580" y="126"/>
                      </a:lnTo>
                      <a:lnTo>
                        <a:pt x="582" y="128"/>
                      </a:lnTo>
                      <a:lnTo>
                        <a:pt x="583" y="131"/>
                      </a:lnTo>
                      <a:lnTo>
                        <a:pt x="584" y="134"/>
                      </a:lnTo>
                      <a:lnTo>
                        <a:pt x="585" y="137"/>
                      </a:lnTo>
                      <a:lnTo>
                        <a:pt x="585" y="141"/>
                      </a:lnTo>
                      <a:lnTo>
                        <a:pt x="585" y="143"/>
                      </a:lnTo>
                      <a:lnTo>
                        <a:pt x="584" y="147"/>
                      </a:lnTo>
                      <a:lnTo>
                        <a:pt x="583" y="149"/>
                      </a:lnTo>
                      <a:lnTo>
                        <a:pt x="584" y="152"/>
                      </a:lnTo>
                      <a:lnTo>
                        <a:pt x="585" y="154"/>
                      </a:lnTo>
                      <a:lnTo>
                        <a:pt x="587" y="156"/>
                      </a:lnTo>
                      <a:lnTo>
                        <a:pt x="589" y="158"/>
                      </a:lnTo>
                      <a:lnTo>
                        <a:pt x="590" y="159"/>
                      </a:lnTo>
                      <a:lnTo>
                        <a:pt x="590" y="160"/>
                      </a:lnTo>
                      <a:lnTo>
                        <a:pt x="589" y="161"/>
                      </a:lnTo>
                      <a:lnTo>
                        <a:pt x="588" y="162"/>
                      </a:lnTo>
                      <a:lnTo>
                        <a:pt x="585" y="163"/>
                      </a:lnTo>
                      <a:lnTo>
                        <a:pt x="583" y="165"/>
                      </a:lnTo>
                      <a:lnTo>
                        <a:pt x="580" y="167"/>
                      </a:lnTo>
                      <a:lnTo>
                        <a:pt x="578" y="170"/>
                      </a:lnTo>
                      <a:lnTo>
                        <a:pt x="577" y="171"/>
                      </a:lnTo>
                      <a:lnTo>
                        <a:pt x="576" y="173"/>
                      </a:lnTo>
                      <a:lnTo>
                        <a:pt x="576" y="173"/>
                      </a:lnTo>
                      <a:lnTo>
                        <a:pt x="577" y="174"/>
                      </a:lnTo>
                      <a:lnTo>
                        <a:pt x="580" y="176"/>
                      </a:lnTo>
                      <a:lnTo>
                        <a:pt x="581" y="179"/>
                      </a:lnTo>
                      <a:lnTo>
                        <a:pt x="582" y="181"/>
                      </a:lnTo>
                      <a:lnTo>
                        <a:pt x="582" y="183"/>
                      </a:lnTo>
                      <a:lnTo>
                        <a:pt x="582" y="186"/>
                      </a:lnTo>
                      <a:lnTo>
                        <a:pt x="581" y="188"/>
                      </a:lnTo>
                      <a:lnTo>
                        <a:pt x="580" y="188"/>
                      </a:lnTo>
                      <a:lnTo>
                        <a:pt x="578" y="190"/>
                      </a:lnTo>
                      <a:lnTo>
                        <a:pt x="576" y="190"/>
                      </a:lnTo>
                      <a:lnTo>
                        <a:pt x="572" y="190"/>
                      </a:lnTo>
                      <a:lnTo>
                        <a:pt x="569" y="192"/>
                      </a:lnTo>
                      <a:lnTo>
                        <a:pt x="567" y="194"/>
                      </a:lnTo>
                      <a:lnTo>
                        <a:pt x="563" y="196"/>
                      </a:lnTo>
                      <a:lnTo>
                        <a:pt x="562" y="198"/>
                      </a:lnTo>
                      <a:lnTo>
                        <a:pt x="561" y="200"/>
                      </a:lnTo>
                      <a:lnTo>
                        <a:pt x="561" y="202"/>
                      </a:lnTo>
                      <a:lnTo>
                        <a:pt x="561" y="203"/>
                      </a:lnTo>
                      <a:lnTo>
                        <a:pt x="561" y="204"/>
                      </a:lnTo>
                      <a:lnTo>
                        <a:pt x="562" y="207"/>
                      </a:lnTo>
                      <a:lnTo>
                        <a:pt x="562" y="208"/>
                      </a:lnTo>
                      <a:lnTo>
                        <a:pt x="562" y="209"/>
                      </a:lnTo>
                      <a:lnTo>
                        <a:pt x="563" y="211"/>
                      </a:lnTo>
                      <a:lnTo>
                        <a:pt x="563" y="213"/>
                      </a:lnTo>
                      <a:lnTo>
                        <a:pt x="564" y="213"/>
                      </a:lnTo>
                      <a:lnTo>
                        <a:pt x="565" y="213"/>
                      </a:lnTo>
                      <a:lnTo>
                        <a:pt x="567" y="213"/>
                      </a:lnTo>
                      <a:lnTo>
                        <a:pt x="569" y="212"/>
                      </a:lnTo>
                      <a:lnTo>
                        <a:pt x="570" y="212"/>
                      </a:lnTo>
                      <a:lnTo>
                        <a:pt x="572" y="213"/>
                      </a:lnTo>
                      <a:lnTo>
                        <a:pt x="573" y="213"/>
                      </a:lnTo>
                      <a:lnTo>
                        <a:pt x="573" y="215"/>
                      </a:lnTo>
                      <a:lnTo>
                        <a:pt x="573" y="217"/>
                      </a:lnTo>
                      <a:lnTo>
                        <a:pt x="573" y="217"/>
                      </a:lnTo>
                      <a:lnTo>
                        <a:pt x="571" y="219"/>
                      </a:lnTo>
                      <a:lnTo>
                        <a:pt x="570" y="219"/>
                      </a:lnTo>
                      <a:lnTo>
                        <a:pt x="567" y="219"/>
                      </a:lnTo>
                      <a:lnTo>
                        <a:pt x="564" y="219"/>
                      </a:lnTo>
                      <a:lnTo>
                        <a:pt x="563" y="220"/>
                      </a:lnTo>
                      <a:lnTo>
                        <a:pt x="561" y="221"/>
                      </a:lnTo>
                      <a:lnTo>
                        <a:pt x="561" y="223"/>
                      </a:lnTo>
                      <a:lnTo>
                        <a:pt x="561" y="226"/>
                      </a:lnTo>
                      <a:lnTo>
                        <a:pt x="561" y="229"/>
                      </a:lnTo>
                      <a:lnTo>
                        <a:pt x="561" y="233"/>
                      </a:lnTo>
                      <a:lnTo>
                        <a:pt x="563" y="236"/>
                      </a:lnTo>
                      <a:lnTo>
                        <a:pt x="564" y="240"/>
                      </a:lnTo>
                      <a:lnTo>
                        <a:pt x="565" y="244"/>
                      </a:lnTo>
                      <a:lnTo>
                        <a:pt x="566" y="246"/>
                      </a:lnTo>
                      <a:lnTo>
                        <a:pt x="567" y="247"/>
                      </a:lnTo>
                      <a:lnTo>
                        <a:pt x="570" y="247"/>
                      </a:lnTo>
                      <a:lnTo>
                        <a:pt x="573" y="247"/>
                      </a:lnTo>
                      <a:lnTo>
                        <a:pt x="576" y="247"/>
                      </a:lnTo>
                      <a:lnTo>
                        <a:pt x="578" y="247"/>
                      </a:lnTo>
                      <a:lnTo>
                        <a:pt x="579" y="247"/>
                      </a:lnTo>
                      <a:lnTo>
                        <a:pt x="580" y="249"/>
                      </a:lnTo>
                      <a:lnTo>
                        <a:pt x="580" y="250"/>
                      </a:lnTo>
                      <a:lnTo>
                        <a:pt x="579" y="251"/>
                      </a:lnTo>
                      <a:lnTo>
                        <a:pt x="578" y="253"/>
                      </a:lnTo>
                      <a:lnTo>
                        <a:pt x="576" y="253"/>
                      </a:lnTo>
                      <a:lnTo>
                        <a:pt x="574" y="253"/>
                      </a:lnTo>
                      <a:lnTo>
                        <a:pt x="572" y="252"/>
                      </a:lnTo>
                      <a:lnTo>
                        <a:pt x="571" y="252"/>
                      </a:lnTo>
                      <a:lnTo>
                        <a:pt x="569" y="252"/>
                      </a:lnTo>
                      <a:lnTo>
                        <a:pt x="569" y="253"/>
                      </a:lnTo>
                      <a:lnTo>
                        <a:pt x="568" y="256"/>
                      </a:lnTo>
                      <a:lnTo>
                        <a:pt x="569" y="259"/>
                      </a:lnTo>
                      <a:lnTo>
                        <a:pt x="570" y="263"/>
                      </a:lnTo>
                      <a:lnTo>
                        <a:pt x="571" y="270"/>
                      </a:lnTo>
                      <a:lnTo>
                        <a:pt x="571" y="277"/>
                      </a:lnTo>
                      <a:lnTo>
                        <a:pt x="573" y="282"/>
                      </a:lnTo>
                      <a:lnTo>
                        <a:pt x="574" y="288"/>
                      </a:lnTo>
                      <a:lnTo>
                        <a:pt x="575" y="291"/>
                      </a:lnTo>
                      <a:lnTo>
                        <a:pt x="575" y="293"/>
                      </a:lnTo>
                      <a:lnTo>
                        <a:pt x="576" y="295"/>
                      </a:lnTo>
                      <a:lnTo>
                        <a:pt x="576" y="296"/>
                      </a:lnTo>
                      <a:lnTo>
                        <a:pt x="578" y="297"/>
                      </a:lnTo>
                      <a:lnTo>
                        <a:pt x="581" y="297"/>
                      </a:lnTo>
                      <a:lnTo>
                        <a:pt x="585" y="298"/>
                      </a:lnTo>
                      <a:lnTo>
                        <a:pt x="588" y="299"/>
                      </a:lnTo>
                      <a:lnTo>
                        <a:pt x="591" y="299"/>
                      </a:lnTo>
                      <a:lnTo>
                        <a:pt x="595" y="299"/>
                      </a:lnTo>
                      <a:lnTo>
                        <a:pt x="597" y="300"/>
                      </a:lnTo>
                      <a:lnTo>
                        <a:pt x="599" y="301"/>
                      </a:lnTo>
                      <a:lnTo>
                        <a:pt x="601" y="303"/>
                      </a:lnTo>
                      <a:lnTo>
                        <a:pt x="601" y="305"/>
                      </a:lnTo>
                      <a:lnTo>
                        <a:pt x="601" y="306"/>
                      </a:lnTo>
                      <a:lnTo>
                        <a:pt x="601" y="307"/>
                      </a:lnTo>
                      <a:lnTo>
                        <a:pt x="600" y="308"/>
                      </a:lnTo>
                      <a:lnTo>
                        <a:pt x="598" y="309"/>
                      </a:lnTo>
                      <a:lnTo>
                        <a:pt x="597" y="310"/>
                      </a:lnTo>
                      <a:lnTo>
                        <a:pt x="596" y="312"/>
                      </a:lnTo>
                      <a:lnTo>
                        <a:pt x="595" y="314"/>
                      </a:lnTo>
                      <a:lnTo>
                        <a:pt x="596" y="316"/>
                      </a:lnTo>
                      <a:lnTo>
                        <a:pt x="597" y="318"/>
                      </a:lnTo>
                      <a:lnTo>
                        <a:pt x="596" y="319"/>
                      </a:lnTo>
                      <a:lnTo>
                        <a:pt x="596" y="321"/>
                      </a:lnTo>
                      <a:lnTo>
                        <a:pt x="596" y="324"/>
                      </a:lnTo>
                      <a:lnTo>
                        <a:pt x="595" y="325"/>
                      </a:lnTo>
                      <a:lnTo>
                        <a:pt x="596" y="327"/>
                      </a:lnTo>
                      <a:lnTo>
                        <a:pt x="597" y="328"/>
                      </a:lnTo>
                      <a:lnTo>
                        <a:pt x="597" y="329"/>
                      </a:lnTo>
                      <a:lnTo>
                        <a:pt x="599" y="332"/>
                      </a:lnTo>
                      <a:lnTo>
                        <a:pt x="599" y="335"/>
                      </a:lnTo>
                      <a:lnTo>
                        <a:pt x="598" y="339"/>
                      </a:lnTo>
                      <a:lnTo>
                        <a:pt x="595" y="343"/>
                      </a:lnTo>
                      <a:lnTo>
                        <a:pt x="593" y="345"/>
                      </a:lnTo>
                      <a:lnTo>
                        <a:pt x="591" y="347"/>
                      </a:lnTo>
                      <a:lnTo>
                        <a:pt x="590" y="348"/>
                      </a:lnTo>
                      <a:lnTo>
                        <a:pt x="588" y="348"/>
                      </a:lnTo>
                      <a:lnTo>
                        <a:pt x="588" y="350"/>
                      </a:lnTo>
                      <a:lnTo>
                        <a:pt x="588" y="351"/>
                      </a:lnTo>
                      <a:lnTo>
                        <a:pt x="589" y="352"/>
                      </a:lnTo>
                      <a:lnTo>
                        <a:pt x="592" y="355"/>
                      </a:lnTo>
                      <a:lnTo>
                        <a:pt x="597" y="358"/>
                      </a:lnTo>
                      <a:lnTo>
                        <a:pt x="600" y="360"/>
                      </a:lnTo>
                      <a:lnTo>
                        <a:pt x="603" y="362"/>
                      </a:lnTo>
                      <a:lnTo>
                        <a:pt x="607" y="362"/>
                      </a:lnTo>
                      <a:lnTo>
                        <a:pt x="608" y="363"/>
                      </a:lnTo>
                      <a:lnTo>
                        <a:pt x="609" y="363"/>
                      </a:lnTo>
                      <a:lnTo>
                        <a:pt x="611" y="362"/>
                      </a:lnTo>
                      <a:lnTo>
                        <a:pt x="611" y="362"/>
                      </a:lnTo>
                      <a:lnTo>
                        <a:pt x="611" y="361"/>
                      </a:lnTo>
                      <a:lnTo>
                        <a:pt x="610" y="360"/>
                      </a:lnTo>
                      <a:lnTo>
                        <a:pt x="608" y="359"/>
                      </a:lnTo>
                      <a:lnTo>
                        <a:pt x="607" y="358"/>
                      </a:lnTo>
                      <a:lnTo>
                        <a:pt x="606" y="357"/>
                      </a:lnTo>
                      <a:lnTo>
                        <a:pt x="606" y="356"/>
                      </a:lnTo>
                      <a:lnTo>
                        <a:pt x="607" y="355"/>
                      </a:lnTo>
                      <a:lnTo>
                        <a:pt x="608" y="354"/>
                      </a:lnTo>
                      <a:lnTo>
                        <a:pt x="611" y="354"/>
                      </a:lnTo>
                      <a:lnTo>
                        <a:pt x="614" y="354"/>
                      </a:lnTo>
                      <a:lnTo>
                        <a:pt x="616" y="354"/>
                      </a:lnTo>
                      <a:lnTo>
                        <a:pt x="618" y="354"/>
                      </a:lnTo>
                      <a:lnTo>
                        <a:pt x="620" y="354"/>
                      </a:lnTo>
                      <a:lnTo>
                        <a:pt x="622" y="354"/>
                      </a:lnTo>
                      <a:lnTo>
                        <a:pt x="624" y="354"/>
                      </a:lnTo>
                      <a:lnTo>
                        <a:pt x="626" y="352"/>
                      </a:lnTo>
                      <a:lnTo>
                        <a:pt x="627" y="350"/>
                      </a:lnTo>
                      <a:lnTo>
                        <a:pt x="630" y="350"/>
                      </a:lnTo>
                      <a:lnTo>
                        <a:pt x="631" y="350"/>
                      </a:lnTo>
                      <a:lnTo>
                        <a:pt x="633" y="350"/>
                      </a:lnTo>
                      <a:lnTo>
                        <a:pt x="634" y="351"/>
                      </a:lnTo>
                      <a:lnTo>
                        <a:pt x="635" y="352"/>
                      </a:lnTo>
                      <a:lnTo>
                        <a:pt x="635" y="354"/>
                      </a:lnTo>
                      <a:lnTo>
                        <a:pt x="635" y="356"/>
                      </a:lnTo>
                      <a:lnTo>
                        <a:pt x="635" y="359"/>
                      </a:lnTo>
                      <a:lnTo>
                        <a:pt x="637" y="362"/>
                      </a:lnTo>
                      <a:lnTo>
                        <a:pt x="639" y="365"/>
                      </a:lnTo>
                      <a:lnTo>
                        <a:pt x="640" y="368"/>
                      </a:lnTo>
                      <a:lnTo>
                        <a:pt x="641" y="371"/>
                      </a:lnTo>
                      <a:lnTo>
                        <a:pt x="641" y="374"/>
                      </a:lnTo>
                      <a:lnTo>
                        <a:pt x="641" y="379"/>
                      </a:lnTo>
                      <a:lnTo>
                        <a:pt x="640" y="382"/>
                      </a:lnTo>
                      <a:lnTo>
                        <a:pt x="639" y="386"/>
                      </a:lnTo>
                      <a:lnTo>
                        <a:pt x="639" y="388"/>
                      </a:lnTo>
                      <a:lnTo>
                        <a:pt x="637" y="390"/>
                      </a:lnTo>
                      <a:lnTo>
                        <a:pt x="637" y="392"/>
                      </a:lnTo>
                      <a:lnTo>
                        <a:pt x="639" y="394"/>
                      </a:lnTo>
                      <a:lnTo>
                        <a:pt x="640" y="396"/>
                      </a:lnTo>
                      <a:lnTo>
                        <a:pt x="642" y="397"/>
                      </a:lnTo>
                      <a:lnTo>
                        <a:pt x="644" y="398"/>
                      </a:lnTo>
                      <a:lnTo>
                        <a:pt x="646" y="398"/>
                      </a:lnTo>
                      <a:lnTo>
                        <a:pt x="648" y="398"/>
                      </a:lnTo>
                      <a:lnTo>
                        <a:pt x="650" y="398"/>
                      </a:lnTo>
                      <a:lnTo>
                        <a:pt x="652" y="399"/>
                      </a:lnTo>
                      <a:lnTo>
                        <a:pt x="652" y="400"/>
                      </a:lnTo>
                      <a:lnTo>
                        <a:pt x="652" y="402"/>
                      </a:lnTo>
                      <a:lnTo>
                        <a:pt x="652" y="403"/>
                      </a:lnTo>
                      <a:lnTo>
                        <a:pt x="652" y="405"/>
                      </a:lnTo>
                      <a:lnTo>
                        <a:pt x="652" y="407"/>
                      </a:lnTo>
                      <a:lnTo>
                        <a:pt x="652" y="409"/>
                      </a:lnTo>
                      <a:lnTo>
                        <a:pt x="651" y="409"/>
                      </a:lnTo>
                      <a:lnTo>
                        <a:pt x="650" y="411"/>
                      </a:lnTo>
                      <a:lnTo>
                        <a:pt x="650" y="412"/>
                      </a:lnTo>
                      <a:lnTo>
                        <a:pt x="649" y="413"/>
                      </a:lnTo>
                      <a:lnTo>
                        <a:pt x="647" y="415"/>
                      </a:lnTo>
                      <a:lnTo>
                        <a:pt x="646" y="417"/>
                      </a:lnTo>
                      <a:lnTo>
                        <a:pt x="645" y="418"/>
                      </a:lnTo>
                      <a:lnTo>
                        <a:pt x="646" y="419"/>
                      </a:lnTo>
                      <a:lnTo>
                        <a:pt x="647" y="419"/>
                      </a:lnTo>
                      <a:lnTo>
                        <a:pt x="649" y="419"/>
                      </a:lnTo>
                      <a:lnTo>
                        <a:pt x="649" y="419"/>
                      </a:lnTo>
                      <a:lnTo>
                        <a:pt x="649" y="420"/>
                      </a:lnTo>
                      <a:lnTo>
                        <a:pt x="649" y="421"/>
                      </a:lnTo>
                      <a:lnTo>
                        <a:pt x="649" y="421"/>
                      </a:lnTo>
                      <a:lnTo>
                        <a:pt x="648" y="423"/>
                      </a:lnTo>
                      <a:lnTo>
                        <a:pt x="647" y="424"/>
                      </a:lnTo>
                      <a:lnTo>
                        <a:pt x="647" y="424"/>
                      </a:lnTo>
                      <a:lnTo>
                        <a:pt x="647" y="426"/>
                      </a:lnTo>
                      <a:lnTo>
                        <a:pt x="647" y="426"/>
                      </a:lnTo>
                      <a:lnTo>
                        <a:pt x="649" y="427"/>
                      </a:lnTo>
                      <a:lnTo>
                        <a:pt x="650" y="428"/>
                      </a:lnTo>
                      <a:lnTo>
                        <a:pt x="652" y="428"/>
                      </a:lnTo>
                      <a:lnTo>
                        <a:pt x="653" y="426"/>
                      </a:lnTo>
                      <a:lnTo>
                        <a:pt x="654" y="426"/>
                      </a:lnTo>
                      <a:lnTo>
                        <a:pt x="655" y="426"/>
                      </a:lnTo>
                      <a:lnTo>
                        <a:pt x="656" y="426"/>
                      </a:lnTo>
                      <a:lnTo>
                        <a:pt x="657" y="427"/>
                      </a:lnTo>
                      <a:lnTo>
                        <a:pt x="658" y="428"/>
                      </a:lnTo>
                      <a:lnTo>
                        <a:pt x="658" y="428"/>
                      </a:lnTo>
                      <a:lnTo>
                        <a:pt x="659" y="430"/>
                      </a:lnTo>
                      <a:lnTo>
                        <a:pt x="660" y="430"/>
                      </a:lnTo>
                      <a:lnTo>
                        <a:pt x="660" y="432"/>
                      </a:lnTo>
                      <a:lnTo>
                        <a:pt x="662" y="432"/>
                      </a:lnTo>
                      <a:lnTo>
                        <a:pt x="662" y="432"/>
                      </a:lnTo>
                      <a:lnTo>
                        <a:pt x="664" y="432"/>
                      </a:lnTo>
                      <a:lnTo>
                        <a:pt x="664" y="432"/>
                      </a:lnTo>
                      <a:lnTo>
                        <a:pt x="665" y="430"/>
                      </a:lnTo>
                      <a:lnTo>
                        <a:pt x="665" y="429"/>
                      </a:lnTo>
                      <a:lnTo>
                        <a:pt x="666" y="428"/>
                      </a:lnTo>
                      <a:lnTo>
                        <a:pt x="666" y="427"/>
                      </a:lnTo>
                      <a:lnTo>
                        <a:pt x="668" y="426"/>
                      </a:lnTo>
                      <a:lnTo>
                        <a:pt x="669" y="426"/>
                      </a:lnTo>
                      <a:lnTo>
                        <a:pt x="670" y="426"/>
                      </a:lnTo>
                      <a:lnTo>
                        <a:pt x="671" y="426"/>
                      </a:lnTo>
                      <a:lnTo>
                        <a:pt x="671" y="427"/>
                      </a:lnTo>
                      <a:lnTo>
                        <a:pt x="673" y="428"/>
                      </a:lnTo>
                      <a:lnTo>
                        <a:pt x="673" y="430"/>
                      </a:lnTo>
                      <a:lnTo>
                        <a:pt x="674" y="431"/>
                      </a:lnTo>
                      <a:lnTo>
                        <a:pt x="675" y="432"/>
                      </a:lnTo>
                      <a:lnTo>
                        <a:pt x="675" y="434"/>
                      </a:lnTo>
                      <a:lnTo>
                        <a:pt x="677" y="434"/>
                      </a:lnTo>
                      <a:lnTo>
                        <a:pt x="677" y="435"/>
                      </a:lnTo>
                      <a:lnTo>
                        <a:pt x="679" y="435"/>
                      </a:lnTo>
                      <a:lnTo>
                        <a:pt x="681" y="434"/>
                      </a:lnTo>
                      <a:lnTo>
                        <a:pt x="683" y="432"/>
                      </a:lnTo>
                      <a:lnTo>
                        <a:pt x="685" y="432"/>
                      </a:lnTo>
                      <a:lnTo>
                        <a:pt x="687" y="431"/>
                      </a:lnTo>
                      <a:lnTo>
                        <a:pt x="688" y="431"/>
                      </a:lnTo>
                      <a:lnTo>
                        <a:pt x="690" y="430"/>
                      </a:lnTo>
                      <a:lnTo>
                        <a:pt x="692" y="430"/>
                      </a:lnTo>
                      <a:lnTo>
                        <a:pt x="694" y="430"/>
                      </a:lnTo>
                      <a:lnTo>
                        <a:pt x="694" y="430"/>
                      </a:lnTo>
                      <a:lnTo>
                        <a:pt x="696" y="430"/>
                      </a:lnTo>
                      <a:lnTo>
                        <a:pt x="697" y="430"/>
                      </a:lnTo>
                      <a:lnTo>
                        <a:pt x="698" y="430"/>
                      </a:lnTo>
                      <a:lnTo>
                        <a:pt x="700" y="430"/>
                      </a:lnTo>
                      <a:lnTo>
                        <a:pt x="701" y="432"/>
                      </a:lnTo>
                      <a:lnTo>
                        <a:pt x="702" y="432"/>
                      </a:lnTo>
                      <a:lnTo>
                        <a:pt x="702" y="434"/>
                      </a:lnTo>
                      <a:lnTo>
                        <a:pt x="703" y="436"/>
                      </a:lnTo>
                      <a:lnTo>
                        <a:pt x="704" y="436"/>
                      </a:lnTo>
                      <a:lnTo>
                        <a:pt x="705" y="438"/>
                      </a:lnTo>
                      <a:lnTo>
                        <a:pt x="706" y="440"/>
                      </a:lnTo>
                      <a:lnTo>
                        <a:pt x="707" y="441"/>
                      </a:lnTo>
                      <a:lnTo>
                        <a:pt x="707" y="443"/>
                      </a:lnTo>
                      <a:lnTo>
                        <a:pt x="706" y="445"/>
                      </a:lnTo>
                      <a:lnTo>
                        <a:pt x="705" y="446"/>
                      </a:lnTo>
                      <a:lnTo>
                        <a:pt x="704" y="447"/>
                      </a:lnTo>
                      <a:lnTo>
                        <a:pt x="704" y="447"/>
                      </a:lnTo>
                      <a:lnTo>
                        <a:pt x="703" y="447"/>
                      </a:lnTo>
                      <a:lnTo>
                        <a:pt x="702" y="447"/>
                      </a:lnTo>
                      <a:lnTo>
                        <a:pt x="701" y="448"/>
                      </a:lnTo>
                      <a:lnTo>
                        <a:pt x="700" y="449"/>
                      </a:lnTo>
                      <a:lnTo>
                        <a:pt x="700" y="449"/>
                      </a:lnTo>
                      <a:lnTo>
                        <a:pt x="699" y="451"/>
                      </a:lnTo>
                      <a:lnTo>
                        <a:pt x="698" y="451"/>
                      </a:lnTo>
                      <a:lnTo>
                        <a:pt x="698" y="453"/>
                      </a:lnTo>
                      <a:lnTo>
                        <a:pt x="698" y="454"/>
                      </a:lnTo>
                      <a:lnTo>
                        <a:pt x="698" y="455"/>
                      </a:lnTo>
                      <a:lnTo>
                        <a:pt x="698" y="456"/>
                      </a:lnTo>
                      <a:lnTo>
                        <a:pt x="699" y="457"/>
                      </a:lnTo>
                      <a:lnTo>
                        <a:pt x="700" y="458"/>
                      </a:lnTo>
                      <a:lnTo>
                        <a:pt x="700" y="459"/>
                      </a:lnTo>
                      <a:lnTo>
                        <a:pt x="702" y="459"/>
                      </a:lnTo>
                      <a:lnTo>
                        <a:pt x="702" y="459"/>
                      </a:lnTo>
                      <a:lnTo>
                        <a:pt x="704" y="459"/>
                      </a:lnTo>
                      <a:lnTo>
                        <a:pt x="704" y="457"/>
                      </a:lnTo>
                      <a:lnTo>
                        <a:pt x="705" y="455"/>
                      </a:lnTo>
                      <a:lnTo>
                        <a:pt x="706" y="453"/>
                      </a:lnTo>
                      <a:lnTo>
                        <a:pt x="707" y="451"/>
                      </a:lnTo>
                      <a:lnTo>
                        <a:pt x="709" y="450"/>
                      </a:lnTo>
                      <a:lnTo>
                        <a:pt x="710" y="449"/>
                      </a:lnTo>
                      <a:lnTo>
                        <a:pt x="712" y="449"/>
                      </a:lnTo>
                      <a:lnTo>
                        <a:pt x="714" y="450"/>
                      </a:lnTo>
                      <a:lnTo>
                        <a:pt x="715" y="451"/>
                      </a:lnTo>
                      <a:lnTo>
                        <a:pt x="717" y="452"/>
                      </a:lnTo>
                      <a:lnTo>
                        <a:pt x="718" y="453"/>
                      </a:lnTo>
                      <a:lnTo>
                        <a:pt x="719" y="454"/>
                      </a:lnTo>
                      <a:lnTo>
                        <a:pt x="719" y="455"/>
                      </a:lnTo>
                      <a:lnTo>
                        <a:pt x="720" y="457"/>
                      </a:lnTo>
                      <a:lnTo>
                        <a:pt x="719" y="459"/>
                      </a:lnTo>
                      <a:lnTo>
                        <a:pt x="718" y="461"/>
                      </a:lnTo>
                      <a:lnTo>
                        <a:pt x="717" y="462"/>
                      </a:lnTo>
                      <a:lnTo>
                        <a:pt x="717" y="464"/>
                      </a:lnTo>
                      <a:lnTo>
                        <a:pt x="717" y="464"/>
                      </a:lnTo>
                      <a:lnTo>
                        <a:pt x="717" y="466"/>
                      </a:lnTo>
                      <a:lnTo>
                        <a:pt x="719" y="468"/>
                      </a:lnTo>
                      <a:lnTo>
                        <a:pt x="720" y="468"/>
                      </a:lnTo>
                      <a:lnTo>
                        <a:pt x="721" y="469"/>
                      </a:lnTo>
                      <a:lnTo>
                        <a:pt x="723" y="468"/>
                      </a:lnTo>
                      <a:lnTo>
                        <a:pt x="724" y="466"/>
                      </a:lnTo>
                      <a:lnTo>
                        <a:pt x="725" y="464"/>
                      </a:lnTo>
                      <a:lnTo>
                        <a:pt x="726" y="461"/>
                      </a:lnTo>
                      <a:lnTo>
                        <a:pt x="726" y="459"/>
                      </a:lnTo>
                      <a:lnTo>
                        <a:pt x="726" y="458"/>
                      </a:lnTo>
                      <a:lnTo>
                        <a:pt x="726" y="457"/>
                      </a:lnTo>
                      <a:lnTo>
                        <a:pt x="726" y="455"/>
                      </a:lnTo>
                      <a:lnTo>
                        <a:pt x="726" y="454"/>
                      </a:lnTo>
                      <a:lnTo>
                        <a:pt x="726" y="453"/>
                      </a:lnTo>
                      <a:lnTo>
                        <a:pt x="727" y="452"/>
                      </a:lnTo>
                      <a:lnTo>
                        <a:pt x="728" y="451"/>
                      </a:lnTo>
                      <a:lnTo>
                        <a:pt x="729" y="451"/>
                      </a:lnTo>
                      <a:lnTo>
                        <a:pt x="730" y="450"/>
                      </a:lnTo>
                      <a:lnTo>
                        <a:pt x="731" y="449"/>
                      </a:lnTo>
                      <a:lnTo>
                        <a:pt x="732" y="449"/>
                      </a:lnTo>
                      <a:lnTo>
                        <a:pt x="733" y="450"/>
                      </a:lnTo>
                      <a:lnTo>
                        <a:pt x="734" y="451"/>
                      </a:lnTo>
                      <a:lnTo>
                        <a:pt x="735" y="451"/>
                      </a:lnTo>
                      <a:lnTo>
                        <a:pt x="736" y="453"/>
                      </a:lnTo>
                      <a:lnTo>
                        <a:pt x="736" y="453"/>
                      </a:lnTo>
                      <a:lnTo>
                        <a:pt x="735" y="455"/>
                      </a:lnTo>
                      <a:lnTo>
                        <a:pt x="734" y="456"/>
                      </a:lnTo>
                      <a:lnTo>
                        <a:pt x="733" y="457"/>
                      </a:lnTo>
                      <a:lnTo>
                        <a:pt x="732" y="459"/>
                      </a:lnTo>
                      <a:lnTo>
                        <a:pt x="732" y="460"/>
                      </a:lnTo>
                      <a:lnTo>
                        <a:pt x="731" y="462"/>
                      </a:lnTo>
                      <a:lnTo>
                        <a:pt x="731" y="464"/>
                      </a:lnTo>
                      <a:lnTo>
                        <a:pt x="731" y="466"/>
                      </a:lnTo>
                      <a:lnTo>
                        <a:pt x="731" y="469"/>
                      </a:lnTo>
                      <a:lnTo>
                        <a:pt x="732" y="471"/>
                      </a:lnTo>
                      <a:lnTo>
                        <a:pt x="733" y="473"/>
                      </a:lnTo>
                      <a:lnTo>
                        <a:pt x="735" y="475"/>
                      </a:lnTo>
                      <a:lnTo>
                        <a:pt x="737" y="476"/>
                      </a:lnTo>
                      <a:lnTo>
                        <a:pt x="739" y="477"/>
                      </a:lnTo>
                      <a:lnTo>
                        <a:pt x="742" y="477"/>
                      </a:lnTo>
                      <a:lnTo>
                        <a:pt x="745" y="478"/>
                      </a:lnTo>
                      <a:lnTo>
                        <a:pt x="747" y="478"/>
                      </a:lnTo>
                      <a:lnTo>
                        <a:pt x="749" y="480"/>
                      </a:lnTo>
                      <a:lnTo>
                        <a:pt x="751" y="480"/>
                      </a:lnTo>
                      <a:lnTo>
                        <a:pt x="754" y="482"/>
                      </a:lnTo>
                      <a:lnTo>
                        <a:pt x="755" y="483"/>
                      </a:lnTo>
                      <a:lnTo>
                        <a:pt x="757" y="484"/>
                      </a:lnTo>
                      <a:lnTo>
                        <a:pt x="759" y="485"/>
                      </a:lnTo>
                      <a:lnTo>
                        <a:pt x="762" y="484"/>
                      </a:lnTo>
                      <a:lnTo>
                        <a:pt x="764" y="483"/>
                      </a:lnTo>
                      <a:lnTo>
                        <a:pt x="766" y="483"/>
                      </a:lnTo>
                      <a:lnTo>
                        <a:pt x="767" y="483"/>
                      </a:lnTo>
                      <a:lnTo>
                        <a:pt x="768" y="483"/>
                      </a:lnTo>
                      <a:lnTo>
                        <a:pt x="770" y="485"/>
                      </a:lnTo>
                      <a:lnTo>
                        <a:pt x="770" y="486"/>
                      </a:lnTo>
                      <a:lnTo>
                        <a:pt x="771" y="487"/>
                      </a:lnTo>
                      <a:lnTo>
                        <a:pt x="772" y="489"/>
                      </a:lnTo>
                      <a:lnTo>
                        <a:pt x="772" y="489"/>
                      </a:lnTo>
                      <a:lnTo>
                        <a:pt x="773" y="490"/>
                      </a:lnTo>
                      <a:lnTo>
                        <a:pt x="774" y="490"/>
                      </a:lnTo>
                      <a:lnTo>
                        <a:pt x="775" y="490"/>
                      </a:lnTo>
                      <a:lnTo>
                        <a:pt x="777" y="489"/>
                      </a:lnTo>
                      <a:lnTo>
                        <a:pt x="778" y="488"/>
                      </a:lnTo>
                      <a:lnTo>
                        <a:pt x="780" y="487"/>
                      </a:lnTo>
                      <a:lnTo>
                        <a:pt x="781" y="486"/>
                      </a:lnTo>
                      <a:lnTo>
                        <a:pt x="783" y="486"/>
                      </a:lnTo>
                      <a:lnTo>
                        <a:pt x="784" y="486"/>
                      </a:lnTo>
                      <a:lnTo>
                        <a:pt x="785" y="487"/>
                      </a:lnTo>
                      <a:lnTo>
                        <a:pt x="786" y="489"/>
                      </a:lnTo>
                      <a:lnTo>
                        <a:pt x="787" y="491"/>
                      </a:lnTo>
                      <a:lnTo>
                        <a:pt x="787" y="493"/>
                      </a:lnTo>
                      <a:lnTo>
                        <a:pt x="788" y="495"/>
                      </a:lnTo>
                      <a:lnTo>
                        <a:pt x="789" y="497"/>
                      </a:lnTo>
                      <a:lnTo>
                        <a:pt x="789" y="500"/>
                      </a:lnTo>
                      <a:lnTo>
                        <a:pt x="789" y="503"/>
                      </a:lnTo>
                      <a:lnTo>
                        <a:pt x="789" y="506"/>
                      </a:lnTo>
                      <a:lnTo>
                        <a:pt x="789" y="507"/>
                      </a:lnTo>
                      <a:lnTo>
                        <a:pt x="789" y="508"/>
                      </a:lnTo>
                      <a:lnTo>
                        <a:pt x="789" y="510"/>
                      </a:lnTo>
                      <a:lnTo>
                        <a:pt x="788" y="512"/>
                      </a:lnTo>
                      <a:lnTo>
                        <a:pt x="787" y="513"/>
                      </a:lnTo>
                      <a:lnTo>
                        <a:pt x="786" y="515"/>
                      </a:lnTo>
                      <a:lnTo>
                        <a:pt x="785" y="516"/>
                      </a:lnTo>
                      <a:lnTo>
                        <a:pt x="784" y="517"/>
                      </a:lnTo>
                      <a:lnTo>
                        <a:pt x="784" y="519"/>
                      </a:lnTo>
                      <a:lnTo>
                        <a:pt x="785" y="520"/>
                      </a:lnTo>
                      <a:lnTo>
                        <a:pt x="785" y="522"/>
                      </a:lnTo>
                      <a:lnTo>
                        <a:pt x="787" y="523"/>
                      </a:lnTo>
                      <a:lnTo>
                        <a:pt x="788" y="523"/>
                      </a:lnTo>
                      <a:lnTo>
                        <a:pt x="790" y="524"/>
                      </a:lnTo>
                      <a:lnTo>
                        <a:pt x="791" y="525"/>
                      </a:lnTo>
                      <a:lnTo>
                        <a:pt x="793" y="526"/>
                      </a:lnTo>
                      <a:lnTo>
                        <a:pt x="794" y="527"/>
                      </a:lnTo>
                      <a:lnTo>
                        <a:pt x="796" y="527"/>
                      </a:lnTo>
                      <a:lnTo>
                        <a:pt x="797" y="528"/>
                      </a:lnTo>
                      <a:lnTo>
                        <a:pt x="798" y="529"/>
                      </a:lnTo>
                      <a:lnTo>
                        <a:pt x="799" y="531"/>
                      </a:lnTo>
                      <a:lnTo>
                        <a:pt x="801" y="533"/>
                      </a:lnTo>
                      <a:lnTo>
                        <a:pt x="802" y="534"/>
                      </a:lnTo>
                      <a:lnTo>
                        <a:pt x="802" y="535"/>
                      </a:lnTo>
                      <a:lnTo>
                        <a:pt x="804" y="536"/>
                      </a:lnTo>
                      <a:lnTo>
                        <a:pt x="805" y="537"/>
                      </a:lnTo>
                      <a:lnTo>
                        <a:pt x="806" y="539"/>
                      </a:lnTo>
                      <a:lnTo>
                        <a:pt x="807" y="540"/>
                      </a:lnTo>
                      <a:lnTo>
                        <a:pt x="808" y="542"/>
                      </a:lnTo>
                      <a:lnTo>
                        <a:pt x="810" y="542"/>
                      </a:lnTo>
                      <a:lnTo>
                        <a:pt x="811" y="544"/>
                      </a:lnTo>
                      <a:lnTo>
                        <a:pt x="812" y="545"/>
                      </a:lnTo>
                      <a:lnTo>
                        <a:pt x="814" y="545"/>
                      </a:lnTo>
                      <a:lnTo>
                        <a:pt x="816" y="545"/>
                      </a:lnTo>
                      <a:lnTo>
                        <a:pt x="818" y="546"/>
                      </a:lnTo>
                      <a:lnTo>
                        <a:pt x="820" y="546"/>
                      </a:lnTo>
                      <a:lnTo>
                        <a:pt x="821" y="547"/>
                      </a:lnTo>
                      <a:lnTo>
                        <a:pt x="822" y="548"/>
                      </a:lnTo>
                      <a:lnTo>
                        <a:pt x="823" y="548"/>
                      </a:lnTo>
                      <a:lnTo>
                        <a:pt x="823" y="548"/>
                      </a:lnTo>
                      <a:lnTo>
                        <a:pt x="829" y="547"/>
                      </a:lnTo>
                      <a:lnTo>
                        <a:pt x="831" y="547"/>
                      </a:lnTo>
                      <a:lnTo>
                        <a:pt x="833" y="547"/>
                      </a:lnTo>
                      <a:lnTo>
                        <a:pt x="835" y="547"/>
                      </a:lnTo>
                      <a:lnTo>
                        <a:pt x="837" y="547"/>
                      </a:lnTo>
                      <a:lnTo>
                        <a:pt x="840" y="547"/>
                      </a:lnTo>
                      <a:lnTo>
                        <a:pt x="842" y="548"/>
                      </a:lnTo>
                      <a:lnTo>
                        <a:pt x="842" y="548"/>
                      </a:lnTo>
                      <a:lnTo>
                        <a:pt x="842" y="549"/>
                      </a:lnTo>
                      <a:lnTo>
                        <a:pt x="842" y="551"/>
                      </a:lnTo>
                      <a:lnTo>
                        <a:pt x="842" y="553"/>
                      </a:lnTo>
                      <a:lnTo>
                        <a:pt x="840" y="554"/>
                      </a:lnTo>
                      <a:lnTo>
                        <a:pt x="840" y="556"/>
                      </a:lnTo>
                      <a:lnTo>
                        <a:pt x="840" y="556"/>
                      </a:lnTo>
                      <a:lnTo>
                        <a:pt x="840" y="558"/>
                      </a:lnTo>
                      <a:lnTo>
                        <a:pt x="841" y="558"/>
                      </a:lnTo>
                      <a:lnTo>
                        <a:pt x="842" y="559"/>
                      </a:lnTo>
                      <a:lnTo>
                        <a:pt x="843" y="559"/>
                      </a:lnTo>
                      <a:lnTo>
                        <a:pt x="844" y="559"/>
                      </a:lnTo>
                      <a:lnTo>
                        <a:pt x="844" y="559"/>
                      </a:lnTo>
                      <a:lnTo>
                        <a:pt x="846" y="558"/>
                      </a:lnTo>
                      <a:lnTo>
                        <a:pt x="846" y="558"/>
                      </a:lnTo>
                      <a:lnTo>
                        <a:pt x="846" y="558"/>
                      </a:lnTo>
                      <a:lnTo>
                        <a:pt x="846" y="557"/>
                      </a:lnTo>
                      <a:lnTo>
                        <a:pt x="847" y="557"/>
                      </a:lnTo>
                      <a:lnTo>
                        <a:pt x="847" y="556"/>
                      </a:lnTo>
                      <a:lnTo>
                        <a:pt x="848" y="556"/>
                      </a:lnTo>
                      <a:lnTo>
                        <a:pt x="848" y="556"/>
                      </a:lnTo>
                      <a:lnTo>
                        <a:pt x="848" y="555"/>
                      </a:lnTo>
                      <a:lnTo>
                        <a:pt x="849" y="554"/>
                      </a:lnTo>
                      <a:lnTo>
                        <a:pt x="850" y="554"/>
                      </a:lnTo>
                      <a:lnTo>
                        <a:pt x="850" y="553"/>
                      </a:lnTo>
                      <a:lnTo>
                        <a:pt x="851" y="553"/>
                      </a:lnTo>
                      <a:lnTo>
                        <a:pt x="852" y="553"/>
                      </a:lnTo>
                      <a:lnTo>
                        <a:pt x="852" y="552"/>
                      </a:lnTo>
                      <a:lnTo>
                        <a:pt x="852" y="552"/>
                      </a:lnTo>
                      <a:lnTo>
                        <a:pt x="853" y="552"/>
                      </a:lnTo>
                      <a:lnTo>
                        <a:pt x="853" y="552"/>
                      </a:lnTo>
                      <a:lnTo>
                        <a:pt x="854" y="552"/>
                      </a:lnTo>
                      <a:lnTo>
                        <a:pt x="854" y="551"/>
                      </a:lnTo>
                      <a:lnTo>
                        <a:pt x="854" y="550"/>
                      </a:lnTo>
                      <a:lnTo>
                        <a:pt x="854" y="549"/>
                      </a:lnTo>
                      <a:lnTo>
                        <a:pt x="856" y="548"/>
                      </a:lnTo>
                      <a:lnTo>
                        <a:pt x="856" y="547"/>
                      </a:lnTo>
                      <a:lnTo>
                        <a:pt x="856" y="547"/>
                      </a:lnTo>
                      <a:lnTo>
                        <a:pt x="857" y="546"/>
                      </a:lnTo>
                      <a:lnTo>
                        <a:pt x="858" y="546"/>
                      </a:lnTo>
                      <a:lnTo>
                        <a:pt x="859" y="546"/>
                      </a:lnTo>
                      <a:lnTo>
                        <a:pt x="859" y="547"/>
                      </a:lnTo>
                      <a:lnTo>
                        <a:pt x="859" y="547"/>
                      </a:lnTo>
                      <a:lnTo>
                        <a:pt x="859" y="548"/>
                      </a:lnTo>
                      <a:lnTo>
                        <a:pt x="860" y="548"/>
                      </a:lnTo>
                      <a:lnTo>
                        <a:pt x="860" y="548"/>
                      </a:lnTo>
                      <a:lnTo>
                        <a:pt x="861" y="548"/>
                      </a:lnTo>
                      <a:lnTo>
                        <a:pt x="861" y="548"/>
                      </a:lnTo>
                      <a:lnTo>
                        <a:pt x="862" y="548"/>
                      </a:lnTo>
                      <a:lnTo>
                        <a:pt x="863" y="548"/>
                      </a:lnTo>
                      <a:lnTo>
                        <a:pt x="863" y="548"/>
                      </a:lnTo>
                      <a:lnTo>
                        <a:pt x="863" y="549"/>
                      </a:lnTo>
                      <a:lnTo>
                        <a:pt x="864" y="549"/>
                      </a:lnTo>
                      <a:lnTo>
                        <a:pt x="864" y="550"/>
                      </a:lnTo>
                      <a:lnTo>
                        <a:pt x="865" y="550"/>
                      </a:lnTo>
                      <a:lnTo>
                        <a:pt x="865" y="550"/>
                      </a:lnTo>
                      <a:lnTo>
                        <a:pt x="865" y="550"/>
                      </a:lnTo>
                      <a:lnTo>
                        <a:pt x="865" y="551"/>
                      </a:lnTo>
                      <a:lnTo>
                        <a:pt x="866" y="551"/>
                      </a:lnTo>
                      <a:lnTo>
                        <a:pt x="867" y="552"/>
                      </a:lnTo>
                      <a:lnTo>
                        <a:pt x="867" y="552"/>
                      </a:lnTo>
                      <a:lnTo>
                        <a:pt x="868" y="552"/>
                      </a:lnTo>
                      <a:lnTo>
                        <a:pt x="868" y="551"/>
                      </a:lnTo>
                      <a:lnTo>
                        <a:pt x="869" y="551"/>
                      </a:lnTo>
                      <a:lnTo>
                        <a:pt x="869" y="550"/>
                      </a:lnTo>
                      <a:lnTo>
                        <a:pt x="869" y="550"/>
                      </a:lnTo>
                      <a:lnTo>
                        <a:pt x="869" y="550"/>
                      </a:lnTo>
                      <a:lnTo>
                        <a:pt x="870" y="550"/>
                      </a:lnTo>
                      <a:lnTo>
                        <a:pt x="871" y="550"/>
                      </a:lnTo>
                      <a:lnTo>
                        <a:pt x="871" y="550"/>
                      </a:lnTo>
                      <a:lnTo>
                        <a:pt x="872" y="550"/>
                      </a:lnTo>
                      <a:lnTo>
                        <a:pt x="873" y="550"/>
                      </a:lnTo>
                      <a:lnTo>
                        <a:pt x="873" y="550"/>
                      </a:lnTo>
                      <a:lnTo>
                        <a:pt x="873" y="552"/>
                      </a:lnTo>
                      <a:lnTo>
                        <a:pt x="873" y="553"/>
                      </a:lnTo>
                      <a:lnTo>
                        <a:pt x="873" y="554"/>
                      </a:lnTo>
                      <a:lnTo>
                        <a:pt x="873" y="554"/>
                      </a:lnTo>
                      <a:lnTo>
                        <a:pt x="873" y="555"/>
                      </a:lnTo>
                      <a:lnTo>
                        <a:pt x="873" y="556"/>
                      </a:lnTo>
                      <a:lnTo>
                        <a:pt x="873" y="556"/>
                      </a:lnTo>
                      <a:lnTo>
                        <a:pt x="873" y="556"/>
                      </a:lnTo>
                      <a:lnTo>
                        <a:pt x="873" y="557"/>
                      </a:lnTo>
                      <a:lnTo>
                        <a:pt x="873" y="558"/>
                      </a:lnTo>
                      <a:lnTo>
                        <a:pt x="873" y="558"/>
                      </a:lnTo>
                      <a:lnTo>
                        <a:pt x="873" y="559"/>
                      </a:lnTo>
                      <a:lnTo>
                        <a:pt x="873" y="560"/>
                      </a:lnTo>
                      <a:lnTo>
                        <a:pt x="873" y="562"/>
                      </a:lnTo>
                      <a:lnTo>
                        <a:pt x="875" y="562"/>
                      </a:lnTo>
                      <a:lnTo>
                        <a:pt x="875" y="562"/>
                      </a:lnTo>
                      <a:lnTo>
                        <a:pt x="877" y="562"/>
                      </a:lnTo>
                      <a:lnTo>
                        <a:pt x="878" y="561"/>
                      </a:lnTo>
                      <a:lnTo>
                        <a:pt x="880" y="560"/>
                      </a:lnTo>
                      <a:lnTo>
                        <a:pt x="881" y="559"/>
                      </a:lnTo>
                      <a:lnTo>
                        <a:pt x="881" y="558"/>
                      </a:lnTo>
                      <a:lnTo>
                        <a:pt x="881" y="557"/>
                      </a:lnTo>
                      <a:lnTo>
                        <a:pt x="880" y="556"/>
                      </a:lnTo>
                      <a:lnTo>
                        <a:pt x="880" y="556"/>
                      </a:lnTo>
                      <a:lnTo>
                        <a:pt x="880" y="555"/>
                      </a:lnTo>
                      <a:lnTo>
                        <a:pt x="880" y="554"/>
                      </a:lnTo>
                      <a:lnTo>
                        <a:pt x="880" y="554"/>
                      </a:lnTo>
                      <a:lnTo>
                        <a:pt x="881" y="553"/>
                      </a:lnTo>
                      <a:lnTo>
                        <a:pt x="882" y="552"/>
                      </a:lnTo>
                      <a:lnTo>
                        <a:pt x="884" y="553"/>
                      </a:lnTo>
                      <a:lnTo>
                        <a:pt x="884" y="553"/>
                      </a:lnTo>
                      <a:lnTo>
                        <a:pt x="885" y="554"/>
                      </a:lnTo>
                      <a:lnTo>
                        <a:pt x="886" y="554"/>
                      </a:lnTo>
                      <a:lnTo>
                        <a:pt x="886" y="555"/>
                      </a:lnTo>
                      <a:lnTo>
                        <a:pt x="886" y="556"/>
                      </a:lnTo>
                      <a:lnTo>
                        <a:pt x="886" y="558"/>
                      </a:lnTo>
                      <a:lnTo>
                        <a:pt x="886" y="558"/>
                      </a:lnTo>
                      <a:lnTo>
                        <a:pt x="886" y="559"/>
                      </a:lnTo>
                      <a:lnTo>
                        <a:pt x="886" y="560"/>
                      </a:lnTo>
                      <a:lnTo>
                        <a:pt x="886" y="560"/>
                      </a:lnTo>
                      <a:lnTo>
                        <a:pt x="887" y="560"/>
                      </a:lnTo>
                      <a:lnTo>
                        <a:pt x="888" y="559"/>
                      </a:lnTo>
                      <a:lnTo>
                        <a:pt x="888" y="558"/>
                      </a:lnTo>
                      <a:lnTo>
                        <a:pt x="889" y="558"/>
                      </a:lnTo>
                      <a:lnTo>
                        <a:pt x="890" y="557"/>
                      </a:lnTo>
                      <a:lnTo>
                        <a:pt x="891" y="557"/>
                      </a:lnTo>
                      <a:lnTo>
                        <a:pt x="891" y="556"/>
                      </a:lnTo>
                      <a:lnTo>
                        <a:pt x="892" y="556"/>
                      </a:lnTo>
                      <a:lnTo>
                        <a:pt x="892" y="556"/>
                      </a:lnTo>
                      <a:lnTo>
                        <a:pt x="892" y="555"/>
                      </a:lnTo>
                      <a:lnTo>
                        <a:pt x="892" y="554"/>
                      </a:lnTo>
                      <a:lnTo>
                        <a:pt x="893" y="554"/>
                      </a:lnTo>
                      <a:lnTo>
                        <a:pt x="894" y="554"/>
                      </a:lnTo>
                      <a:lnTo>
                        <a:pt x="894" y="555"/>
                      </a:lnTo>
                      <a:lnTo>
                        <a:pt x="895" y="555"/>
                      </a:lnTo>
                      <a:lnTo>
                        <a:pt x="895" y="556"/>
                      </a:lnTo>
                      <a:lnTo>
                        <a:pt x="895" y="556"/>
                      </a:lnTo>
                      <a:lnTo>
                        <a:pt x="895" y="557"/>
                      </a:lnTo>
                      <a:lnTo>
                        <a:pt x="896" y="558"/>
                      </a:lnTo>
                      <a:lnTo>
                        <a:pt x="897" y="558"/>
                      </a:lnTo>
                      <a:lnTo>
                        <a:pt x="897" y="558"/>
                      </a:lnTo>
                      <a:lnTo>
                        <a:pt x="898" y="558"/>
                      </a:lnTo>
                      <a:lnTo>
                        <a:pt x="899" y="558"/>
                      </a:lnTo>
                      <a:lnTo>
                        <a:pt x="899" y="558"/>
                      </a:lnTo>
                      <a:lnTo>
                        <a:pt x="899" y="557"/>
                      </a:lnTo>
                      <a:lnTo>
                        <a:pt x="900" y="556"/>
                      </a:lnTo>
                      <a:lnTo>
                        <a:pt x="901" y="556"/>
                      </a:lnTo>
                      <a:lnTo>
                        <a:pt x="901" y="556"/>
                      </a:lnTo>
                      <a:lnTo>
                        <a:pt x="903" y="556"/>
                      </a:lnTo>
                      <a:lnTo>
                        <a:pt x="903" y="556"/>
                      </a:lnTo>
                      <a:lnTo>
                        <a:pt x="903" y="557"/>
                      </a:lnTo>
                      <a:lnTo>
                        <a:pt x="904" y="558"/>
                      </a:lnTo>
                      <a:lnTo>
                        <a:pt x="905" y="558"/>
                      </a:lnTo>
                      <a:lnTo>
                        <a:pt x="905" y="558"/>
                      </a:lnTo>
                      <a:lnTo>
                        <a:pt x="905" y="560"/>
                      </a:lnTo>
                      <a:lnTo>
                        <a:pt x="906" y="560"/>
                      </a:lnTo>
                      <a:lnTo>
                        <a:pt x="907" y="561"/>
                      </a:lnTo>
                      <a:lnTo>
                        <a:pt x="907" y="562"/>
                      </a:lnTo>
                      <a:lnTo>
                        <a:pt x="908" y="563"/>
                      </a:lnTo>
                      <a:lnTo>
                        <a:pt x="909" y="563"/>
                      </a:lnTo>
                      <a:lnTo>
                        <a:pt x="910" y="563"/>
                      </a:lnTo>
                      <a:lnTo>
                        <a:pt x="911" y="562"/>
                      </a:lnTo>
                      <a:lnTo>
                        <a:pt x="911" y="561"/>
                      </a:lnTo>
                      <a:lnTo>
                        <a:pt x="913" y="561"/>
                      </a:lnTo>
                      <a:lnTo>
                        <a:pt x="913" y="561"/>
                      </a:lnTo>
                      <a:lnTo>
                        <a:pt x="914" y="561"/>
                      </a:lnTo>
                      <a:lnTo>
                        <a:pt x="914" y="562"/>
                      </a:lnTo>
                      <a:lnTo>
                        <a:pt x="915" y="563"/>
                      </a:lnTo>
                      <a:lnTo>
                        <a:pt x="916" y="563"/>
                      </a:lnTo>
                      <a:lnTo>
                        <a:pt x="916" y="563"/>
                      </a:lnTo>
                      <a:lnTo>
                        <a:pt x="917" y="562"/>
                      </a:lnTo>
                      <a:lnTo>
                        <a:pt x="917" y="561"/>
                      </a:lnTo>
                      <a:lnTo>
                        <a:pt x="917" y="560"/>
                      </a:lnTo>
                      <a:lnTo>
                        <a:pt x="917" y="560"/>
                      </a:lnTo>
                      <a:lnTo>
                        <a:pt x="918" y="560"/>
                      </a:lnTo>
                      <a:lnTo>
                        <a:pt x="918" y="559"/>
                      </a:lnTo>
                      <a:lnTo>
                        <a:pt x="918" y="558"/>
                      </a:lnTo>
                      <a:lnTo>
                        <a:pt x="919" y="558"/>
                      </a:lnTo>
                      <a:lnTo>
                        <a:pt x="920" y="558"/>
                      </a:lnTo>
                      <a:lnTo>
                        <a:pt x="920" y="559"/>
                      </a:lnTo>
                      <a:lnTo>
                        <a:pt x="921" y="560"/>
                      </a:lnTo>
                      <a:lnTo>
                        <a:pt x="922" y="561"/>
                      </a:lnTo>
                      <a:lnTo>
                        <a:pt x="923" y="562"/>
                      </a:lnTo>
                      <a:lnTo>
                        <a:pt x="924" y="563"/>
                      </a:lnTo>
                      <a:lnTo>
                        <a:pt x="926" y="565"/>
                      </a:lnTo>
                      <a:lnTo>
                        <a:pt x="928" y="566"/>
                      </a:lnTo>
                      <a:lnTo>
                        <a:pt x="929" y="567"/>
                      </a:lnTo>
                      <a:lnTo>
                        <a:pt x="930" y="567"/>
                      </a:lnTo>
                      <a:lnTo>
                        <a:pt x="933" y="566"/>
                      </a:lnTo>
                      <a:lnTo>
                        <a:pt x="933" y="565"/>
                      </a:lnTo>
                      <a:lnTo>
                        <a:pt x="935" y="564"/>
                      </a:lnTo>
                      <a:lnTo>
                        <a:pt x="935" y="563"/>
                      </a:lnTo>
                      <a:lnTo>
                        <a:pt x="936" y="563"/>
                      </a:lnTo>
                      <a:lnTo>
                        <a:pt x="937" y="562"/>
                      </a:lnTo>
                      <a:lnTo>
                        <a:pt x="937" y="561"/>
                      </a:lnTo>
                      <a:lnTo>
                        <a:pt x="938" y="561"/>
                      </a:lnTo>
                      <a:lnTo>
                        <a:pt x="939" y="560"/>
                      </a:lnTo>
                      <a:lnTo>
                        <a:pt x="940" y="560"/>
                      </a:lnTo>
                      <a:lnTo>
                        <a:pt x="941" y="560"/>
                      </a:lnTo>
                      <a:lnTo>
                        <a:pt x="942" y="560"/>
                      </a:lnTo>
                      <a:lnTo>
                        <a:pt x="943" y="560"/>
                      </a:lnTo>
                      <a:lnTo>
                        <a:pt x="943" y="560"/>
                      </a:lnTo>
                      <a:lnTo>
                        <a:pt x="943" y="560"/>
                      </a:lnTo>
                      <a:lnTo>
                        <a:pt x="943" y="559"/>
                      </a:lnTo>
                      <a:lnTo>
                        <a:pt x="944" y="559"/>
                      </a:lnTo>
                      <a:lnTo>
                        <a:pt x="945" y="558"/>
                      </a:lnTo>
                      <a:lnTo>
                        <a:pt x="945" y="558"/>
                      </a:lnTo>
                      <a:lnTo>
                        <a:pt x="945" y="557"/>
                      </a:lnTo>
                      <a:lnTo>
                        <a:pt x="945" y="556"/>
                      </a:lnTo>
                      <a:lnTo>
                        <a:pt x="945" y="556"/>
                      </a:lnTo>
                      <a:lnTo>
                        <a:pt x="945" y="555"/>
                      </a:lnTo>
                      <a:lnTo>
                        <a:pt x="944" y="554"/>
                      </a:lnTo>
                      <a:lnTo>
                        <a:pt x="944" y="554"/>
                      </a:lnTo>
                      <a:lnTo>
                        <a:pt x="944" y="553"/>
                      </a:lnTo>
                      <a:lnTo>
                        <a:pt x="944" y="552"/>
                      </a:lnTo>
                      <a:lnTo>
                        <a:pt x="944" y="552"/>
                      </a:lnTo>
                      <a:lnTo>
                        <a:pt x="945" y="552"/>
                      </a:lnTo>
                      <a:lnTo>
                        <a:pt x="945" y="551"/>
                      </a:lnTo>
                      <a:lnTo>
                        <a:pt x="945" y="551"/>
                      </a:lnTo>
                      <a:lnTo>
                        <a:pt x="945" y="550"/>
                      </a:lnTo>
                      <a:lnTo>
                        <a:pt x="946" y="550"/>
                      </a:lnTo>
                      <a:lnTo>
                        <a:pt x="946" y="549"/>
                      </a:lnTo>
                      <a:lnTo>
                        <a:pt x="946" y="548"/>
                      </a:lnTo>
                      <a:lnTo>
                        <a:pt x="947" y="548"/>
                      </a:lnTo>
                      <a:lnTo>
                        <a:pt x="947" y="547"/>
                      </a:lnTo>
                      <a:lnTo>
                        <a:pt x="946" y="547"/>
                      </a:lnTo>
                      <a:lnTo>
                        <a:pt x="946" y="546"/>
                      </a:lnTo>
                      <a:lnTo>
                        <a:pt x="946" y="546"/>
                      </a:lnTo>
                      <a:lnTo>
                        <a:pt x="946" y="545"/>
                      </a:lnTo>
                      <a:lnTo>
                        <a:pt x="947" y="545"/>
                      </a:lnTo>
                      <a:lnTo>
                        <a:pt x="947" y="544"/>
                      </a:lnTo>
                      <a:lnTo>
                        <a:pt x="947" y="544"/>
                      </a:lnTo>
                      <a:lnTo>
                        <a:pt x="947" y="544"/>
                      </a:lnTo>
                      <a:lnTo>
                        <a:pt x="948" y="544"/>
                      </a:lnTo>
                      <a:lnTo>
                        <a:pt x="949" y="544"/>
                      </a:lnTo>
                      <a:lnTo>
                        <a:pt x="949" y="544"/>
                      </a:lnTo>
                      <a:lnTo>
                        <a:pt x="950" y="544"/>
                      </a:lnTo>
                      <a:lnTo>
                        <a:pt x="950" y="544"/>
                      </a:lnTo>
                      <a:lnTo>
                        <a:pt x="951" y="544"/>
                      </a:lnTo>
                      <a:lnTo>
                        <a:pt x="952" y="545"/>
                      </a:lnTo>
                      <a:lnTo>
                        <a:pt x="952" y="546"/>
                      </a:lnTo>
                      <a:lnTo>
                        <a:pt x="952" y="546"/>
                      </a:lnTo>
                      <a:lnTo>
                        <a:pt x="953" y="546"/>
                      </a:lnTo>
                      <a:lnTo>
                        <a:pt x="955" y="547"/>
                      </a:lnTo>
                      <a:lnTo>
                        <a:pt x="961" y="549"/>
                      </a:lnTo>
                      <a:lnTo>
                        <a:pt x="963" y="548"/>
                      </a:lnTo>
                      <a:lnTo>
                        <a:pt x="963" y="547"/>
                      </a:lnTo>
                      <a:lnTo>
                        <a:pt x="964" y="547"/>
                      </a:lnTo>
                      <a:lnTo>
                        <a:pt x="964" y="546"/>
                      </a:lnTo>
                      <a:lnTo>
                        <a:pt x="964" y="546"/>
                      </a:lnTo>
                      <a:lnTo>
                        <a:pt x="964" y="545"/>
                      </a:lnTo>
                      <a:lnTo>
                        <a:pt x="965" y="545"/>
                      </a:lnTo>
                      <a:lnTo>
                        <a:pt x="965" y="544"/>
                      </a:lnTo>
                      <a:lnTo>
                        <a:pt x="966" y="544"/>
                      </a:lnTo>
                      <a:lnTo>
                        <a:pt x="966" y="544"/>
                      </a:lnTo>
                      <a:lnTo>
                        <a:pt x="967" y="544"/>
                      </a:lnTo>
                      <a:lnTo>
                        <a:pt x="968" y="544"/>
                      </a:lnTo>
                      <a:lnTo>
                        <a:pt x="968" y="544"/>
                      </a:lnTo>
                      <a:lnTo>
                        <a:pt x="969" y="544"/>
                      </a:lnTo>
                      <a:lnTo>
                        <a:pt x="970" y="544"/>
                      </a:lnTo>
                      <a:lnTo>
                        <a:pt x="970" y="544"/>
                      </a:lnTo>
                      <a:lnTo>
                        <a:pt x="971" y="544"/>
                      </a:lnTo>
                      <a:lnTo>
                        <a:pt x="971" y="543"/>
                      </a:lnTo>
                      <a:lnTo>
                        <a:pt x="971" y="543"/>
                      </a:lnTo>
                      <a:lnTo>
                        <a:pt x="971" y="542"/>
                      </a:lnTo>
                      <a:lnTo>
                        <a:pt x="971" y="542"/>
                      </a:lnTo>
                      <a:lnTo>
                        <a:pt x="972" y="542"/>
                      </a:lnTo>
                      <a:lnTo>
                        <a:pt x="972" y="541"/>
                      </a:lnTo>
                      <a:lnTo>
                        <a:pt x="972" y="540"/>
                      </a:lnTo>
                      <a:lnTo>
                        <a:pt x="973" y="540"/>
                      </a:lnTo>
                      <a:lnTo>
                        <a:pt x="973" y="539"/>
                      </a:lnTo>
                      <a:lnTo>
                        <a:pt x="973" y="539"/>
                      </a:lnTo>
                      <a:lnTo>
                        <a:pt x="974" y="539"/>
                      </a:lnTo>
                      <a:lnTo>
                        <a:pt x="975" y="539"/>
                      </a:lnTo>
                      <a:lnTo>
                        <a:pt x="975" y="540"/>
                      </a:lnTo>
                      <a:lnTo>
                        <a:pt x="975" y="540"/>
                      </a:lnTo>
                      <a:lnTo>
                        <a:pt x="975" y="541"/>
                      </a:lnTo>
                      <a:lnTo>
                        <a:pt x="976" y="541"/>
                      </a:lnTo>
                      <a:lnTo>
                        <a:pt x="977" y="541"/>
                      </a:lnTo>
                      <a:lnTo>
                        <a:pt x="977" y="542"/>
                      </a:lnTo>
                      <a:lnTo>
                        <a:pt x="977" y="542"/>
                      </a:lnTo>
                      <a:lnTo>
                        <a:pt x="977" y="542"/>
                      </a:lnTo>
                      <a:lnTo>
                        <a:pt x="978" y="542"/>
                      </a:lnTo>
                      <a:lnTo>
                        <a:pt x="979" y="542"/>
                      </a:lnTo>
                      <a:lnTo>
                        <a:pt x="979" y="543"/>
                      </a:lnTo>
                      <a:lnTo>
                        <a:pt x="979" y="543"/>
                      </a:lnTo>
                      <a:lnTo>
                        <a:pt x="983" y="542"/>
                      </a:lnTo>
                      <a:lnTo>
                        <a:pt x="985" y="542"/>
                      </a:lnTo>
                      <a:lnTo>
                        <a:pt x="987" y="542"/>
                      </a:lnTo>
                      <a:lnTo>
                        <a:pt x="990" y="542"/>
                      </a:lnTo>
                      <a:lnTo>
                        <a:pt x="991" y="543"/>
                      </a:lnTo>
                      <a:lnTo>
                        <a:pt x="993" y="544"/>
                      </a:lnTo>
                      <a:lnTo>
                        <a:pt x="995" y="544"/>
                      </a:lnTo>
                      <a:lnTo>
                        <a:pt x="997" y="544"/>
                      </a:lnTo>
                      <a:lnTo>
                        <a:pt x="999" y="545"/>
                      </a:lnTo>
                      <a:lnTo>
                        <a:pt x="1000" y="546"/>
                      </a:lnTo>
                      <a:lnTo>
                        <a:pt x="1001" y="546"/>
                      </a:lnTo>
                      <a:lnTo>
                        <a:pt x="1002" y="548"/>
                      </a:lnTo>
                      <a:lnTo>
                        <a:pt x="1003" y="548"/>
                      </a:lnTo>
                      <a:lnTo>
                        <a:pt x="1005" y="548"/>
                      </a:lnTo>
                      <a:lnTo>
                        <a:pt x="1006" y="548"/>
                      </a:lnTo>
                      <a:lnTo>
                        <a:pt x="1008" y="548"/>
                      </a:lnTo>
                      <a:lnTo>
                        <a:pt x="1010" y="549"/>
                      </a:lnTo>
                      <a:lnTo>
                        <a:pt x="1011" y="550"/>
                      </a:lnTo>
                      <a:lnTo>
                        <a:pt x="1013" y="550"/>
                      </a:lnTo>
                      <a:lnTo>
                        <a:pt x="1013" y="550"/>
                      </a:lnTo>
                      <a:lnTo>
                        <a:pt x="1014" y="550"/>
                      </a:lnTo>
                      <a:lnTo>
                        <a:pt x="1015" y="550"/>
                      </a:lnTo>
                      <a:lnTo>
                        <a:pt x="1016" y="551"/>
                      </a:lnTo>
                      <a:lnTo>
                        <a:pt x="1017" y="551"/>
                      </a:lnTo>
                      <a:lnTo>
                        <a:pt x="1017" y="552"/>
                      </a:lnTo>
                      <a:lnTo>
                        <a:pt x="1017" y="553"/>
                      </a:lnTo>
                      <a:lnTo>
                        <a:pt x="1018" y="554"/>
                      </a:lnTo>
                      <a:lnTo>
                        <a:pt x="1019" y="554"/>
                      </a:lnTo>
                      <a:lnTo>
                        <a:pt x="1020" y="554"/>
                      </a:lnTo>
                      <a:lnTo>
                        <a:pt x="1021" y="555"/>
                      </a:lnTo>
                      <a:lnTo>
                        <a:pt x="1023" y="555"/>
                      </a:lnTo>
                      <a:lnTo>
                        <a:pt x="1024" y="556"/>
                      </a:lnTo>
                      <a:lnTo>
                        <a:pt x="1025" y="556"/>
                      </a:lnTo>
                      <a:lnTo>
                        <a:pt x="1027" y="557"/>
                      </a:lnTo>
                      <a:lnTo>
                        <a:pt x="1027" y="558"/>
                      </a:lnTo>
                      <a:lnTo>
                        <a:pt x="1028" y="558"/>
                      </a:lnTo>
                      <a:lnTo>
                        <a:pt x="1028" y="558"/>
                      </a:lnTo>
                      <a:lnTo>
                        <a:pt x="1029" y="558"/>
                      </a:lnTo>
                      <a:lnTo>
                        <a:pt x="1030" y="558"/>
                      </a:lnTo>
                      <a:lnTo>
                        <a:pt x="1030" y="558"/>
                      </a:lnTo>
                      <a:lnTo>
                        <a:pt x="1031" y="558"/>
                      </a:lnTo>
                      <a:lnTo>
                        <a:pt x="1032" y="558"/>
                      </a:lnTo>
                      <a:lnTo>
                        <a:pt x="1032" y="559"/>
                      </a:lnTo>
                      <a:lnTo>
                        <a:pt x="1033" y="559"/>
                      </a:lnTo>
                      <a:lnTo>
                        <a:pt x="1034" y="559"/>
                      </a:lnTo>
                      <a:lnTo>
                        <a:pt x="1034" y="560"/>
                      </a:lnTo>
                      <a:lnTo>
                        <a:pt x="1035" y="560"/>
                      </a:lnTo>
                      <a:lnTo>
                        <a:pt x="1036" y="561"/>
                      </a:lnTo>
                      <a:lnTo>
                        <a:pt x="1036" y="562"/>
                      </a:lnTo>
                      <a:lnTo>
                        <a:pt x="1036" y="563"/>
                      </a:lnTo>
                      <a:lnTo>
                        <a:pt x="1037" y="563"/>
                      </a:lnTo>
                      <a:lnTo>
                        <a:pt x="1037" y="564"/>
                      </a:lnTo>
                      <a:lnTo>
                        <a:pt x="1038" y="564"/>
                      </a:lnTo>
                      <a:lnTo>
                        <a:pt x="1038" y="565"/>
                      </a:lnTo>
                      <a:lnTo>
                        <a:pt x="1038" y="566"/>
                      </a:lnTo>
                      <a:lnTo>
                        <a:pt x="1038" y="567"/>
                      </a:lnTo>
                      <a:lnTo>
                        <a:pt x="1039" y="567"/>
                      </a:lnTo>
                      <a:lnTo>
                        <a:pt x="1039" y="567"/>
                      </a:lnTo>
                      <a:lnTo>
                        <a:pt x="1039" y="568"/>
                      </a:lnTo>
                      <a:lnTo>
                        <a:pt x="1040" y="568"/>
                      </a:lnTo>
                      <a:lnTo>
                        <a:pt x="1040" y="569"/>
                      </a:lnTo>
                      <a:lnTo>
                        <a:pt x="1040" y="569"/>
                      </a:lnTo>
                      <a:lnTo>
                        <a:pt x="1040" y="569"/>
                      </a:lnTo>
                      <a:lnTo>
                        <a:pt x="1041" y="569"/>
                      </a:lnTo>
                      <a:lnTo>
                        <a:pt x="1041" y="570"/>
                      </a:lnTo>
                      <a:lnTo>
                        <a:pt x="1042" y="571"/>
                      </a:lnTo>
                      <a:lnTo>
                        <a:pt x="1042" y="571"/>
                      </a:lnTo>
                      <a:lnTo>
                        <a:pt x="1043" y="571"/>
                      </a:lnTo>
                      <a:lnTo>
                        <a:pt x="1043" y="572"/>
                      </a:lnTo>
                      <a:lnTo>
                        <a:pt x="1044" y="572"/>
                      </a:lnTo>
                      <a:lnTo>
                        <a:pt x="1044" y="573"/>
                      </a:lnTo>
                      <a:lnTo>
                        <a:pt x="1044" y="573"/>
                      </a:lnTo>
                      <a:lnTo>
                        <a:pt x="1044" y="573"/>
                      </a:lnTo>
                      <a:lnTo>
                        <a:pt x="1045" y="573"/>
                      </a:lnTo>
                      <a:lnTo>
                        <a:pt x="1045" y="574"/>
                      </a:lnTo>
                      <a:lnTo>
                        <a:pt x="1046" y="574"/>
                      </a:lnTo>
                      <a:lnTo>
                        <a:pt x="1046" y="575"/>
                      </a:lnTo>
                      <a:lnTo>
                        <a:pt x="1047" y="575"/>
                      </a:lnTo>
                      <a:lnTo>
                        <a:pt x="1047" y="575"/>
                      </a:lnTo>
                      <a:lnTo>
                        <a:pt x="1047" y="575"/>
                      </a:lnTo>
                      <a:lnTo>
                        <a:pt x="1049" y="575"/>
                      </a:lnTo>
                      <a:lnTo>
                        <a:pt x="1050" y="575"/>
                      </a:lnTo>
                      <a:lnTo>
                        <a:pt x="1051" y="575"/>
                      </a:lnTo>
                      <a:lnTo>
                        <a:pt x="1051" y="575"/>
                      </a:lnTo>
                      <a:lnTo>
                        <a:pt x="1052" y="575"/>
                      </a:lnTo>
                      <a:lnTo>
                        <a:pt x="1053" y="575"/>
                      </a:lnTo>
                      <a:lnTo>
                        <a:pt x="1053" y="574"/>
                      </a:lnTo>
                      <a:lnTo>
                        <a:pt x="1054" y="574"/>
                      </a:lnTo>
                      <a:lnTo>
                        <a:pt x="1055" y="574"/>
                      </a:lnTo>
                      <a:lnTo>
                        <a:pt x="1055" y="574"/>
                      </a:lnTo>
                      <a:lnTo>
                        <a:pt x="1057" y="574"/>
                      </a:lnTo>
                      <a:lnTo>
                        <a:pt x="1060" y="574"/>
                      </a:lnTo>
                      <a:lnTo>
                        <a:pt x="1062" y="575"/>
                      </a:lnTo>
                      <a:lnTo>
                        <a:pt x="1063" y="575"/>
                      </a:lnTo>
                      <a:lnTo>
                        <a:pt x="1063" y="575"/>
                      </a:lnTo>
                      <a:lnTo>
                        <a:pt x="1064" y="575"/>
                      </a:lnTo>
                      <a:lnTo>
                        <a:pt x="1065" y="575"/>
                      </a:lnTo>
                      <a:lnTo>
                        <a:pt x="1065" y="576"/>
                      </a:lnTo>
                      <a:lnTo>
                        <a:pt x="1064" y="577"/>
                      </a:lnTo>
                      <a:lnTo>
                        <a:pt x="1064" y="578"/>
                      </a:lnTo>
                      <a:lnTo>
                        <a:pt x="1064" y="579"/>
                      </a:lnTo>
                      <a:lnTo>
                        <a:pt x="1064" y="579"/>
                      </a:lnTo>
                      <a:lnTo>
                        <a:pt x="1064" y="580"/>
                      </a:lnTo>
                      <a:lnTo>
                        <a:pt x="1065" y="580"/>
                      </a:lnTo>
                      <a:lnTo>
                        <a:pt x="1065" y="581"/>
                      </a:lnTo>
                      <a:lnTo>
                        <a:pt x="1066" y="582"/>
                      </a:lnTo>
                      <a:lnTo>
                        <a:pt x="1066" y="582"/>
                      </a:lnTo>
                      <a:lnTo>
                        <a:pt x="1067" y="582"/>
                      </a:lnTo>
                      <a:lnTo>
                        <a:pt x="1067" y="583"/>
                      </a:lnTo>
                      <a:lnTo>
                        <a:pt x="1067" y="584"/>
                      </a:lnTo>
                      <a:lnTo>
                        <a:pt x="1066" y="584"/>
                      </a:lnTo>
                      <a:lnTo>
                        <a:pt x="1066" y="584"/>
                      </a:lnTo>
                      <a:lnTo>
                        <a:pt x="1065" y="584"/>
                      </a:lnTo>
                      <a:lnTo>
                        <a:pt x="1064" y="584"/>
                      </a:lnTo>
                      <a:lnTo>
                        <a:pt x="1064" y="584"/>
                      </a:lnTo>
                      <a:lnTo>
                        <a:pt x="1063" y="584"/>
                      </a:lnTo>
                      <a:lnTo>
                        <a:pt x="1063" y="585"/>
                      </a:lnTo>
                      <a:lnTo>
                        <a:pt x="1063" y="586"/>
                      </a:lnTo>
                      <a:lnTo>
                        <a:pt x="1063" y="586"/>
                      </a:lnTo>
                      <a:lnTo>
                        <a:pt x="1064" y="586"/>
                      </a:lnTo>
                      <a:lnTo>
                        <a:pt x="1065" y="586"/>
                      </a:lnTo>
                      <a:lnTo>
                        <a:pt x="1066" y="586"/>
                      </a:lnTo>
                      <a:lnTo>
                        <a:pt x="1066" y="586"/>
                      </a:lnTo>
                      <a:lnTo>
                        <a:pt x="1067" y="586"/>
                      </a:lnTo>
                      <a:lnTo>
                        <a:pt x="1068" y="586"/>
                      </a:lnTo>
                      <a:lnTo>
                        <a:pt x="1069" y="586"/>
                      </a:lnTo>
                      <a:lnTo>
                        <a:pt x="1070" y="586"/>
                      </a:lnTo>
                      <a:lnTo>
                        <a:pt x="1070" y="586"/>
                      </a:lnTo>
                      <a:lnTo>
                        <a:pt x="1072" y="588"/>
                      </a:lnTo>
                      <a:lnTo>
                        <a:pt x="1072" y="588"/>
                      </a:lnTo>
                      <a:lnTo>
                        <a:pt x="1072" y="588"/>
                      </a:lnTo>
                      <a:lnTo>
                        <a:pt x="1072" y="590"/>
                      </a:lnTo>
                      <a:lnTo>
                        <a:pt x="1073" y="590"/>
                      </a:lnTo>
                      <a:lnTo>
                        <a:pt x="1073" y="592"/>
                      </a:lnTo>
                      <a:lnTo>
                        <a:pt x="1073" y="592"/>
                      </a:lnTo>
                      <a:lnTo>
                        <a:pt x="1074" y="594"/>
                      </a:lnTo>
                      <a:lnTo>
                        <a:pt x="1074" y="594"/>
                      </a:lnTo>
                      <a:lnTo>
                        <a:pt x="1075" y="595"/>
                      </a:lnTo>
                      <a:lnTo>
                        <a:pt x="1076" y="596"/>
                      </a:lnTo>
                      <a:lnTo>
                        <a:pt x="1076" y="597"/>
                      </a:lnTo>
                      <a:lnTo>
                        <a:pt x="1077" y="597"/>
                      </a:lnTo>
                      <a:lnTo>
                        <a:pt x="1078" y="598"/>
                      </a:lnTo>
                      <a:lnTo>
                        <a:pt x="1078" y="598"/>
                      </a:lnTo>
                      <a:lnTo>
                        <a:pt x="1079" y="598"/>
                      </a:lnTo>
                      <a:lnTo>
                        <a:pt x="1080" y="598"/>
                      </a:lnTo>
                      <a:lnTo>
                        <a:pt x="1080" y="600"/>
                      </a:lnTo>
                      <a:lnTo>
                        <a:pt x="1082" y="600"/>
                      </a:lnTo>
                      <a:lnTo>
                        <a:pt x="1083" y="600"/>
                      </a:lnTo>
                      <a:lnTo>
                        <a:pt x="1084" y="600"/>
                      </a:lnTo>
                      <a:lnTo>
                        <a:pt x="1085" y="600"/>
                      </a:lnTo>
                      <a:lnTo>
                        <a:pt x="1085" y="599"/>
                      </a:lnTo>
                      <a:lnTo>
                        <a:pt x="1086" y="599"/>
                      </a:lnTo>
                      <a:lnTo>
                        <a:pt x="1087" y="599"/>
                      </a:lnTo>
                      <a:lnTo>
                        <a:pt x="1087" y="600"/>
                      </a:lnTo>
                      <a:lnTo>
                        <a:pt x="1088" y="600"/>
                      </a:lnTo>
                      <a:lnTo>
                        <a:pt x="1089" y="600"/>
                      </a:lnTo>
                      <a:lnTo>
                        <a:pt x="1089" y="601"/>
                      </a:lnTo>
                      <a:lnTo>
                        <a:pt x="1091" y="602"/>
                      </a:lnTo>
                      <a:lnTo>
                        <a:pt x="1093" y="603"/>
                      </a:lnTo>
                      <a:lnTo>
                        <a:pt x="1093" y="603"/>
                      </a:lnTo>
                      <a:lnTo>
                        <a:pt x="1094" y="604"/>
                      </a:lnTo>
                      <a:lnTo>
                        <a:pt x="1095" y="604"/>
                      </a:lnTo>
                      <a:lnTo>
                        <a:pt x="1095" y="604"/>
                      </a:lnTo>
                      <a:lnTo>
                        <a:pt x="1097" y="605"/>
                      </a:lnTo>
                      <a:lnTo>
                        <a:pt x="1099" y="605"/>
                      </a:lnTo>
                      <a:lnTo>
                        <a:pt x="1099" y="605"/>
                      </a:lnTo>
                      <a:lnTo>
                        <a:pt x="1101" y="606"/>
                      </a:lnTo>
                      <a:lnTo>
                        <a:pt x="1101" y="606"/>
                      </a:lnTo>
                      <a:lnTo>
                        <a:pt x="1103" y="607"/>
                      </a:lnTo>
                      <a:lnTo>
                        <a:pt x="1104" y="607"/>
                      </a:lnTo>
                      <a:lnTo>
                        <a:pt x="1104" y="607"/>
                      </a:lnTo>
                      <a:lnTo>
                        <a:pt x="1105" y="607"/>
                      </a:lnTo>
                      <a:lnTo>
                        <a:pt x="1106" y="607"/>
                      </a:lnTo>
                      <a:lnTo>
                        <a:pt x="1106" y="607"/>
                      </a:lnTo>
                      <a:lnTo>
                        <a:pt x="1107" y="607"/>
                      </a:lnTo>
                      <a:lnTo>
                        <a:pt x="1108" y="607"/>
                      </a:lnTo>
                      <a:lnTo>
                        <a:pt x="1109" y="607"/>
                      </a:lnTo>
                      <a:lnTo>
                        <a:pt x="1110" y="607"/>
                      </a:lnTo>
                      <a:lnTo>
                        <a:pt x="1110" y="607"/>
                      </a:lnTo>
                      <a:lnTo>
                        <a:pt x="1112" y="607"/>
                      </a:lnTo>
                      <a:lnTo>
                        <a:pt x="1112" y="607"/>
                      </a:lnTo>
                      <a:lnTo>
                        <a:pt x="1114" y="608"/>
                      </a:lnTo>
                      <a:lnTo>
                        <a:pt x="1115" y="608"/>
                      </a:lnTo>
                      <a:lnTo>
                        <a:pt x="1116" y="608"/>
                      </a:lnTo>
                      <a:lnTo>
                        <a:pt x="1117" y="607"/>
                      </a:lnTo>
                      <a:lnTo>
                        <a:pt x="1117" y="607"/>
                      </a:lnTo>
                      <a:lnTo>
                        <a:pt x="1118" y="607"/>
                      </a:lnTo>
                      <a:lnTo>
                        <a:pt x="1118" y="606"/>
                      </a:lnTo>
                      <a:lnTo>
                        <a:pt x="1117" y="605"/>
                      </a:lnTo>
                      <a:lnTo>
                        <a:pt x="1116" y="605"/>
                      </a:lnTo>
                      <a:lnTo>
                        <a:pt x="1116" y="604"/>
                      </a:lnTo>
                      <a:lnTo>
                        <a:pt x="1116" y="603"/>
                      </a:lnTo>
                      <a:lnTo>
                        <a:pt x="1116" y="603"/>
                      </a:lnTo>
                      <a:lnTo>
                        <a:pt x="1115" y="603"/>
                      </a:lnTo>
                      <a:lnTo>
                        <a:pt x="1114" y="602"/>
                      </a:lnTo>
                      <a:lnTo>
                        <a:pt x="1114" y="601"/>
                      </a:lnTo>
                      <a:lnTo>
                        <a:pt x="1114" y="601"/>
                      </a:lnTo>
                      <a:lnTo>
                        <a:pt x="1115" y="601"/>
                      </a:lnTo>
                      <a:lnTo>
                        <a:pt x="1116" y="601"/>
                      </a:lnTo>
                      <a:lnTo>
                        <a:pt x="1116" y="601"/>
                      </a:lnTo>
                      <a:lnTo>
                        <a:pt x="1116" y="601"/>
                      </a:lnTo>
                      <a:lnTo>
                        <a:pt x="1118" y="601"/>
                      </a:lnTo>
                      <a:lnTo>
                        <a:pt x="1118" y="601"/>
                      </a:lnTo>
                      <a:lnTo>
                        <a:pt x="1119" y="601"/>
                      </a:lnTo>
                      <a:lnTo>
                        <a:pt x="1120" y="601"/>
                      </a:lnTo>
                      <a:lnTo>
                        <a:pt x="1120" y="600"/>
                      </a:lnTo>
                      <a:lnTo>
                        <a:pt x="1121" y="599"/>
                      </a:lnTo>
                      <a:lnTo>
                        <a:pt x="1122" y="599"/>
                      </a:lnTo>
                      <a:lnTo>
                        <a:pt x="1123" y="598"/>
                      </a:lnTo>
                      <a:lnTo>
                        <a:pt x="1123" y="598"/>
                      </a:lnTo>
                      <a:lnTo>
                        <a:pt x="1127" y="599"/>
                      </a:lnTo>
                      <a:lnTo>
                        <a:pt x="1127" y="598"/>
                      </a:lnTo>
                      <a:lnTo>
                        <a:pt x="1128" y="598"/>
                      </a:lnTo>
                      <a:lnTo>
                        <a:pt x="1129" y="597"/>
                      </a:lnTo>
                      <a:lnTo>
                        <a:pt x="1129" y="596"/>
                      </a:lnTo>
                      <a:lnTo>
                        <a:pt x="1129" y="596"/>
                      </a:lnTo>
                      <a:lnTo>
                        <a:pt x="1129" y="595"/>
                      </a:lnTo>
                      <a:lnTo>
                        <a:pt x="1128" y="594"/>
                      </a:lnTo>
                      <a:lnTo>
                        <a:pt x="1127" y="594"/>
                      </a:lnTo>
                      <a:lnTo>
                        <a:pt x="1127" y="593"/>
                      </a:lnTo>
                      <a:lnTo>
                        <a:pt x="1127" y="592"/>
                      </a:lnTo>
                      <a:lnTo>
                        <a:pt x="1127" y="592"/>
                      </a:lnTo>
                      <a:lnTo>
                        <a:pt x="1127" y="592"/>
                      </a:lnTo>
                      <a:lnTo>
                        <a:pt x="1127" y="591"/>
                      </a:lnTo>
                      <a:lnTo>
                        <a:pt x="1128" y="590"/>
                      </a:lnTo>
                      <a:lnTo>
                        <a:pt x="1129" y="590"/>
                      </a:lnTo>
                      <a:lnTo>
                        <a:pt x="1129" y="591"/>
                      </a:lnTo>
                      <a:lnTo>
                        <a:pt x="1130" y="591"/>
                      </a:lnTo>
                      <a:lnTo>
                        <a:pt x="1131" y="591"/>
                      </a:lnTo>
                      <a:lnTo>
                        <a:pt x="1131" y="592"/>
                      </a:lnTo>
                      <a:lnTo>
                        <a:pt x="1131" y="592"/>
                      </a:lnTo>
                      <a:lnTo>
                        <a:pt x="1131" y="593"/>
                      </a:lnTo>
                      <a:lnTo>
                        <a:pt x="1132" y="594"/>
                      </a:lnTo>
                      <a:lnTo>
                        <a:pt x="1132" y="594"/>
                      </a:lnTo>
                      <a:lnTo>
                        <a:pt x="1133" y="595"/>
                      </a:lnTo>
                      <a:lnTo>
                        <a:pt x="1133" y="595"/>
                      </a:lnTo>
                      <a:lnTo>
                        <a:pt x="1133" y="596"/>
                      </a:lnTo>
                      <a:lnTo>
                        <a:pt x="1134" y="596"/>
                      </a:lnTo>
                      <a:lnTo>
                        <a:pt x="1135" y="596"/>
                      </a:lnTo>
                      <a:lnTo>
                        <a:pt x="1135" y="595"/>
                      </a:lnTo>
                      <a:lnTo>
                        <a:pt x="1136" y="594"/>
                      </a:lnTo>
                      <a:lnTo>
                        <a:pt x="1136" y="594"/>
                      </a:lnTo>
                      <a:lnTo>
                        <a:pt x="1135" y="594"/>
                      </a:lnTo>
                      <a:lnTo>
                        <a:pt x="1135" y="593"/>
                      </a:lnTo>
                      <a:lnTo>
                        <a:pt x="1135" y="592"/>
                      </a:lnTo>
                      <a:lnTo>
                        <a:pt x="1135" y="592"/>
                      </a:lnTo>
                      <a:lnTo>
                        <a:pt x="1135" y="591"/>
                      </a:lnTo>
                      <a:lnTo>
                        <a:pt x="1134" y="590"/>
                      </a:lnTo>
                      <a:lnTo>
                        <a:pt x="1135" y="590"/>
                      </a:lnTo>
                      <a:lnTo>
                        <a:pt x="1135" y="589"/>
                      </a:lnTo>
                      <a:lnTo>
                        <a:pt x="1135" y="588"/>
                      </a:lnTo>
                      <a:lnTo>
                        <a:pt x="1136" y="588"/>
                      </a:lnTo>
                      <a:lnTo>
                        <a:pt x="1136" y="588"/>
                      </a:lnTo>
                      <a:lnTo>
                        <a:pt x="1137" y="588"/>
                      </a:lnTo>
                      <a:lnTo>
                        <a:pt x="1137" y="588"/>
                      </a:lnTo>
                      <a:lnTo>
                        <a:pt x="1137" y="588"/>
                      </a:lnTo>
                      <a:lnTo>
                        <a:pt x="1138" y="589"/>
                      </a:lnTo>
                      <a:lnTo>
                        <a:pt x="1138" y="590"/>
                      </a:lnTo>
                      <a:lnTo>
                        <a:pt x="1138" y="590"/>
                      </a:lnTo>
                      <a:lnTo>
                        <a:pt x="1138" y="591"/>
                      </a:lnTo>
                      <a:lnTo>
                        <a:pt x="1138" y="592"/>
                      </a:lnTo>
                      <a:lnTo>
                        <a:pt x="1138" y="593"/>
                      </a:lnTo>
                      <a:lnTo>
                        <a:pt x="1139" y="593"/>
                      </a:lnTo>
                      <a:lnTo>
                        <a:pt x="1139" y="594"/>
                      </a:lnTo>
                      <a:lnTo>
                        <a:pt x="1139" y="594"/>
                      </a:lnTo>
                      <a:lnTo>
                        <a:pt x="1139" y="594"/>
                      </a:lnTo>
                      <a:lnTo>
                        <a:pt x="1140" y="594"/>
                      </a:lnTo>
                      <a:lnTo>
                        <a:pt x="1141" y="594"/>
                      </a:lnTo>
                      <a:lnTo>
                        <a:pt x="1142" y="594"/>
                      </a:lnTo>
                      <a:lnTo>
                        <a:pt x="1142" y="594"/>
                      </a:lnTo>
                      <a:lnTo>
                        <a:pt x="1142" y="595"/>
                      </a:lnTo>
                      <a:lnTo>
                        <a:pt x="1142" y="596"/>
                      </a:lnTo>
                      <a:lnTo>
                        <a:pt x="1142" y="596"/>
                      </a:lnTo>
                      <a:lnTo>
                        <a:pt x="1142" y="596"/>
                      </a:lnTo>
                      <a:lnTo>
                        <a:pt x="1142" y="596"/>
                      </a:lnTo>
                      <a:lnTo>
                        <a:pt x="1143" y="597"/>
                      </a:lnTo>
                      <a:lnTo>
                        <a:pt x="1144" y="597"/>
                      </a:lnTo>
                      <a:lnTo>
                        <a:pt x="1144" y="596"/>
                      </a:lnTo>
                      <a:lnTo>
                        <a:pt x="1144" y="596"/>
                      </a:lnTo>
                      <a:lnTo>
                        <a:pt x="1145" y="596"/>
                      </a:lnTo>
                      <a:lnTo>
                        <a:pt x="1146" y="596"/>
                      </a:lnTo>
                      <a:lnTo>
                        <a:pt x="1146" y="597"/>
                      </a:lnTo>
                      <a:lnTo>
                        <a:pt x="1146" y="598"/>
                      </a:lnTo>
                      <a:lnTo>
                        <a:pt x="1146" y="598"/>
                      </a:lnTo>
                      <a:lnTo>
                        <a:pt x="1146" y="598"/>
                      </a:lnTo>
                      <a:lnTo>
                        <a:pt x="1147" y="599"/>
                      </a:lnTo>
                      <a:lnTo>
                        <a:pt x="1148" y="599"/>
                      </a:lnTo>
                      <a:lnTo>
                        <a:pt x="1148" y="600"/>
                      </a:lnTo>
                      <a:lnTo>
                        <a:pt x="1148" y="600"/>
                      </a:lnTo>
                      <a:lnTo>
                        <a:pt x="1149" y="600"/>
                      </a:lnTo>
                      <a:lnTo>
                        <a:pt x="1150" y="600"/>
                      </a:lnTo>
                      <a:lnTo>
                        <a:pt x="1150" y="599"/>
                      </a:lnTo>
                      <a:lnTo>
                        <a:pt x="1151" y="599"/>
                      </a:lnTo>
                      <a:lnTo>
                        <a:pt x="1152" y="598"/>
                      </a:lnTo>
                      <a:lnTo>
                        <a:pt x="1152" y="599"/>
                      </a:lnTo>
                      <a:lnTo>
                        <a:pt x="1152" y="599"/>
                      </a:lnTo>
                      <a:lnTo>
                        <a:pt x="1153" y="599"/>
                      </a:lnTo>
                      <a:lnTo>
                        <a:pt x="1154" y="600"/>
                      </a:lnTo>
                      <a:lnTo>
                        <a:pt x="1154" y="601"/>
                      </a:lnTo>
                      <a:lnTo>
                        <a:pt x="1154" y="601"/>
                      </a:lnTo>
                      <a:lnTo>
                        <a:pt x="1154" y="601"/>
                      </a:lnTo>
                      <a:lnTo>
                        <a:pt x="1154" y="602"/>
                      </a:lnTo>
                      <a:lnTo>
                        <a:pt x="1154" y="603"/>
                      </a:lnTo>
                      <a:lnTo>
                        <a:pt x="1154" y="603"/>
                      </a:lnTo>
                      <a:lnTo>
                        <a:pt x="1153" y="604"/>
                      </a:lnTo>
                      <a:lnTo>
                        <a:pt x="1153" y="605"/>
                      </a:lnTo>
                      <a:lnTo>
                        <a:pt x="1152" y="605"/>
                      </a:lnTo>
                      <a:lnTo>
                        <a:pt x="1152" y="605"/>
                      </a:lnTo>
                      <a:lnTo>
                        <a:pt x="1152" y="606"/>
                      </a:lnTo>
                      <a:lnTo>
                        <a:pt x="1153" y="606"/>
                      </a:lnTo>
                      <a:lnTo>
                        <a:pt x="1154" y="607"/>
                      </a:lnTo>
                      <a:lnTo>
                        <a:pt x="1154" y="607"/>
                      </a:lnTo>
                      <a:lnTo>
                        <a:pt x="1155" y="607"/>
                      </a:lnTo>
                      <a:lnTo>
                        <a:pt x="1156" y="607"/>
                      </a:lnTo>
                      <a:lnTo>
                        <a:pt x="1156" y="607"/>
                      </a:lnTo>
                      <a:lnTo>
                        <a:pt x="1157" y="607"/>
                      </a:lnTo>
                      <a:lnTo>
                        <a:pt x="1157" y="607"/>
                      </a:lnTo>
                      <a:lnTo>
                        <a:pt x="1158" y="607"/>
                      </a:lnTo>
                      <a:lnTo>
                        <a:pt x="1158" y="607"/>
                      </a:lnTo>
                      <a:lnTo>
                        <a:pt x="1158" y="607"/>
                      </a:lnTo>
                      <a:lnTo>
                        <a:pt x="1159" y="607"/>
                      </a:lnTo>
                      <a:lnTo>
                        <a:pt x="1160" y="606"/>
                      </a:lnTo>
                      <a:lnTo>
                        <a:pt x="1161" y="606"/>
                      </a:lnTo>
                      <a:lnTo>
                        <a:pt x="1161" y="607"/>
                      </a:lnTo>
                      <a:lnTo>
                        <a:pt x="1162" y="607"/>
                      </a:lnTo>
                      <a:lnTo>
                        <a:pt x="1162" y="607"/>
                      </a:lnTo>
                      <a:lnTo>
                        <a:pt x="1162" y="608"/>
                      </a:lnTo>
                      <a:lnTo>
                        <a:pt x="1162" y="609"/>
                      </a:lnTo>
                      <a:lnTo>
                        <a:pt x="1162" y="609"/>
                      </a:lnTo>
                      <a:lnTo>
                        <a:pt x="1161" y="609"/>
                      </a:lnTo>
                      <a:lnTo>
                        <a:pt x="1161" y="610"/>
                      </a:lnTo>
                      <a:lnTo>
                        <a:pt x="1158" y="611"/>
                      </a:lnTo>
                      <a:lnTo>
                        <a:pt x="1157" y="612"/>
                      </a:lnTo>
                      <a:lnTo>
                        <a:pt x="1157" y="613"/>
                      </a:lnTo>
                      <a:lnTo>
                        <a:pt x="1156" y="613"/>
                      </a:lnTo>
                      <a:lnTo>
                        <a:pt x="1156" y="613"/>
                      </a:lnTo>
                      <a:lnTo>
                        <a:pt x="1156" y="614"/>
                      </a:lnTo>
                      <a:lnTo>
                        <a:pt x="1156" y="615"/>
                      </a:lnTo>
                      <a:lnTo>
                        <a:pt x="1156" y="615"/>
                      </a:lnTo>
                      <a:lnTo>
                        <a:pt x="1156" y="616"/>
                      </a:lnTo>
                      <a:lnTo>
                        <a:pt x="1157" y="616"/>
                      </a:lnTo>
                      <a:lnTo>
                        <a:pt x="1157" y="617"/>
                      </a:lnTo>
                      <a:lnTo>
                        <a:pt x="1157" y="617"/>
                      </a:lnTo>
                      <a:lnTo>
                        <a:pt x="1158" y="618"/>
                      </a:lnTo>
                      <a:lnTo>
                        <a:pt x="1158" y="619"/>
                      </a:lnTo>
                      <a:lnTo>
                        <a:pt x="1159" y="619"/>
                      </a:lnTo>
                      <a:lnTo>
                        <a:pt x="1160" y="619"/>
                      </a:lnTo>
                      <a:lnTo>
                        <a:pt x="1161" y="619"/>
                      </a:lnTo>
                      <a:lnTo>
                        <a:pt x="1161" y="619"/>
                      </a:lnTo>
                      <a:lnTo>
                        <a:pt x="1162" y="618"/>
                      </a:lnTo>
                      <a:lnTo>
                        <a:pt x="1163" y="618"/>
                      </a:lnTo>
                      <a:lnTo>
                        <a:pt x="1163" y="618"/>
                      </a:lnTo>
                      <a:lnTo>
                        <a:pt x="1164" y="619"/>
                      </a:lnTo>
                      <a:lnTo>
                        <a:pt x="1165" y="619"/>
                      </a:lnTo>
                      <a:lnTo>
                        <a:pt x="1165" y="619"/>
                      </a:lnTo>
                      <a:lnTo>
                        <a:pt x="1165" y="619"/>
                      </a:lnTo>
                      <a:lnTo>
                        <a:pt x="1165" y="620"/>
                      </a:lnTo>
                      <a:lnTo>
                        <a:pt x="1166" y="621"/>
                      </a:lnTo>
                      <a:lnTo>
                        <a:pt x="1166" y="622"/>
                      </a:lnTo>
                      <a:lnTo>
                        <a:pt x="1167" y="622"/>
                      </a:lnTo>
                      <a:lnTo>
                        <a:pt x="1167" y="623"/>
                      </a:lnTo>
                      <a:lnTo>
                        <a:pt x="1167" y="624"/>
                      </a:lnTo>
                      <a:lnTo>
                        <a:pt x="1167" y="624"/>
                      </a:lnTo>
                      <a:lnTo>
                        <a:pt x="1167" y="625"/>
                      </a:lnTo>
                      <a:lnTo>
                        <a:pt x="1168" y="626"/>
                      </a:lnTo>
                      <a:lnTo>
                        <a:pt x="1168" y="626"/>
                      </a:lnTo>
                      <a:lnTo>
                        <a:pt x="1168" y="627"/>
                      </a:lnTo>
                      <a:lnTo>
                        <a:pt x="1168" y="628"/>
                      </a:lnTo>
                      <a:lnTo>
                        <a:pt x="1168" y="628"/>
                      </a:lnTo>
                      <a:lnTo>
                        <a:pt x="1169" y="629"/>
                      </a:lnTo>
                      <a:lnTo>
                        <a:pt x="1169" y="630"/>
                      </a:lnTo>
                      <a:lnTo>
                        <a:pt x="1169" y="630"/>
                      </a:lnTo>
                      <a:lnTo>
                        <a:pt x="1169" y="631"/>
                      </a:lnTo>
                      <a:lnTo>
                        <a:pt x="1169" y="632"/>
                      </a:lnTo>
                      <a:lnTo>
                        <a:pt x="1169" y="632"/>
                      </a:lnTo>
                      <a:lnTo>
                        <a:pt x="1170" y="632"/>
                      </a:lnTo>
                      <a:lnTo>
                        <a:pt x="1171" y="632"/>
                      </a:lnTo>
                      <a:lnTo>
                        <a:pt x="1171" y="632"/>
                      </a:lnTo>
                      <a:lnTo>
                        <a:pt x="1171" y="633"/>
                      </a:lnTo>
                      <a:lnTo>
                        <a:pt x="1171" y="634"/>
                      </a:lnTo>
                      <a:lnTo>
                        <a:pt x="1172" y="634"/>
                      </a:lnTo>
                      <a:lnTo>
                        <a:pt x="1173" y="634"/>
                      </a:lnTo>
                      <a:lnTo>
                        <a:pt x="1173" y="635"/>
                      </a:lnTo>
                      <a:lnTo>
                        <a:pt x="1173" y="636"/>
                      </a:lnTo>
                      <a:lnTo>
                        <a:pt x="1173" y="636"/>
                      </a:lnTo>
                      <a:lnTo>
                        <a:pt x="1172" y="638"/>
                      </a:lnTo>
                      <a:lnTo>
                        <a:pt x="1172" y="638"/>
                      </a:lnTo>
                      <a:lnTo>
                        <a:pt x="1173" y="638"/>
                      </a:lnTo>
                      <a:lnTo>
                        <a:pt x="1173" y="639"/>
                      </a:lnTo>
                      <a:lnTo>
                        <a:pt x="1174" y="639"/>
                      </a:lnTo>
                      <a:lnTo>
                        <a:pt x="1175" y="639"/>
                      </a:lnTo>
                      <a:lnTo>
                        <a:pt x="1175" y="639"/>
                      </a:lnTo>
                      <a:lnTo>
                        <a:pt x="1175" y="640"/>
                      </a:lnTo>
                      <a:lnTo>
                        <a:pt x="1176" y="641"/>
                      </a:lnTo>
                      <a:lnTo>
                        <a:pt x="1175" y="641"/>
                      </a:lnTo>
                      <a:lnTo>
                        <a:pt x="1175" y="642"/>
                      </a:lnTo>
                      <a:lnTo>
                        <a:pt x="1175" y="643"/>
                      </a:lnTo>
                      <a:lnTo>
                        <a:pt x="1174" y="643"/>
                      </a:lnTo>
                      <a:lnTo>
                        <a:pt x="1175" y="645"/>
                      </a:lnTo>
                      <a:lnTo>
                        <a:pt x="1175" y="645"/>
                      </a:lnTo>
                      <a:lnTo>
                        <a:pt x="1175" y="646"/>
                      </a:lnTo>
                      <a:lnTo>
                        <a:pt x="1175" y="647"/>
                      </a:lnTo>
                      <a:lnTo>
                        <a:pt x="1176" y="647"/>
                      </a:lnTo>
                      <a:lnTo>
                        <a:pt x="1177" y="648"/>
                      </a:lnTo>
                      <a:lnTo>
                        <a:pt x="1178" y="648"/>
                      </a:lnTo>
                      <a:lnTo>
                        <a:pt x="1178" y="648"/>
                      </a:lnTo>
                      <a:lnTo>
                        <a:pt x="1178" y="649"/>
                      </a:lnTo>
                      <a:lnTo>
                        <a:pt x="1179" y="648"/>
                      </a:lnTo>
                      <a:lnTo>
                        <a:pt x="1180" y="648"/>
                      </a:lnTo>
                      <a:lnTo>
                        <a:pt x="1180" y="648"/>
                      </a:lnTo>
                      <a:lnTo>
                        <a:pt x="1180" y="647"/>
                      </a:lnTo>
                      <a:lnTo>
                        <a:pt x="1181" y="647"/>
                      </a:lnTo>
                      <a:lnTo>
                        <a:pt x="1182" y="647"/>
                      </a:lnTo>
                      <a:lnTo>
                        <a:pt x="1182" y="648"/>
                      </a:lnTo>
                      <a:lnTo>
                        <a:pt x="1182" y="649"/>
                      </a:lnTo>
                      <a:lnTo>
                        <a:pt x="1182" y="649"/>
                      </a:lnTo>
                      <a:lnTo>
                        <a:pt x="1182" y="650"/>
                      </a:lnTo>
                      <a:lnTo>
                        <a:pt x="1182" y="651"/>
                      </a:lnTo>
                      <a:lnTo>
                        <a:pt x="1182" y="651"/>
                      </a:lnTo>
                      <a:lnTo>
                        <a:pt x="1183" y="651"/>
                      </a:lnTo>
                      <a:lnTo>
                        <a:pt x="1183" y="652"/>
                      </a:lnTo>
                      <a:lnTo>
                        <a:pt x="1184" y="653"/>
                      </a:lnTo>
                      <a:lnTo>
                        <a:pt x="1184" y="653"/>
                      </a:lnTo>
                      <a:lnTo>
                        <a:pt x="1185" y="653"/>
                      </a:lnTo>
                      <a:lnTo>
                        <a:pt x="1186" y="653"/>
                      </a:lnTo>
                      <a:lnTo>
                        <a:pt x="1186" y="651"/>
                      </a:lnTo>
                      <a:lnTo>
                        <a:pt x="1187" y="650"/>
                      </a:lnTo>
                      <a:lnTo>
                        <a:pt x="1188" y="649"/>
                      </a:lnTo>
                      <a:lnTo>
                        <a:pt x="1188" y="649"/>
                      </a:lnTo>
                      <a:lnTo>
                        <a:pt x="1189" y="649"/>
                      </a:lnTo>
                      <a:lnTo>
                        <a:pt x="1190" y="649"/>
                      </a:lnTo>
                      <a:lnTo>
                        <a:pt x="1190" y="650"/>
                      </a:lnTo>
                      <a:lnTo>
                        <a:pt x="1190" y="650"/>
                      </a:lnTo>
                      <a:lnTo>
                        <a:pt x="1190" y="651"/>
                      </a:lnTo>
                      <a:lnTo>
                        <a:pt x="1191" y="652"/>
                      </a:lnTo>
                      <a:lnTo>
                        <a:pt x="1191" y="653"/>
                      </a:lnTo>
                      <a:lnTo>
                        <a:pt x="1192" y="653"/>
                      </a:lnTo>
                      <a:lnTo>
                        <a:pt x="1192" y="653"/>
                      </a:lnTo>
                      <a:lnTo>
                        <a:pt x="1192" y="652"/>
                      </a:lnTo>
                      <a:lnTo>
                        <a:pt x="1193" y="651"/>
                      </a:lnTo>
                      <a:lnTo>
                        <a:pt x="1193" y="650"/>
                      </a:lnTo>
                      <a:lnTo>
                        <a:pt x="1193" y="649"/>
                      </a:lnTo>
                      <a:lnTo>
                        <a:pt x="1194" y="649"/>
                      </a:lnTo>
                      <a:lnTo>
                        <a:pt x="1194" y="648"/>
                      </a:lnTo>
                      <a:lnTo>
                        <a:pt x="1195" y="648"/>
                      </a:lnTo>
                      <a:lnTo>
                        <a:pt x="1196" y="648"/>
                      </a:lnTo>
                      <a:lnTo>
                        <a:pt x="1197" y="648"/>
                      </a:lnTo>
                      <a:lnTo>
                        <a:pt x="1197" y="648"/>
                      </a:lnTo>
                      <a:lnTo>
                        <a:pt x="1198" y="648"/>
                      </a:lnTo>
                      <a:lnTo>
                        <a:pt x="1199" y="648"/>
                      </a:lnTo>
                      <a:lnTo>
                        <a:pt x="1199" y="649"/>
                      </a:lnTo>
                      <a:lnTo>
                        <a:pt x="1200" y="649"/>
                      </a:lnTo>
                      <a:lnTo>
                        <a:pt x="1200" y="649"/>
                      </a:lnTo>
                      <a:lnTo>
                        <a:pt x="1201" y="650"/>
                      </a:lnTo>
                      <a:lnTo>
                        <a:pt x="1201" y="651"/>
                      </a:lnTo>
                      <a:lnTo>
                        <a:pt x="1201" y="651"/>
                      </a:lnTo>
                      <a:lnTo>
                        <a:pt x="1202" y="651"/>
                      </a:lnTo>
                      <a:lnTo>
                        <a:pt x="1203" y="651"/>
                      </a:lnTo>
                      <a:lnTo>
                        <a:pt x="1203" y="651"/>
                      </a:lnTo>
                      <a:lnTo>
                        <a:pt x="1204" y="651"/>
                      </a:lnTo>
                      <a:lnTo>
                        <a:pt x="1205" y="652"/>
                      </a:lnTo>
                      <a:lnTo>
                        <a:pt x="1205" y="652"/>
                      </a:lnTo>
                      <a:lnTo>
                        <a:pt x="1206" y="653"/>
                      </a:lnTo>
                      <a:lnTo>
                        <a:pt x="1206" y="653"/>
                      </a:lnTo>
                      <a:lnTo>
                        <a:pt x="1206" y="654"/>
                      </a:lnTo>
                      <a:lnTo>
                        <a:pt x="1206" y="655"/>
                      </a:lnTo>
                      <a:lnTo>
                        <a:pt x="1205" y="656"/>
                      </a:lnTo>
                      <a:lnTo>
                        <a:pt x="1205" y="657"/>
                      </a:lnTo>
                      <a:lnTo>
                        <a:pt x="1206" y="657"/>
                      </a:lnTo>
                      <a:lnTo>
                        <a:pt x="1206" y="658"/>
                      </a:lnTo>
                      <a:lnTo>
                        <a:pt x="1207" y="659"/>
                      </a:lnTo>
                      <a:lnTo>
                        <a:pt x="1207" y="659"/>
                      </a:lnTo>
                      <a:lnTo>
                        <a:pt x="1208" y="660"/>
                      </a:lnTo>
                      <a:lnTo>
                        <a:pt x="1209" y="660"/>
                      </a:lnTo>
                      <a:lnTo>
                        <a:pt x="1209" y="661"/>
                      </a:lnTo>
                      <a:lnTo>
                        <a:pt x="1209" y="662"/>
                      </a:lnTo>
                      <a:lnTo>
                        <a:pt x="1210" y="662"/>
                      </a:lnTo>
                      <a:lnTo>
                        <a:pt x="1210" y="663"/>
                      </a:lnTo>
                      <a:lnTo>
                        <a:pt x="1210" y="664"/>
                      </a:lnTo>
                      <a:lnTo>
                        <a:pt x="1210" y="664"/>
                      </a:lnTo>
                      <a:lnTo>
                        <a:pt x="1211" y="665"/>
                      </a:lnTo>
                      <a:lnTo>
                        <a:pt x="1211" y="666"/>
                      </a:lnTo>
                      <a:lnTo>
                        <a:pt x="1211" y="666"/>
                      </a:lnTo>
                      <a:lnTo>
                        <a:pt x="1212" y="667"/>
                      </a:lnTo>
                      <a:lnTo>
                        <a:pt x="1212" y="666"/>
                      </a:lnTo>
                      <a:lnTo>
                        <a:pt x="1213" y="666"/>
                      </a:lnTo>
                      <a:lnTo>
                        <a:pt x="1213" y="666"/>
                      </a:lnTo>
                      <a:lnTo>
                        <a:pt x="1213" y="667"/>
                      </a:lnTo>
                      <a:lnTo>
                        <a:pt x="1214" y="667"/>
                      </a:lnTo>
                      <a:lnTo>
                        <a:pt x="1214" y="668"/>
                      </a:lnTo>
                      <a:lnTo>
                        <a:pt x="1215" y="668"/>
                      </a:lnTo>
                      <a:lnTo>
                        <a:pt x="1216" y="668"/>
                      </a:lnTo>
                      <a:lnTo>
                        <a:pt x="1216" y="669"/>
                      </a:lnTo>
                      <a:lnTo>
                        <a:pt x="1216" y="669"/>
                      </a:lnTo>
                      <a:lnTo>
                        <a:pt x="1217" y="669"/>
                      </a:lnTo>
                      <a:lnTo>
                        <a:pt x="1218" y="669"/>
                      </a:lnTo>
                      <a:lnTo>
                        <a:pt x="1218" y="670"/>
                      </a:lnTo>
                      <a:lnTo>
                        <a:pt x="1219" y="670"/>
                      </a:lnTo>
                      <a:lnTo>
                        <a:pt x="1219" y="671"/>
                      </a:lnTo>
                      <a:lnTo>
                        <a:pt x="1218" y="672"/>
                      </a:lnTo>
                      <a:lnTo>
                        <a:pt x="1218" y="673"/>
                      </a:lnTo>
                      <a:lnTo>
                        <a:pt x="1217" y="674"/>
                      </a:lnTo>
                      <a:lnTo>
                        <a:pt x="1217" y="674"/>
                      </a:lnTo>
                      <a:lnTo>
                        <a:pt x="1217" y="675"/>
                      </a:lnTo>
                      <a:lnTo>
                        <a:pt x="1217" y="676"/>
                      </a:lnTo>
                      <a:lnTo>
                        <a:pt x="1218" y="676"/>
                      </a:lnTo>
                      <a:lnTo>
                        <a:pt x="1218" y="676"/>
                      </a:lnTo>
                      <a:lnTo>
                        <a:pt x="1218" y="676"/>
                      </a:lnTo>
                      <a:lnTo>
                        <a:pt x="1219" y="676"/>
                      </a:lnTo>
                      <a:lnTo>
                        <a:pt x="1220" y="676"/>
                      </a:lnTo>
                      <a:lnTo>
                        <a:pt x="1220" y="676"/>
                      </a:lnTo>
                      <a:lnTo>
                        <a:pt x="1220" y="675"/>
                      </a:lnTo>
                      <a:lnTo>
                        <a:pt x="1221" y="674"/>
                      </a:lnTo>
                      <a:lnTo>
                        <a:pt x="1221" y="674"/>
                      </a:lnTo>
                      <a:lnTo>
                        <a:pt x="1222" y="673"/>
                      </a:lnTo>
                      <a:lnTo>
                        <a:pt x="1222" y="673"/>
                      </a:lnTo>
                      <a:lnTo>
                        <a:pt x="1222" y="672"/>
                      </a:lnTo>
                      <a:lnTo>
                        <a:pt x="1223" y="672"/>
                      </a:lnTo>
                      <a:lnTo>
                        <a:pt x="1224" y="672"/>
                      </a:lnTo>
                      <a:lnTo>
                        <a:pt x="1224" y="673"/>
                      </a:lnTo>
                      <a:lnTo>
                        <a:pt x="1225" y="673"/>
                      </a:lnTo>
                      <a:lnTo>
                        <a:pt x="1226" y="673"/>
                      </a:lnTo>
                      <a:lnTo>
                        <a:pt x="1227" y="674"/>
                      </a:lnTo>
                      <a:lnTo>
                        <a:pt x="1228" y="674"/>
                      </a:lnTo>
                      <a:lnTo>
                        <a:pt x="1228" y="674"/>
                      </a:lnTo>
                      <a:lnTo>
                        <a:pt x="1228" y="675"/>
                      </a:lnTo>
                      <a:lnTo>
                        <a:pt x="1228" y="676"/>
                      </a:lnTo>
                      <a:lnTo>
                        <a:pt x="1228" y="676"/>
                      </a:lnTo>
                      <a:lnTo>
                        <a:pt x="1228" y="677"/>
                      </a:lnTo>
                      <a:lnTo>
                        <a:pt x="1228" y="678"/>
                      </a:lnTo>
                      <a:lnTo>
                        <a:pt x="1228" y="678"/>
                      </a:lnTo>
                      <a:lnTo>
                        <a:pt x="1228" y="679"/>
                      </a:lnTo>
                      <a:lnTo>
                        <a:pt x="1228" y="680"/>
                      </a:lnTo>
                      <a:lnTo>
                        <a:pt x="1228" y="681"/>
                      </a:lnTo>
                      <a:lnTo>
                        <a:pt x="1228" y="681"/>
                      </a:lnTo>
                      <a:lnTo>
                        <a:pt x="1228" y="682"/>
                      </a:lnTo>
                      <a:lnTo>
                        <a:pt x="1228" y="683"/>
                      </a:lnTo>
                      <a:lnTo>
                        <a:pt x="1228" y="683"/>
                      </a:lnTo>
                      <a:lnTo>
                        <a:pt x="1228" y="683"/>
                      </a:lnTo>
                      <a:lnTo>
                        <a:pt x="1228" y="684"/>
                      </a:lnTo>
                      <a:lnTo>
                        <a:pt x="1229" y="684"/>
                      </a:lnTo>
                      <a:lnTo>
                        <a:pt x="1229" y="685"/>
                      </a:lnTo>
                      <a:lnTo>
                        <a:pt x="1230" y="685"/>
                      </a:lnTo>
                      <a:lnTo>
                        <a:pt x="1230" y="686"/>
                      </a:lnTo>
                      <a:lnTo>
                        <a:pt x="1230" y="686"/>
                      </a:lnTo>
                      <a:lnTo>
                        <a:pt x="1230" y="687"/>
                      </a:lnTo>
                      <a:lnTo>
                        <a:pt x="1230" y="687"/>
                      </a:lnTo>
                      <a:lnTo>
                        <a:pt x="1230" y="688"/>
                      </a:lnTo>
                      <a:lnTo>
                        <a:pt x="1231" y="689"/>
                      </a:lnTo>
                      <a:lnTo>
                        <a:pt x="1232" y="689"/>
                      </a:lnTo>
                      <a:lnTo>
                        <a:pt x="1232" y="690"/>
                      </a:lnTo>
                      <a:lnTo>
                        <a:pt x="1233" y="690"/>
                      </a:lnTo>
                      <a:lnTo>
                        <a:pt x="1233" y="691"/>
                      </a:lnTo>
                      <a:lnTo>
                        <a:pt x="1234" y="691"/>
                      </a:lnTo>
                      <a:lnTo>
                        <a:pt x="1235" y="691"/>
                      </a:lnTo>
                      <a:lnTo>
                        <a:pt x="1235" y="692"/>
                      </a:lnTo>
                      <a:lnTo>
                        <a:pt x="1235" y="692"/>
                      </a:lnTo>
                      <a:lnTo>
                        <a:pt x="1236" y="692"/>
                      </a:lnTo>
                      <a:lnTo>
                        <a:pt x="1237" y="693"/>
                      </a:lnTo>
                      <a:lnTo>
                        <a:pt x="1237" y="693"/>
                      </a:lnTo>
                      <a:lnTo>
                        <a:pt x="1238" y="693"/>
                      </a:lnTo>
                      <a:lnTo>
                        <a:pt x="1239" y="693"/>
                      </a:lnTo>
                      <a:lnTo>
                        <a:pt x="1239" y="694"/>
                      </a:lnTo>
                      <a:lnTo>
                        <a:pt x="1239" y="694"/>
                      </a:lnTo>
                      <a:lnTo>
                        <a:pt x="1240" y="695"/>
                      </a:lnTo>
                      <a:lnTo>
                        <a:pt x="1241" y="695"/>
                      </a:lnTo>
                      <a:lnTo>
                        <a:pt x="1241" y="694"/>
                      </a:lnTo>
                      <a:lnTo>
                        <a:pt x="1241" y="693"/>
                      </a:lnTo>
                      <a:lnTo>
                        <a:pt x="1242" y="691"/>
                      </a:lnTo>
                      <a:lnTo>
                        <a:pt x="1242" y="691"/>
                      </a:lnTo>
                      <a:lnTo>
                        <a:pt x="1243" y="690"/>
                      </a:lnTo>
                      <a:lnTo>
                        <a:pt x="1243" y="689"/>
                      </a:lnTo>
                      <a:lnTo>
                        <a:pt x="1243" y="689"/>
                      </a:lnTo>
                      <a:lnTo>
                        <a:pt x="1244" y="690"/>
                      </a:lnTo>
                      <a:lnTo>
                        <a:pt x="1245" y="690"/>
                      </a:lnTo>
                      <a:lnTo>
                        <a:pt x="1245" y="691"/>
                      </a:lnTo>
                      <a:lnTo>
                        <a:pt x="1245" y="691"/>
                      </a:lnTo>
                      <a:lnTo>
                        <a:pt x="1245" y="692"/>
                      </a:lnTo>
                      <a:lnTo>
                        <a:pt x="1245" y="693"/>
                      </a:lnTo>
                      <a:lnTo>
                        <a:pt x="1245" y="693"/>
                      </a:lnTo>
                      <a:lnTo>
                        <a:pt x="1246" y="694"/>
                      </a:lnTo>
                      <a:lnTo>
                        <a:pt x="1246" y="695"/>
                      </a:lnTo>
                      <a:lnTo>
                        <a:pt x="1246" y="695"/>
                      </a:lnTo>
                      <a:lnTo>
                        <a:pt x="1247" y="696"/>
                      </a:lnTo>
                      <a:lnTo>
                        <a:pt x="1248" y="695"/>
                      </a:lnTo>
                      <a:lnTo>
                        <a:pt x="1249" y="695"/>
                      </a:lnTo>
                      <a:lnTo>
                        <a:pt x="1249" y="694"/>
                      </a:lnTo>
                      <a:lnTo>
                        <a:pt x="1249" y="693"/>
                      </a:lnTo>
                      <a:lnTo>
                        <a:pt x="1248" y="692"/>
                      </a:lnTo>
                      <a:lnTo>
                        <a:pt x="1248" y="691"/>
                      </a:lnTo>
                      <a:lnTo>
                        <a:pt x="1249" y="691"/>
                      </a:lnTo>
                      <a:lnTo>
                        <a:pt x="1249" y="690"/>
                      </a:lnTo>
                      <a:lnTo>
                        <a:pt x="1250" y="690"/>
                      </a:lnTo>
                      <a:lnTo>
                        <a:pt x="1251" y="691"/>
                      </a:lnTo>
                      <a:lnTo>
                        <a:pt x="1251" y="691"/>
                      </a:lnTo>
                      <a:lnTo>
                        <a:pt x="1252" y="691"/>
                      </a:lnTo>
                      <a:lnTo>
                        <a:pt x="1253" y="691"/>
                      </a:lnTo>
                      <a:lnTo>
                        <a:pt x="1254" y="691"/>
                      </a:lnTo>
                      <a:lnTo>
                        <a:pt x="1254" y="690"/>
                      </a:lnTo>
                      <a:lnTo>
                        <a:pt x="1254" y="690"/>
                      </a:lnTo>
                      <a:lnTo>
                        <a:pt x="1255" y="690"/>
                      </a:lnTo>
                      <a:lnTo>
                        <a:pt x="1256" y="691"/>
                      </a:lnTo>
                      <a:lnTo>
                        <a:pt x="1256" y="691"/>
                      </a:lnTo>
                      <a:lnTo>
                        <a:pt x="1256" y="690"/>
                      </a:lnTo>
                      <a:lnTo>
                        <a:pt x="1256" y="689"/>
                      </a:lnTo>
                      <a:lnTo>
                        <a:pt x="1256" y="689"/>
                      </a:lnTo>
                      <a:lnTo>
                        <a:pt x="1257" y="688"/>
                      </a:lnTo>
                      <a:lnTo>
                        <a:pt x="1257" y="687"/>
                      </a:lnTo>
                      <a:lnTo>
                        <a:pt x="1258" y="687"/>
                      </a:lnTo>
                      <a:lnTo>
                        <a:pt x="1258" y="687"/>
                      </a:lnTo>
                      <a:lnTo>
                        <a:pt x="1259" y="687"/>
                      </a:lnTo>
                      <a:lnTo>
                        <a:pt x="1260" y="688"/>
                      </a:lnTo>
                      <a:lnTo>
                        <a:pt x="1260" y="688"/>
                      </a:lnTo>
                      <a:lnTo>
                        <a:pt x="1261" y="688"/>
                      </a:lnTo>
                      <a:lnTo>
                        <a:pt x="1262" y="688"/>
                      </a:lnTo>
                      <a:lnTo>
                        <a:pt x="1262" y="687"/>
                      </a:lnTo>
                      <a:lnTo>
                        <a:pt x="1262" y="687"/>
                      </a:lnTo>
                      <a:lnTo>
                        <a:pt x="1264" y="687"/>
                      </a:lnTo>
                      <a:lnTo>
                        <a:pt x="1264" y="685"/>
                      </a:lnTo>
                      <a:lnTo>
                        <a:pt x="1264" y="685"/>
                      </a:lnTo>
                      <a:lnTo>
                        <a:pt x="1265" y="684"/>
                      </a:lnTo>
                      <a:lnTo>
                        <a:pt x="1265" y="683"/>
                      </a:lnTo>
                      <a:lnTo>
                        <a:pt x="1266" y="682"/>
                      </a:lnTo>
                      <a:lnTo>
                        <a:pt x="1266" y="681"/>
                      </a:lnTo>
                      <a:lnTo>
                        <a:pt x="1267" y="681"/>
                      </a:lnTo>
                      <a:lnTo>
                        <a:pt x="1268" y="681"/>
                      </a:lnTo>
                      <a:lnTo>
                        <a:pt x="1268" y="681"/>
                      </a:lnTo>
                      <a:lnTo>
                        <a:pt x="1269" y="681"/>
                      </a:lnTo>
                      <a:lnTo>
                        <a:pt x="1270" y="681"/>
                      </a:lnTo>
                      <a:lnTo>
                        <a:pt x="1270" y="682"/>
                      </a:lnTo>
                      <a:lnTo>
                        <a:pt x="1270" y="683"/>
                      </a:lnTo>
                      <a:lnTo>
                        <a:pt x="1269" y="684"/>
                      </a:lnTo>
                      <a:lnTo>
                        <a:pt x="1268" y="685"/>
                      </a:lnTo>
                      <a:lnTo>
                        <a:pt x="1268" y="686"/>
                      </a:lnTo>
                      <a:lnTo>
                        <a:pt x="1268" y="687"/>
                      </a:lnTo>
                      <a:lnTo>
                        <a:pt x="1268" y="687"/>
                      </a:lnTo>
                      <a:lnTo>
                        <a:pt x="1268" y="688"/>
                      </a:lnTo>
                      <a:lnTo>
                        <a:pt x="1269" y="688"/>
                      </a:lnTo>
                      <a:lnTo>
                        <a:pt x="1270" y="688"/>
                      </a:lnTo>
                      <a:lnTo>
                        <a:pt x="1270" y="688"/>
                      </a:lnTo>
                      <a:lnTo>
                        <a:pt x="1271" y="687"/>
                      </a:lnTo>
                      <a:lnTo>
                        <a:pt x="1272" y="687"/>
                      </a:lnTo>
                      <a:lnTo>
                        <a:pt x="1273" y="687"/>
                      </a:lnTo>
                      <a:lnTo>
                        <a:pt x="1273" y="687"/>
                      </a:lnTo>
                      <a:lnTo>
                        <a:pt x="1273" y="687"/>
                      </a:lnTo>
                      <a:lnTo>
                        <a:pt x="1274" y="688"/>
                      </a:lnTo>
                      <a:lnTo>
                        <a:pt x="1274" y="689"/>
                      </a:lnTo>
                      <a:lnTo>
                        <a:pt x="1274" y="690"/>
                      </a:lnTo>
                      <a:lnTo>
                        <a:pt x="1274" y="691"/>
                      </a:lnTo>
                      <a:lnTo>
                        <a:pt x="1273" y="691"/>
                      </a:lnTo>
                      <a:lnTo>
                        <a:pt x="1273" y="692"/>
                      </a:lnTo>
                      <a:lnTo>
                        <a:pt x="1273" y="693"/>
                      </a:lnTo>
                      <a:lnTo>
                        <a:pt x="1273" y="693"/>
                      </a:lnTo>
                      <a:lnTo>
                        <a:pt x="1274" y="693"/>
                      </a:lnTo>
                      <a:lnTo>
                        <a:pt x="1274" y="694"/>
                      </a:lnTo>
                      <a:lnTo>
                        <a:pt x="1275" y="694"/>
                      </a:lnTo>
                      <a:lnTo>
                        <a:pt x="1275" y="695"/>
                      </a:lnTo>
                      <a:lnTo>
                        <a:pt x="1276" y="694"/>
                      </a:lnTo>
                      <a:lnTo>
                        <a:pt x="1277" y="694"/>
                      </a:lnTo>
                      <a:lnTo>
                        <a:pt x="1277" y="694"/>
                      </a:lnTo>
                      <a:lnTo>
                        <a:pt x="1278" y="693"/>
                      </a:lnTo>
                      <a:lnTo>
                        <a:pt x="1279" y="693"/>
                      </a:lnTo>
                      <a:lnTo>
                        <a:pt x="1279" y="693"/>
                      </a:lnTo>
                      <a:lnTo>
                        <a:pt x="1279" y="693"/>
                      </a:lnTo>
                      <a:lnTo>
                        <a:pt x="1280" y="693"/>
                      </a:lnTo>
                      <a:lnTo>
                        <a:pt x="1281" y="693"/>
                      </a:lnTo>
                      <a:lnTo>
                        <a:pt x="1281" y="693"/>
                      </a:lnTo>
                      <a:lnTo>
                        <a:pt x="1282" y="694"/>
                      </a:lnTo>
                      <a:lnTo>
                        <a:pt x="1282" y="695"/>
                      </a:lnTo>
                      <a:lnTo>
                        <a:pt x="1281" y="695"/>
                      </a:lnTo>
                      <a:lnTo>
                        <a:pt x="1281" y="695"/>
                      </a:lnTo>
                      <a:lnTo>
                        <a:pt x="1281" y="695"/>
                      </a:lnTo>
                      <a:lnTo>
                        <a:pt x="1280" y="695"/>
                      </a:lnTo>
                      <a:lnTo>
                        <a:pt x="1279" y="695"/>
                      </a:lnTo>
                      <a:lnTo>
                        <a:pt x="1279" y="696"/>
                      </a:lnTo>
                      <a:lnTo>
                        <a:pt x="1278" y="697"/>
                      </a:lnTo>
                      <a:lnTo>
                        <a:pt x="1278" y="697"/>
                      </a:lnTo>
                      <a:lnTo>
                        <a:pt x="1278" y="698"/>
                      </a:lnTo>
                      <a:lnTo>
                        <a:pt x="1278" y="699"/>
                      </a:lnTo>
                      <a:lnTo>
                        <a:pt x="1278" y="700"/>
                      </a:lnTo>
                      <a:lnTo>
                        <a:pt x="1278" y="700"/>
                      </a:lnTo>
                      <a:lnTo>
                        <a:pt x="1279" y="700"/>
                      </a:lnTo>
                      <a:lnTo>
                        <a:pt x="1279" y="701"/>
                      </a:lnTo>
                      <a:lnTo>
                        <a:pt x="1279" y="702"/>
                      </a:lnTo>
                      <a:lnTo>
                        <a:pt x="1280" y="702"/>
                      </a:lnTo>
                      <a:lnTo>
                        <a:pt x="1281" y="702"/>
                      </a:lnTo>
                      <a:lnTo>
                        <a:pt x="1281" y="702"/>
                      </a:lnTo>
                      <a:lnTo>
                        <a:pt x="1282" y="703"/>
                      </a:lnTo>
                      <a:lnTo>
                        <a:pt x="1283" y="703"/>
                      </a:lnTo>
                      <a:lnTo>
                        <a:pt x="1284" y="704"/>
                      </a:lnTo>
                      <a:lnTo>
                        <a:pt x="1285" y="704"/>
                      </a:lnTo>
                      <a:lnTo>
                        <a:pt x="1285" y="704"/>
                      </a:lnTo>
                      <a:lnTo>
                        <a:pt x="1286" y="704"/>
                      </a:lnTo>
                      <a:lnTo>
                        <a:pt x="1287" y="704"/>
                      </a:lnTo>
                      <a:lnTo>
                        <a:pt x="1287" y="705"/>
                      </a:lnTo>
                      <a:lnTo>
                        <a:pt x="1289" y="706"/>
                      </a:lnTo>
                      <a:lnTo>
                        <a:pt x="1289" y="706"/>
                      </a:lnTo>
                      <a:lnTo>
                        <a:pt x="1290" y="706"/>
                      </a:lnTo>
                      <a:lnTo>
                        <a:pt x="1291" y="706"/>
                      </a:lnTo>
                      <a:lnTo>
                        <a:pt x="1292" y="707"/>
                      </a:lnTo>
                      <a:lnTo>
                        <a:pt x="1292" y="707"/>
                      </a:lnTo>
                      <a:lnTo>
                        <a:pt x="1293" y="707"/>
                      </a:lnTo>
                      <a:lnTo>
                        <a:pt x="1294" y="708"/>
                      </a:lnTo>
                      <a:lnTo>
                        <a:pt x="1294" y="708"/>
                      </a:lnTo>
                      <a:lnTo>
                        <a:pt x="1294" y="708"/>
                      </a:lnTo>
                      <a:lnTo>
                        <a:pt x="1295" y="709"/>
                      </a:lnTo>
                      <a:lnTo>
                        <a:pt x="1296" y="709"/>
                      </a:lnTo>
                      <a:lnTo>
                        <a:pt x="1296" y="710"/>
                      </a:lnTo>
                      <a:lnTo>
                        <a:pt x="1297" y="710"/>
                      </a:lnTo>
                      <a:lnTo>
                        <a:pt x="1298" y="710"/>
                      </a:lnTo>
                      <a:lnTo>
                        <a:pt x="1298" y="710"/>
                      </a:lnTo>
                      <a:lnTo>
                        <a:pt x="1298" y="709"/>
                      </a:lnTo>
                      <a:lnTo>
                        <a:pt x="1299" y="709"/>
                      </a:lnTo>
                      <a:lnTo>
                        <a:pt x="1299" y="708"/>
                      </a:lnTo>
                      <a:lnTo>
                        <a:pt x="1300" y="708"/>
                      </a:lnTo>
                      <a:lnTo>
                        <a:pt x="1300" y="708"/>
                      </a:lnTo>
                      <a:lnTo>
                        <a:pt x="1301" y="708"/>
                      </a:lnTo>
                      <a:lnTo>
                        <a:pt x="1302" y="708"/>
                      </a:lnTo>
                      <a:lnTo>
                        <a:pt x="1302" y="708"/>
                      </a:lnTo>
                      <a:lnTo>
                        <a:pt x="1302" y="708"/>
                      </a:lnTo>
                      <a:lnTo>
                        <a:pt x="1303" y="709"/>
                      </a:lnTo>
                      <a:lnTo>
                        <a:pt x="1304" y="710"/>
                      </a:lnTo>
                      <a:lnTo>
                        <a:pt x="1304" y="710"/>
                      </a:lnTo>
                      <a:lnTo>
                        <a:pt x="1304" y="710"/>
                      </a:lnTo>
                      <a:lnTo>
                        <a:pt x="1305" y="710"/>
                      </a:lnTo>
                      <a:lnTo>
                        <a:pt x="1306" y="711"/>
                      </a:lnTo>
                      <a:lnTo>
                        <a:pt x="1306" y="712"/>
                      </a:lnTo>
                      <a:lnTo>
                        <a:pt x="1307" y="712"/>
                      </a:lnTo>
                      <a:lnTo>
                        <a:pt x="1308" y="712"/>
                      </a:lnTo>
                      <a:lnTo>
                        <a:pt x="1308" y="712"/>
                      </a:lnTo>
                      <a:lnTo>
                        <a:pt x="1310" y="711"/>
                      </a:lnTo>
                      <a:lnTo>
                        <a:pt x="1311" y="711"/>
                      </a:lnTo>
                      <a:lnTo>
                        <a:pt x="1312" y="710"/>
                      </a:lnTo>
                      <a:lnTo>
                        <a:pt x="1312" y="710"/>
                      </a:lnTo>
                      <a:lnTo>
                        <a:pt x="1313" y="709"/>
                      </a:lnTo>
                      <a:lnTo>
                        <a:pt x="1312" y="708"/>
                      </a:lnTo>
                      <a:lnTo>
                        <a:pt x="1312" y="706"/>
                      </a:lnTo>
                      <a:lnTo>
                        <a:pt x="1312" y="706"/>
                      </a:lnTo>
                      <a:lnTo>
                        <a:pt x="1313" y="706"/>
                      </a:lnTo>
                      <a:lnTo>
                        <a:pt x="1314" y="706"/>
                      </a:lnTo>
                      <a:lnTo>
                        <a:pt x="1315" y="706"/>
                      </a:lnTo>
                      <a:lnTo>
                        <a:pt x="1315" y="706"/>
                      </a:lnTo>
                      <a:lnTo>
                        <a:pt x="1315" y="708"/>
                      </a:lnTo>
                      <a:lnTo>
                        <a:pt x="1315" y="709"/>
                      </a:lnTo>
                      <a:lnTo>
                        <a:pt x="1315" y="710"/>
                      </a:lnTo>
                      <a:lnTo>
                        <a:pt x="1315" y="710"/>
                      </a:lnTo>
                      <a:lnTo>
                        <a:pt x="1315" y="711"/>
                      </a:lnTo>
                      <a:lnTo>
                        <a:pt x="1316" y="711"/>
                      </a:lnTo>
                      <a:lnTo>
                        <a:pt x="1317" y="710"/>
                      </a:lnTo>
                      <a:lnTo>
                        <a:pt x="1317" y="710"/>
                      </a:lnTo>
                      <a:lnTo>
                        <a:pt x="1318" y="710"/>
                      </a:lnTo>
                      <a:lnTo>
                        <a:pt x="1318" y="712"/>
                      </a:lnTo>
                      <a:lnTo>
                        <a:pt x="1319" y="712"/>
                      </a:lnTo>
                      <a:lnTo>
                        <a:pt x="1319" y="713"/>
                      </a:lnTo>
                      <a:lnTo>
                        <a:pt x="1320" y="713"/>
                      </a:lnTo>
                      <a:lnTo>
                        <a:pt x="1321" y="713"/>
                      </a:lnTo>
                      <a:lnTo>
                        <a:pt x="1321" y="712"/>
                      </a:lnTo>
                      <a:lnTo>
                        <a:pt x="1322" y="712"/>
                      </a:lnTo>
                      <a:lnTo>
                        <a:pt x="1323" y="711"/>
                      </a:lnTo>
                      <a:lnTo>
                        <a:pt x="1323" y="711"/>
                      </a:lnTo>
                      <a:lnTo>
                        <a:pt x="1324" y="712"/>
                      </a:lnTo>
                      <a:lnTo>
                        <a:pt x="1325" y="712"/>
                      </a:lnTo>
                      <a:lnTo>
                        <a:pt x="1325" y="714"/>
                      </a:lnTo>
                      <a:lnTo>
                        <a:pt x="1325" y="714"/>
                      </a:lnTo>
                      <a:lnTo>
                        <a:pt x="1324" y="716"/>
                      </a:lnTo>
                      <a:lnTo>
                        <a:pt x="1325" y="716"/>
                      </a:lnTo>
                      <a:lnTo>
                        <a:pt x="1325" y="718"/>
                      </a:lnTo>
                      <a:lnTo>
                        <a:pt x="1327" y="720"/>
                      </a:lnTo>
                      <a:lnTo>
                        <a:pt x="1328" y="721"/>
                      </a:lnTo>
                      <a:lnTo>
                        <a:pt x="1329" y="722"/>
                      </a:lnTo>
                      <a:lnTo>
                        <a:pt x="1330" y="723"/>
                      </a:lnTo>
                      <a:lnTo>
                        <a:pt x="1330" y="724"/>
                      </a:lnTo>
                      <a:lnTo>
                        <a:pt x="1330" y="724"/>
                      </a:lnTo>
                      <a:lnTo>
                        <a:pt x="1331" y="724"/>
                      </a:lnTo>
                      <a:lnTo>
                        <a:pt x="1332" y="723"/>
                      </a:lnTo>
                      <a:lnTo>
                        <a:pt x="1332" y="722"/>
                      </a:lnTo>
                      <a:lnTo>
                        <a:pt x="1333" y="721"/>
                      </a:lnTo>
                      <a:lnTo>
                        <a:pt x="1334" y="721"/>
                      </a:lnTo>
                      <a:lnTo>
                        <a:pt x="1334" y="720"/>
                      </a:lnTo>
                      <a:lnTo>
                        <a:pt x="1335" y="721"/>
                      </a:lnTo>
                      <a:lnTo>
                        <a:pt x="1335" y="721"/>
                      </a:lnTo>
                      <a:lnTo>
                        <a:pt x="1334" y="723"/>
                      </a:lnTo>
                      <a:lnTo>
                        <a:pt x="1334" y="724"/>
                      </a:lnTo>
                      <a:lnTo>
                        <a:pt x="1334" y="725"/>
                      </a:lnTo>
                      <a:lnTo>
                        <a:pt x="1335" y="725"/>
                      </a:lnTo>
                      <a:lnTo>
                        <a:pt x="1336" y="726"/>
                      </a:lnTo>
                      <a:lnTo>
                        <a:pt x="1336" y="726"/>
                      </a:lnTo>
                      <a:lnTo>
                        <a:pt x="1337" y="725"/>
                      </a:lnTo>
                      <a:lnTo>
                        <a:pt x="1338" y="725"/>
                      </a:lnTo>
                      <a:lnTo>
                        <a:pt x="1338" y="725"/>
                      </a:lnTo>
                      <a:lnTo>
                        <a:pt x="1338" y="725"/>
                      </a:lnTo>
                      <a:lnTo>
                        <a:pt x="1338" y="725"/>
                      </a:lnTo>
                      <a:lnTo>
                        <a:pt x="1339" y="726"/>
                      </a:lnTo>
                      <a:lnTo>
                        <a:pt x="1340" y="727"/>
                      </a:lnTo>
                      <a:lnTo>
                        <a:pt x="1340" y="727"/>
                      </a:lnTo>
                      <a:lnTo>
                        <a:pt x="1341" y="727"/>
                      </a:lnTo>
                      <a:lnTo>
                        <a:pt x="1342" y="727"/>
                      </a:lnTo>
                      <a:lnTo>
                        <a:pt x="1342" y="727"/>
                      </a:lnTo>
                      <a:lnTo>
                        <a:pt x="1343" y="727"/>
                      </a:lnTo>
                      <a:lnTo>
                        <a:pt x="1344" y="727"/>
                      </a:lnTo>
                      <a:lnTo>
                        <a:pt x="1344" y="728"/>
                      </a:lnTo>
                      <a:lnTo>
                        <a:pt x="1345" y="728"/>
                      </a:lnTo>
                      <a:lnTo>
                        <a:pt x="1346" y="728"/>
                      </a:lnTo>
                      <a:lnTo>
                        <a:pt x="1346" y="728"/>
                      </a:lnTo>
                      <a:lnTo>
                        <a:pt x="1347" y="727"/>
                      </a:lnTo>
                      <a:lnTo>
                        <a:pt x="1348" y="727"/>
                      </a:lnTo>
                      <a:lnTo>
                        <a:pt x="1349" y="727"/>
                      </a:lnTo>
                      <a:lnTo>
                        <a:pt x="1349" y="727"/>
                      </a:lnTo>
                      <a:lnTo>
                        <a:pt x="1350" y="727"/>
                      </a:lnTo>
                      <a:lnTo>
                        <a:pt x="1350" y="727"/>
                      </a:lnTo>
                      <a:lnTo>
                        <a:pt x="1350" y="728"/>
                      </a:lnTo>
                      <a:lnTo>
                        <a:pt x="1349" y="728"/>
                      </a:lnTo>
                      <a:lnTo>
                        <a:pt x="1349" y="729"/>
                      </a:lnTo>
                      <a:lnTo>
                        <a:pt x="1349" y="729"/>
                      </a:lnTo>
                      <a:lnTo>
                        <a:pt x="1349" y="729"/>
                      </a:lnTo>
                      <a:lnTo>
                        <a:pt x="1350" y="729"/>
                      </a:lnTo>
                      <a:lnTo>
                        <a:pt x="1351" y="729"/>
                      </a:lnTo>
                      <a:lnTo>
                        <a:pt x="1351" y="729"/>
                      </a:lnTo>
                      <a:lnTo>
                        <a:pt x="1351" y="728"/>
                      </a:lnTo>
                      <a:lnTo>
                        <a:pt x="1351" y="727"/>
                      </a:lnTo>
                      <a:lnTo>
                        <a:pt x="1352" y="727"/>
                      </a:lnTo>
                      <a:lnTo>
                        <a:pt x="1353" y="727"/>
                      </a:lnTo>
                      <a:lnTo>
                        <a:pt x="1353" y="728"/>
                      </a:lnTo>
                      <a:lnTo>
                        <a:pt x="1353" y="729"/>
                      </a:lnTo>
                      <a:lnTo>
                        <a:pt x="1353" y="730"/>
                      </a:lnTo>
                      <a:lnTo>
                        <a:pt x="1354" y="730"/>
                      </a:lnTo>
                      <a:lnTo>
                        <a:pt x="1355" y="730"/>
                      </a:lnTo>
                      <a:lnTo>
                        <a:pt x="1355" y="729"/>
                      </a:lnTo>
                      <a:lnTo>
                        <a:pt x="1355" y="729"/>
                      </a:lnTo>
                      <a:lnTo>
                        <a:pt x="1355" y="728"/>
                      </a:lnTo>
                      <a:lnTo>
                        <a:pt x="1355" y="727"/>
                      </a:lnTo>
                      <a:lnTo>
                        <a:pt x="1355" y="726"/>
                      </a:lnTo>
                      <a:lnTo>
                        <a:pt x="1355" y="726"/>
                      </a:lnTo>
                      <a:lnTo>
                        <a:pt x="1356" y="726"/>
                      </a:lnTo>
                      <a:lnTo>
                        <a:pt x="1357" y="727"/>
                      </a:lnTo>
                      <a:lnTo>
                        <a:pt x="1357" y="727"/>
                      </a:lnTo>
                      <a:lnTo>
                        <a:pt x="1358" y="727"/>
                      </a:lnTo>
                      <a:lnTo>
                        <a:pt x="1359" y="727"/>
                      </a:lnTo>
                      <a:lnTo>
                        <a:pt x="1359" y="729"/>
                      </a:lnTo>
                      <a:lnTo>
                        <a:pt x="1359" y="729"/>
                      </a:lnTo>
                      <a:lnTo>
                        <a:pt x="1360" y="730"/>
                      </a:lnTo>
                      <a:lnTo>
                        <a:pt x="1361" y="730"/>
                      </a:lnTo>
                      <a:lnTo>
                        <a:pt x="1361" y="729"/>
                      </a:lnTo>
                      <a:lnTo>
                        <a:pt x="1361" y="729"/>
                      </a:lnTo>
                      <a:lnTo>
                        <a:pt x="1361" y="728"/>
                      </a:lnTo>
                      <a:lnTo>
                        <a:pt x="1361" y="727"/>
                      </a:lnTo>
                      <a:lnTo>
                        <a:pt x="1362" y="727"/>
                      </a:lnTo>
                      <a:lnTo>
                        <a:pt x="1363" y="727"/>
                      </a:lnTo>
                      <a:lnTo>
                        <a:pt x="1363" y="728"/>
                      </a:lnTo>
                      <a:lnTo>
                        <a:pt x="1363" y="729"/>
                      </a:lnTo>
                      <a:lnTo>
                        <a:pt x="1364" y="729"/>
                      </a:lnTo>
                      <a:lnTo>
                        <a:pt x="1364" y="729"/>
                      </a:lnTo>
                      <a:lnTo>
                        <a:pt x="1365" y="730"/>
                      </a:lnTo>
                      <a:lnTo>
                        <a:pt x="1365" y="731"/>
                      </a:lnTo>
                      <a:lnTo>
                        <a:pt x="1365" y="731"/>
                      </a:lnTo>
                      <a:lnTo>
                        <a:pt x="1366" y="731"/>
                      </a:lnTo>
                      <a:lnTo>
                        <a:pt x="1367" y="731"/>
                      </a:lnTo>
                      <a:lnTo>
                        <a:pt x="1367" y="731"/>
                      </a:lnTo>
                      <a:lnTo>
                        <a:pt x="1366" y="730"/>
                      </a:lnTo>
                      <a:lnTo>
                        <a:pt x="1365" y="730"/>
                      </a:lnTo>
                      <a:lnTo>
                        <a:pt x="1365" y="729"/>
                      </a:lnTo>
                      <a:lnTo>
                        <a:pt x="1365" y="729"/>
                      </a:lnTo>
                      <a:lnTo>
                        <a:pt x="1366" y="729"/>
                      </a:lnTo>
                      <a:lnTo>
                        <a:pt x="1367" y="729"/>
                      </a:lnTo>
                      <a:lnTo>
                        <a:pt x="1368" y="729"/>
                      </a:lnTo>
                      <a:lnTo>
                        <a:pt x="1368" y="730"/>
                      </a:lnTo>
                      <a:lnTo>
                        <a:pt x="1369" y="731"/>
                      </a:lnTo>
                      <a:lnTo>
                        <a:pt x="1370" y="731"/>
                      </a:lnTo>
                      <a:lnTo>
                        <a:pt x="1370" y="730"/>
                      </a:lnTo>
                      <a:lnTo>
                        <a:pt x="1369" y="729"/>
                      </a:lnTo>
                      <a:lnTo>
                        <a:pt x="1368" y="729"/>
                      </a:lnTo>
                      <a:lnTo>
                        <a:pt x="1369" y="729"/>
                      </a:lnTo>
                      <a:lnTo>
                        <a:pt x="1370" y="729"/>
                      </a:lnTo>
                      <a:lnTo>
                        <a:pt x="1370" y="729"/>
                      </a:lnTo>
                      <a:lnTo>
                        <a:pt x="1371" y="729"/>
                      </a:lnTo>
                      <a:lnTo>
                        <a:pt x="1372" y="729"/>
                      </a:lnTo>
                      <a:lnTo>
                        <a:pt x="1373" y="728"/>
                      </a:lnTo>
                      <a:lnTo>
                        <a:pt x="1374" y="729"/>
                      </a:lnTo>
                      <a:lnTo>
                        <a:pt x="1374" y="728"/>
                      </a:lnTo>
                      <a:lnTo>
                        <a:pt x="1374" y="728"/>
                      </a:lnTo>
                      <a:lnTo>
                        <a:pt x="1374" y="727"/>
                      </a:lnTo>
                      <a:lnTo>
                        <a:pt x="1374" y="727"/>
                      </a:lnTo>
                      <a:lnTo>
                        <a:pt x="1374" y="726"/>
                      </a:lnTo>
                      <a:lnTo>
                        <a:pt x="1374" y="725"/>
                      </a:lnTo>
                      <a:lnTo>
                        <a:pt x="1374" y="724"/>
                      </a:lnTo>
                      <a:lnTo>
                        <a:pt x="1374" y="723"/>
                      </a:lnTo>
                      <a:lnTo>
                        <a:pt x="1374" y="723"/>
                      </a:lnTo>
                      <a:lnTo>
                        <a:pt x="1374" y="722"/>
                      </a:lnTo>
                      <a:lnTo>
                        <a:pt x="1374" y="721"/>
                      </a:lnTo>
                      <a:lnTo>
                        <a:pt x="1375" y="721"/>
                      </a:lnTo>
                      <a:lnTo>
                        <a:pt x="1376" y="721"/>
                      </a:lnTo>
                      <a:lnTo>
                        <a:pt x="1376" y="721"/>
                      </a:lnTo>
                      <a:lnTo>
                        <a:pt x="1377" y="722"/>
                      </a:lnTo>
                      <a:lnTo>
                        <a:pt x="1378" y="722"/>
                      </a:lnTo>
                      <a:lnTo>
                        <a:pt x="1378" y="722"/>
                      </a:lnTo>
                      <a:lnTo>
                        <a:pt x="1379" y="721"/>
                      </a:lnTo>
                      <a:lnTo>
                        <a:pt x="1379" y="721"/>
                      </a:lnTo>
                      <a:lnTo>
                        <a:pt x="1380" y="720"/>
                      </a:lnTo>
                      <a:lnTo>
                        <a:pt x="1380" y="720"/>
                      </a:lnTo>
                      <a:lnTo>
                        <a:pt x="1381" y="720"/>
                      </a:lnTo>
                      <a:lnTo>
                        <a:pt x="1382" y="720"/>
                      </a:lnTo>
                      <a:lnTo>
                        <a:pt x="1382" y="720"/>
                      </a:lnTo>
                      <a:lnTo>
                        <a:pt x="1383" y="721"/>
                      </a:lnTo>
                      <a:lnTo>
                        <a:pt x="1384" y="721"/>
                      </a:lnTo>
                      <a:lnTo>
                        <a:pt x="1384" y="723"/>
                      </a:lnTo>
                      <a:lnTo>
                        <a:pt x="1386" y="724"/>
                      </a:lnTo>
                      <a:lnTo>
                        <a:pt x="1386" y="725"/>
                      </a:lnTo>
                      <a:lnTo>
                        <a:pt x="1385" y="727"/>
                      </a:lnTo>
                      <a:lnTo>
                        <a:pt x="1385" y="728"/>
                      </a:lnTo>
                      <a:lnTo>
                        <a:pt x="1385" y="729"/>
                      </a:lnTo>
                      <a:lnTo>
                        <a:pt x="1386" y="730"/>
                      </a:lnTo>
                      <a:lnTo>
                        <a:pt x="1387" y="731"/>
                      </a:lnTo>
                      <a:lnTo>
                        <a:pt x="1387" y="731"/>
                      </a:lnTo>
                      <a:lnTo>
                        <a:pt x="1388" y="731"/>
                      </a:lnTo>
                      <a:lnTo>
                        <a:pt x="1389" y="730"/>
                      </a:lnTo>
                      <a:lnTo>
                        <a:pt x="1390" y="729"/>
                      </a:lnTo>
                      <a:lnTo>
                        <a:pt x="1391" y="729"/>
                      </a:lnTo>
                      <a:lnTo>
                        <a:pt x="1391" y="728"/>
                      </a:lnTo>
                      <a:lnTo>
                        <a:pt x="1391" y="727"/>
                      </a:lnTo>
                      <a:lnTo>
                        <a:pt x="1391" y="727"/>
                      </a:lnTo>
                      <a:lnTo>
                        <a:pt x="1391" y="725"/>
                      </a:lnTo>
                      <a:lnTo>
                        <a:pt x="1391" y="725"/>
                      </a:lnTo>
                      <a:lnTo>
                        <a:pt x="1390" y="723"/>
                      </a:lnTo>
                      <a:lnTo>
                        <a:pt x="1390" y="723"/>
                      </a:lnTo>
                      <a:lnTo>
                        <a:pt x="1390" y="722"/>
                      </a:lnTo>
                      <a:lnTo>
                        <a:pt x="1391" y="721"/>
                      </a:lnTo>
                      <a:lnTo>
                        <a:pt x="1391" y="721"/>
                      </a:lnTo>
                      <a:lnTo>
                        <a:pt x="1392" y="721"/>
                      </a:lnTo>
                      <a:lnTo>
                        <a:pt x="1393" y="720"/>
                      </a:lnTo>
                      <a:lnTo>
                        <a:pt x="1393" y="721"/>
                      </a:lnTo>
                      <a:lnTo>
                        <a:pt x="1394" y="721"/>
                      </a:lnTo>
                      <a:lnTo>
                        <a:pt x="1395" y="722"/>
                      </a:lnTo>
                      <a:lnTo>
                        <a:pt x="1395" y="723"/>
                      </a:lnTo>
                      <a:lnTo>
                        <a:pt x="1394" y="724"/>
                      </a:lnTo>
                      <a:lnTo>
                        <a:pt x="1393" y="725"/>
                      </a:lnTo>
                      <a:lnTo>
                        <a:pt x="1394" y="725"/>
                      </a:lnTo>
                      <a:lnTo>
                        <a:pt x="1394" y="726"/>
                      </a:lnTo>
                      <a:lnTo>
                        <a:pt x="1395" y="727"/>
                      </a:lnTo>
                      <a:lnTo>
                        <a:pt x="1395" y="727"/>
                      </a:lnTo>
                      <a:lnTo>
                        <a:pt x="1395" y="727"/>
                      </a:lnTo>
                      <a:lnTo>
                        <a:pt x="1396" y="728"/>
                      </a:lnTo>
                      <a:lnTo>
                        <a:pt x="1396" y="729"/>
                      </a:lnTo>
                      <a:lnTo>
                        <a:pt x="1397" y="729"/>
                      </a:lnTo>
                      <a:lnTo>
                        <a:pt x="1397" y="729"/>
                      </a:lnTo>
                      <a:lnTo>
                        <a:pt x="1398" y="729"/>
                      </a:lnTo>
                      <a:lnTo>
                        <a:pt x="1398" y="730"/>
                      </a:lnTo>
                      <a:lnTo>
                        <a:pt x="1398" y="731"/>
                      </a:lnTo>
                      <a:lnTo>
                        <a:pt x="1398" y="731"/>
                      </a:lnTo>
                      <a:lnTo>
                        <a:pt x="1398" y="733"/>
                      </a:lnTo>
                      <a:lnTo>
                        <a:pt x="1399" y="733"/>
                      </a:lnTo>
                      <a:lnTo>
                        <a:pt x="1399" y="733"/>
                      </a:lnTo>
                      <a:lnTo>
                        <a:pt x="1400" y="733"/>
                      </a:lnTo>
                      <a:lnTo>
                        <a:pt x="1401" y="732"/>
                      </a:lnTo>
                      <a:lnTo>
                        <a:pt x="1401" y="731"/>
                      </a:lnTo>
                      <a:lnTo>
                        <a:pt x="1401" y="730"/>
                      </a:lnTo>
                      <a:lnTo>
                        <a:pt x="1402" y="730"/>
                      </a:lnTo>
                      <a:lnTo>
                        <a:pt x="1403" y="729"/>
                      </a:lnTo>
                      <a:lnTo>
                        <a:pt x="1404" y="729"/>
                      </a:lnTo>
                      <a:lnTo>
                        <a:pt x="1406" y="730"/>
                      </a:lnTo>
                      <a:lnTo>
                        <a:pt x="1406" y="731"/>
                      </a:lnTo>
                      <a:lnTo>
                        <a:pt x="1407" y="731"/>
                      </a:lnTo>
                      <a:lnTo>
                        <a:pt x="1407" y="733"/>
                      </a:lnTo>
                      <a:lnTo>
                        <a:pt x="1408" y="733"/>
                      </a:lnTo>
                      <a:lnTo>
                        <a:pt x="1408" y="735"/>
                      </a:lnTo>
                      <a:lnTo>
                        <a:pt x="1407" y="736"/>
                      </a:lnTo>
                      <a:lnTo>
                        <a:pt x="1407" y="737"/>
                      </a:lnTo>
                      <a:lnTo>
                        <a:pt x="1407" y="738"/>
                      </a:lnTo>
                      <a:lnTo>
                        <a:pt x="1408" y="740"/>
                      </a:lnTo>
                      <a:lnTo>
                        <a:pt x="1408" y="740"/>
                      </a:lnTo>
                      <a:lnTo>
                        <a:pt x="1408" y="742"/>
                      </a:lnTo>
                      <a:lnTo>
                        <a:pt x="1408" y="744"/>
                      </a:lnTo>
                      <a:lnTo>
                        <a:pt x="1408" y="746"/>
                      </a:lnTo>
                      <a:lnTo>
                        <a:pt x="1409" y="748"/>
                      </a:lnTo>
                      <a:lnTo>
                        <a:pt x="1409" y="749"/>
                      </a:lnTo>
                      <a:lnTo>
                        <a:pt x="1409" y="750"/>
                      </a:lnTo>
                      <a:lnTo>
                        <a:pt x="1409" y="750"/>
                      </a:lnTo>
                      <a:lnTo>
                        <a:pt x="1409" y="752"/>
                      </a:lnTo>
                      <a:lnTo>
                        <a:pt x="1409" y="752"/>
                      </a:lnTo>
                      <a:lnTo>
                        <a:pt x="1409" y="753"/>
                      </a:lnTo>
                      <a:lnTo>
                        <a:pt x="1409" y="754"/>
                      </a:lnTo>
                      <a:lnTo>
                        <a:pt x="1409" y="754"/>
                      </a:lnTo>
                      <a:lnTo>
                        <a:pt x="1409" y="755"/>
                      </a:lnTo>
                      <a:lnTo>
                        <a:pt x="1409" y="756"/>
                      </a:lnTo>
                      <a:lnTo>
                        <a:pt x="1409" y="756"/>
                      </a:lnTo>
                      <a:lnTo>
                        <a:pt x="1408" y="758"/>
                      </a:lnTo>
                      <a:lnTo>
                        <a:pt x="1408" y="758"/>
                      </a:lnTo>
                      <a:lnTo>
                        <a:pt x="1408" y="759"/>
                      </a:lnTo>
                      <a:lnTo>
                        <a:pt x="1408" y="759"/>
                      </a:lnTo>
                      <a:lnTo>
                        <a:pt x="1409" y="760"/>
                      </a:lnTo>
                      <a:lnTo>
                        <a:pt x="1409" y="761"/>
                      </a:lnTo>
                      <a:lnTo>
                        <a:pt x="1410" y="761"/>
                      </a:lnTo>
                      <a:lnTo>
                        <a:pt x="1410" y="761"/>
                      </a:lnTo>
                      <a:lnTo>
                        <a:pt x="1411" y="761"/>
                      </a:lnTo>
                      <a:lnTo>
                        <a:pt x="1412" y="762"/>
                      </a:lnTo>
                      <a:lnTo>
                        <a:pt x="1412" y="763"/>
                      </a:lnTo>
                      <a:lnTo>
                        <a:pt x="1412" y="763"/>
                      </a:lnTo>
                      <a:lnTo>
                        <a:pt x="1413" y="764"/>
                      </a:lnTo>
                      <a:lnTo>
                        <a:pt x="1413" y="765"/>
                      </a:lnTo>
                      <a:lnTo>
                        <a:pt x="1414" y="765"/>
                      </a:lnTo>
                      <a:lnTo>
                        <a:pt x="1414" y="765"/>
                      </a:lnTo>
                      <a:lnTo>
                        <a:pt x="1415" y="765"/>
                      </a:lnTo>
                      <a:lnTo>
                        <a:pt x="1415" y="765"/>
                      </a:lnTo>
                      <a:lnTo>
                        <a:pt x="1416" y="765"/>
                      </a:lnTo>
                      <a:lnTo>
                        <a:pt x="1416" y="765"/>
                      </a:lnTo>
                      <a:lnTo>
                        <a:pt x="1416" y="765"/>
                      </a:lnTo>
                      <a:lnTo>
                        <a:pt x="1417" y="765"/>
                      </a:lnTo>
                      <a:lnTo>
                        <a:pt x="1418" y="765"/>
                      </a:lnTo>
                      <a:lnTo>
                        <a:pt x="1418" y="765"/>
                      </a:lnTo>
                      <a:lnTo>
                        <a:pt x="1419" y="765"/>
                      </a:lnTo>
                      <a:lnTo>
                        <a:pt x="1419" y="766"/>
                      </a:lnTo>
                      <a:lnTo>
                        <a:pt x="1418" y="767"/>
                      </a:lnTo>
                      <a:lnTo>
                        <a:pt x="1418" y="767"/>
                      </a:lnTo>
                      <a:lnTo>
                        <a:pt x="1418" y="768"/>
                      </a:lnTo>
                      <a:lnTo>
                        <a:pt x="1418" y="769"/>
                      </a:lnTo>
                      <a:lnTo>
                        <a:pt x="1419" y="769"/>
                      </a:lnTo>
                      <a:lnTo>
                        <a:pt x="1420" y="768"/>
                      </a:lnTo>
                      <a:lnTo>
                        <a:pt x="1420" y="767"/>
                      </a:lnTo>
                      <a:lnTo>
                        <a:pt x="1421" y="767"/>
                      </a:lnTo>
                      <a:lnTo>
                        <a:pt x="1422" y="767"/>
                      </a:lnTo>
                      <a:lnTo>
                        <a:pt x="1422" y="767"/>
                      </a:lnTo>
                      <a:lnTo>
                        <a:pt x="1422" y="767"/>
                      </a:lnTo>
                      <a:lnTo>
                        <a:pt x="1422" y="768"/>
                      </a:lnTo>
                      <a:lnTo>
                        <a:pt x="1422" y="769"/>
                      </a:lnTo>
                      <a:lnTo>
                        <a:pt x="1422" y="770"/>
                      </a:lnTo>
                      <a:lnTo>
                        <a:pt x="1422" y="771"/>
                      </a:lnTo>
                      <a:lnTo>
                        <a:pt x="1422" y="771"/>
                      </a:lnTo>
                      <a:lnTo>
                        <a:pt x="1422" y="772"/>
                      </a:lnTo>
                      <a:lnTo>
                        <a:pt x="1422" y="773"/>
                      </a:lnTo>
                      <a:lnTo>
                        <a:pt x="1422" y="773"/>
                      </a:lnTo>
                      <a:lnTo>
                        <a:pt x="1422" y="773"/>
                      </a:lnTo>
                      <a:lnTo>
                        <a:pt x="1423" y="773"/>
                      </a:lnTo>
                      <a:lnTo>
                        <a:pt x="1424" y="773"/>
                      </a:lnTo>
                      <a:lnTo>
                        <a:pt x="1425" y="773"/>
                      </a:lnTo>
                      <a:lnTo>
                        <a:pt x="1425" y="774"/>
                      </a:lnTo>
                      <a:lnTo>
                        <a:pt x="1426" y="775"/>
                      </a:lnTo>
                      <a:lnTo>
                        <a:pt x="1427" y="775"/>
                      </a:lnTo>
                      <a:lnTo>
                        <a:pt x="1427" y="776"/>
                      </a:lnTo>
                      <a:lnTo>
                        <a:pt x="1427" y="777"/>
                      </a:lnTo>
                      <a:lnTo>
                        <a:pt x="1428" y="777"/>
                      </a:lnTo>
                      <a:lnTo>
                        <a:pt x="1429" y="777"/>
                      </a:lnTo>
                      <a:lnTo>
                        <a:pt x="1429" y="777"/>
                      </a:lnTo>
                      <a:lnTo>
                        <a:pt x="1431" y="777"/>
                      </a:lnTo>
                      <a:lnTo>
                        <a:pt x="1431" y="777"/>
                      </a:lnTo>
                      <a:lnTo>
                        <a:pt x="1432" y="777"/>
                      </a:lnTo>
                      <a:lnTo>
                        <a:pt x="1433" y="777"/>
                      </a:lnTo>
                      <a:lnTo>
                        <a:pt x="1433" y="777"/>
                      </a:lnTo>
                      <a:lnTo>
                        <a:pt x="1433" y="778"/>
                      </a:lnTo>
                      <a:lnTo>
                        <a:pt x="1433" y="779"/>
                      </a:lnTo>
                      <a:lnTo>
                        <a:pt x="1433" y="780"/>
                      </a:lnTo>
                      <a:lnTo>
                        <a:pt x="1433" y="780"/>
                      </a:lnTo>
                      <a:lnTo>
                        <a:pt x="1433" y="781"/>
                      </a:lnTo>
                      <a:lnTo>
                        <a:pt x="1433" y="782"/>
                      </a:lnTo>
                      <a:lnTo>
                        <a:pt x="1433" y="782"/>
                      </a:lnTo>
                      <a:lnTo>
                        <a:pt x="1433" y="783"/>
                      </a:lnTo>
                      <a:lnTo>
                        <a:pt x="1433" y="784"/>
                      </a:lnTo>
                      <a:lnTo>
                        <a:pt x="1433" y="784"/>
                      </a:lnTo>
                      <a:lnTo>
                        <a:pt x="1434" y="785"/>
                      </a:lnTo>
                      <a:lnTo>
                        <a:pt x="1434" y="786"/>
                      </a:lnTo>
                      <a:lnTo>
                        <a:pt x="1435" y="786"/>
                      </a:lnTo>
                      <a:lnTo>
                        <a:pt x="1435" y="787"/>
                      </a:lnTo>
                      <a:lnTo>
                        <a:pt x="1436" y="787"/>
                      </a:lnTo>
                      <a:lnTo>
                        <a:pt x="1437" y="788"/>
                      </a:lnTo>
                      <a:lnTo>
                        <a:pt x="1437" y="788"/>
                      </a:lnTo>
                      <a:lnTo>
                        <a:pt x="1437" y="789"/>
                      </a:lnTo>
                      <a:lnTo>
                        <a:pt x="1437" y="790"/>
                      </a:lnTo>
                      <a:lnTo>
                        <a:pt x="1438" y="789"/>
                      </a:lnTo>
                      <a:lnTo>
                        <a:pt x="1439" y="788"/>
                      </a:lnTo>
                      <a:lnTo>
                        <a:pt x="1438" y="788"/>
                      </a:lnTo>
                      <a:lnTo>
                        <a:pt x="1437" y="788"/>
                      </a:lnTo>
                      <a:lnTo>
                        <a:pt x="1437" y="787"/>
                      </a:lnTo>
                      <a:lnTo>
                        <a:pt x="1437" y="787"/>
                      </a:lnTo>
                      <a:lnTo>
                        <a:pt x="1437" y="786"/>
                      </a:lnTo>
                      <a:lnTo>
                        <a:pt x="1438" y="786"/>
                      </a:lnTo>
                      <a:lnTo>
                        <a:pt x="1439" y="787"/>
                      </a:lnTo>
                      <a:lnTo>
                        <a:pt x="1439" y="787"/>
                      </a:lnTo>
                      <a:lnTo>
                        <a:pt x="1440" y="787"/>
                      </a:lnTo>
                      <a:lnTo>
                        <a:pt x="1441" y="787"/>
                      </a:lnTo>
                      <a:lnTo>
                        <a:pt x="1442" y="787"/>
                      </a:lnTo>
                      <a:lnTo>
                        <a:pt x="1442" y="787"/>
                      </a:lnTo>
                      <a:lnTo>
                        <a:pt x="1443" y="788"/>
                      </a:lnTo>
                      <a:lnTo>
                        <a:pt x="1444" y="788"/>
                      </a:lnTo>
                      <a:lnTo>
                        <a:pt x="1444" y="788"/>
                      </a:lnTo>
                      <a:lnTo>
                        <a:pt x="1444" y="790"/>
                      </a:lnTo>
                      <a:lnTo>
                        <a:pt x="1444" y="790"/>
                      </a:lnTo>
                      <a:lnTo>
                        <a:pt x="1444" y="792"/>
                      </a:lnTo>
                      <a:lnTo>
                        <a:pt x="1445" y="792"/>
                      </a:lnTo>
                      <a:lnTo>
                        <a:pt x="1446" y="792"/>
                      </a:lnTo>
                      <a:lnTo>
                        <a:pt x="1446" y="792"/>
                      </a:lnTo>
                      <a:lnTo>
                        <a:pt x="1447" y="792"/>
                      </a:lnTo>
                      <a:lnTo>
                        <a:pt x="1447" y="794"/>
                      </a:lnTo>
                      <a:lnTo>
                        <a:pt x="1446" y="795"/>
                      </a:lnTo>
                      <a:lnTo>
                        <a:pt x="1446" y="796"/>
                      </a:lnTo>
                      <a:lnTo>
                        <a:pt x="1445" y="797"/>
                      </a:lnTo>
                      <a:lnTo>
                        <a:pt x="1445" y="798"/>
                      </a:lnTo>
                      <a:lnTo>
                        <a:pt x="1445" y="799"/>
                      </a:lnTo>
                      <a:lnTo>
                        <a:pt x="1446" y="799"/>
                      </a:lnTo>
                      <a:lnTo>
                        <a:pt x="1447" y="799"/>
                      </a:lnTo>
                      <a:lnTo>
                        <a:pt x="1448" y="799"/>
                      </a:lnTo>
                      <a:lnTo>
                        <a:pt x="1448" y="799"/>
                      </a:lnTo>
                      <a:lnTo>
                        <a:pt x="1449" y="799"/>
                      </a:lnTo>
                      <a:lnTo>
                        <a:pt x="1450" y="799"/>
                      </a:lnTo>
                      <a:lnTo>
                        <a:pt x="1450" y="800"/>
                      </a:lnTo>
                      <a:lnTo>
                        <a:pt x="1450" y="800"/>
                      </a:lnTo>
                      <a:lnTo>
                        <a:pt x="1450" y="801"/>
                      </a:lnTo>
                      <a:lnTo>
                        <a:pt x="1451" y="801"/>
                      </a:lnTo>
                      <a:lnTo>
                        <a:pt x="1451" y="800"/>
                      </a:lnTo>
                      <a:lnTo>
                        <a:pt x="1452" y="799"/>
                      </a:lnTo>
                      <a:lnTo>
                        <a:pt x="1452" y="799"/>
                      </a:lnTo>
                      <a:lnTo>
                        <a:pt x="1452" y="799"/>
                      </a:lnTo>
                      <a:lnTo>
                        <a:pt x="1453" y="799"/>
                      </a:lnTo>
                      <a:lnTo>
                        <a:pt x="1454" y="799"/>
                      </a:lnTo>
                      <a:lnTo>
                        <a:pt x="1454" y="800"/>
                      </a:lnTo>
                      <a:lnTo>
                        <a:pt x="1455" y="801"/>
                      </a:lnTo>
                      <a:lnTo>
                        <a:pt x="1455" y="802"/>
                      </a:lnTo>
                      <a:lnTo>
                        <a:pt x="1456" y="803"/>
                      </a:lnTo>
                      <a:lnTo>
                        <a:pt x="1456" y="804"/>
                      </a:lnTo>
                      <a:lnTo>
                        <a:pt x="1457" y="805"/>
                      </a:lnTo>
                      <a:lnTo>
                        <a:pt x="1458" y="805"/>
                      </a:lnTo>
                      <a:lnTo>
                        <a:pt x="1459" y="805"/>
                      </a:lnTo>
                      <a:lnTo>
                        <a:pt x="1460" y="805"/>
                      </a:lnTo>
                      <a:lnTo>
                        <a:pt x="1461" y="805"/>
                      </a:lnTo>
                      <a:lnTo>
                        <a:pt x="1461" y="805"/>
                      </a:lnTo>
                      <a:lnTo>
                        <a:pt x="1462" y="805"/>
                      </a:lnTo>
                      <a:lnTo>
                        <a:pt x="1462" y="804"/>
                      </a:lnTo>
                      <a:lnTo>
                        <a:pt x="1463" y="803"/>
                      </a:lnTo>
                      <a:lnTo>
                        <a:pt x="1463" y="803"/>
                      </a:lnTo>
                      <a:lnTo>
                        <a:pt x="1464" y="803"/>
                      </a:lnTo>
                      <a:lnTo>
                        <a:pt x="1465" y="805"/>
                      </a:lnTo>
                      <a:lnTo>
                        <a:pt x="1465" y="806"/>
                      </a:lnTo>
                      <a:lnTo>
                        <a:pt x="1466" y="807"/>
                      </a:lnTo>
                      <a:lnTo>
                        <a:pt x="1466" y="808"/>
                      </a:lnTo>
                      <a:lnTo>
                        <a:pt x="1467" y="809"/>
                      </a:lnTo>
                      <a:lnTo>
                        <a:pt x="1467" y="811"/>
                      </a:lnTo>
                      <a:lnTo>
                        <a:pt x="1467" y="813"/>
                      </a:lnTo>
                      <a:lnTo>
                        <a:pt x="1467" y="813"/>
                      </a:lnTo>
                      <a:lnTo>
                        <a:pt x="1468" y="815"/>
                      </a:lnTo>
                      <a:lnTo>
                        <a:pt x="1468" y="818"/>
                      </a:lnTo>
                      <a:lnTo>
                        <a:pt x="1467" y="819"/>
                      </a:lnTo>
                      <a:lnTo>
                        <a:pt x="1467" y="821"/>
                      </a:lnTo>
                      <a:lnTo>
                        <a:pt x="1467" y="822"/>
                      </a:lnTo>
                      <a:lnTo>
                        <a:pt x="1468" y="822"/>
                      </a:lnTo>
                      <a:lnTo>
                        <a:pt x="1468" y="823"/>
                      </a:lnTo>
                      <a:lnTo>
                        <a:pt x="1469" y="823"/>
                      </a:lnTo>
                      <a:lnTo>
                        <a:pt x="1469" y="824"/>
                      </a:lnTo>
                      <a:lnTo>
                        <a:pt x="1470" y="826"/>
                      </a:lnTo>
                      <a:lnTo>
                        <a:pt x="1471" y="827"/>
                      </a:lnTo>
                      <a:lnTo>
                        <a:pt x="1471" y="828"/>
                      </a:lnTo>
                      <a:lnTo>
                        <a:pt x="1471" y="830"/>
                      </a:lnTo>
                      <a:lnTo>
                        <a:pt x="1472" y="831"/>
                      </a:lnTo>
                      <a:lnTo>
                        <a:pt x="1473" y="832"/>
                      </a:lnTo>
                      <a:lnTo>
                        <a:pt x="1474" y="833"/>
                      </a:lnTo>
                      <a:lnTo>
                        <a:pt x="1475" y="833"/>
                      </a:lnTo>
                      <a:lnTo>
                        <a:pt x="1476" y="832"/>
                      </a:lnTo>
                      <a:lnTo>
                        <a:pt x="1476" y="831"/>
                      </a:lnTo>
                      <a:lnTo>
                        <a:pt x="1476" y="830"/>
                      </a:lnTo>
                      <a:lnTo>
                        <a:pt x="1477" y="830"/>
                      </a:lnTo>
                      <a:lnTo>
                        <a:pt x="1477" y="830"/>
                      </a:lnTo>
                      <a:lnTo>
                        <a:pt x="1478" y="830"/>
                      </a:lnTo>
                      <a:lnTo>
                        <a:pt x="1479" y="830"/>
                      </a:lnTo>
                      <a:lnTo>
                        <a:pt x="1479" y="831"/>
                      </a:lnTo>
                      <a:lnTo>
                        <a:pt x="1480" y="831"/>
                      </a:lnTo>
                      <a:lnTo>
                        <a:pt x="1480" y="831"/>
                      </a:lnTo>
                      <a:lnTo>
                        <a:pt x="1482" y="830"/>
                      </a:lnTo>
                      <a:lnTo>
                        <a:pt x="1482" y="829"/>
                      </a:lnTo>
                      <a:lnTo>
                        <a:pt x="1482" y="829"/>
                      </a:lnTo>
                      <a:lnTo>
                        <a:pt x="1483" y="829"/>
                      </a:lnTo>
                      <a:lnTo>
                        <a:pt x="1484" y="830"/>
                      </a:lnTo>
                      <a:lnTo>
                        <a:pt x="1484" y="830"/>
                      </a:lnTo>
                      <a:lnTo>
                        <a:pt x="1486" y="830"/>
                      </a:lnTo>
                      <a:lnTo>
                        <a:pt x="1486" y="830"/>
                      </a:lnTo>
                      <a:lnTo>
                        <a:pt x="1487" y="830"/>
                      </a:lnTo>
                      <a:lnTo>
                        <a:pt x="1488" y="831"/>
                      </a:lnTo>
                      <a:lnTo>
                        <a:pt x="1490" y="832"/>
                      </a:lnTo>
                      <a:lnTo>
                        <a:pt x="1491" y="832"/>
                      </a:lnTo>
                      <a:lnTo>
                        <a:pt x="1492" y="833"/>
                      </a:lnTo>
                      <a:lnTo>
                        <a:pt x="1493" y="832"/>
                      </a:lnTo>
                      <a:lnTo>
                        <a:pt x="1494" y="832"/>
                      </a:lnTo>
                      <a:lnTo>
                        <a:pt x="1494" y="830"/>
                      </a:lnTo>
                      <a:lnTo>
                        <a:pt x="1495" y="829"/>
                      </a:lnTo>
                      <a:lnTo>
                        <a:pt x="1494" y="828"/>
                      </a:lnTo>
                      <a:lnTo>
                        <a:pt x="1495" y="828"/>
                      </a:lnTo>
                      <a:lnTo>
                        <a:pt x="1496" y="827"/>
                      </a:lnTo>
                      <a:lnTo>
                        <a:pt x="1496" y="828"/>
                      </a:lnTo>
                      <a:lnTo>
                        <a:pt x="1497" y="828"/>
                      </a:lnTo>
                      <a:lnTo>
                        <a:pt x="1497" y="829"/>
                      </a:lnTo>
                      <a:lnTo>
                        <a:pt x="1498" y="830"/>
                      </a:lnTo>
                      <a:lnTo>
                        <a:pt x="1498" y="830"/>
                      </a:lnTo>
                      <a:lnTo>
                        <a:pt x="1498" y="832"/>
                      </a:lnTo>
                      <a:lnTo>
                        <a:pt x="1498" y="833"/>
                      </a:lnTo>
                      <a:lnTo>
                        <a:pt x="1498" y="834"/>
                      </a:lnTo>
                      <a:lnTo>
                        <a:pt x="1499" y="834"/>
                      </a:lnTo>
                      <a:lnTo>
                        <a:pt x="1500" y="834"/>
                      </a:lnTo>
                      <a:lnTo>
                        <a:pt x="1501" y="833"/>
                      </a:lnTo>
                      <a:lnTo>
                        <a:pt x="1501" y="832"/>
                      </a:lnTo>
                      <a:lnTo>
                        <a:pt x="1501" y="831"/>
                      </a:lnTo>
                      <a:lnTo>
                        <a:pt x="1500" y="830"/>
                      </a:lnTo>
                      <a:lnTo>
                        <a:pt x="1500" y="830"/>
                      </a:lnTo>
                      <a:lnTo>
                        <a:pt x="1500" y="829"/>
                      </a:lnTo>
                      <a:lnTo>
                        <a:pt x="1501" y="828"/>
                      </a:lnTo>
                      <a:lnTo>
                        <a:pt x="1501" y="828"/>
                      </a:lnTo>
                      <a:lnTo>
                        <a:pt x="1503" y="828"/>
                      </a:lnTo>
                      <a:lnTo>
                        <a:pt x="1503" y="829"/>
                      </a:lnTo>
                      <a:lnTo>
                        <a:pt x="1503" y="830"/>
                      </a:lnTo>
                      <a:lnTo>
                        <a:pt x="1504" y="830"/>
                      </a:lnTo>
                      <a:lnTo>
                        <a:pt x="1505" y="830"/>
                      </a:lnTo>
                      <a:lnTo>
                        <a:pt x="1506" y="830"/>
                      </a:lnTo>
                      <a:lnTo>
                        <a:pt x="1507" y="830"/>
                      </a:lnTo>
                      <a:lnTo>
                        <a:pt x="1507" y="829"/>
                      </a:lnTo>
                      <a:lnTo>
                        <a:pt x="1506" y="829"/>
                      </a:lnTo>
                      <a:lnTo>
                        <a:pt x="1506" y="828"/>
                      </a:lnTo>
                      <a:lnTo>
                        <a:pt x="1506" y="828"/>
                      </a:lnTo>
                      <a:lnTo>
                        <a:pt x="1507" y="828"/>
                      </a:lnTo>
                      <a:lnTo>
                        <a:pt x="1507" y="828"/>
                      </a:lnTo>
                      <a:lnTo>
                        <a:pt x="1507" y="828"/>
                      </a:lnTo>
                      <a:lnTo>
                        <a:pt x="1509" y="829"/>
                      </a:lnTo>
                      <a:lnTo>
                        <a:pt x="1509" y="828"/>
                      </a:lnTo>
                      <a:lnTo>
                        <a:pt x="1510" y="828"/>
                      </a:lnTo>
                      <a:lnTo>
                        <a:pt x="1511" y="828"/>
                      </a:lnTo>
                      <a:lnTo>
                        <a:pt x="1513" y="828"/>
                      </a:lnTo>
                      <a:lnTo>
                        <a:pt x="1513" y="827"/>
                      </a:lnTo>
                      <a:lnTo>
                        <a:pt x="1514" y="827"/>
                      </a:lnTo>
                      <a:lnTo>
                        <a:pt x="1513" y="826"/>
                      </a:lnTo>
                      <a:lnTo>
                        <a:pt x="1513" y="826"/>
                      </a:lnTo>
                      <a:lnTo>
                        <a:pt x="1514" y="826"/>
                      </a:lnTo>
                      <a:lnTo>
                        <a:pt x="1515" y="826"/>
                      </a:lnTo>
                      <a:lnTo>
                        <a:pt x="1515" y="826"/>
                      </a:lnTo>
                      <a:lnTo>
                        <a:pt x="1516" y="826"/>
                      </a:lnTo>
                      <a:lnTo>
                        <a:pt x="1516" y="824"/>
                      </a:lnTo>
                      <a:lnTo>
                        <a:pt x="1516" y="824"/>
                      </a:lnTo>
                      <a:lnTo>
                        <a:pt x="1516" y="823"/>
                      </a:lnTo>
                      <a:lnTo>
                        <a:pt x="1515" y="823"/>
                      </a:lnTo>
                      <a:lnTo>
                        <a:pt x="1516" y="823"/>
                      </a:lnTo>
                      <a:lnTo>
                        <a:pt x="1517" y="823"/>
                      </a:lnTo>
                      <a:lnTo>
                        <a:pt x="1517" y="824"/>
                      </a:lnTo>
                      <a:lnTo>
                        <a:pt x="1518" y="824"/>
                      </a:lnTo>
                      <a:lnTo>
                        <a:pt x="1518" y="825"/>
                      </a:lnTo>
                      <a:lnTo>
                        <a:pt x="1518" y="825"/>
                      </a:lnTo>
                      <a:lnTo>
                        <a:pt x="1519" y="825"/>
                      </a:lnTo>
                      <a:lnTo>
                        <a:pt x="1520" y="825"/>
                      </a:lnTo>
                      <a:lnTo>
                        <a:pt x="1520" y="824"/>
                      </a:lnTo>
                      <a:lnTo>
                        <a:pt x="1521" y="824"/>
                      </a:lnTo>
                      <a:lnTo>
                        <a:pt x="1522" y="824"/>
                      </a:lnTo>
                      <a:lnTo>
                        <a:pt x="1523" y="824"/>
                      </a:lnTo>
                      <a:lnTo>
                        <a:pt x="1524" y="825"/>
                      </a:lnTo>
                      <a:lnTo>
                        <a:pt x="1524" y="826"/>
                      </a:lnTo>
                      <a:lnTo>
                        <a:pt x="1525" y="827"/>
                      </a:lnTo>
                      <a:lnTo>
                        <a:pt x="1526" y="827"/>
                      </a:lnTo>
                      <a:lnTo>
                        <a:pt x="1527" y="827"/>
                      </a:lnTo>
                      <a:lnTo>
                        <a:pt x="1528" y="828"/>
                      </a:lnTo>
                      <a:lnTo>
                        <a:pt x="1528" y="828"/>
                      </a:lnTo>
                      <a:lnTo>
                        <a:pt x="1528" y="828"/>
                      </a:lnTo>
                      <a:lnTo>
                        <a:pt x="1529" y="827"/>
                      </a:lnTo>
                      <a:lnTo>
                        <a:pt x="1528" y="826"/>
                      </a:lnTo>
                      <a:lnTo>
                        <a:pt x="1528" y="826"/>
                      </a:lnTo>
                      <a:lnTo>
                        <a:pt x="1528" y="825"/>
                      </a:lnTo>
                      <a:lnTo>
                        <a:pt x="1530" y="825"/>
                      </a:lnTo>
                      <a:lnTo>
                        <a:pt x="1530" y="825"/>
                      </a:lnTo>
                      <a:lnTo>
                        <a:pt x="1531" y="825"/>
                      </a:lnTo>
                      <a:lnTo>
                        <a:pt x="1532" y="826"/>
                      </a:lnTo>
                      <a:lnTo>
                        <a:pt x="1533" y="827"/>
                      </a:lnTo>
                      <a:lnTo>
                        <a:pt x="1534" y="828"/>
                      </a:lnTo>
                      <a:lnTo>
                        <a:pt x="1534" y="827"/>
                      </a:lnTo>
                      <a:lnTo>
                        <a:pt x="1535" y="826"/>
                      </a:lnTo>
                      <a:lnTo>
                        <a:pt x="1535" y="826"/>
                      </a:lnTo>
                      <a:lnTo>
                        <a:pt x="1536" y="825"/>
                      </a:lnTo>
                      <a:lnTo>
                        <a:pt x="1537" y="826"/>
                      </a:lnTo>
                      <a:lnTo>
                        <a:pt x="1537" y="826"/>
                      </a:lnTo>
                      <a:lnTo>
                        <a:pt x="1538" y="826"/>
                      </a:lnTo>
                      <a:lnTo>
                        <a:pt x="1539" y="826"/>
                      </a:lnTo>
                      <a:lnTo>
                        <a:pt x="1539" y="825"/>
                      </a:lnTo>
                      <a:lnTo>
                        <a:pt x="1539" y="824"/>
                      </a:lnTo>
                      <a:lnTo>
                        <a:pt x="1540" y="824"/>
                      </a:lnTo>
                      <a:lnTo>
                        <a:pt x="1541" y="824"/>
                      </a:lnTo>
                      <a:lnTo>
                        <a:pt x="1541" y="824"/>
                      </a:lnTo>
                      <a:lnTo>
                        <a:pt x="1542" y="824"/>
                      </a:lnTo>
                      <a:lnTo>
                        <a:pt x="1543" y="824"/>
                      </a:lnTo>
                      <a:lnTo>
                        <a:pt x="1544" y="824"/>
                      </a:lnTo>
                      <a:lnTo>
                        <a:pt x="1545" y="823"/>
                      </a:lnTo>
                      <a:lnTo>
                        <a:pt x="1545" y="822"/>
                      </a:lnTo>
                      <a:lnTo>
                        <a:pt x="1545" y="822"/>
                      </a:lnTo>
                      <a:lnTo>
                        <a:pt x="1545" y="821"/>
                      </a:lnTo>
                      <a:lnTo>
                        <a:pt x="1545" y="820"/>
                      </a:lnTo>
                      <a:lnTo>
                        <a:pt x="1545" y="820"/>
                      </a:lnTo>
                      <a:lnTo>
                        <a:pt x="1546" y="820"/>
                      </a:lnTo>
                      <a:lnTo>
                        <a:pt x="1547" y="820"/>
                      </a:lnTo>
                      <a:lnTo>
                        <a:pt x="1547" y="821"/>
                      </a:lnTo>
                      <a:lnTo>
                        <a:pt x="1547" y="822"/>
                      </a:lnTo>
                      <a:lnTo>
                        <a:pt x="1547" y="822"/>
                      </a:lnTo>
                      <a:lnTo>
                        <a:pt x="1547" y="823"/>
                      </a:lnTo>
                      <a:lnTo>
                        <a:pt x="1547" y="823"/>
                      </a:lnTo>
                      <a:lnTo>
                        <a:pt x="1547" y="824"/>
                      </a:lnTo>
                      <a:lnTo>
                        <a:pt x="1546" y="824"/>
                      </a:lnTo>
                      <a:lnTo>
                        <a:pt x="1546" y="826"/>
                      </a:lnTo>
                      <a:lnTo>
                        <a:pt x="1547" y="826"/>
                      </a:lnTo>
                      <a:lnTo>
                        <a:pt x="1547" y="828"/>
                      </a:lnTo>
                      <a:lnTo>
                        <a:pt x="1549" y="828"/>
                      </a:lnTo>
                      <a:lnTo>
                        <a:pt x="1550" y="829"/>
                      </a:lnTo>
                      <a:lnTo>
                        <a:pt x="1551" y="828"/>
                      </a:lnTo>
                      <a:lnTo>
                        <a:pt x="1552" y="828"/>
                      </a:lnTo>
                      <a:lnTo>
                        <a:pt x="1553" y="828"/>
                      </a:lnTo>
                      <a:lnTo>
                        <a:pt x="1553" y="828"/>
                      </a:lnTo>
                      <a:lnTo>
                        <a:pt x="1553" y="829"/>
                      </a:lnTo>
                      <a:lnTo>
                        <a:pt x="1554" y="830"/>
                      </a:lnTo>
                      <a:lnTo>
                        <a:pt x="1556" y="830"/>
                      </a:lnTo>
                      <a:lnTo>
                        <a:pt x="1556" y="830"/>
                      </a:lnTo>
                      <a:lnTo>
                        <a:pt x="1557" y="829"/>
                      </a:lnTo>
                      <a:lnTo>
                        <a:pt x="1558" y="829"/>
                      </a:lnTo>
                      <a:lnTo>
                        <a:pt x="1558" y="830"/>
                      </a:lnTo>
                      <a:lnTo>
                        <a:pt x="1559" y="831"/>
                      </a:lnTo>
                      <a:lnTo>
                        <a:pt x="1401" y="892"/>
                      </a:lnTo>
                      <a:lnTo>
                        <a:pt x="1254" y="948"/>
                      </a:lnTo>
                      <a:lnTo>
                        <a:pt x="1156" y="986"/>
                      </a:lnTo>
                      <a:lnTo>
                        <a:pt x="1155" y="986"/>
                      </a:lnTo>
                      <a:lnTo>
                        <a:pt x="1154" y="986"/>
                      </a:lnTo>
                      <a:lnTo>
                        <a:pt x="1036" y="1032"/>
                      </a:lnTo>
                      <a:lnTo>
                        <a:pt x="1033" y="1033"/>
                      </a:lnTo>
                      <a:lnTo>
                        <a:pt x="968" y="1103"/>
                      </a:lnTo>
                      <a:lnTo>
                        <a:pt x="927" y="1148"/>
                      </a:lnTo>
                      <a:lnTo>
                        <a:pt x="927" y="1148"/>
                      </a:lnTo>
                      <a:lnTo>
                        <a:pt x="927" y="1149"/>
                      </a:lnTo>
                      <a:lnTo>
                        <a:pt x="926" y="1149"/>
                      </a:lnTo>
                      <a:lnTo>
                        <a:pt x="926" y="1150"/>
                      </a:lnTo>
                      <a:lnTo>
                        <a:pt x="926" y="1150"/>
                      </a:lnTo>
                      <a:lnTo>
                        <a:pt x="926" y="1150"/>
                      </a:lnTo>
                      <a:lnTo>
                        <a:pt x="926" y="1150"/>
                      </a:lnTo>
                      <a:lnTo>
                        <a:pt x="927" y="1150"/>
                      </a:lnTo>
                      <a:lnTo>
                        <a:pt x="928" y="1150"/>
                      </a:lnTo>
                      <a:lnTo>
                        <a:pt x="928" y="1150"/>
                      </a:lnTo>
                      <a:lnTo>
                        <a:pt x="928" y="1151"/>
                      </a:lnTo>
                      <a:lnTo>
                        <a:pt x="929" y="1151"/>
                      </a:lnTo>
                      <a:lnTo>
                        <a:pt x="928" y="1151"/>
                      </a:lnTo>
                      <a:lnTo>
                        <a:pt x="928" y="1152"/>
                      </a:lnTo>
                      <a:lnTo>
                        <a:pt x="928" y="1152"/>
                      </a:lnTo>
                      <a:lnTo>
                        <a:pt x="929" y="1152"/>
                      </a:lnTo>
                      <a:lnTo>
                        <a:pt x="929" y="1153"/>
                      </a:lnTo>
                      <a:lnTo>
                        <a:pt x="930" y="1153"/>
                      </a:lnTo>
                      <a:lnTo>
                        <a:pt x="930" y="1154"/>
                      </a:lnTo>
                      <a:lnTo>
                        <a:pt x="930" y="1154"/>
                      </a:lnTo>
                      <a:lnTo>
                        <a:pt x="930" y="1155"/>
                      </a:lnTo>
                      <a:lnTo>
                        <a:pt x="930" y="1155"/>
                      </a:lnTo>
                      <a:lnTo>
                        <a:pt x="931" y="1155"/>
                      </a:lnTo>
                      <a:lnTo>
                        <a:pt x="932" y="1155"/>
                      </a:lnTo>
                      <a:lnTo>
                        <a:pt x="933" y="1155"/>
                      </a:lnTo>
                      <a:lnTo>
                        <a:pt x="933" y="1155"/>
                      </a:lnTo>
                      <a:lnTo>
                        <a:pt x="934" y="1155"/>
                      </a:lnTo>
                      <a:lnTo>
                        <a:pt x="935" y="1155"/>
                      </a:lnTo>
                      <a:lnTo>
                        <a:pt x="935" y="1155"/>
                      </a:lnTo>
                      <a:lnTo>
                        <a:pt x="935" y="1156"/>
                      </a:lnTo>
                      <a:lnTo>
                        <a:pt x="935" y="1157"/>
                      </a:lnTo>
                      <a:lnTo>
                        <a:pt x="936" y="1157"/>
                      </a:lnTo>
                      <a:lnTo>
                        <a:pt x="936" y="1157"/>
                      </a:lnTo>
                      <a:lnTo>
                        <a:pt x="937" y="1157"/>
                      </a:lnTo>
                      <a:lnTo>
                        <a:pt x="937" y="1157"/>
                      </a:lnTo>
                      <a:lnTo>
                        <a:pt x="938" y="1157"/>
                      </a:lnTo>
                      <a:lnTo>
                        <a:pt x="938" y="1158"/>
                      </a:lnTo>
                      <a:lnTo>
                        <a:pt x="939" y="1158"/>
                      </a:lnTo>
                      <a:lnTo>
                        <a:pt x="939" y="1159"/>
                      </a:lnTo>
                      <a:lnTo>
                        <a:pt x="939" y="1159"/>
                      </a:lnTo>
                      <a:lnTo>
                        <a:pt x="939" y="1159"/>
                      </a:lnTo>
                      <a:lnTo>
                        <a:pt x="939" y="1160"/>
                      </a:lnTo>
                      <a:lnTo>
                        <a:pt x="939" y="1161"/>
                      </a:lnTo>
                      <a:lnTo>
                        <a:pt x="939" y="1161"/>
                      </a:lnTo>
                      <a:lnTo>
                        <a:pt x="939" y="1162"/>
                      </a:lnTo>
                      <a:lnTo>
                        <a:pt x="939" y="1163"/>
                      </a:lnTo>
                      <a:lnTo>
                        <a:pt x="939" y="1163"/>
                      </a:lnTo>
                      <a:lnTo>
                        <a:pt x="939" y="1164"/>
                      </a:lnTo>
                      <a:lnTo>
                        <a:pt x="938" y="1165"/>
                      </a:lnTo>
                      <a:lnTo>
                        <a:pt x="938" y="1165"/>
                      </a:lnTo>
                      <a:lnTo>
                        <a:pt x="938" y="1166"/>
                      </a:lnTo>
                      <a:lnTo>
                        <a:pt x="939" y="1166"/>
                      </a:lnTo>
                      <a:lnTo>
                        <a:pt x="939" y="1167"/>
                      </a:lnTo>
                      <a:lnTo>
                        <a:pt x="939" y="1167"/>
                      </a:lnTo>
                      <a:lnTo>
                        <a:pt x="939" y="1167"/>
                      </a:lnTo>
                      <a:lnTo>
                        <a:pt x="939" y="1167"/>
                      </a:lnTo>
                      <a:lnTo>
                        <a:pt x="939" y="1168"/>
                      </a:lnTo>
                      <a:lnTo>
                        <a:pt x="939" y="1169"/>
                      </a:lnTo>
                      <a:lnTo>
                        <a:pt x="939" y="1169"/>
                      </a:lnTo>
                      <a:lnTo>
                        <a:pt x="939" y="1170"/>
                      </a:lnTo>
                      <a:lnTo>
                        <a:pt x="938" y="1171"/>
                      </a:lnTo>
                      <a:lnTo>
                        <a:pt x="938" y="1171"/>
                      </a:lnTo>
                      <a:lnTo>
                        <a:pt x="938" y="1172"/>
                      </a:lnTo>
                      <a:lnTo>
                        <a:pt x="938" y="1173"/>
                      </a:lnTo>
                      <a:lnTo>
                        <a:pt x="937" y="1173"/>
                      </a:lnTo>
                      <a:lnTo>
                        <a:pt x="937" y="1174"/>
                      </a:lnTo>
                      <a:lnTo>
                        <a:pt x="937" y="1174"/>
                      </a:lnTo>
                      <a:lnTo>
                        <a:pt x="937" y="1174"/>
                      </a:lnTo>
                      <a:lnTo>
                        <a:pt x="937" y="1175"/>
                      </a:lnTo>
                      <a:lnTo>
                        <a:pt x="937" y="1176"/>
                      </a:lnTo>
                      <a:lnTo>
                        <a:pt x="936" y="1176"/>
                      </a:lnTo>
                      <a:lnTo>
                        <a:pt x="936" y="1177"/>
                      </a:lnTo>
                      <a:lnTo>
                        <a:pt x="937" y="1177"/>
                      </a:lnTo>
                      <a:lnTo>
                        <a:pt x="937" y="1178"/>
                      </a:lnTo>
                      <a:lnTo>
                        <a:pt x="937" y="1178"/>
                      </a:lnTo>
                      <a:lnTo>
                        <a:pt x="937" y="1179"/>
                      </a:lnTo>
                      <a:lnTo>
                        <a:pt x="936" y="1180"/>
                      </a:lnTo>
                      <a:lnTo>
                        <a:pt x="936" y="1180"/>
                      </a:lnTo>
                      <a:lnTo>
                        <a:pt x="935" y="1180"/>
                      </a:lnTo>
                      <a:lnTo>
                        <a:pt x="935" y="1181"/>
                      </a:lnTo>
                      <a:lnTo>
                        <a:pt x="935" y="1182"/>
                      </a:lnTo>
                      <a:lnTo>
                        <a:pt x="935" y="1182"/>
                      </a:lnTo>
                      <a:lnTo>
                        <a:pt x="935" y="1183"/>
                      </a:lnTo>
                      <a:lnTo>
                        <a:pt x="935" y="1184"/>
                      </a:lnTo>
                      <a:lnTo>
                        <a:pt x="935" y="1184"/>
                      </a:lnTo>
                      <a:lnTo>
                        <a:pt x="935" y="1184"/>
                      </a:lnTo>
                      <a:lnTo>
                        <a:pt x="935" y="1184"/>
                      </a:lnTo>
                      <a:lnTo>
                        <a:pt x="935" y="1185"/>
                      </a:lnTo>
                      <a:lnTo>
                        <a:pt x="935" y="1185"/>
                      </a:lnTo>
                      <a:lnTo>
                        <a:pt x="935" y="1186"/>
                      </a:lnTo>
                      <a:lnTo>
                        <a:pt x="935" y="1186"/>
                      </a:lnTo>
                      <a:lnTo>
                        <a:pt x="935" y="1186"/>
                      </a:lnTo>
                      <a:lnTo>
                        <a:pt x="935" y="1186"/>
                      </a:lnTo>
                      <a:lnTo>
                        <a:pt x="935" y="1187"/>
                      </a:lnTo>
                      <a:lnTo>
                        <a:pt x="935" y="1188"/>
                      </a:lnTo>
                      <a:lnTo>
                        <a:pt x="935" y="1188"/>
                      </a:lnTo>
                      <a:lnTo>
                        <a:pt x="935" y="1188"/>
                      </a:lnTo>
                      <a:lnTo>
                        <a:pt x="935" y="1189"/>
                      </a:lnTo>
                      <a:lnTo>
                        <a:pt x="936" y="1190"/>
                      </a:lnTo>
                      <a:lnTo>
                        <a:pt x="936" y="1190"/>
                      </a:lnTo>
                      <a:lnTo>
                        <a:pt x="936" y="1191"/>
                      </a:lnTo>
                      <a:lnTo>
                        <a:pt x="936" y="1192"/>
                      </a:lnTo>
                      <a:lnTo>
                        <a:pt x="937" y="1192"/>
                      </a:lnTo>
                      <a:lnTo>
                        <a:pt x="936" y="1192"/>
                      </a:lnTo>
                      <a:lnTo>
                        <a:pt x="936" y="1192"/>
                      </a:lnTo>
                      <a:lnTo>
                        <a:pt x="935" y="1192"/>
                      </a:lnTo>
                      <a:lnTo>
                        <a:pt x="935" y="1193"/>
                      </a:lnTo>
                      <a:lnTo>
                        <a:pt x="935" y="1194"/>
                      </a:lnTo>
                      <a:lnTo>
                        <a:pt x="935" y="1194"/>
                      </a:lnTo>
                      <a:lnTo>
                        <a:pt x="935" y="1195"/>
                      </a:lnTo>
                      <a:lnTo>
                        <a:pt x="935" y="1195"/>
                      </a:lnTo>
                      <a:lnTo>
                        <a:pt x="936" y="1195"/>
                      </a:lnTo>
                      <a:lnTo>
                        <a:pt x="936" y="1196"/>
                      </a:lnTo>
                      <a:lnTo>
                        <a:pt x="936" y="1197"/>
                      </a:lnTo>
                      <a:lnTo>
                        <a:pt x="935" y="1197"/>
                      </a:lnTo>
                      <a:lnTo>
                        <a:pt x="935" y="1197"/>
                      </a:lnTo>
                      <a:lnTo>
                        <a:pt x="936" y="1197"/>
                      </a:lnTo>
                      <a:lnTo>
                        <a:pt x="936" y="1197"/>
                      </a:lnTo>
                      <a:lnTo>
                        <a:pt x="937" y="1197"/>
                      </a:lnTo>
                      <a:lnTo>
                        <a:pt x="937" y="1197"/>
                      </a:lnTo>
                      <a:lnTo>
                        <a:pt x="937" y="1198"/>
                      </a:lnTo>
                      <a:lnTo>
                        <a:pt x="937" y="1199"/>
                      </a:lnTo>
                      <a:lnTo>
                        <a:pt x="936" y="1199"/>
                      </a:lnTo>
                      <a:lnTo>
                        <a:pt x="936" y="1199"/>
                      </a:lnTo>
                      <a:lnTo>
                        <a:pt x="936" y="1200"/>
                      </a:lnTo>
                      <a:lnTo>
                        <a:pt x="935" y="1200"/>
                      </a:lnTo>
                      <a:lnTo>
                        <a:pt x="935" y="1201"/>
                      </a:lnTo>
                      <a:lnTo>
                        <a:pt x="936" y="1201"/>
                      </a:lnTo>
                      <a:lnTo>
                        <a:pt x="936" y="1201"/>
                      </a:lnTo>
                      <a:lnTo>
                        <a:pt x="937" y="1202"/>
                      </a:lnTo>
                      <a:lnTo>
                        <a:pt x="937" y="1202"/>
                      </a:lnTo>
                      <a:lnTo>
                        <a:pt x="937" y="1201"/>
                      </a:lnTo>
                      <a:lnTo>
                        <a:pt x="937" y="1202"/>
                      </a:lnTo>
                      <a:lnTo>
                        <a:pt x="938" y="1202"/>
                      </a:lnTo>
                      <a:lnTo>
                        <a:pt x="938" y="1203"/>
                      </a:lnTo>
                      <a:lnTo>
                        <a:pt x="937" y="1203"/>
                      </a:lnTo>
                      <a:lnTo>
                        <a:pt x="938" y="1203"/>
                      </a:lnTo>
                      <a:lnTo>
                        <a:pt x="938" y="1204"/>
                      </a:lnTo>
                      <a:lnTo>
                        <a:pt x="938" y="1205"/>
                      </a:lnTo>
                      <a:lnTo>
                        <a:pt x="938" y="1205"/>
                      </a:lnTo>
                      <a:lnTo>
                        <a:pt x="939" y="1205"/>
                      </a:lnTo>
                      <a:lnTo>
                        <a:pt x="939" y="1206"/>
                      </a:lnTo>
                      <a:lnTo>
                        <a:pt x="939" y="1206"/>
                      </a:lnTo>
                      <a:lnTo>
                        <a:pt x="939" y="1207"/>
                      </a:lnTo>
                      <a:lnTo>
                        <a:pt x="939" y="1207"/>
                      </a:lnTo>
                      <a:lnTo>
                        <a:pt x="938" y="1207"/>
                      </a:lnTo>
                      <a:lnTo>
                        <a:pt x="938" y="1207"/>
                      </a:lnTo>
                      <a:lnTo>
                        <a:pt x="938" y="1208"/>
                      </a:lnTo>
                      <a:lnTo>
                        <a:pt x="939" y="1208"/>
                      </a:lnTo>
                      <a:lnTo>
                        <a:pt x="939" y="1208"/>
                      </a:lnTo>
                      <a:lnTo>
                        <a:pt x="939" y="1209"/>
                      </a:lnTo>
                      <a:lnTo>
                        <a:pt x="939" y="1209"/>
                      </a:lnTo>
                      <a:lnTo>
                        <a:pt x="940" y="1209"/>
                      </a:lnTo>
                      <a:lnTo>
                        <a:pt x="940" y="1210"/>
                      </a:lnTo>
                      <a:lnTo>
                        <a:pt x="941" y="1211"/>
                      </a:lnTo>
                      <a:lnTo>
                        <a:pt x="941" y="1211"/>
                      </a:lnTo>
                      <a:lnTo>
                        <a:pt x="941" y="1212"/>
                      </a:lnTo>
                      <a:lnTo>
                        <a:pt x="940" y="1213"/>
                      </a:lnTo>
                      <a:lnTo>
                        <a:pt x="940" y="1214"/>
                      </a:lnTo>
                      <a:lnTo>
                        <a:pt x="940" y="1214"/>
                      </a:lnTo>
                      <a:lnTo>
                        <a:pt x="940" y="1215"/>
                      </a:lnTo>
                      <a:lnTo>
                        <a:pt x="940" y="1216"/>
                      </a:lnTo>
                      <a:lnTo>
                        <a:pt x="941" y="1216"/>
                      </a:lnTo>
                      <a:lnTo>
                        <a:pt x="941" y="1216"/>
                      </a:lnTo>
                      <a:lnTo>
                        <a:pt x="941" y="1216"/>
                      </a:lnTo>
                      <a:lnTo>
                        <a:pt x="941" y="1216"/>
                      </a:lnTo>
                      <a:lnTo>
                        <a:pt x="941" y="1217"/>
                      </a:lnTo>
                      <a:lnTo>
                        <a:pt x="941" y="1218"/>
                      </a:lnTo>
                      <a:lnTo>
                        <a:pt x="941" y="1218"/>
                      </a:lnTo>
                      <a:lnTo>
                        <a:pt x="941" y="1219"/>
                      </a:lnTo>
                      <a:lnTo>
                        <a:pt x="941" y="1220"/>
                      </a:lnTo>
                      <a:lnTo>
                        <a:pt x="940" y="1220"/>
                      </a:lnTo>
                      <a:lnTo>
                        <a:pt x="940" y="1220"/>
                      </a:lnTo>
                      <a:lnTo>
                        <a:pt x="939" y="1220"/>
                      </a:lnTo>
                      <a:lnTo>
                        <a:pt x="939" y="1220"/>
                      </a:lnTo>
                      <a:lnTo>
                        <a:pt x="939" y="1221"/>
                      </a:lnTo>
                      <a:lnTo>
                        <a:pt x="939" y="1222"/>
                      </a:lnTo>
                      <a:lnTo>
                        <a:pt x="939" y="1222"/>
                      </a:lnTo>
                      <a:lnTo>
                        <a:pt x="938" y="1222"/>
                      </a:lnTo>
                      <a:lnTo>
                        <a:pt x="937" y="1222"/>
                      </a:lnTo>
                      <a:lnTo>
                        <a:pt x="937" y="1222"/>
                      </a:lnTo>
                      <a:lnTo>
                        <a:pt x="937" y="1223"/>
                      </a:lnTo>
                      <a:lnTo>
                        <a:pt x="936" y="1223"/>
                      </a:lnTo>
                      <a:lnTo>
                        <a:pt x="936" y="1224"/>
                      </a:lnTo>
                      <a:lnTo>
                        <a:pt x="937" y="1224"/>
                      </a:lnTo>
                      <a:lnTo>
                        <a:pt x="937" y="1224"/>
                      </a:lnTo>
                      <a:lnTo>
                        <a:pt x="937" y="1225"/>
                      </a:lnTo>
                      <a:lnTo>
                        <a:pt x="938" y="1225"/>
                      </a:lnTo>
                      <a:lnTo>
                        <a:pt x="938" y="1226"/>
                      </a:lnTo>
                      <a:lnTo>
                        <a:pt x="939" y="1226"/>
                      </a:lnTo>
                      <a:lnTo>
                        <a:pt x="939" y="1226"/>
                      </a:lnTo>
                      <a:lnTo>
                        <a:pt x="939" y="1226"/>
                      </a:lnTo>
                      <a:lnTo>
                        <a:pt x="940" y="1226"/>
                      </a:lnTo>
                      <a:lnTo>
                        <a:pt x="941" y="1226"/>
                      </a:lnTo>
                      <a:lnTo>
                        <a:pt x="941" y="1227"/>
                      </a:lnTo>
                      <a:lnTo>
                        <a:pt x="941" y="1227"/>
                      </a:lnTo>
                      <a:lnTo>
                        <a:pt x="941" y="1228"/>
                      </a:lnTo>
                      <a:lnTo>
                        <a:pt x="942" y="1228"/>
                      </a:lnTo>
                      <a:lnTo>
                        <a:pt x="942" y="1228"/>
                      </a:lnTo>
                      <a:lnTo>
                        <a:pt x="941" y="1228"/>
                      </a:lnTo>
                      <a:lnTo>
                        <a:pt x="941" y="1229"/>
                      </a:lnTo>
                      <a:lnTo>
                        <a:pt x="940" y="1229"/>
                      </a:lnTo>
                      <a:lnTo>
                        <a:pt x="939" y="1230"/>
                      </a:lnTo>
                      <a:lnTo>
                        <a:pt x="939" y="1230"/>
                      </a:lnTo>
                      <a:lnTo>
                        <a:pt x="938" y="1230"/>
                      </a:lnTo>
                      <a:lnTo>
                        <a:pt x="938" y="1231"/>
                      </a:lnTo>
                      <a:lnTo>
                        <a:pt x="937" y="1232"/>
                      </a:lnTo>
                      <a:lnTo>
                        <a:pt x="937" y="1232"/>
                      </a:lnTo>
                      <a:lnTo>
                        <a:pt x="937" y="1233"/>
                      </a:lnTo>
                      <a:lnTo>
                        <a:pt x="936" y="1233"/>
                      </a:lnTo>
                      <a:lnTo>
                        <a:pt x="935" y="1234"/>
                      </a:lnTo>
                      <a:lnTo>
                        <a:pt x="934" y="1235"/>
                      </a:lnTo>
                      <a:lnTo>
                        <a:pt x="933" y="1235"/>
                      </a:lnTo>
                      <a:lnTo>
                        <a:pt x="933" y="1235"/>
                      </a:lnTo>
                      <a:lnTo>
                        <a:pt x="933" y="1235"/>
                      </a:lnTo>
                      <a:lnTo>
                        <a:pt x="932" y="1235"/>
                      </a:lnTo>
                      <a:lnTo>
                        <a:pt x="931" y="1235"/>
                      </a:lnTo>
                      <a:lnTo>
                        <a:pt x="931" y="1236"/>
                      </a:lnTo>
                      <a:lnTo>
                        <a:pt x="930" y="1236"/>
                      </a:lnTo>
                      <a:lnTo>
                        <a:pt x="930" y="1237"/>
                      </a:lnTo>
                      <a:lnTo>
                        <a:pt x="930" y="1237"/>
                      </a:lnTo>
                      <a:lnTo>
                        <a:pt x="930" y="1238"/>
                      </a:lnTo>
                      <a:lnTo>
                        <a:pt x="931" y="1238"/>
                      </a:lnTo>
                      <a:lnTo>
                        <a:pt x="931" y="1237"/>
                      </a:lnTo>
                      <a:lnTo>
                        <a:pt x="932" y="1237"/>
                      </a:lnTo>
                      <a:lnTo>
                        <a:pt x="932" y="1238"/>
                      </a:lnTo>
                      <a:lnTo>
                        <a:pt x="932" y="1239"/>
                      </a:lnTo>
                      <a:lnTo>
                        <a:pt x="933" y="1239"/>
                      </a:lnTo>
                      <a:lnTo>
                        <a:pt x="933" y="1239"/>
                      </a:lnTo>
                      <a:lnTo>
                        <a:pt x="933" y="1240"/>
                      </a:lnTo>
                      <a:lnTo>
                        <a:pt x="933" y="1241"/>
                      </a:lnTo>
                      <a:lnTo>
                        <a:pt x="933" y="1241"/>
                      </a:lnTo>
                      <a:lnTo>
                        <a:pt x="932" y="1241"/>
                      </a:lnTo>
                      <a:lnTo>
                        <a:pt x="932" y="1241"/>
                      </a:lnTo>
                      <a:lnTo>
                        <a:pt x="932" y="1242"/>
                      </a:lnTo>
                      <a:lnTo>
                        <a:pt x="933" y="1241"/>
                      </a:lnTo>
                      <a:lnTo>
                        <a:pt x="933" y="1242"/>
                      </a:lnTo>
                      <a:lnTo>
                        <a:pt x="933" y="1242"/>
                      </a:lnTo>
                      <a:lnTo>
                        <a:pt x="933" y="1243"/>
                      </a:lnTo>
                      <a:lnTo>
                        <a:pt x="934" y="1243"/>
                      </a:lnTo>
                      <a:lnTo>
                        <a:pt x="934" y="1243"/>
                      </a:lnTo>
                      <a:lnTo>
                        <a:pt x="935" y="1243"/>
                      </a:lnTo>
                      <a:lnTo>
                        <a:pt x="935" y="1244"/>
                      </a:lnTo>
                      <a:lnTo>
                        <a:pt x="934" y="1245"/>
                      </a:lnTo>
                      <a:lnTo>
                        <a:pt x="934" y="1245"/>
                      </a:lnTo>
                      <a:lnTo>
                        <a:pt x="933" y="1246"/>
                      </a:lnTo>
                      <a:lnTo>
                        <a:pt x="934" y="1246"/>
                      </a:lnTo>
                      <a:lnTo>
                        <a:pt x="934" y="1247"/>
                      </a:lnTo>
                      <a:lnTo>
                        <a:pt x="935" y="1247"/>
                      </a:lnTo>
                      <a:lnTo>
                        <a:pt x="935" y="1246"/>
                      </a:lnTo>
                      <a:lnTo>
                        <a:pt x="935" y="1246"/>
                      </a:lnTo>
                      <a:lnTo>
                        <a:pt x="935" y="1247"/>
                      </a:lnTo>
                      <a:lnTo>
                        <a:pt x="935" y="1247"/>
                      </a:lnTo>
                      <a:lnTo>
                        <a:pt x="935" y="1248"/>
                      </a:lnTo>
                      <a:lnTo>
                        <a:pt x="936" y="1248"/>
                      </a:lnTo>
                      <a:lnTo>
                        <a:pt x="936" y="1249"/>
                      </a:lnTo>
                      <a:lnTo>
                        <a:pt x="936" y="1249"/>
                      </a:lnTo>
                      <a:lnTo>
                        <a:pt x="935" y="1249"/>
                      </a:lnTo>
                      <a:lnTo>
                        <a:pt x="935" y="1250"/>
                      </a:lnTo>
                      <a:lnTo>
                        <a:pt x="935" y="1251"/>
                      </a:lnTo>
                      <a:lnTo>
                        <a:pt x="936" y="1251"/>
                      </a:lnTo>
                      <a:lnTo>
                        <a:pt x="936" y="1251"/>
                      </a:lnTo>
                      <a:lnTo>
                        <a:pt x="937" y="1252"/>
                      </a:lnTo>
                      <a:lnTo>
                        <a:pt x="937" y="1253"/>
                      </a:lnTo>
                      <a:lnTo>
                        <a:pt x="936" y="1254"/>
                      </a:lnTo>
                      <a:lnTo>
                        <a:pt x="935" y="1254"/>
                      </a:lnTo>
                      <a:lnTo>
                        <a:pt x="936" y="1255"/>
                      </a:lnTo>
                      <a:lnTo>
                        <a:pt x="937" y="1256"/>
                      </a:lnTo>
                      <a:lnTo>
                        <a:pt x="936" y="1256"/>
                      </a:lnTo>
                      <a:lnTo>
                        <a:pt x="936" y="1257"/>
                      </a:lnTo>
                      <a:lnTo>
                        <a:pt x="937" y="1257"/>
                      </a:lnTo>
                      <a:lnTo>
                        <a:pt x="937" y="1258"/>
                      </a:lnTo>
                      <a:lnTo>
                        <a:pt x="937" y="1258"/>
                      </a:lnTo>
                      <a:lnTo>
                        <a:pt x="937" y="1259"/>
                      </a:lnTo>
                      <a:lnTo>
                        <a:pt x="937" y="1259"/>
                      </a:lnTo>
                      <a:lnTo>
                        <a:pt x="937" y="1260"/>
                      </a:lnTo>
                      <a:lnTo>
                        <a:pt x="937" y="1260"/>
                      </a:lnTo>
                      <a:lnTo>
                        <a:pt x="936" y="1261"/>
                      </a:lnTo>
                      <a:lnTo>
                        <a:pt x="935" y="1261"/>
                      </a:lnTo>
                      <a:lnTo>
                        <a:pt x="935" y="1262"/>
                      </a:lnTo>
                      <a:lnTo>
                        <a:pt x="936" y="1262"/>
                      </a:lnTo>
                      <a:lnTo>
                        <a:pt x="937" y="1262"/>
                      </a:lnTo>
                      <a:lnTo>
                        <a:pt x="937" y="1262"/>
                      </a:lnTo>
                      <a:lnTo>
                        <a:pt x="937" y="1262"/>
                      </a:lnTo>
                      <a:lnTo>
                        <a:pt x="937" y="1263"/>
                      </a:lnTo>
                      <a:lnTo>
                        <a:pt x="937" y="1264"/>
                      </a:lnTo>
                      <a:lnTo>
                        <a:pt x="938" y="1264"/>
                      </a:lnTo>
                      <a:lnTo>
                        <a:pt x="938" y="1264"/>
                      </a:lnTo>
                      <a:lnTo>
                        <a:pt x="938" y="1264"/>
                      </a:lnTo>
                      <a:lnTo>
                        <a:pt x="939" y="1264"/>
                      </a:lnTo>
                      <a:lnTo>
                        <a:pt x="939" y="1263"/>
                      </a:lnTo>
                      <a:lnTo>
                        <a:pt x="939" y="1263"/>
                      </a:lnTo>
                      <a:lnTo>
                        <a:pt x="940" y="1263"/>
                      </a:lnTo>
                      <a:lnTo>
                        <a:pt x="940" y="1262"/>
                      </a:lnTo>
                      <a:lnTo>
                        <a:pt x="941" y="1262"/>
                      </a:lnTo>
                      <a:lnTo>
                        <a:pt x="941" y="1262"/>
                      </a:lnTo>
                      <a:lnTo>
                        <a:pt x="941" y="1262"/>
                      </a:lnTo>
                      <a:lnTo>
                        <a:pt x="942" y="1262"/>
                      </a:lnTo>
                      <a:lnTo>
                        <a:pt x="942" y="1262"/>
                      </a:lnTo>
                      <a:lnTo>
                        <a:pt x="943" y="1262"/>
                      </a:lnTo>
                      <a:lnTo>
                        <a:pt x="943" y="1263"/>
                      </a:lnTo>
                      <a:lnTo>
                        <a:pt x="943" y="1264"/>
                      </a:lnTo>
                      <a:lnTo>
                        <a:pt x="943" y="1264"/>
                      </a:lnTo>
                      <a:lnTo>
                        <a:pt x="943" y="1263"/>
                      </a:lnTo>
                      <a:lnTo>
                        <a:pt x="944" y="1263"/>
                      </a:lnTo>
                      <a:lnTo>
                        <a:pt x="944" y="1262"/>
                      </a:lnTo>
                      <a:lnTo>
                        <a:pt x="945" y="1262"/>
                      </a:lnTo>
                      <a:lnTo>
                        <a:pt x="945" y="1263"/>
                      </a:lnTo>
                      <a:lnTo>
                        <a:pt x="945" y="1264"/>
                      </a:lnTo>
                      <a:lnTo>
                        <a:pt x="945" y="1264"/>
                      </a:lnTo>
                      <a:lnTo>
                        <a:pt x="946" y="1264"/>
                      </a:lnTo>
                      <a:lnTo>
                        <a:pt x="946" y="1263"/>
                      </a:lnTo>
                      <a:lnTo>
                        <a:pt x="946" y="1264"/>
                      </a:lnTo>
                      <a:lnTo>
                        <a:pt x="947" y="1264"/>
                      </a:lnTo>
                      <a:lnTo>
                        <a:pt x="946" y="1264"/>
                      </a:lnTo>
                      <a:lnTo>
                        <a:pt x="947" y="1265"/>
                      </a:lnTo>
                      <a:lnTo>
                        <a:pt x="947" y="1266"/>
                      </a:lnTo>
                      <a:lnTo>
                        <a:pt x="947" y="1266"/>
                      </a:lnTo>
                      <a:lnTo>
                        <a:pt x="948" y="1266"/>
                      </a:lnTo>
                      <a:lnTo>
                        <a:pt x="948" y="1265"/>
                      </a:lnTo>
                      <a:lnTo>
                        <a:pt x="949" y="1266"/>
                      </a:lnTo>
                      <a:lnTo>
                        <a:pt x="949" y="1266"/>
                      </a:lnTo>
                      <a:lnTo>
                        <a:pt x="949" y="1267"/>
                      </a:lnTo>
                      <a:lnTo>
                        <a:pt x="949" y="1267"/>
                      </a:lnTo>
                      <a:lnTo>
                        <a:pt x="949" y="1268"/>
                      </a:lnTo>
                      <a:lnTo>
                        <a:pt x="950" y="1268"/>
                      </a:lnTo>
                      <a:lnTo>
                        <a:pt x="950" y="1268"/>
                      </a:lnTo>
                      <a:lnTo>
                        <a:pt x="950" y="1269"/>
                      </a:lnTo>
                      <a:lnTo>
                        <a:pt x="949" y="1269"/>
                      </a:lnTo>
                      <a:lnTo>
                        <a:pt x="949" y="1270"/>
                      </a:lnTo>
                      <a:lnTo>
                        <a:pt x="950" y="1270"/>
                      </a:lnTo>
                      <a:lnTo>
                        <a:pt x="951" y="1270"/>
                      </a:lnTo>
                      <a:lnTo>
                        <a:pt x="951" y="1270"/>
                      </a:lnTo>
                      <a:lnTo>
                        <a:pt x="951" y="1271"/>
                      </a:lnTo>
                      <a:lnTo>
                        <a:pt x="951" y="1272"/>
                      </a:lnTo>
                      <a:lnTo>
                        <a:pt x="950" y="1272"/>
                      </a:lnTo>
                      <a:lnTo>
                        <a:pt x="949" y="1271"/>
                      </a:lnTo>
                      <a:lnTo>
                        <a:pt x="949" y="1271"/>
                      </a:lnTo>
                      <a:lnTo>
                        <a:pt x="949" y="1272"/>
                      </a:lnTo>
                      <a:lnTo>
                        <a:pt x="949" y="1273"/>
                      </a:lnTo>
                      <a:lnTo>
                        <a:pt x="949" y="1273"/>
                      </a:lnTo>
                      <a:lnTo>
                        <a:pt x="948" y="1273"/>
                      </a:lnTo>
                      <a:lnTo>
                        <a:pt x="948" y="1274"/>
                      </a:lnTo>
                      <a:lnTo>
                        <a:pt x="948" y="1275"/>
                      </a:lnTo>
                      <a:lnTo>
                        <a:pt x="947" y="1275"/>
                      </a:lnTo>
                      <a:lnTo>
                        <a:pt x="948" y="1275"/>
                      </a:lnTo>
                      <a:lnTo>
                        <a:pt x="948" y="1275"/>
                      </a:lnTo>
                      <a:lnTo>
                        <a:pt x="949" y="1275"/>
                      </a:lnTo>
                      <a:lnTo>
                        <a:pt x="949" y="1275"/>
                      </a:lnTo>
                      <a:lnTo>
                        <a:pt x="949" y="1274"/>
                      </a:lnTo>
                      <a:lnTo>
                        <a:pt x="949" y="1274"/>
                      </a:lnTo>
                      <a:lnTo>
                        <a:pt x="950" y="1274"/>
                      </a:lnTo>
                      <a:lnTo>
                        <a:pt x="950" y="1275"/>
                      </a:lnTo>
                      <a:lnTo>
                        <a:pt x="950" y="1275"/>
                      </a:lnTo>
                      <a:lnTo>
                        <a:pt x="951" y="1275"/>
                      </a:lnTo>
                      <a:lnTo>
                        <a:pt x="951" y="1276"/>
                      </a:lnTo>
                      <a:lnTo>
                        <a:pt x="951" y="1277"/>
                      </a:lnTo>
                      <a:lnTo>
                        <a:pt x="951" y="1277"/>
                      </a:lnTo>
                      <a:lnTo>
                        <a:pt x="952" y="1277"/>
                      </a:lnTo>
                      <a:lnTo>
                        <a:pt x="952" y="1277"/>
                      </a:lnTo>
                      <a:lnTo>
                        <a:pt x="953" y="1277"/>
                      </a:lnTo>
                      <a:lnTo>
                        <a:pt x="954" y="1277"/>
                      </a:lnTo>
                      <a:lnTo>
                        <a:pt x="954" y="1278"/>
                      </a:lnTo>
                      <a:lnTo>
                        <a:pt x="954" y="1278"/>
                      </a:lnTo>
                      <a:lnTo>
                        <a:pt x="955" y="1278"/>
                      </a:lnTo>
                      <a:lnTo>
                        <a:pt x="955" y="1279"/>
                      </a:lnTo>
                      <a:lnTo>
                        <a:pt x="956" y="1279"/>
                      </a:lnTo>
                      <a:lnTo>
                        <a:pt x="956" y="1279"/>
                      </a:lnTo>
                      <a:lnTo>
                        <a:pt x="957" y="1279"/>
                      </a:lnTo>
                      <a:lnTo>
                        <a:pt x="957" y="1279"/>
                      </a:lnTo>
                      <a:lnTo>
                        <a:pt x="958" y="1279"/>
                      </a:lnTo>
                      <a:lnTo>
                        <a:pt x="957" y="1279"/>
                      </a:lnTo>
                      <a:lnTo>
                        <a:pt x="957" y="1280"/>
                      </a:lnTo>
                      <a:lnTo>
                        <a:pt x="956" y="1280"/>
                      </a:lnTo>
                      <a:lnTo>
                        <a:pt x="956" y="1281"/>
                      </a:lnTo>
                      <a:lnTo>
                        <a:pt x="956" y="1281"/>
                      </a:lnTo>
                      <a:lnTo>
                        <a:pt x="956" y="1281"/>
                      </a:lnTo>
                      <a:lnTo>
                        <a:pt x="955" y="1281"/>
                      </a:lnTo>
                      <a:lnTo>
                        <a:pt x="956" y="1281"/>
                      </a:lnTo>
                      <a:lnTo>
                        <a:pt x="956" y="1282"/>
                      </a:lnTo>
                      <a:lnTo>
                        <a:pt x="956" y="1283"/>
                      </a:lnTo>
                      <a:lnTo>
                        <a:pt x="957" y="1283"/>
                      </a:lnTo>
                      <a:lnTo>
                        <a:pt x="957" y="1283"/>
                      </a:lnTo>
                      <a:lnTo>
                        <a:pt x="957" y="1284"/>
                      </a:lnTo>
                      <a:lnTo>
                        <a:pt x="956" y="1284"/>
                      </a:lnTo>
                      <a:lnTo>
                        <a:pt x="956" y="1285"/>
                      </a:lnTo>
                      <a:lnTo>
                        <a:pt x="956" y="1285"/>
                      </a:lnTo>
                      <a:lnTo>
                        <a:pt x="956" y="1285"/>
                      </a:lnTo>
                      <a:lnTo>
                        <a:pt x="956" y="1286"/>
                      </a:lnTo>
                      <a:lnTo>
                        <a:pt x="956" y="1286"/>
                      </a:lnTo>
                      <a:lnTo>
                        <a:pt x="956" y="1287"/>
                      </a:lnTo>
                      <a:lnTo>
                        <a:pt x="956" y="1287"/>
                      </a:lnTo>
                      <a:lnTo>
                        <a:pt x="956" y="1287"/>
                      </a:lnTo>
                      <a:lnTo>
                        <a:pt x="956" y="1287"/>
                      </a:lnTo>
                      <a:lnTo>
                        <a:pt x="955" y="1287"/>
                      </a:lnTo>
                      <a:lnTo>
                        <a:pt x="955" y="1287"/>
                      </a:lnTo>
                      <a:lnTo>
                        <a:pt x="954" y="1287"/>
                      </a:lnTo>
                      <a:lnTo>
                        <a:pt x="955" y="1288"/>
                      </a:lnTo>
                      <a:lnTo>
                        <a:pt x="954" y="1288"/>
                      </a:lnTo>
                      <a:lnTo>
                        <a:pt x="954" y="1289"/>
                      </a:lnTo>
                      <a:lnTo>
                        <a:pt x="954" y="1289"/>
                      </a:lnTo>
                      <a:lnTo>
                        <a:pt x="955" y="1289"/>
                      </a:lnTo>
                      <a:lnTo>
                        <a:pt x="955" y="1289"/>
                      </a:lnTo>
                      <a:lnTo>
                        <a:pt x="956" y="1289"/>
                      </a:lnTo>
                      <a:lnTo>
                        <a:pt x="956" y="1288"/>
                      </a:lnTo>
                      <a:lnTo>
                        <a:pt x="956" y="1289"/>
                      </a:lnTo>
                      <a:lnTo>
                        <a:pt x="957" y="1289"/>
                      </a:lnTo>
                      <a:lnTo>
                        <a:pt x="957" y="1289"/>
                      </a:lnTo>
                      <a:lnTo>
                        <a:pt x="957" y="1290"/>
                      </a:lnTo>
                      <a:lnTo>
                        <a:pt x="956" y="1290"/>
                      </a:lnTo>
                      <a:lnTo>
                        <a:pt x="956" y="1291"/>
                      </a:lnTo>
                      <a:lnTo>
                        <a:pt x="956" y="1292"/>
                      </a:lnTo>
                      <a:lnTo>
                        <a:pt x="957" y="1292"/>
                      </a:lnTo>
                      <a:lnTo>
                        <a:pt x="957" y="1291"/>
                      </a:lnTo>
                      <a:lnTo>
                        <a:pt x="958" y="1291"/>
                      </a:lnTo>
                      <a:lnTo>
                        <a:pt x="958" y="1290"/>
                      </a:lnTo>
                      <a:lnTo>
                        <a:pt x="958" y="1290"/>
                      </a:lnTo>
                      <a:lnTo>
                        <a:pt x="959" y="1290"/>
                      </a:lnTo>
                      <a:lnTo>
                        <a:pt x="959" y="1291"/>
                      </a:lnTo>
                      <a:lnTo>
                        <a:pt x="958" y="1292"/>
                      </a:lnTo>
                      <a:lnTo>
                        <a:pt x="958" y="1292"/>
                      </a:lnTo>
                      <a:lnTo>
                        <a:pt x="958" y="1293"/>
                      </a:lnTo>
                      <a:lnTo>
                        <a:pt x="959" y="1293"/>
                      </a:lnTo>
                      <a:lnTo>
                        <a:pt x="959" y="1294"/>
                      </a:lnTo>
                      <a:lnTo>
                        <a:pt x="959" y="1294"/>
                      </a:lnTo>
                      <a:lnTo>
                        <a:pt x="958" y="1294"/>
                      </a:lnTo>
                      <a:lnTo>
                        <a:pt x="958" y="1295"/>
                      </a:lnTo>
                      <a:lnTo>
                        <a:pt x="958" y="1296"/>
                      </a:lnTo>
                      <a:lnTo>
                        <a:pt x="959" y="1296"/>
                      </a:lnTo>
                      <a:lnTo>
                        <a:pt x="959" y="1296"/>
                      </a:lnTo>
                      <a:lnTo>
                        <a:pt x="959" y="1297"/>
                      </a:lnTo>
                      <a:lnTo>
                        <a:pt x="959" y="1298"/>
                      </a:lnTo>
                      <a:lnTo>
                        <a:pt x="959" y="1298"/>
                      </a:lnTo>
                      <a:lnTo>
                        <a:pt x="958" y="1298"/>
                      </a:lnTo>
                      <a:lnTo>
                        <a:pt x="958" y="1299"/>
                      </a:lnTo>
                      <a:lnTo>
                        <a:pt x="958" y="1300"/>
                      </a:lnTo>
                      <a:lnTo>
                        <a:pt x="958" y="1300"/>
                      </a:lnTo>
                      <a:lnTo>
                        <a:pt x="959" y="1300"/>
                      </a:lnTo>
                      <a:lnTo>
                        <a:pt x="959" y="1301"/>
                      </a:lnTo>
                      <a:lnTo>
                        <a:pt x="960" y="1301"/>
                      </a:lnTo>
                      <a:lnTo>
                        <a:pt x="960" y="1302"/>
                      </a:lnTo>
                      <a:lnTo>
                        <a:pt x="960" y="1302"/>
                      </a:lnTo>
                      <a:lnTo>
                        <a:pt x="960" y="1302"/>
                      </a:lnTo>
                      <a:lnTo>
                        <a:pt x="961" y="1302"/>
                      </a:lnTo>
                      <a:lnTo>
                        <a:pt x="961" y="1303"/>
                      </a:lnTo>
                      <a:lnTo>
                        <a:pt x="962" y="1303"/>
                      </a:lnTo>
                      <a:lnTo>
                        <a:pt x="962" y="1304"/>
                      </a:lnTo>
                      <a:lnTo>
                        <a:pt x="962" y="1304"/>
                      </a:lnTo>
                      <a:lnTo>
                        <a:pt x="962" y="1305"/>
                      </a:lnTo>
                      <a:lnTo>
                        <a:pt x="962" y="1306"/>
                      </a:lnTo>
                      <a:lnTo>
                        <a:pt x="962" y="1306"/>
                      </a:lnTo>
                      <a:lnTo>
                        <a:pt x="962" y="1305"/>
                      </a:lnTo>
                      <a:lnTo>
                        <a:pt x="963" y="1305"/>
                      </a:lnTo>
                      <a:lnTo>
                        <a:pt x="964" y="1305"/>
                      </a:lnTo>
                      <a:lnTo>
                        <a:pt x="964" y="1305"/>
                      </a:lnTo>
                      <a:lnTo>
                        <a:pt x="964" y="1306"/>
                      </a:lnTo>
                      <a:lnTo>
                        <a:pt x="964" y="1306"/>
                      </a:lnTo>
                      <a:lnTo>
                        <a:pt x="964" y="1306"/>
                      </a:lnTo>
                      <a:lnTo>
                        <a:pt x="963" y="1306"/>
                      </a:lnTo>
                      <a:lnTo>
                        <a:pt x="963" y="1307"/>
                      </a:lnTo>
                      <a:lnTo>
                        <a:pt x="963" y="1308"/>
                      </a:lnTo>
                      <a:lnTo>
                        <a:pt x="964" y="1308"/>
                      </a:lnTo>
                      <a:lnTo>
                        <a:pt x="964" y="1308"/>
                      </a:lnTo>
                      <a:lnTo>
                        <a:pt x="964" y="1308"/>
                      </a:lnTo>
                      <a:lnTo>
                        <a:pt x="964" y="1309"/>
                      </a:lnTo>
                      <a:lnTo>
                        <a:pt x="964" y="1309"/>
                      </a:lnTo>
                      <a:lnTo>
                        <a:pt x="963" y="1309"/>
                      </a:lnTo>
                      <a:lnTo>
                        <a:pt x="963" y="1310"/>
                      </a:lnTo>
                      <a:lnTo>
                        <a:pt x="964" y="1310"/>
                      </a:lnTo>
                      <a:lnTo>
                        <a:pt x="964" y="1311"/>
                      </a:lnTo>
                      <a:lnTo>
                        <a:pt x="964" y="1312"/>
                      </a:lnTo>
                      <a:lnTo>
                        <a:pt x="964" y="1313"/>
                      </a:lnTo>
                      <a:lnTo>
                        <a:pt x="965" y="1313"/>
                      </a:lnTo>
                      <a:lnTo>
                        <a:pt x="966" y="1313"/>
                      </a:lnTo>
                      <a:lnTo>
                        <a:pt x="966" y="1313"/>
                      </a:lnTo>
                      <a:lnTo>
                        <a:pt x="967" y="1313"/>
                      </a:lnTo>
                      <a:lnTo>
                        <a:pt x="968" y="1313"/>
                      </a:lnTo>
                      <a:lnTo>
                        <a:pt x="968" y="1313"/>
                      </a:lnTo>
                      <a:lnTo>
                        <a:pt x="968" y="1313"/>
                      </a:lnTo>
                      <a:lnTo>
                        <a:pt x="968" y="1313"/>
                      </a:lnTo>
                      <a:lnTo>
                        <a:pt x="967" y="1314"/>
                      </a:lnTo>
                      <a:lnTo>
                        <a:pt x="966" y="1314"/>
                      </a:lnTo>
                      <a:lnTo>
                        <a:pt x="966" y="1315"/>
                      </a:lnTo>
                      <a:lnTo>
                        <a:pt x="967" y="1315"/>
                      </a:lnTo>
                      <a:lnTo>
                        <a:pt x="968" y="1315"/>
                      </a:lnTo>
                      <a:lnTo>
                        <a:pt x="968" y="1315"/>
                      </a:lnTo>
                      <a:lnTo>
                        <a:pt x="968" y="1316"/>
                      </a:lnTo>
                      <a:lnTo>
                        <a:pt x="969" y="1316"/>
                      </a:lnTo>
                      <a:lnTo>
                        <a:pt x="970" y="1316"/>
                      </a:lnTo>
                      <a:lnTo>
                        <a:pt x="971" y="1316"/>
                      </a:lnTo>
                      <a:lnTo>
                        <a:pt x="971" y="1317"/>
                      </a:lnTo>
                      <a:lnTo>
                        <a:pt x="971" y="1317"/>
                      </a:lnTo>
                      <a:lnTo>
                        <a:pt x="972" y="1317"/>
                      </a:lnTo>
                      <a:lnTo>
                        <a:pt x="973" y="1317"/>
                      </a:lnTo>
                      <a:lnTo>
                        <a:pt x="973" y="1317"/>
                      </a:lnTo>
                      <a:lnTo>
                        <a:pt x="973" y="1317"/>
                      </a:lnTo>
                      <a:lnTo>
                        <a:pt x="973" y="1318"/>
                      </a:lnTo>
                      <a:lnTo>
                        <a:pt x="973" y="1319"/>
                      </a:lnTo>
                      <a:lnTo>
                        <a:pt x="973" y="1319"/>
                      </a:lnTo>
                      <a:lnTo>
                        <a:pt x="973" y="1319"/>
                      </a:lnTo>
                      <a:lnTo>
                        <a:pt x="974" y="1319"/>
                      </a:lnTo>
                      <a:lnTo>
                        <a:pt x="975" y="1320"/>
                      </a:lnTo>
                      <a:lnTo>
                        <a:pt x="975" y="1320"/>
                      </a:lnTo>
                      <a:lnTo>
                        <a:pt x="975" y="1321"/>
                      </a:lnTo>
                      <a:lnTo>
                        <a:pt x="975" y="1321"/>
                      </a:lnTo>
                      <a:lnTo>
                        <a:pt x="975" y="1321"/>
                      </a:lnTo>
                      <a:lnTo>
                        <a:pt x="975" y="1321"/>
                      </a:lnTo>
                      <a:lnTo>
                        <a:pt x="976" y="1321"/>
                      </a:lnTo>
                      <a:lnTo>
                        <a:pt x="977" y="1321"/>
                      </a:lnTo>
                      <a:lnTo>
                        <a:pt x="977" y="1322"/>
                      </a:lnTo>
                      <a:lnTo>
                        <a:pt x="977" y="1323"/>
                      </a:lnTo>
                      <a:lnTo>
                        <a:pt x="977" y="1322"/>
                      </a:lnTo>
                      <a:lnTo>
                        <a:pt x="978" y="1322"/>
                      </a:lnTo>
                      <a:lnTo>
                        <a:pt x="978" y="1323"/>
                      </a:lnTo>
                      <a:lnTo>
                        <a:pt x="979" y="1323"/>
                      </a:lnTo>
                      <a:lnTo>
                        <a:pt x="979" y="1323"/>
                      </a:lnTo>
                      <a:lnTo>
                        <a:pt x="979" y="1324"/>
                      </a:lnTo>
                      <a:lnTo>
                        <a:pt x="979" y="1325"/>
                      </a:lnTo>
                      <a:lnTo>
                        <a:pt x="979" y="1325"/>
                      </a:lnTo>
                      <a:lnTo>
                        <a:pt x="979" y="1325"/>
                      </a:lnTo>
                      <a:lnTo>
                        <a:pt x="979" y="1325"/>
                      </a:lnTo>
                      <a:lnTo>
                        <a:pt x="979" y="1325"/>
                      </a:lnTo>
                      <a:lnTo>
                        <a:pt x="979" y="1326"/>
                      </a:lnTo>
                      <a:lnTo>
                        <a:pt x="979" y="1326"/>
                      </a:lnTo>
                      <a:lnTo>
                        <a:pt x="979" y="1325"/>
                      </a:lnTo>
                      <a:lnTo>
                        <a:pt x="978" y="1325"/>
                      </a:lnTo>
                      <a:lnTo>
                        <a:pt x="977" y="1325"/>
                      </a:lnTo>
                      <a:lnTo>
                        <a:pt x="977" y="1325"/>
                      </a:lnTo>
                      <a:lnTo>
                        <a:pt x="976" y="1325"/>
                      </a:lnTo>
                      <a:lnTo>
                        <a:pt x="975" y="1326"/>
                      </a:lnTo>
                      <a:lnTo>
                        <a:pt x="975" y="1327"/>
                      </a:lnTo>
                      <a:lnTo>
                        <a:pt x="976" y="1327"/>
                      </a:lnTo>
                      <a:lnTo>
                        <a:pt x="976" y="1326"/>
                      </a:lnTo>
                      <a:lnTo>
                        <a:pt x="977" y="1326"/>
                      </a:lnTo>
                      <a:lnTo>
                        <a:pt x="977" y="1326"/>
                      </a:lnTo>
                      <a:lnTo>
                        <a:pt x="978" y="1326"/>
                      </a:lnTo>
                      <a:lnTo>
                        <a:pt x="978" y="1327"/>
                      </a:lnTo>
                      <a:lnTo>
                        <a:pt x="977" y="1327"/>
                      </a:lnTo>
                      <a:lnTo>
                        <a:pt x="977" y="1327"/>
                      </a:lnTo>
                      <a:lnTo>
                        <a:pt x="977" y="1327"/>
                      </a:lnTo>
                      <a:lnTo>
                        <a:pt x="976" y="1328"/>
                      </a:lnTo>
                      <a:lnTo>
                        <a:pt x="975" y="1328"/>
                      </a:lnTo>
                      <a:lnTo>
                        <a:pt x="975" y="1329"/>
                      </a:lnTo>
                      <a:lnTo>
                        <a:pt x="975" y="1329"/>
                      </a:lnTo>
                      <a:lnTo>
                        <a:pt x="975" y="1329"/>
                      </a:lnTo>
                      <a:lnTo>
                        <a:pt x="975" y="1330"/>
                      </a:lnTo>
                      <a:lnTo>
                        <a:pt x="974" y="1330"/>
                      </a:lnTo>
                      <a:lnTo>
                        <a:pt x="973" y="1330"/>
                      </a:lnTo>
                      <a:lnTo>
                        <a:pt x="973" y="1331"/>
                      </a:lnTo>
                      <a:lnTo>
                        <a:pt x="974" y="1331"/>
                      </a:lnTo>
                      <a:lnTo>
                        <a:pt x="974" y="1332"/>
                      </a:lnTo>
                      <a:lnTo>
                        <a:pt x="974" y="1332"/>
                      </a:lnTo>
                      <a:lnTo>
                        <a:pt x="975" y="1332"/>
                      </a:lnTo>
                      <a:lnTo>
                        <a:pt x="975" y="1333"/>
                      </a:lnTo>
                      <a:lnTo>
                        <a:pt x="975" y="1333"/>
                      </a:lnTo>
                      <a:lnTo>
                        <a:pt x="975" y="1334"/>
                      </a:lnTo>
                      <a:lnTo>
                        <a:pt x="975" y="1334"/>
                      </a:lnTo>
                      <a:lnTo>
                        <a:pt x="976" y="1334"/>
                      </a:lnTo>
                      <a:lnTo>
                        <a:pt x="976" y="1335"/>
                      </a:lnTo>
                      <a:lnTo>
                        <a:pt x="977" y="1335"/>
                      </a:lnTo>
                      <a:lnTo>
                        <a:pt x="977" y="1336"/>
                      </a:lnTo>
                      <a:lnTo>
                        <a:pt x="977" y="1336"/>
                      </a:lnTo>
                      <a:lnTo>
                        <a:pt x="977" y="1335"/>
                      </a:lnTo>
                      <a:lnTo>
                        <a:pt x="977" y="1335"/>
                      </a:lnTo>
                      <a:lnTo>
                        <a:pt x="977" y="1335"/>
                      </a:lnTo>
                      <a:lnTo>
                        <a:pt x="978" y="1335"/>
                      </a:lnTo>
                      <a:lnTo>
                        <a:pt x="979" y="1335"/>
                      </a:lnTo>
                      <a:lnTo>
                        <a:pt x="979" y="1335"/>
                      </a:lnTo>
                      <a:lnTo>
                        <a:pt x="980" y="1335"/>
                      </a:lnTo>
                      <a:lnTo>
                        <a:pt x="980" y="1336"/>
                      </a:lnTo>
                      <a:lnTo>
                        <a:pt x="981" y="1336"/>
                      </a:lnTo>
                      <a:lnTo>
                        <a:pt x="981" y="1335"/>
                      </a:lnTo>
                      <a:lnTo>
                        <a:pt x="981" y="1335"/>
                      </a:lnTo>
                      <a:lnTo>
                        <a:pt x="982" y="1336"/>
                      </a:lnTo>
                      <a:lnTo>
                        <a:pt x="982" y="1336"/>
                      </a:lnTo>
                      <a:lnTo>
                        <a:pt x="982" y="1337"/>
                      </a:lnTo>
                      <a:lnTo>
                        <a:pt x="981" y="1337"/>
                      </a:lnTo>
                      <a:lnTo>
                        <a:pt x="981" y="1338"/>
                      </a:lnTo>
                      <a:lnTo>
                        <a:pt x="981" y="1338"/>
                      </a:lnTo>
                      <a:lnTo>
                        <a:pt x="981" y="1339"/>
                      </a:lnTo>
                      <a:lnTo>
                        <a:pt x="982" y="1339"/>
                      </a:lnTo>
                      <a:lnTo>
                        <a:pt x="982" y="1338"/>
                      </a:lnTo>
                      <a:lnTo>
                        <a:pt x="983" y="1338"/>
                      </a:lnTo>
                      <a:lnTo>
                        <a:pt x="983" y="1339"/>
                      </a:lnTo>
                      <a:lnTo>
                        <a:pt x="983" y="1339"/>
                      </a:lnTo>
                      <a:lnTo>
                        <a:pt x="984" y="1340"/>
                      </a:lnTo>
                      <a:lnTo>
                        <a:pt x="984" y="1340"/>
                      </a:lnTo>
                      <a:lnTo>
                        <a:pt x="985" y="1340"/>
                      </a:lnTo>
                      <a:lnTo>
                        <a:pt x="985" y="1341"/>
                      </a:lnTo>
                      <a:lnTo>
                        <a:pt x="985" y="1342"/>
                      </a:lnTo>
                      <a:lnTo>
                        <a:pt x="985" y="1342"/>
                      </a:lnTo>
                      <a:lnTo>
                        <a:pt x="985" y="1343"/>
                      </a:lnTo>
                      <a:lnTo>
                        <a:pt x="985" y="1344"/>
                      </a:lnTo>
                      <a:lnTo>
                        <a:pt x="985" y="1344"/>
                      </a:lnTo>
                      <a:lnTo>
                        <a:pt x="985" y="1344"/>
                      </a:lnTo>
                      <a:lnTo>
                        <a:pt x="985" y="1344"/>
                      </a:lnTo>
                      <a:lnTo>
                        <a:pt x="986" y="1344"/>
                      </a:lnTo>
                      <a:lnTo>
                        <a:pt x="986" y="1343"/>
                      </a:lnTo>
                      <a:lnTo>
                        <a:pt x="985" y="1342"/>
                      </a:lnTo>
                      <a:lnTo>
                        <a:pt x="986" y="1342"/>
                      </a:lnTo>
                      <a:lnTo>
                        <a:pt x="986" y="1342"/>
                      </a:lnTo>
                      <a:lnTo>
                        <a:pt x="986" y="1341"/>
                      </a:lnTo>
                      <a:lnTo>
                        <a:pt x="986" y="1340"/>
                      </a:lnTo>
                      <a:lnTo>
                        <a:pt x="987" y="1340"/>
                      </a:lnTo>
                      <a:lnTo>
                        <a:pt x="987" y="1340"/>
                      </a:lnTo>
                      <a:lnTo>
                        <a:pt x="987" y="1340"/>
                      </a:lnTo>
                      <a:lnTo>
                        <a:pt x="987" y="1340"/>
                      </a:lnTo>
                      <a:lnTo>
                        <a:pt x="987" y="1341"/>
                      </a:lnTo>
                      <a:lnTo>
                        <a:pt x="987" y="1341"/>
                      </a:lnTo>
                      <a:lnTo>
                        <a:pt x="987" y="1342"/>
                      </a:lnTo>
                      <a:lnTo>
                        <a:pt x="987" y="1342"/>
                      </a:lnTo>
                      <a:lnTo>
                        <a:pt x="987" y="1342"/>
                      </a:lnTo>
                      <a:lnTo>
                        <a:pt x="988" y="1342"/>
                      </a:lnTo>
                      <a:lnTo>
                        <a:pt x="988" y="1343"/>
                      </a:lnTo>
                      <a:lnTo>
                        <a:pt x="989" y="1343"/>
                      </a:lnTo>
                      <a:lnTo>
                        <a:pt x="990" y="1343"/>
                      </a:lnTo>
                      <a:lnTo>
                        <a:pt x="990" y="1343"/>
                      </a:lnTo>
                      <a:lnTo>
                        <a:pt x="990" y="1343"/>
                      </a:lnTo>
                      <a:lnTo>
                        <a:pt x="990" y="1342"/>
                      </a:lnTo>
                      <a:lnTo>
                        <a:pt x="990" y="1342"/>
                      </a:lnTo>
                      <a:lnTo>
                        <a:pt x="989" y="1342"/>
                      </a:lnTo>
                      <a:lnTo>
                        <a:pt x="990" y="1342"/>
                      </a:lnTo>
                      <a:lnTo>
                        <a:pt x="990" y="1341"/>
                      </a:lnTo>
                      <a:lnTo>
                        <a:pt x="990" y="1340"/>
                      </a:lnTo>
                      <a:lnTo>
                        <a:pt x="989" y="1340"/>
                      </a:lnTo>
                      <a:lnTo>
                        <a:pt x="989" y="1340"/>
                      </a:lnTo>
                      <a:lnTo>
                        <a:pt x="990" y="1340"/>
                      </a:lnTo>
                      <a:lnTo>
                        <a:pt x="990" y="1340"/>
                      </a:lnTo>
                      <a:lnTo>
                        <a:pt x="990" y="1339"/>
                      </a:lnTo>
                      <a:lnTo>
                        <a:pt x="991" y="1339"/>
                      </a:lnTo>
                      <a:lnTo>
                        <a:pt x="991" y="1340"/>
                      </a:lnTo>
                      <a:lnTo>
                        <a:pt x="991" y="1340"/>
                      </a:lnTo>
                      <a:lnTo>
                        <a:pt x="992" y="1340"/>
                      </a:lnTo>
                      <a:lnTo>
                        <a:pt x="992" y="1341"/>
                      </a:lnTo>
                      <a:lnTo>
                        <a:pt x="992" y="1341"/>
                      </a:lnTo>
                      <a:lnTo>
                        <a:pt x="993" y="1341"/>
                      </a:lnTo>
                      <a:lnTo>
                        <a:pt x="993" y="1342"/>
                      </a:lnTo>
                      <a:lnTo>
                        <a:pt x="992" y="1342"/>
                      </a:lnTo>
                      <a:lnTo>
                        <a:pt x="992" y="1342"/>
                      </a:lnTo>
                      <a:lnTo>
                        <a:pt x="992" y="1342"/>
                      </a:lnTo>
                      <a:lnTo>
                        <a:pt x="992" y="1342"/>
                      </a:lnTo>
                      <a:lnTo>
                        <a:pt x="993" y="1342"/>
                      </a:lnTo>
                      <a:lnTo>
                        <a:pt x="993" y="1343"/>
                      </a:lnTo>
                      <a:lnTo>
                        <a:pt x="994" y="1343"/>
                      </a:lnTo>
                      <a:lnTo>
                        <a:pt x="994" y="1344"/>
                      </a:lnTo>
                      <a:lnTo>
                        <a:pt x="994" y="1344"/>
                      </a:lnTo>
                      <a:lnTo>
                        <a:pt x="994" y="1345"/>
                      </a:lnTo>
                      <a:lnTo>
                        <a:pt x="994" y="1345"/>
                      </a:lnTo>
                      <a:lnTo>
                        <a:pt x="994" y="1346"/>
                      </a:lnTo>
                      <a:lnTo>
                        <a:pt x="995" y="1346"/>
                      </a:lnTo>
                      <a:lnTo>
                        <a:pt x="995" y="1346"/>
                      </a:lnTo>
                      <a:lnTo>
                        <a:pt x="995" y="1347"/>
                      </a:lnTo>
                      <a:lnTo>
                        <a:pt x="995" y="1348"/>
                      </a:lnTo>
                      <a:lnTo>
                        <a:pt x="995" y="1348"/>
                      </a:lnTo>
                      <a:lnTo>
                        <a:pt x="996" y="1348"/>
                      </a:lnTo>
                      <a:lnTo>
                        <a:pt x="996" y="1348"/>
                      </a:lnTo>
                      <a:lnTo>
                        <a:pt x="997" y="1348"/>
                      </a:lnTo>
                      <a:lnTo>
                        <a:pt x="997" y="1348"/>
                      </a:lnTo>
                      <a:lnTo>
                        <a:pt x="998" y="1348"/>
                      </a:lnTo>
                      <a:lnTo>
                        <a:pt x="998" y="1347"/>
                      </a:lnTo>
                      <a:lnTo>
                        <a:pt x="998" y="1347"/>
                      </a:lnTo>
                      <a:lnTo>
                        <a:pt x="999" y="1347"/>
                      </a:lnTo>
                      <a:lnTo>
                        <a:pt x="999" y="1348"/>
                      </a:lnTo>
                      <a:lnTo>
                        <a:pt x="999" y="1348"/>
                      </a:lnTo>
                      <a:lnTo>
                        <a:pt x="999" y="1349"/>
                      </a:lnTo>
                      <a:lnTo>
                        <a:pt x="999" y="1350"/>
                      </a:lnTo>
                      <a:lnTo>
                        <a:pt x="1000" y="1350"/>
                      </a:lnTo>
                      <a:lnTo>
                        <a:pt x="1000" y="1350"/>
                      </a:lnTo>
                      <a:lnTo>
                        <a:pt x="1000" y="1349"/>
                      </a:lnTo>
                      <a:lnTo>
                        <a:pt x="1000" y="1348"/>
                      </a:lnTo>
                      <a:lnTo>
                        <a:pt x="1000" y="1348"/>
                      </a:lnTo>
                      <a:lnTo>
                        <a:pt x="1001" y="1349"/>
                      </a:lnTo>
                      <a:lnTo>
                        <a:pt x="1002" y="1349"/>
                      </a:lnTo>
                      <a:lnTo>
                        <a:pt x="1002" y="1350"/>
                      </a:lnTo>
                      <a:lnTo>
                        <a:pt x="1003" y="1350"/>
                      </a:lnTo>
                      <a:lnTo>
                        <a:pt x="1004" y="1351"/>
                      </a:lnTo>
                      <a:lnTo>
                        <a:pt x="1003" y="1352"/>
                      </a:lnTo>
                      <a:lnTo>
                        <a:pt x="1002" y="1352"/>
                      </a:lnTo>
                      <a:lnTo>
                        <a:pt x="1002" y="1353"/>
                      </a:lnTo>
                      <a:lnTo>
                        <a:pt x="1002" y="1353"/>
                      </a:lnTo>
                      <a:lnTo>
                        <a:pt x="1001" y="1353"/>
                      </a:lnTo>
                      <a:lnTo>
                        <a:pt x="1001" y="1354"/>
                      </a:lnTo>
                      <a:lnTo>
                        <a:pt x="1002" y="1355"/>
                      </a:lnTo>
                      <a:lnTo>
                        <a:pt x="1002" y="1355"/>
                      </a:lnTo>
                      <a:lnTo>
                        <a:pt x="1003" y="1355"/>
                      </a:lnTo>
                      <a:lnTo>
                        <a:pt x="1003" y="1355"/>
                      </a:lnTo>
                      <a:lnTo>
                        <a:pt x="1004" y="1355"/>
                      </a:lnTo>
                      <a:lnTo>
                        <a:pt x="1004" y="1356"/>
                      </a:lnTo>
                      <a:lnTo>
                        <a:pt x="1003" y="1356"/>
                      </a:lnTo>
                      <a:lnTo>
                        <a:pt x="1002" y="1357"/>
                      </a:lnTo>
                      <a:lnTo>
                        <a:pt x="1002" y="1357"/>
                      </a:lnTo>
                      <a:lnTo>
                        <a:pt x="1001" y="1357"/>
                      </a:lnTo>
                      <a:lnTo>
                        <a:pt x="1001" y="1357"/>
                      </a:lnTo>
                      <a:lnTo>
                        <a:pt x="1001" y="1358"/>
                      </a:lnTo>
                      <a:lnTo>
                        <a:pt x="1002" y="1358"/>
                      </a:lnTo>
                      <a:lnTo>
                        <a:pt x="1002" y="1359"/>
                      </a:lnTo>
                      <a:lnTo>
                        <a:pt x="1002" y="1359"/>
                      </a:lnTo>
                      <a:lnTo>
                        <a:pt x="1002" y="1359"/>
                      </a:lnTo>
                      <a:lnTo>
                        <a:pt x="1003" y="1359"/>
                      </a:lnTo>
                      <a:lnTo>
                        <a:pt x="1003" y="1360"/>
                      </a:lnTo>
                      <a:lnTo>
                        <a:pt x="1003" y="1361"/>
                      </a:lnTo>
                      <a:lnTo>
                        <a:pt x="1003" y="1361"/>
                      </a:lnTo>
                      <a:lnTo>
                        <a:pt x="1003" y="1361"/>
                      </a:lnTo>
                      <a:lnTo>
                        <a:pt x="1002" y="1361"/>
                      </a:lnTo>
                      <a:lnTo>
                        <a:pt x="1002" y="1360"/>
                      </a:lnTo>
                      <a:lnTo>
                        <a:pt x="1002" y="1360"/>
                      </a:lnTo>
                      <a:lnTo>
                        <a:pt x="1001" y="1360"/>
                      </a:lnTo>
                      <a:lnTo>
                        <a:pt x="1001" y="1361"/>
                      </a:lnTo>
                      <a:lnTo>
                        <a:pt x="1001" y="1361"/>
                      </a:lnTo>
                      <a:lnTo>
                        <a:pt x="1001" y="1362"/>
                      </a:lnTo>
                      <a:lnTo>
                        <a:pt x="1001" y="1363"/>
                      </a:lnTo>
                      <a:lnTo>
                        <a:pt x="1001" y="1363"/>
                      </a:lnTo>
                      <a:lnTo>
                        <a:pt x="1001" y="1364"/>
                      </a:lnTo>
                      <a:lnTo>
                        <a:pt x="1000" y="1364"/>
                      </a:lnTo>
                      <a:lnTo>
                        <a:pt x="1000" y="1365"/>
                      </a:lnTo>
                      <a:lnTo>
                        <a:pt x="1000" y="1365"/>
                      </a:lnTo>
                      <a:lnTo>
                        <a:pt x="1000" y="1366"/>
                      </a:lnTo>
                      <a:lnTo>
                        <a:pt x="1001" y="1366"/>
                      </a:lnTo>
                      <a:lnTo>
                        <a:pt x="1001" y="1367"/>
                      </a:lnTo>
                      <a:lnTo>
                        <a:pt x="1001" y="1367"/>
                      </a:lnTo>
                      <a:lnTo>
                        <a:pt x="1002" y="1367"/>
                      </a:lnTo>
                      <a:lnTo>
                        <a:pt x="1002" y="1368"/>
                      </a:lnTo>
                      <a:lnTo>
                        <a:pt x="1002" y="1368"/>
                      </a:lnTo>
                      <a:lnTo>
                        <a:pt x="1002" y="1369"/>
                      </a:lnTo>
                      <a:lnTo>
                        <a:pt x="1002" y="1369"/>
                      </a:lnTo>
                      <a:lnTo>
                        <a:pt x="1001" y="1369"/>
                      </a:lnTo>
                      <a:lnTo>
                        <a:pt x="1001" y="1369"/>
                      </a:lnTo>
                      <a:lnTo>
                        <a:pt x="1000" y="1370"/>
                      </a:lnTo>
                      <a:lnTo>
                        <a:pt x="1000" y="1371"/>
                      </a:lnTo>
                      <a:lnTo>
                        <a:pt x="1000" y="1372"/>
                      </a:lnTo>
                      <a:lnTo>
                        <a:pt x="1000" y="1372"/>
                      </a:lnTo>
                      <a:lnTo>
                        <a:pt x="1000" y="1373"/>
                      </a:lnTo>
                      <a:lnTo>
                        <a:pt x="1001" y="1373"/>
                      </a:lnTo>
                      <a:lnTo>
                        <a:pt x="1001" y="1372"/>
                      </a:lnTo>
                      <a:lnTo>
                        <a:pt x="1001" y="1372"/>
                      </a:lnTo>
                      <a:lnTo>
                        <a:pt x="1001" y="1371"/>
                      </a:lnTo>
                      <a:lnTo>
                        <a:pt x="1002" y="1371"/>
                      </a:lnTo>
                      <a:lnTo>
                        <a:pt x="1002" y="1371"/>
                      </a:lnTo>
                      <a:lnTo>
                        <a:pt x="1003" y="1371"/>
                      </a:lnTo>
                      <a:lnTo>
                        <a:pt x="1003" y="1372"/>
                      </a:lnTo>
                      <a:lnTo>
                        <a:pt x="1004" y="1372"/>
                      </a:lnTo>
                      <a:lnTo>
                        <a:pt x="1004" y="1372"/>
                      </a:lnTo>
                      <a:lnTo>
                        <a:pt x="1004" y="1373"/>
                      </a:lnTo>
                      <a:lnTo>
                        <a:pt x="1004" y="1373"/>
                      </a:lnTo>
                      <a:lnTo>
                        <a:pt x="1004" y="1372"/>
                      </a:lnTo>
                      <a:lnTo>
                        <a:pt x="1004" y="1372"/>
                      </a:lnTo>
                      <a:lnTo>
                        <a:pt x="1005" y="1372"/>
                      </a:lnTo>
                      <a:lnTo>
                        <a:pt x="1005" y="1371"/>
                      </a:lnTo>
                      <a:lnTo>
                        <a:pt x="1005" y="1370"/>
                      </a:lnTo>
                      <a:lnTo>
                        <a:pt x="1006" y="1370"/>
                      </a:lnTo>
                      <a:lnTo>
                        <a:pt x="1006" y="1371"/>
                      </a:lnTo>
                      <a:lnTo>
                        <a:pt x="1006" y="1372"/>
                      </a:lnTo>
                      <a:lnTo>
                        <a:pt x="1006" y="1372"/>
                      </a:lnTo>
                      <a:lnTo>
                        <a:pt x="1006" y="1373"/>
                      </a:lnTo>
                      <a:lnTo>
                        <a:pt x="1007" y="1373"/>
                      </a:lnTo>
                      <a:lnTo>
                        <a:pt x="1008" y="1373"/>
                      </a:lnTo>
                      <a:lnTo>
                        <a:pt x="1008" y="1372"/>
                      </a:lnTo>
                      <a:lnTo>
                        <a:pt x="1009" y="1372"/>
                      </a:lnTo>
                      <a:lnTo>
                        <a:pt x="1009" y="1372"/>
                      </a:lnTo>
                      <a:lnTo>
                        <a:pt x="1009" y="1372"/>
                      </a:lnTo>
                      <a:lnTo>
                        <a:pt x="1009" y="1372"/>
                      </a:lnTo>
                      <a:lnTo>
                        <a:pt x="1010" y="1372"/>
                      </a:lnTo>
                      <a:lnTo>
                        <a:pt x="1011" y="1373"/>
                      </a:lnTo>
                      <a:lnTo>
                        <a:pt x="1011" y="1374"/>
                      </a:lnTo>
                      <a:lnTo>
                        <a:pt x="1010" y="1374"/>
                      </a:lnTo>
                      <a:lnTo>
                        <a:pt x="1009" y="1374"/>
                      </a:lnTo>
                      <a:lnTo>
                        <a:pt x="1010" y="1374"/>
                      </a:lnTo>
                      <a:lnTo>
                        <a:pt x="1011" y="1374"/>
                      </a:lnTo>
                      <a:lnTo>
                        <a:pt x="1011" y="1375"/>
                      </a:lnTo>
                      <a:lnTo>
                        <a:pt x="1011" y="1375"/>
                      </a:lnTo>
                      <a:lnTo>
                        <a:pt x="1012" y="1376"/>
                      </a:lnTo>
                      <a:lnTo>
                        <a:pt x="1013" y="1376"/>
                      </a:lnTo>
                      <a:lnTo>
                        <a:pt x="1013" y="1376"/>
                      </a:lnTo>
                      <a:lnTo>
                        <a:pt x="1013" y="1376"/>
                      </a:lnTo>
                      <a:lnTo>
                        <a:pt x="1013" y="1377"/>
                      </a:lnTo>
                      <a:lnTo>
                        <a:pt x="1012" y="1377"/>
                      </a:lnTo>
                      <a:lnTo>
                        <a:pt x="1012" y="1378"/>
                      </a:lnTo>
                      <a:lnTo>
                        <a:pt x="1013" y="1378"/>
                      </a:lnTo>
                      <a:lnTo>
                        <a:pt x="1013" y="1378"/>
                      </a:lnTo>
                      <a:lnTo>
                        <a:pt x="1013" y="1379"/>
                      </a:lnTo>
                      <a:lnTo>
                        <a:pt x="1012" y="1379"/>
                      </a:lnTo>
                      <a:lnTo>
                        <a:pt x="1012" y="1380"/>
                      </a:lnTo>
                      <a:lnTo>
                        <a:pt x="1012" y="1380"/>
                      </a:lnTo>
                      <a:lnTo>
                        <a:pt x="1013" y="1380"/>
                      </a:lnTo>
                      <a:lnTo>
                        <a:pt x="1013" y="1380"/>
                      </a:lnTo>
                      <a:lnTo>
                        <a:pt x="1014" y="1380"/>
                      </a:lnTo>
                      <a:lnTo>
                        <a:pt x="1014" y="1380"/>
                      </a:lnTo>
                      <a:lnTo>
                        <a:pt x="1015" y="1380"/>
                      </a:lnTo>
                      <a:lnTo>
                        <a:pt x="1015" y="1380"/>
                      </a:lnTo>
                      <a:lnTo>
                        <a:pt x="1015" y="1381"/>
                      </a:lnTo>
                      <a:lnTo>
                        <a:pt x="1015" y="1382"/>
                      </a:lnTo>
                      <a:lnTo>
                        <a:pt x="1015" y="1382"/>
                      </a:lnTo>
                      <a:lnTo>
                        <a:pt x="1016" y="1382"/>
                      </a:lnTo>
                      <a:lnTo>
                        <a:pt x="1016" y="1383"/>
                      </a:lnTo>
                      <a:lnTo>
                        <a:pt x="1015" y="1383"/>
                      </a:lnTo>
                      <a:lnTo>
                        <a:pt x="1015" y="1383"/>
                      </a:lnTo>
                      <a:lnTo>
                        <a:pt x="1014" y="1383"/>
                      </a:lnTo>
                      <a:lnTo>
                        <a:pt x="1013" y="1384"/>
                      </a:lnTo>
                      <a:lnTo>
                        <a:pt x="1013" y="1384"/>
                      </a:lnTo>
                      <a:lnTo>
                        <a:pt x="1014" y="1384"/>
                      </a:lnTo>
                      <a:lnTo>
                        <a:pt x="1014" y="1385"/>
                      </a:lnTo>
                      <a:lnTo>
                        <a:pt x="1014" y="1384"/>
                      </a:lnTo>
                      <a:lnTo>
                        <a:pt x="1015" y="1384"/>
                      </a:lnTo>
                      <a:lnTo>
                        <a:pt x="1015" y="1384"/>
                      </a:lnTo>
                      <a:lnTo>
                        <a:pt x="1016" y="1384"/>
                      </a:lnTo>
                      <a:lnTo>
                        <a:pt x="1016" y="1385"/>
                      </a:lnTo>
                      <a:lnTo>
                        <a:pt x="1016" y="1386"/>
                      </a:lnTo>
                      <a:lnTo>
                        <a:pt x="1016" y="1386"/>
                      </a:lnTo>
                      <a:lnTo>
                        <a:pt x="1017" y="1386"/>
                      </a:lnTo>
                      <a:lnTo>
                        <a:pt x="1017" y="1387"/>
                      </a:lnTo>
                      <a:lnTo>
                        <a:pt x="1017" y="1387"/>
                      </a:lnTo>
                      <a:lnTo>
                        <a:pt x="1018" y="1388"/>
                      </a:lnTo>
                      <a:lnTo>
                        <a:pt x="1019" y="1388"/>
                      </a:lnTo>
                      <a:lnTo>
                        <a:pt x="1019" y="1387"/>
                      </a:lnTo>
                      <a:lnTo>
                        <a:pt x="1019" y="1386"/>
                      </a:lnTo>
                      <a:lnTo>
                        <a:pt x="1019" y="1386"/>
                      </a:lnTo>
                      <a:lnTo>
                        <a:pt x="1019" y="1386"/>
                      </a:lnTo>
                      <a:lnTo>
                        <a:pt x="1020" y="1386"/>
                      </a:lnTo>
                      <a:lnTo>
                        <a:pt x="1021" y="1386"/>
                      </a:lnTo>
                      <a:lnTo>
                        <a:pt x="1021" y="1386"/>
                      </a:lnTo>
                      <a:lnTo>
                        <a:pt x="1021" y="1387"/>
                      </a:lnTo>
                      <a:lnTo>
                        <a:pt x="1022" y="1387"/>
                      </a:lnTo>
                      <a:lnTo>
                        <a:pt x="1023" y="1387"/>
                      </a:lnTo>
                      <a:lnTo>
                        <a:pt x="1023" y="1387"/>
                      </a:lnTo>
                      <a:lnTo>
                        <a:pt x="1024" y="1388"/>
                      </a:lnTo>
                      <a:lnTo>
                        <a:pt x="1025" y="1388"/>
                      </a:lnTo>
                      <a:lnTo>
                        <a:pt x="1025" y="1387"/>
                      </a:lnTo>
                      <a:lnTo>
                        <a:pt x="1025" y="1386"/>
                      </a:lnTo>
                      <a:lnTo>
                        <a:pt x="1024" y="1386"/>
                      </a:lnTo>
                      <a:lnTo>
                        <a:pt x="1024" y="1386"/>
                      </a:lnTo>
                      <a:lnTo>
                        <a:pt x="1024" y="1385"/>
                      </a:lnTo>
                      <a:lnTo>
                        <a:pt x="1025" y="1385"/>
                      </a:lnTo>
                      <a:lnTo>
                        <a:pt x="1025" y="1386"/>
                      </a:lnTo>
                      <a:lnTo>
                        <a:pt x="1025" y="1386"/>
                      </a:lnTo>
                      <a:lnTo>
                        <a:pt x="1026" y="1386"/>
                      </a:lnTo>
                      <a:lnTo>
                        <a:pt x="1027" y="1386"/>
                      </a:lnTo>
                      <a:lnTo>
                        <a:pt x="1028" y="1386"/>
                      </a:lnTo>
                      <a:lnTo>
                        <a:pt x="1028" y="1386"/>
                      </a:lnTo>
                      <a:lnTo>
                        <a:pt x="1029" y="1386"/>
                      </a:lnTo>
                      <a:lnTo>
                        <a:pt x="1029" y="1387"/>
                      </a:lnTo>
                      <a:lnTo>
                        <a:pt x="1028" y="1387"/>
                      </a:lnTo>
                      <a:lnTo>
                        <a:pt x="1028" y="1387"/>
                      </a:lnTo>
                      <a:lnTo>
                        <a:pt x="1028" y="1388"/>
                      </a:lnTo>
                      <a:lnTo>
                        <a:pt x="1028" y="1388"/>
                      </a:lnTo>
                      <a:lnTo>
                        <a:pt x="1028" y="1388"/>
                      </a:lnTo>
                      <a:lnTo>
                        <a:pt x="1028" y="1389"/>
                      </a:lnTo>
                      <a:lnTo>
                        <a:pt x="1028" y="1390"/>
                      </a:lnTo>
                      <a:lnTo>
                        <a:pt x="1028" y="1391"/>
                      </a:lnTo>
                      <a:lnTo>
                        <a:pt x="1029" y="1391"/>
                      </a:lnTo>
                      <a:lnTo>
                        <a:pt x="1030" y="1391"/>
                      </a:lnTo>
                      <a:lnTo>
                        <a:pt x="1030" y="1391"/>
                      </a:lnTo>
                      <a:lnTo>
                        <a:pt x="1030" y="1391"/>
                      </a:lnTo>
                      <a:lnTo>
                        <a:pt x="1031" y="1391"/>
                      </a:lnTo>
                      <a:lnTo>
                        <a:pt x="1031" y="1392"/>
                      </a:lnTo>
                      <a:lnTo>
                        <a:pt x="1031" y="1393"/>
                      </a:lnTo>
                      <a:lnTo>
                        <a:pt x="1030" y="1393"/>
                      </a:lnTo>
                      <a:lnTo>
                        <a:pt x="1030" y="1393"/>
                      </a:lnTo>
                      <a:lnTo>
                        <a:pt x="1030" y="1394"/>
                      </a:lnTo>
                      <a:lnTo>
                        <a:pt x="1030" y="1395"/>
                      </a:lnTo>
                      <a:lnTo>
                        <a:pt x="1031" y="1395"/>
                      </a:lnTo>
                      <a:lnTo>
                        <a:pt x="1031" y="1395"/>
                      </a:lnTo>
                      <a:lnTo>
                        <a:pt x="1032" y="1395"/>
                      </a:lnTo>
                      <a:lnTo>
                        <a:pt x="1032" y="1395"/>
                      </a:lnTo>
                      <a:lnTo>
                        <a:pt x="1033" y="1395"/>
                      </a:lnTo>
                      <a:lnTo>
                        <a:pt x="1033" y="1395"/>
                      </a:lnTo>
                      <a:lnTo>
                        <a:pt x="1032" y="1395"/>
                      </a:lnTo>
                      <a:lnTo>
                        <a:pt x="1032" y="1394"/>
                      </a:lnTo>
                      <a:lnTo>
                        <a:pt x="1033" y="1394"/>
                      </a:lnTo>
                      <a:lnTo>
                        <a:pt x="1033" y="1393"/>
                      </a:lnTo>
                      <a:lnTo>
                        <a:pt x="1034" y="1393"/>
                      </a:lnTo>
                      <a:lnTo>
                        <a:pt x="1034" y="1393"/>
                      </a:lnTo>
                      <a:lnTo>
                        <a:pt x="1035" y="1393"/>
                      </a:lnTo>
                      <a:lnTo>
                        <a:pt x="1036" y="1393"/>
                      </a:lnTo>
                      <a:lnTo>
                        <a:pt x="1036" y="1393"/>
                      </a:lnTo>
                      <a:lnTo>
                        <a:pt x="1036" y="1393"/>
                      </a:lnTo>
                      <a:lnTo>
                        <a:pt x="1036" y="1392"/>
                      </a:lnTo>
                      <a:lnTo>
                        <a:pt x="1037" y="1391"/>
                      </a:lnTo>
                      <a:lnTo>
                        <a:pt x="1038" y="1391"/>
                      </a:lnTo>
                      <a:lnTo>
                        <a:pt x="1038" y="1392"/>
                      </a:lnTo>
                      <a:lnTo>
                        <a:pt x="1038" y="1392"/>
                      </a:lnTo>
                      <a:lnTo>
                        <a:pt x="1038" y="1391"/>
                      </a:lnTo>
                      <a:lnTo>
                        <a:pt x="1039" y="1392"/>
                      </a:lnTo>
                      <a:lnTo>
                        <a:pt x="1039" y="1393"/>
                      </a:lnTo>
                      <a:lnTo>
                        <a:pt x="1040" y="1393"/>
                      </a:lnTo>
                      <a:lnTo>
                        <a:pt x="1040" y="1393"/>
                      </a:lnTo>
                      <a:lnTo>
                        <a:pt x="1040" y="1394"/>
                      </a:lnTo>
                      <a:lnTo>
                        <a:pt x="1040" y="1395"/>
                      </a:lnTo>
                      <a:lnTo>
                        <a:pt x="1040" y="1395"/>
                      </a:lnTo>
                      <a:lnTo>
                        <a:pt x="1040" y="1395"/>
                      </a:lnTo>
                      <a:lnTo>
                        <a:pt x="1040" y="1395"/>
                      </a:lnTo>
                      <a:lnTo>
                        <a:pt x="1040" y="1395"/>
                      </a:lnTo>
                      <a:lnTo>
                        <a:pt x="1040" y="1395"/>
                      </a:lnTo>
                      <a:lnTo>
                        <a:pt x="1041" y="1395"/>
                      </a:lnTo>
                      <a:lnTo>
                        <a:pt x="1041" y="1394"/>
                      </a:lnTo>
                      <a:lnTo>
                        <a:pt x="1042" y="1394"/>
                      </a:lnTo>
                      <a:lnTo>
                        <a:pt x="1042" y="1393"/>
                      </a:lnTo>
                      <a:lnTo>
                        <a:pt x="1042" y="1393"/>
                      </a:lnTo>
                      <a:lnTo>
                        <a:pt x="1043" y="1393"/>
                      </a:lnTo>
                      <a:lnTo>
                        <a:pt x="1043" y="1393"/>
                      </a:lnTo>
                      <a:lnTo>
                        <a:pt x="1043" y="1392"/>
                      </a:lnTo>
                      <a:lnTo>
                        <a:pt x="1044" y="1393"/>
                      </a:lnTo>
                      <a:lnTo>
                        <a:pt x="1044" y="1393"/>
                      </a:lnTo>
                      <a:lnTo>
                        <a:pt x="1044" y="1394"/>
                      </a:lnTo>
                      <a:lnTo>
                        <a:pt x="1044" y="1395"/>
                      </a:lnTo>
                      <a:lnTo>
                        <a:pt x="1044" y="1394"/>
                      </a:lnTo>
                      <a:lnTo>
                        <a:pt x="1044" y="1394"/>
                      </a:lnTo>
                      <a:lnTo>
                        <a:pt x="1044" y="1395"/>
                      </a:lnTo>
                      <a:lnTo>
                        <a:pt x="1045" y="1395"/>
                      </a:lnTo>
                      <a:lnTo>
                        <a:pt x="1046" y="1394"/>
                      </a:lnTo>
                      <a:lnTo>
                        <a:pt x="1046" y="1395"/>
                      </a:lnTo>
                      <a:lnTo>
                        <a:pt x="1047" y="1395"/>
                      </a:lnTo>
                      <a:lnTo>
                        <a:pt x="1047" y="1395"/>
                      </a:lnTo>
                      <a:lnTo>
                        <a:pt x="1047" y="1396"/>
                      </a:lnTo>
                      <a:lnTo>
                        <a:pt x="1047" y="1397"/>
                      </a:lnTo>
                      <a:lnTo>
                        <a:pt x="1047" y="1397"/>
                      </a:lnTo>
                      <a:lnTo>
                        <a:pt x="1047" y="1398"/>
                      </a:lnTo>
                      <a:lnTo>
                        <a:pt x="1047" y="1399"/>
                      </a:lnTo>
                      <a:lnTo>
                        <a:pt x="1048" y="1399"/>
                      </a:lnTo>
                      <a:lnTo>
                        <a:pt x="1049" y="1399"/>
                      </a:lnTo>
                      <a:lnTo>
                        <a:pt x="1049" y="1399"/>
                      </a:lnTo>
                      <a:lnTo>
                        <a:pt x="1049" y="1400"/>
                      </a:lnTo>
                      <a:lnTo>
                        <a:pt x="1050" y="1400"/>
                      </a:lnTo>
                      <a:lnTo>
                        <a:pt x="1050" y="1401"/>
                      </a:lnTo>
                      <a:lnTo>
                        <a:pt x="1051" y="1401"/>
                      </a:lnTo>
                      <a:lnTo>
                        <a:pt x="1051" y="1401"/>
                      </a:lnTo>
                      <a:lnTo>
                        <a:pt x="1052" y="1401"/>
                      </a:lnTo>
                      <a:lnTo>
                        <a:pt x="1052" y="1401"/>
                      </a:lnTo>
                      <a:lnTo>
                        <a:pt x="1051" y="1401"/>
                      </a:lnTo>
                      <a:lnTo>
                        <a:pt x="1051" y="1402"/>
                      </a:lnTo>
                      <a:lnTo>
                        <a:pt x="1051" y="1403"/>
                      </a:lnTo>
                      <a:lnTo>
                        <a:pt x="1051" y="1403"/>
                      </a:lnTo>
                      <a:lnTo>
                        <a:pt x="1052" y="1403"/>
                      </a:lnTo>
                      <a:lnTo>
                        <a:pt x="1053" y="1403"/>
                      </a:lnTo>
                      <a:lnTo>
                        <a:pt x="1053" y="1404"/>
                      </a:lnTo>
                      <a:lnTo>
                        <a:pt x="1052" y="1404"/>
                      </a:lnTo>
                      <a:lnTo>
                        <a:pt x="1052" y="1405"/>
                      </a:lnTo>
                      <a:lnTo>
                        <a:pt x="1052" y="1405"/>
                      </a:lnTo>
                      <a:lnTo>
                        <a:pt x="1052" y="1406"/>
                      </a:lnTo>
                      <a:lnTo>
                        <a:pt x="1053" y="1406"/>
                      </a:lnTo>
                      <a:lnTo>
                        <a:pt x="1053" y="1405"/>
                      </a:lnTo>
                      <a:lnTo>
                        <a:pt x="1054" y="1405"/>
                      </a:lnTo>
                      <a:lnTo>
                        <a:pt x="1054" y="1405"/>
                      </a:lnTo>
                      <a:lnTo>
                        <a:pt x="1055" y="1405"/>
                      </a:lnTo>
                      <a:lnTo>
                        <a:pt x="1055" y="1404"/>
                      </a:lnTo>
                      <a:lnTo>
                        <a:pt x="1055" y="1405"/>
                      </a:lnTo>
                      <a:lnTo>
                        <a:pt x="1055" y="1405"/>
                      </a:lnTo>
                      <a:lnTo>
                        <a:pt x="1055" y="1405"/>
                      </a:lnTo>
                      <a:lnTo>
                        <a:pt x="1056" y="1405"/>
                      </a:lnTo>
                      <a:lnTo>
                        <a:pt x="1056" y="1406"/>
                      </a:lnTo>
                      <a:lnTo>
                        <a:pt x="1057" y="1406"/>
                      </a:lnTo>
                      <a:lnTo>
                        <a:pt x="1057" y="1407"/>
                      </a:lnTo>
                      <a:lnTo>
                        <a:pt x="1057" y="1407"/>
                      </a:lnTo>
                      <a:lnTo>
                        <a:pt x="1056" y="1407"/>
                      </a:lnTo>
                      <a:lnTo>
                        <a:pt x="1055" y="1408"/>
                      </a:lnTo>
                      <a:lnTo>
                        <a:pt x="1055" y="1408"/>
                      </a:lnTo>
                      <a:lnTo>
                        <a:pt x="1054" y="1409"/>
                      </a:lnTo>
                      <a:lnTo>
                        <a:pt x="1055" y="1409"/>
                      </a:lnTo>
                      <a:lnTo>
                        <a:pt x="1055" y="1409"/>
                      </a:lnTo>
                      <a:lnTo>
                        <a:pt x="1055" y="1409"/>
                      </a:lnTo>
                      <a:lnTo>
                        <a:pt x="1056" y="1409"/>
                      </a:lnTo>
                      <a:lnTo>
                        <a:pt x="1056" y="1408"/>
                      </a:lnTo>
                      <a:lnTo>
                        <a:pt x="1056" y="1409"/>
                      </a:lnTo>
                      <a:lnTo>
                        <a:pt x="1057" y="1409"/>
                      </a:lnTo>
                      <a:lnTo>
                        <a:pt x="1057" y="1409"/>
                      </a:lnTo>
                      <a:lnTo>
                        <a:pt x="1057" y="1410"/>
                      </a:lnTo>
                      <a:lnTo>
                        <a:pt x="1057" y="1410"/>
                      </a:lnTo>
                      <a:lnTo>
                        <a:pt x="1057" y="1411"/>
                      </a:lnTo>
                      <a:lnTo>
                        <a:pt x="1057" y="1411"/>
                      </a:lnTo>
                      <a:lnTo>
                        <a:pt x="1057" y="1411"/>
                      </a:lnTo>
                      <a:lnTo>
                        <a:pt x="1057" y="1412"/>
                      </a:lnTo>
                      <a:lnTo>
                        <a:pt x="1057" y="1412"/>
                      </a:lnTo>
                      <a:lnTo>
                        <a:pt x="1057" y="1413"/>
                      </a:lnTo>
                      <a:lnTo>
                        <a:pt x="1057" y="1414"/>
                      </a:lnTo>
                      <a:lnTo>
                        <a:pt x="1058" y="1414"/>
                      </a:lnTo>
                      <a:lnTo>
                        <a:pt x="1058" y="1413"/>
                      </a:lnTo>
                      <a:lnTo>
                        <a:pt x="1058" y="1412"/>
                      </a:lnTo>
                      <a:lnTo>
                        <a:pt x="1059" y="1412"/>
                      </a:lnTo>
                      <a:lnTo>
                        <a:pt x="1059" y="1412"/>
                      </a:lnTo>
                      <a:lnTo>
                        <a:pt x="1059" y="1412"/>
                      </a:lnTo>
                      <a:lnTo>
                        <a:pt x="1059" y="1412"/>
                      </a:lnTo>
                      <a:lnTo>
                        <a:pt x="1060" y="1412"/>
                      </a:lnTo>
                      <a:lnTo>
                        <a:pt x="1060" y="1413"/>
                      </a:lnTo>
                      <a:lnTo>
                        <a:pt x="1061" y="1413"/>
                      </a:lnTo>
                      <a:lnTo>
                        <a:pt x="1061" y="1413"/>
                      </a:lnTo>
                      <a:lnTo>
                        <a:pt x="1061" y="1414"/>
                      </a:lnTo>
                      <a:lnTo>
                        <a:pt x="1061" y="1414"/>
                      </a:lnTo>
                      <a:lnTo>
                        <a:pt x="1061" y="1415"/>
                      </a:lnTo>
                      <a:lnTo>
                        <a:pt x="1061" y="1415"/>
                      </a:lnTo>
                      <a:lnTo>
                        <a:pt x="1062" y="1415"/>
                      </a:lnTo>
                      <a:lnTo>
                        <a:pt x="1063" y="1415"/>
                      </a:lnTo>
                      <a:lnTo>
                        <a:pt x="1063" y="1415"/>
                      </a:lnTo>
                      <a:lnTo>
                        <a:pt x="1064" y="1415"/>
                      </a:lnTo>
                      <a:lnTo>
                        <a:pt x="1064" y="1414"/>
                      </a:lnTo>
                      <a:lnTo>
                        <a:pt x="1064" y="1414"/>
                      </a:lnTo>
                      <a:lnTo>
                        <a:pt x="1065" y="1414"/>
                      </a:lnTo>
                      <a:lnTo>
                        <a:pt x="1065" y="1414"/>
                      </a:lnTo>
                      <a:lnTo>
                        <a:pt x="1066" y="1414"/>
                      </a:lnTo>
                      <a:lnTo>
                        <a:pt x="1066" y="1415"/>
                      </a:lnTo>
                      <a:lnTo>
                        <a:pt x="1066" y="1415"/>
                      </a:lnTo>
                      <a:lnTo>
                        <a:pt x="1067" y="1416"/>
                      </a:lnTo>
                      <a:lnTo>
                        <a:pt x="1066" y="1416"/>
                      </a:lnTo>
                      <a:lnTo>
                        <a:pt x="1066" y="1416"/>
                      </a:lnTo>
                      <a:lnTo>
                        <a:pt x="1066" y="1416"/>
                      </a:lnTo>
                      <a:lnTo>
                        <a:pt x="1065" y="1417"/>
                      </a:lnTo>
                      <a:lnTo>
                        <a:pt x="1066" y="1417"/>
                      </a:lnTo>
                      <a:lnTo>
                        <a:pt x="1066" y="1417"/>
                      </a:lnTo>
                      <a:lnTo>
                        <a:pt x="1067" y="1417"/>
                      </a:lnTo>
                      <a:lnTo>
                        <a:pt x="1068" y="1417"/>
                      </a:lnTo>
                      <a:lnTo>
                        <a:pt x="1068" y="1417"/>
                      </a:lnTo>
                      <a:lnTo>
                        <a:pt x="1068" y="1418"/>
                      </a:lnTo>
                      <a:lnTo>
                        <a:pt x="1068" y="1418"/>
                      </a:lnTo>
                      <a:lnTo>
                        <a:pt x="1068" y="1418"/>
                      </a:lnTo>
                      <a:lnTo>
                        <a:pt x="1067" y="1418"/>
                      </a:lnTo>
                      <a:lnTo>
                        <a:pt x="1067" y="1419"/>
                      </a:lnTo>
                      <a:lnTo>
                        <a:pt x="1066" y="1419"/>
                      </a:lnTo>
                      <a:lnTo>
                        <a:pt x="1066" y="1419"/>
                      </a:lnTo>
                      <a:lnTo>
                        <a:pt x="1065" y="1420"/>
                      </a:lnTo>
                      <a:lnTo>
                        <a:pt x="1065" y="1420"/>
                      </a:lnTo>
                      <a:lnTo>
                        <a:pt x="1065" y="1421"/>
                      </a:lnTo>
                      <a:lnTo>
                        <a:pt x="1066" y="1421"/>
                      </a:lnTo>
                      <a:lnTo>
                        <a:pt x="1066" y="1420"/>
                      </a:lnTo>
                      <a:lnTo>
                        <a:pt x="1066" y="1420"/>
                      </a:lnTo>
                      <a:lnTo>
                        <a:pt x="1067" y="1420"/>
                      </a:lnTo>
                      <a:lnTo>
                        <a:pt x="1067" y="1420"/>
                      </a:lnTo>
                      <a:lnTo>
                        <a:pt x="1068" y="1420"/>
                      </a:lnTo>
                      <a:lnTo>
                        <a:pt x="1068" y="1420"/>
                      </a:lnTo>
                      <a:lnTo>
                        <a:pt x="1068" y="1420"/>
                      </a:lnTo>
                      <a:lnTo>
                        <a:pt x="1068" y="1421"/>
                      </a:lnTo>
                      <a:lnTo>
                        <a:pt x="1067" y="1421"/>
                      </a:lnTo>
                      <a:lnTo>
                        <a:pt x="1066" y="1421"/>
                      </a:lnTo>
                      <a:lnTo>
                        <a:pt x="1066" y="1422"/>
                      </a:lnTo>
                      <a:lnTo>
                        <a:pt x="1066" y="1422"/>
                      </a:lnTo>
                      <a:lnTo>
                        <a:pt x="1066" y="1423"/>
                      </a:lnTo>
                      <a:lnTo>
                        <a:pt x="1066" y="1423"/>
                      </a:lnTo>
                      <a:lnTo>
                        <a:pt x="1066" y="1424"/>
                      </a:lnTo>
                      <a:lnTo>
                        <a:pt x="1067" y="1424"/>
                      </a:lnTo>
                      <a:lnTo>
                        <a:pt x="1067" y="1424"/>
                      </a:lnTo>
                      <a:lnTo>
                        <a:pt x="1066" y="1424"/>
                      </a:lnTo>
                      <a:lnTo>
                        <a:pt x="1066" y="1425"/>
                      </a:lnTo>
                      <a:lnTo>
                        <a:pt x="1066" y="1424"/>
                      </a:lnTo>
                      <a:lnTo>
                        <a:pt x="1065" y="1424"/>
                      </a:lnTo>
                      <a:lnTo>
                        <a:pt x="1064" y="1424"/>
                      </a:lnTo>
                      <a:lnTo>
                        <a:pt x="1064" y="1425"/>
                      </a:lnTo>
                      <a:lnTo>
                        <a:pt x="1065" y="1425"/>
                      </a:lnTo>
                      <a:lnTo>
                        <a:pt x="1065" y="1426"/>
                      </a:lnTo>
                      <a:lnTo>
                        <a:pt x="1066" y="1426"/>
                      </a:lnTo>
                      <a:lnTo>
                        <a:pt x="1066" y="1425"/>
                      </a:lnTo>
                      <a:lnTo>
                        <a:pt x="1066" y="1426"/>
                      </a:lnTo>
                      <a:lnTo>
                        <a:pt x="1066" y="1426"/>
                      </a:lnTo>
                      <a:lnTo>
                        <a:pt x="1066" y="1426"/>
                      </a:lnTo>
                      <a:lnTo>
                        <a:pt x="1067" y="1426"/>
                      </a:lnTo>
                      <a:lnTo>
                        <a:pt x="1067" y="1427"/>
                      </a:lnTo>
                      <a:lnTo>
                        <a:pt x="1068" y="1427"/>
                      </a:lnTo>
                      <a:lnTo>
                        <a:pt x="1068" y="1428"/>
                      </a:lnTo>
                      <a:lnTo>
                        <a:pt x="1068" y="1428"/>
                      </a:lnTo>
                      <a:lnTo>
                        <a:pt x="1068" y="1428"/>
                      </a:lnTo>
                      <a:lnTo>
                        <a:pt x="1067" y="1428"/>
                      </a:lnTo>
                      <a:lnTo>
                        <a:pt x="1066" y="1428"/>
                      </a:lnTo>
                      <a:lnTo>
                        <a:pt x="1066" y="1427"/>
                      </a:lnTo>
                      <a:lnTo>
                        <a:pt x="1066" y="1427"/>
                      </a:lnTo>
                      <a:lnTo>
                        <a:pt x="1066" y="1428"/>
                      </a:lnTo>
                      <a:lnTo>
                        <a:pt x="1066" y="1428"/>
                      </a:lnTo>
                      <a:lnTo>
                        <a:pt x="1066" y="1429"/>
                      </a:lnTo>
                      <a:lnTo>
                        <a:pt x="1066" y="1430"/>
                      </a:lnTo>
                      <a:lnTo>
                        <a:pt x="1066" y="1431"/>
                      </a:lnTo>
                      <a:lnTo>
                        <a:pt x="1066" y="1431"/>
                      </a:lnTo>
                      <a:lnTo>
                        <a:pt x="1066" y="1431"/>
                      </a:lnTo>
                      <a:lnTo>
                        <a:pt x="1066" y="1432"/>
                      </a:lnTo>
                      <a:lnTo>
                        <a:pt x="1067" y="1432"/>
                      </a:lnTo>
                      <a:lnTo>
                        <a:pt x="1068" y="1432"/>
                      </a:lnTo>
                      <a:lnTo>
                        <a:pt x="1068" y="1433"/>
                      </a:lnTo>
                      <a:lnTo>
                        <a:pt x="1067" y="1433"/>
                      </a:lnTo>
                      <a:lnTo>
                        <a:pt x="1066" y="1433"/>
                      </a:lnTo>
                      <a:lnTo>
                        <a:pt x="1066" y="1433"/>
                      </a:lnTo>
                      <a:lnTo>
                        <a:pt x="1065" y="1433"/>
                      </a:lnTo>
                      <a:lnTo>
                        <a:pt x="1065" y="1433"/>
                      </a:lnTo>
                      <a:lnTo>
                        <a:pt x="1065" y="1434"/>
                      </a:lnTo>
                      <a:lnTo>
                        <a:pt x="1066" y="1435"/>
                      </a:lnTo>
                      <a:lnTo>
                        <a:pt x="1066" y="1435"/>
                      </a:lnTo>
                      <a:lnTo>
                        <a:pt x="1066" y="1435"/>
                      </a:lnTo>
                      <a:lnTo>
                        <a:pt x="1066" y="1435"/>
                      </a:lnTo>
                      <a:lnTo>
                        <a:pt x="1067" y="1435"/>
                      </a:lnTo>
                      <a:lnTo>
                        <a:pt x="1067" y="1436"/>
                      </a:lnTo>
                      <a:lnTo>
                        <a:pt x="1066" y="1436"/>
                      </a:lnTo>
                      <a:lnTo>
                        <a:pt x="1066" y="1436"/>
                      </a:lnTo>
                      <a:lnTo>
                        <a:pt x="1065" y="1436"/>
                      </a:lnTo>
                      <a:lnTo>
                        <a:pt x="1064" y="1436"/>
                      </a:lnTo>
                      <a:lnTo>
                        <a:pt x="1064" y="1437"/>
                      </a:lnTo>
                      <a:lnTo>
                        <a:pt x="1064" y="1437"/>
                      </a:lnTo>
                      <a:lnTo>
                        <a:pt x="1065" y="1437"/>
                      </a:lnTo>
                      <a:lnTo>
                        <a:pt x="1065" y="1438"/>
                      </a:lnTo>
                      <a:lnTo>
                        <a:pt x="1066" y="1438"/>
                      </a:lnTo>
                      <a:lnTo>
                        <a:pt x="1066" y="1438"/>
                      </a:lnTo>
                      <a:lnTo>
                        <a:pt x="1066" y="1437"/>
                      </a:lnTo>
                      <a:lnTo>
                        <a:pt x="1067" y="1437"/>
                      </a:lnTo>
                      <a:lnTo>
                        <a:pt x="1068" y="1437"/>
                      </a:lnTo>
                      <a:lnTo>
                        <a:pt x="1068" y="1437"/>
                      </a:lnTo>
                      <a:lnTo>
                        <a:pt x="1068" y="1438"/>
                      </a:lnTo>
                      <a:lnTo>
                        <a:pt x="1068" y="1439"/>
                      </a:lnTo>
                      <a:lnTo>
                        <a:pt x="1068" y="1439"/>
                      </a:lnTo>
                      <a:lnTo>
                        <a:pt x="1068" y="1439"/>
                      </a:lnTo>
                      <a:lnTo>
                        <a:pt x="1069" y="1439"/>
                      </a:lnTo>
                      <a:lnTo>
                        <a:pt x="1069" y="1440"/>
                      </a:lnTo>
                      <a:lnTo>
                        <a:pt x="1070" y="1440"/>
                      </a:lnTo>
                      <a:lnTo>
                        <a:pt x="1070" y="1441"/>
                      </a:lnTo>
                      <a:lnTo>
                        <a:pt x="1070" y="1441"/>
                      </a:lnTo>
                      <a:lnTo>
                        <a:pt x="1069" y="1441"/>
                      </a:lnTo>
                      <a:lnTo>
                        <a:pt x="1069" y="1441"/>
                      </a:lnTo>
                      <a:lnTo>
                        <a:pt x="1068" y="1441"/>
                      </a:lnTo>
                      <a:lnTo>
                        <a:pt x="1068" y="1442"/>
                      </a:lnTo>
                      <a:lnTo>
                        <a:pt x="1068" y="1443"/>
                      </a:lnTo>
                      <a:lnTo>
                        <a:pt x="1069" y="1443"/>
                      </a:lnTo>
                      <a:lnTo>
                        <a:pt x="1070" y="1443"/>
                      </a:lnTo>
                      <a:lnTo>
                        <a:pt x="1070" y="1443"/>
                      </a:lnTo>
                      <a:lnTo>
                        <a:pt x="1071" y="1444"/>
                      </a:lnTo>
                      <a:lnTo>
                        <a:pt x="1072" y="1445"/>
                      </a:lnTo>
                      <a:lnTo>
                        <a:pt x="1072" y="1444"/>
                      </a:lnTo>
                      <a:lnTo>
                        <a:pt x="1072" y="1443"/>
                      </a:lnTo>
                      <a:lnTo>
                        <a:pt x="1072" y="1443"/>
                      </a:lnTo>
                      <a:lnTo>
                        <a:pt x="1072" y="1443"/>
                      </a:lnTo>
                      <a:lnTo>
                        <a:pt x="1072" y="1442"/>
                      </a:lnTo>
                      <a:lnTo>
                        <a:pt x="1073" y="1442"/>
                      </a:lnTo>
                      <a:lnTo>
                        <a:pt x="1073" y="1441"/>
                      </a:lnTo>
                      <a:lnTo>
                        <a:pt x="1074" y="1441"/>
                      </a:lnTo>
                      <a:lnTo>
                        <a:pt x="1074" y="1442"/>
                      </a:lnTo>
                      <a:lnTo>
                        <a:pt x="1074" y="1442"/>
                      </a:lnTo>
                      <a:lnTo>
                        <a:pt x="1075" y="1442"/>
                      </a:lnTo>
                      <a:lnTo>
                        <a:pt x="1075" y="1443"/>
                      </a:lnTo>
                      <a:lnTo>
                        <a:pt x="1076" y="1443"/>
                      </a:lnTo>
                      <a:lnTo>
                        <a:pt x="1076" y="1443"/>
                      </a:lnTo>
                      <a:lnTo>
                        <a:pt x="1076" y="1444"/>
                      </a:lnTo>
                      <a:lnTo>
                        <a:pt x="1075" y="1443"/>
                      </a:lnTo>
                      <a:lnTo>
                        <a:pt x="1074" y="1443"/>
                      </a:lnTo>
                      <a:lnTo>
                        <a:pt x="1074" y="1443"/>
                      </a:lnTo>
                      <a:lnTo>
                        <a:pt x="1074" y="1444"/>
                      </a:lnTo>
                      <a:lnTo>
                        <a:pt x="1073" y="1444"/>
                      </a:lnTo>
                      <a:lnTo>
                        <a:pt x="1073" y="1445"/>
                      </a:lnTo>
                      <a:lnTo>
                        <a:pt x="1073" y="1445"/>
                      </a:lnTo>
                      <a:lnTo>
                        <a:pt x="1073" y="1446"/>
                      </a:lnTo>
                      <a:lnTo>
                        <a:pt x="1074" y="1445"/>
                      </a:lnTo>
                      <a:lnTo>
                        <a:pt x="1074" y="1445"/>
                      </a:lnTo>
                      <a:lnTo>
                        <a:pt x="1075" y="1445"/>
                      </a:lnTo>
                      <a:lnTo>
                        <a:pt x="1076" y="1445"/>
                      </a:lnTo>
                      <a:lnTo>
                        <a:pt x="1076" y="1445"/>
                      </a:lnTo>
                      <a:lnTo>
                        <a:pt x="1077" y="1445"/>
                      </a:lnTo>
                      <a:lnTo>
                        <a:pt x="1078" y="1445"/>
                      </a:lnTo>
                      <a:lnTo>
                        <a:pt x="1078" y="1445"/>
                      </a:lnTo>
                      <a:lnTo>
                        <a:pt x="1078" y="1445"/>
                      </a:lnTo>
                      <a:lnTo>
                        <a:pt x="1078" y="1446"/>
                      </a:lnTo>
                      <a:lnTo>
                        <a:pt x="1078" y="1445"/>
                      </a:lnTo>
                      <a:lnTo>
                        <a:pt x="1079" y="1445"/>
                      </a:lnTo>
                      <a:lnTo>
                        <a:pt x="1079" y="1446"/>
                      </a:lnTo>
                      <a:lnTo>
                        <a:pt x="1079" y="1447"/>
                      </a:lnTo>
                      <a:lnTo>
                        <a:pt x="1078" y="1447"/>
                      </a:lnTo>
                      <a:lnTo>
                        <a:pt x="1078" y="1447"/>
                      </a:lnTo>
                      <a:lnTo>
                        <a:pt x="1079" y="1447"/>
                      </a:lnTo>
                      <a:lnTo>
                        <a:pt x="1080" y="1447"/>
                      </a:lnTo>
                      <a:lnTo>
                        <a:pt x="1080" y="1448"/>
                      </a:lnTo>
                      <a:lnTo>
                        <a:pt x="1079" y="1448"/>
                      </a:lnTo>
                      <a:lnTo>
                        <a:pt x="1079" y="1449"/>
                      </a:lnTo>
                      <a:lnTo>
                        <a:pt x="1078" y="1449"/>
                      </a:lnTo>
                      <a:lnTo>
                        <a:pt x="1078" y="1450"/>
                      </a:lnTo>
                      <a:lnTo>
                        <a:pt x="1078" y="1450"/>
                      </a:lnTo>
                      <a:lnTo>
                        <a:pt x="1078" y="1451"/>
                      </a:lnTo>
                      <a:lnTo>
                        <a:pt x="1079" y="1451"/>
                      </a:lnTo>
                      <a:lnTo>
                        <a:pt x="1080" y="1452"/>
                      </a:lnTo>
                      <a:lnTo>
                        <a:pt x="1080" y="1452"/>
                      </a:lnTo>
                      <a:lnTo>
                        <a:pt x="1080" y="1452"/>
                      </a:lnTo>
                      <a:lnTo>
                        <a:pt x="1080" y="1453"/>
                      </a:lnTo>
                      <a:lnTo>
                        <a:pt x="797" y="1439"/>
                      </a:lnTo>
                      <a:lnTo>
                        <a:pt x="736" y="1433"/>
                      </a:lnTo>
                      <a:lnTo>
                        <a:pt x="735" y="1433"/>
                      </a:lnTo>
                      <a:lnTo>
                        <a:pt x="715" y="1433"/>
                      </a:lnTo>
                      <a:lnTo>
                        <a:pt x="707" y="1433"/>
                      </a:lnTo>
                      <a:lnTo>
                        <a:pt x="676" y="1433"/>
                      </a:lnTo>
                      <a:lnTo>
                        <a:pt x="665" y="1439"/>
                      </a:lnTo>
                      <a:lnTo>
                        <a:pt x="660" y="1443"/>
                      </a:lnTo>
                      <a:lnTo>
                        <a:pt x="655" y="1448"/>
                      </a:lnTo>
                      <a:lnTo>
                        <a:pt x="647" y="1461"/>
                      </a:lnTo>
                      <a:lnTo>
                        <a:pt x="645" y="1468"/>
                      </a:lnTo>
                      <a:lnTo>
                        <a:pt x="643" y="1487"/>
                      </a:lnTo>
                      <a:lnTo>
                        <a:pt x="637" y="1536"/>
                      </a:lnTo>
                      <a:lnTo>
                        <a:pt x="630" y="1549"/>
                      </a:lnTo>
                      <a:lnTo>
                        <a:pt x="605" y="1584"/>
                      </a:lnTo>
                      <a:lnTo>
                        <a:pt x="577" y="1593"/>
                      </a:lnTo>
                      <a:lnTo>
                        <a:pt x="515" y="1609"/>
                      </a:lnTo>
                      <a:lnTo>
                        <a:pt x="515" y="1610"/>
                      </a:lnTo>
                      <a:lnTo>
                        <a:pt x="454" y="1618"/>
                      </a:lnTo>
                      <a:lnTo>
                        <a:pt x="447" y="1618"/>
                      </a:lnTo>
                      <a:lnTo>
                        <a:pt x="434" y="1616"/>
                      </a:lnTo>
                      <a:lnTo>
                        <a:pt x="419" y="1612"/>
                      </a:lnTo>
                      <a:lnTo>
                        <a:pt x="409" y="1608"/>
                      </a:lnTo>
                      <a:lnTo>
                        <a:pt x="397" y="1599"/>
                      </a:lnTo>
                      <a:lnTo>
                        <a:pt x="383" y="1594"/>
                      </a:lnTo>
                      <a:lnTo>
                        <a:pt x="368" y="1586"/>
                      </a:lnTo>
                      <a:lnTo>
                        <a:pt x="352" y="1565"/>
                      </a:lnTo>
                      <a:lnTo>
                        <a:pt x="331" y="1532"/>
                      </a:lnTo>
                      <a:lnTo>
                        <a:pt x="323" y="1521"/>
                      </a:lnTo>
                      <a:lnTo>
                        <a:pt x="323" y="1521"/>
                      </a:lnTo>
                      <a:lnTo>
                        <a:pt x="322" y="1521"/>
                      </a:lnTo>
                      <a:lnTo>
                        <a:pt x="322" y="1521"/>
                      </a:lnTo>
                      <a:lnTo>
                        <a:pt x="321" y="1521"/>
                      </a:lnTo>
                      <a:lnTo>
                        <a:pt x="320" y="1521"/>
                      </a:lnTo>
                      <a:lnTo>
                        <a:pt x="320" y="1520"/>
                      </a:lnTo>
                      <a:lnTo>
                        <a:pt x="320" y="1520"/>
                      </a:lnTo>
                      <a:lnTo>
                        <a:pt x="319" y="1519"/>
                      </a:lnTo>
                      <a:lnTo>
                        <a:pt x="319" y="1519"/>
                      </a:lnTo>
                      <a:lnTo>
                        <a:pt x="318" y="1519"/>
                      </a:lnTo>
                      <a:lnTo>
                        <a:pt x="318" y="1519"/>
                      </a:lnTo>
                      <a:lnTo>
                        <a:pt x="317" y="1519"/>
                      </a:lnTo>
                      <a:lnTo>
                        <a:pt x="317" y="1518"/>
                      </a:lnTo>
                      <a:lnTo>
                        <a:pt x="316" y="1518"/>
                      </a:lnTo>
                      <a:lnTo>
                        <a:pt x="316" y="1517"/>
                      </a:lnTo>
                      <a:lnTo>
                        <a:pt x="316" y="1517"/>
                      </a:lnTo>
                      <a:lnTo>
                        <a:pt x="315" y="1516"/>
                      </a:lnTo>
                      <a:lnTo>
                        <a:pt x="315" y="1515"/>
                      </a:lnTo>
                      <a:lnTo>
                        <a:pt x="314" y="1515"/>
                      </a:lnTo>
                      <a:lnTo>
                        <a:pt x="314" y="1515"/>
                      </a:lnTo>
                      <a:lnTo>
                        <a:pt x="313" y="1515"/>
                      </a:lnTo>
                      <a:lnTo>
                        <a:pt x="312" y="1514"/>
                      </a:lnTo>
                      <a:lnTo>
                        <a:pt x="312" y="1513"/>
                      </a:lnTo>
                      <a:lnTo>
                        <a:pt x="307" y="1510"/>
                      </a:lnTo>
                      <a:lnTo>
                        <a:pt x="299" y="1502"/>
                      </a:lnTo>
                      <a:lnTo>
                        <a:pt x="288" y="1492"/>
                      </a:lnTo>
                      <a:lnTo>
                        <a:pt x="280" y="1487"/>
                      </a:lnTo>
                      <a:lnTo>
                        <a:pt x="263" y="1481"/>
                      </a:lnTo>
                      <a:lnTo>
                        <a:pt x="255" y="1479"/>
                      </a:lnTo>
                      <a:lnTo>
                        <a:pt x="252" y="1479"/>
                      </a:lnTo>
                      <a:lnTo>
                        <a:pt x="248" y="1476"/>
                      </a:lnTo>
                      <a:lnTo>
                        <a:pt x="247" y="1475"/>
                      </a:lnTo>
                      <a:lnTo>
                        <a:pt x="246" y="1474"/>
                      </a:lnTo>
                      <a:lnTo>
                        <a:pt x="246" y="1472"/>
                      </a:lnTo>
                      <a:lnTo>
                        <a:pt x="246" y="1471"/>
                      </a:lnTo>
                      <a:lnTo>
                        <a:pt x="246" y="1469"/>
                      </a:lnTo>
                      <a:lnTo>
                        <a:pt x="244" y="1469"/>
                      </a:lnTo>
                      <a:lnTo>
                        <a:pt x="242" y="1468"/>
                      </a:lnTo>
                      <a:lnTo>
                        <a:pt x="240" y="1466"/>
                      </a:lnTo>
                      <a:lnTo>
                        <a:pt x="238" y="1466"/>
                      </a:lnTo>
                      <a:lnTo>
                        <a:pt x="236" y="1468"/>
                      </a:lnTo>
                      <a:lnTo>
                        <a:pt x="234" y="1466"/>
                      </a:lnTo>
                      <a:lnTo>
                        <a:pt x="228" y="1464"/>
                      </a:lnTo>
                      <a:lnTo>
                        <a:pt x="222" y="1460"/>
                      </a:lnTo>
                      <a:lnTo>
                        <a:pt x="217" y="1455"/>
                      </a:lnTo>
                      <a:lnTo>
                        <a:pt x="212" y="1452"/>
                      </a:lnTo>
                      <a:lnTo>
                        <a:pt x="206" y="1448"/>
                      </a:lnTo>
                      <a:lnTo>
                        <a:pt x="202" y="1447"/>
                      </a:lnTo>
                      <a:lnTo>
                        <a:pt x="202" y="1446"/>
                      </a:lnTo>
                      <a:lnTo>
                        <a:pt x="202" y="1445"/>
                      </a:lnTo>
                      <a:lnTo>
                        <a:pt x="202" y="1445"/>
                      </a:lnTo>
                      <a:lnTo>
                        <a:pt x="202" y="1444"/>
                      </a:lnTo>
                      <a:lnTo>
                        <a:pt x="202" y="1443"/>
                      </a:lnTo>
                      <a:lnTo>
                        <a:pt x="202" y="1443"/>
                      </a:lnTo>
                      <a:lnTo>
                        <a:pt x="202" y="1442"/>
                      </a:lnTo>
                      <a:lnTo>
                        <a:pt x="202" y="1441"/>
                      </a:lnTo>
                      <a:lnTo>
                        <a:pt x="202" y="1441"/>
                      </a:lnTo>
                      <a:lnTo>
                        <a:pt x="203" y="1441"/>
                      </a:lnTo>
                      <a:lnTo>
                        <a:pt x="203" y="1440"/>
                      </a:lnTo>
                      <a:lnTo>
                        <a:pt x="203" y="1439"/>
                      </a:lnTo>
                      <a:lnTo>
                        <a:pt x="204" y="1439"/>
                      </a:lnTo>
                      <a:lnTo>
                        <a:pt x="204" y="1438"/>
                      </a:lnTo>
                      <a:lnTo>
                        <a:pt x="204" y="1438"/>
                      </a:lnTo>
                      <a:lnTo>
                        <a:pt x="204" y="1437"/>
                      </a:lnTo>
                      <a:lnTo>
                        <a:pt x="204" y="1437"/>
                      </a:lnTo>
                      <a:lnTo>
                        <a:pt x="205" y="1437"/>
                      </a:lnTo>
                      <a:lnTo>
                        <a:pt x="205" y="1436"/>
                      </a:lnTo>
                      <a:lnTo>
                        <a:pt x="205" y="1435"/>
                      </a:lnTo>
                      <a:lnTo>
                        <a:pt x="195" y="1423"/>
                      </a:lnTo>
                      <a:lnTo>
                        <a:pt x="193" y="1422"/>
                      </a:lnTo>
                      <a:lnTo>
                        <a:pt x="189" y="1417"/>
                      </a:lnTo>
                      <a:lnTo>
                        <a:pt x="184" y="1412"/>
                      </a:lnTo>
                      <a:lnTo>
                        <a:pt x="180" y="1403"/>
                      </a:lnTo>
                      <a:lnTo>
                        <a:pt x="175" y="1397"/>
                      </a:lnTo>
                      <a:lnTo>
                        <a:pt x="176" y="1397"/>
                      </a:lnTo>
                      <a:lnTo>
                        <a:pt x="176" y="1396"/>
                      </a:lnTo>
                      <a:lnTo>
                        <a:pt x="176" y="1395"/>
                      </a:lnTo>
                      <a:lnTo>
                        <a:pt x="176" y="1395"/>
                      </a:lnTo>
                      <a:lnTo>
                        <a:pt x="176" y="1394"/>
                      </a:lnTo>
                      <a:lnTo>
                        <a:pt x="176" y="1393"/>
                      </a:lnTo>
                      <a:lnTo>
                        <a:pt x="175" y="1393"/>
                      </a:lnTo>
                      <a:lnTo>
                        <a:pt x="175" y="1393"/>
                      </a:lnTo>
                      <a:lnTo>
                        <a:pt x="176" y="1392"/>
                      </a:lnTo>
                      <a:lnTo>
                        <a:pt x="176" y="1392"/>
                      </a:lnTo>
                      <a:lnTo>
                        <a:pt x="176" y="1391"/>
                      </a:lnTo>
                      <a:lnTo>
                        <a:pt x="177" y="1391"/>
                      </a:lnTo>
                      <a:lnTo>
                        <a:pt x="177" y="1391"/>
                      </a:lnTo>
                      <a:lnTo>
                        <a:pt x="177" y="1390"/>
                      </a:lnTo>
                      <a:lnTo>
                        <a:pt x="177" y="1389"/>
                      </a:lnTo>
                      <a:lnTo>
                        <a:pt x="177" y="1388"/>
                      </a:lnTo>
                      <a:lnTo>
                        <a:pt x="177" y="1388"/>
                      </a:lnTo>
                      <a:lnTo>
                        <a:pt x="176" y="1387"/>
                      </a:lnTo>
                      <a:lnTo>
                        <a:pt x="176" y="1388"/>
                      </a:lnTo>
                      <a:lnTo>
                        <a:pt x="176" y="1387"/>
                      </a:lnTo>
                      <a:lnTo>
                        <a:pt x="176" y="1387"/>
                      </a:lnTo>
                      <a:lnTo>
                        <a:pt x="176" y="1386"/>
                      </a:lnTo>
                      <a:lnTo>
                        <a:pt x="175" y="1386"/>
                      </a:lnTo>
                      <a:lnTo>
                        <a:pt x="175" y="1386"/>
                      </a:lnTo>
                      <a:lnTo>
                        <a:pt x="175" y="1385"/>
                      </a:lnTo>
                      <a:lnTo>
                        <a:pt x="174" y="1385"/>
                      </a:lnTo>
                      <a:lnTo>
                        <a:pt x="174" y="1384"/>
                      </a:lnTo>
                      <a:lnTo>
                        <a:pt x="174" y="1384"/>
                      </a:lnTo>
                      <a:lnTo>
                        <a:pt x="174" y="1384"/>
                      </a:lnTo>
                      <a:lnTo>
                        <a:pt x="174" y="1383"/>
                      </a:lnTo>
                      <a:lnTo>
                        <a:pt x="174" y="1382"/>
                      </a:lnTo>
                      <a:lnTo>
                        <a:pt x="174" y="1383"/>
                      </a:lnTo>
                      <a:lnTo>
                        <a:pt x="173" y="1383"/>
                      </a:lnTo>
                      <a:lnTo>
                        <a:pt x="173" y="1382"/>
                      </a:lnTo>
                      <a:lnTo>
                        <a:pt x="173" y="1382"/>
                      </a:lnTo>
                      <a:lnTo>
                        <a:pt x="172" y="1382"/>
                      </a:lnTo>
                      <a:lnTo>
                        <a:pt x="172" y="1381"/>
                      </a:lnTo>
                      <a:lnTo>
                        <a:pt x="172" y="1381"/>
                      </a:lnTo>
                      <a:lnTo>
                        <a:pt x="172" y="1380"/>
                      </a:lnTo>
                      <a:lnTo>
                        <a:pt x="171" y="1380"/>
                      </a:lnTo>
                      <a:lnTo>
                        <a:pt x="171" y="1380"/>
                      </a:lnTo>
                      <a:lnTo>
                        <a:pt x="171" y="1379"/>
                      </a:lnTo>
                      <a:lnTo>
                        <a:pt x="171" y="1378"/>
                      </a:lnTo>
                      <a:lnTo>
                        <a:pt x="170" y="1378"/>
                      </a:lnTo>
                      <a:lnTo>
                        <a:pt x="170" y="1378"/>
                      </a:lnTo>
                      <a:lnTo>
                        <a:pt x="169" y="1378"/>
                      </a:lnTo>
                      <a:lnTo>
                        <a:pt x="168" y="1378"/>
                      </a:lnTo>
                      <a:lnTo>
                        <a:pt x="168" y="1378"/>
                      </a:lnTo>
                      <a:lnTo>
                        <a:pt x="168" y="1377"/>
                      </a:lnTo>
                      <a:lnTo>
                        <a:pt x="168" y="1376"/>
                      </a:lnTo>
                      <a:lnTo>
                        <a:pt x="168" y="1376"/>
                      </a:lnTo>
                      <a:lnTo>
                        <a:pt x="168" y="1375"/>
                      </a:lnTo>
                      <a:lnTo>
                        <a:pt x="168" y="1375"/>
                      </a:lnTo>
                      <a:lnTo>
                        <a:pt x="168" y="1374"/>
                      </a:lnTo>
                      <a:lnTo>
                        <a:pt x="169" y="1374"/>
                      </a:lnTo>
                      <a:lnTo>
                        <a:pt x="168" y="1374"/>
                      </a:lnTo>
                      <a:lnTo>
                        <a:pt x="168" y="1374"/>
                      </a:lnTo>
                      <a:lnTo>
                        <a:pt x="168" y="1374"/>
                      </a:lnTo>
                      <a:lnTo>
                        <a:pt x="167" y="1373"/>
                      </a:lnTo>
                      <a:lnTo>
                        <a:pt x="168" y="1373"/>
                      </a:lnTo>
                      <a:lnTo>
                        <a:pt x="167" y="1372"/>
                      </a:lnTo>
                      <a:lnTo>
                        <a:pt x="167" y="1372"/>
                      </a:lnTo>
                      <a:lnTo>
                        <a:pt x="166" y="1372"/>
                      </a:lnTo>
                      <a:lnTo>
                        <a:pt x="166" y="1371"/>
                      </a:lnTo>
                      <a:lnTo>
                        <a:pt x="166" y="1371"/>
                      </a:lnTo>
                      <a:lnTo>
                        <a:pt x="166" y="1370"/>
                      </a:lnTo>
                      <a:lnTo>
                        <a:pt x="166" y="1369"/>
                      </a:lnTo>
                      <a:lnTo>
                        <a:pt x="165" y="1369"/>
                      </a:lnTo>
                      <a:lnTo>
                        <a:pt x="165" y="1369"/>
                      </a:lnTo>
                      <a:lnTo>
                        <a:pt x="164" y="1369"/>
                      </a:lnTo>
                      <a:lnTo>
                        <a:pt x="164" y="1369"/>
                      </a:lnTo>
                      <a:lnTo>
                        <a:pt x="164" y="1368"/>
                      </a:lnTo>
                      <a:lnTo>
                        <a:pt x="164" y="1368"/>
                      </a:lnTo>
                      <a:lnTo>
                        <a:pt x="164" y="1367"/>
                      </a:lnTo>
                      <a:lnTo>
                        <a:pt x="164" y="1367"/>
                      </a:lnTo>
                      <a:lnTo>
                        <a:pt x="164" y="1367"/>
                      </a:lnTo>
                      <a:lnTo>
                        <a:pt x="163" y="1367"/>
                      </a:lnTo>
                      <a:lnTo>
                        <a:pt x="163" y="1367"/>
                      </a:lnTo>
                      <a:lnTo>
                        <a:pt x="162" y="1367"/>
                      </a:lnTo>
                      <a:lnTo>
                        <a:pt x="162" y="1367"/>
                      </a:lnTo>
                      <a:lnTo>
                        <a:pt x="162" y="1367"/>
                      </a:lnTo>
                      <a:lnTo>
                        <a:pt x="162" y="1366"/>
                      </a:lnTo>
                      <a:lnTo>
                        <a:pt x="162" y="1366"/>
                      </a:lnTo>
                      <a:lnTo>
                        <a:pt x="162" y="1365"/>
                      </a:lnTo>
                      <a:lnTo>
                        <a:pt x="162" y="1365"/>
                      </a:lnTo>
                      <a:lnTo>
                        <a:pt x="161" y="1364"/>
                      </a:lnTo>
                      <a:lnTo>
                        <a:pt x="161" y="1363"/>
                      </a:lnTo>
                      <a:lnTo>
                        <a:pt x="160" y="1363"/>
                      </a:lnTo>
                      <a:lnTo>
                        <a:pt x="161" y="1363"/>
                      </a:lnTo>
                      <a:lnTo>
                        <a:pt x="161" y="1362"/>
                      </a:lnTo>
                      <a:lnTo>
                        <a:pt x="160" y="1362"/>
                      </a:lnTo>
                      <a:lnTo>
                        <a:pt x="160" y="1363"/>
                      </a:lnTo>
                      <a:lnTo>
                        <a:pt x="160" y="1363"/>
                      </a:lnTo>
                      <a:lnTo>
                        <a:pt x="160" y="1362"/>
                      </a:lnTo>
                      <a:lnTo>
                        <a:pt x="159" y="1362"/>
                      </a:lnTo>
                      <a:lnTo>
                        <a:pt x="159" y="1361"/>
                      </a:lnTo>
                      <a:lnTo>
                        <a:pt x="158" y="1361"/>
                      </a:lnTo>
                      <a:lnTo>
                        <a:pt x="158" y="1361"/>
                      </a:lnTo>
                      <a:lnTo>
                        <a:pt x="157" y="1361"/>
                      </a:lnTo>
                      <a:lnTo>
                        <a:pt x="157" y="1361"/>
                      </a:lnTo>
                      <a:lnTo>
                        <a:pt x="157" y="1361"/>
                      </a:lnTo>
                      <a:lnTo>
                        <a:pt x="156" y="1361"/>
                      </a:lnTo>
                      <a:lnTo>
                        <a:pt x="156" y="1361"/>
                      </a:lnTo>
                      <a:lnTo>
                        <a:pt x="156" y="1360"/>
                      </a:lnTo>
                      <a:lnTo>
                        <a:pt x="155" y="1360"/>
                      </a:lnTo>
                      <a:lnTo>
                        <a:pt x="155" y="1360"/>
                      </a:lnTo>
                      <a:lnTo>
                        <a:pt x="154" y="1359"/>
                      </a:lnTo>
                      <a:lnTo>
                        <a:pt x="155" y="1359"/>
                      </a:lnTo>
                      <a:lnTo>
                        <a:pt x="155" y="1359"/>
                      </a:lnTo>
                      <a:lnTo>
                        <a:pt x="154" y="1358"/>
                      </a:lnTo>
                      <a:lnTo>
                        <a:pt x="153" y="1358"/>
                      </a:lnTo>
                      <a:lnTo>
                        <a:pt x="153" y="1358"/>
                      </a:lnTo>
                      <a:lnTo>
                        <a:pt x="153" y="1357"/>
                      </a:lnTo>
                      <a:lnTo>
                        <a:pt x="152" y="1357"/>
                      </a:lnTo>
                      <a:lnTo>
                        <a:pt x="152" y="1357"/>
                      </a:lnTo>
                      <a:lnTo>
                        <a:pt x="152" y="1357"/>
                      </a:lnTo>
                      <a:lnTo>
                        <a:pt x="152" y="1357"/>
                      </a:lnTo>
                      <a:lnTo>
                        <a:pt x="152" y="1357"/>
                      </a:lnTo>
                      <a:lnTo>
                        <a:pt x="151" y="1357"/>
                      </a:lnTo>
                      <a:lnTo>
                        <a:pt x="151" y="1357"/>
                      </a:lnTo>
                      <a:lnTo>
                        <a:pt x="151" y="1357"/>
                      </a:lnTo>
                      <a:lnTo>
                        <a:pt x="150" y="1357"/>
                      </a:lnTo>
                      <a:lnTo>
                        <a:pt x="150" y="1357"/>
                      </a:lnTo>
                      <a:lnTo>
                        <a:pt x="150" y="1356"/>
                      </a:lnTo>
                      <a:lnTo>
                        <a:pt x="150" y="1355"/>
                      </a:lnTo>
                      <a:lnTo>
                        <a:pt x="150" y="1355"/>
                      </a:lnTo>
                      <a:lnTo>
                        <a:pt x="149" y="1355"/>
                      </a:lnTo>
                      <a:lnTo>
                        <a:pt x="149" y="1355"/>
                      </a:lnTo>
                      <a:lnTo>
                        <a:pt x="149" y="1354"/>
                      </a:lnTo>
                      <a:lnTo>
                        <a:pt x="148" y="1354"/>
                      </a:lnTo>
                      <a:lnTo>
                        <a:pt x="147" y="1353"/>
                      </a:lnTo>
                      <a:lnTo>
                        <a:pt x="147" y="1353"/>
                      </a:lnTo>
                      <a:lnTo>
                        <a:pt x="146" y="1353"/>
                      </a:lnTo>
                      <a:lnTo>
                        <a:pt x="146" y="1353"/>
                      </a:lnTo>
                      <a:lnTo>
                        <a:pt x="145" y="1353"/>
                      </a:lnTo>
                      <a:lnTo>
                        <a:pt x="145" y="1352"/>
                      </a:lnTo>
                      <a:lnTo>
                        <a:pt x="145" y="1352"/>
                      </a:lnTo>
                      <a:lnTo>
                        <a:pt x="144" y="1352"/>
                      </a:lnTo>
                      <a:lnTo>
                        <a:pt x="144" y="1351"/>
                      </a:lnTo>
                      <a:lnTo>
                        <a:pt x="143" y="1351"/>
                      </a:lnTo>
                      <a:lnTo>
                        <a:pt x="144" y="1350"/>
                      </a:lnTo>
                      <a:lnTo>
                        <a:pt x="143" y="1350"/>
                      </a:lnTo>
                      <a:lnTo>
                        <a:pt x="143" y="1351"/>
                      </a:lnTo>
                      <a:lnTo>
                        <a:pt x="143" y="1351"/>
                      </a:lnTo>
                      <a:lnTo>
                        <a:pt x="143" y="1350"/>
                      </a:lnTo>
                      <a:lnTo>
                        <a:pt x="143" y="1350"/>
                      </a:lnTo>
                      <a:lnTo>
                        <a:pt x="142" y="1350"/>
                      </a:lnTo>
                      <a:lnTo>
                        <a:pt x="141" y="1350"/>
                      </a:lnTo>
                      <a:lnTo>
                        <a:pt x="141" y="1349"/>
                      </a:lnTo>
                      <a:lnTo>
                        <a:pt x="141" y="1349"/>
                      </a:lnTo>
                      <a:lnTo>
                        <a:pt x="140" y="1349"/>
                      </a:lnTo>
                      <a:lnTo>
                        <a:pt x="140" y="1348"/>
                      </a:lnTo>
                      <a:lnTo>
                        <a:pt x="140" y="1349"/>
                      </a:lnTo>
                      <a:lnTo>
                        <a:pt x="139" y="1348"/>
                      </a:lnTo>
                      <a:lnTo>
                        <a:pt x="140" y="1348"/>
                      </a:lnTo>
                      <a:lnTo>
                        <a:pt x="141" y="1348"/>
                      </a:lnTo>
                      <a:lnTo>
                        <a:pt x="141" y="1348"/>
                      </a:lnTo>
                      <a:lnTo>
                        <a:pt x="140" y="1348"/>
                      </a:lnTo>
                      <a:lnTo>
                        <a:pt x="139" y="1348"/>
                      </a:lnTo>
                      <a:lnTo>
                        <a:pt x="139" y="1347"/>
                      </a:lnTo>
                      <a:lnTo>
                        <a:pt x="138" y="1346"/>
                      </a:lnTo>
                      <a:lnTo>
                        <a:pt x="138" y="1347"/>
                      </a:lnTo>
                      <a:lnTo>
                        <a:pt x="138" y="1348"/>
                      </a:lnTo>
                      <a:lnTo>
                        <a:pt x="138" y="1348"/>
                      </a:lnTo>
                      <a:lnTo>
                        <a:pt x="138" y="1347"/>
                      </a:lnTo>
                      <a:lnTo>
                        <a:pt x="137" y="1347"/>
                      </a:lnTo>
                      <a:lnTo>
                        <a:pt x="137" y="1346"/>
                      </a:lnTo>
                      <a:lnTo>
                        <a:pt x="136" y="1346"/>
                      </a:lnTo>
                      <a:lnTo>
                        <a:pt x="136" y="1346"/>
                      </a:lnTo>
                      <a:lnTo>
                        <a:pt x="135" y="1346"/>
                      </a:lnTo>
                      <a:lnTo>
                        <a:pt x="134" y="1346"/>
                      </a:lnTo>
                      <a:lnTo>
                        <a:pt x="134" y="1346"/>
                      </a:lnTo>
                      <a:lnTo>
                        <a:pt x="135" y="1346"/>
                      </a:lnTo>
                      <a:lnTo>
                        <a:pt x="135" y="1345"/>
                      </a:lnTo>
                      <a:lnTo>
                        <a:pt x="134" y="1345"/>
                      </a:lnTo>
                      <a:lnTo>
                        <a:pt x="134" y="1345"/>
                      </a:lnTo>
                      <a:lnTo>
                        <a:pt x="134" y="1344"/>
                      </a:lnTo>
                      <a:lnTo>
                        <a:pt x="133" y="1344"/>
                      </a:lnTo>
                      <a:lnTo>
                        <a:pt x="133" y="1344"/>
                      </a:lnTo>
                      <a:lnTo>
                        <a:pt x="132" y="1344"/>
                      </a:lnTo>
                      <a:lnTo>
                        <a:pt x="132" y="1343"/>
                      </a:lnTo>
                      <a:lnTo>
                        <a:pt x="133" y="1343"/>
                      </a:lnTo>
                      <a:lnTo>
                        <a:pt x="133" y="1342"/>
                      </a:lnTo>
                      <a:lnTo>
                        <a:pt x="132" y="1342"/>
                      </a:lnTo>
                      <a:lnTo>
                        <a:pt x="132" y="1342"/>
                      </a:lnTo>
                      <a:lnTo>
                        <a:pt x="132" y="1342"/>
                      </a:lnTo>
                      <a:lnTo>
                        <a:pt x="131" y="1342"/>
                      </a:lnTo>
                      <a:lnTo>
                        <a:pt x="130" y="1342"/>
                      </a:lnTo>
                      <a:lnTo>
                        <a:pt x="130" y="1342"/>
                      </a:lnTo>
                      <a:lnTo>
                        <a:pt x="130" y="1341"/>
                      </a:lnTo>
                      <a:lnTo>
                        <a:pt x="129" y="1341"/>
                      </a:lnTo>
                      <a:lnTo>
                        <a:pt x="129" y="1340"/>
                      </a:lnTo>
                      <a:lnTo>
                        <a:pt x="128" y="1340"/>
                      </a:lnTo>
                      <a:lnTo>
                        <a:pt x="128" y="1340"/>
                      </a:lnTo>
                      <a:lnTo>
                        <a:pt x="128" y="1339"/>
                      </a:lnTo>
                      <a:lnTo>
                        <a:pt x="128" y="1338"/>
                      </a:lnTo>
                      <a:lnTo>
                        <a:pt x="128" y="1338"/>
                      </a:lnTo>
                      <a:lnTo>
                        <a:pt x="128" y="1338"/>
                      </a:lnTo>
                      <a:lnTo>
                        <a:pt x="127" y="1338"/>
                      </a:lnTo>
                      <a:lnTo>
                        <a:pt x="126" y="1338"/>
                      </a:lnTo>
                      <a:lnTo>
                        <a:pt x="126" y="1337"/>
                      </a:lnTo>
                      <a:lnTo>
                        <a:pt x="127" y="1337"/>
                      </a:lnTo>
                      <a:lnTo>
                        <a:pt x="127" y="1336"/>
                      </a:lnTo>
                      <a:lnTo>
                        <a:pt x="126" y="1336"/>
                      </a:lnTo>
                      <a:lnTo>
                        <a:pt x="126" y="1336"/>
                      </a:lnTo>
                      <a:lnTo>
                        <a:pt x="126" y="1337"/>
                      </a:lnTo>
                      <a:lnTo>
                        <a:pt x="126" y="1338"/>
                      </a:lnTo>
                      <a:lnTo>
                        <a:pt x="125" y="1338"/>
                      </a:lnTo>
                      <a:lnTo>
                        <a:pt x="124" y="1338"/>
                      </a:lnTo>
                      <a:lnTo>
                        <a:pt x="124" y="1337"/>
                      </a:lnTo>
                      <a:lnTo>
                        <a:pt x="125" y="1337"/>
                      </a:lnTo>
                      <a:lnTo>
                        <a:pt x="125" y="1336"/>
                      </a:lnTo>
                      <a:lnTo>
                        <a:pt x="124" y="1336"/>
                      </a:lnTo>
                      <a:lnTo>
                        <a:pt x="124" y="1336"/>
                      </a:lnTo>
                      <a:lnTo>
                        <a:pt x="124" y="1336"/>
                      </a:lnTo>
                      <a:lnTo>
                        <a:pt x="124" y="1336"/>
                      </a:lnTo>
                      <a:lnTo>
                        <a:pt x="123" y="1336"/>
                      </a:lnTo>
                      <a:lnTo>
                        <a:pt x="123" y="1335"/>
                      </a:lnTo>
                      <a:lnTo>
                        <a:pt x="123" y="1334"/>
                      </a:lnTo>
                      <a:lnTo>
                        <a:pt x="122" y="1334"/>
                      </a:lnTo>
                      <a:lnTo>
                        <a:pt x="122" y="1335"/>
                      </a:lnTo>
                      <a:lnTo>
                        <a:pt x="121" y="1335"/>
                      </a:lnTo>
                      <a:lnTo>
                        <a:pt x="121" y="1334"/>
                      </a:lnTo>
                      <a:lnTo>
                        <a:pt x="121" y="1334"/>
                      </a:lnTo>
                      <a:lnTo>
                        <a:pt x="121" y="1334"/>
                      </a:lnTo>
                      <a:lnTo>
                        <a:pt x="121" y="1334"/>
                      </a:lnTo>
                      <a:lnTo>
                        <a:pt x="122" y="1334"/>
                      </a:lnTo>
                      <a:lnTo>
                        <a:pt x="122" y="1333"/>
                      </a:lnTo>
                      <a:lnTo>
                        <a:pt x="121" y="1333"/>
                      </a:lnTo>
                      <a:lnTo>
                        <a:pt x="121" y="1332"/>
                      </a:lnTo>
                      <a:lnTo>
                        <a:pt x="121" y="1333"/>
                      </a:lnTo>
                      <a:lnTo>
                        <a:pt x="120" y="1333"/>
                      </a:lnTo>
                      <a:lnTo>
                        <a:pt x="119" y="1333"/>
                      </a:lnTo>
                      <a:lnTo>
                        <a:pt x="120" y="1333"/>
                      </a:lnTo>
                      <a:lnTo>
                        <a:pt x="120" y="1332"/>
                      </a:lnTo>
                      <a:lnTo>
                        <a:pt x="121" y="1332"/>
                      </a:lnTo>
                      <a:lnTo>
                        <a:pt x="120" y="1332"/>
                      </a:lnTo>
                      <a:lnTo>
                        <a:pt x="120" y="1331"/>
                      </a:lnTo>
                      <a:lnTo>
                        <a:pt x="121" y="1331"/>
                      </a:lnTo>
                      <a:lnTo>
                        <a:pt x="121" y="1330"/>
                      </a:lnTo>
                      <a:lnTo>
                        <a:pt x="121" y="1330"/>
                      </a:lnTo>
                      <a:lnTo>
                        <a:pt x="121" y="1329"/>
                      </a:lnTo>
                      <a:lnTo>
                        <a:pt x="121" y="1329"/>
                      </a:lnTo>
                      <a:lnTo>
                        <a:pt x="122" y="1329"/>
                      </a:lnTo>
                      <a:lnTo>
                        <a:pt x="122" y="1328"/>
                      </a:lnTo>
                      <a:lnTo>
                        <a:pt x="122" y="1327"/>
                      </a:lnTo>
                      <a:lnTo>
                        <a:pt x="123" y="1327"/>
                      </a:lnTo>
                      <a:lnTo>
                        <a:pt x="123" y="1327"/>
                      </a:lnTo>
                      <a:lnTo>
                        <a:pt x="123" y="1326"/>
                      </a:lnTo>
                      <a:lnTo>
                        <a:pt x="123" y="1325"/>
                      </a:lnTo>
                      <a:lnTo>
                        <a:pt x="124" y="1325"/>
                      </a:lnTo>
                      <a:lnTo>
                        <a:pt x="124" y="1325"/>
                      </a:lnTo>
                      <a:lnTo>
                        <a:pt x="124" y="1324"/>
                      </a:lnTo>
                      <a:lnTo>
                        <a:pt x="125" y="1324"/>
                      </a:lnTo>
                      <a:lnTo>
                        <a:pt x="126" y="1324"/>
                      </a:lnTo>
                      <a:lnTo>
                        <a:pt x="126" y="1324"/>
                      </a:lnTo>
                      <a:lnTo>
                        <a:pt x="126" y="1323"/>
                      </a:lnTo>
                      <a:lnTo>
                        <a:pt x="126" y="1323"/>
                      </a:lnTo>
                      <a:lnTo>
                        <a:pt x="127" y="1323"/>
                      </a:lnTo>
                      <a:lnTo>
                        <a:pt x="127" y="1322"/>
                      </a:lnTo>
                      <a:lnTo>
                        <a:pt x="128" y="1322"/>
                      </a:lnTo>
                      <a:lnTo>
                        <a:pt x="128" y="1321"/>
                      </a:lnTo>
                      <a:lnTo>
                        <a:pt x="128" y="1321"/>
                      </a:lnTo>
                      <a:lnTo>
                        <a:pt x="127" y="1321"/>
                      </a:lnTo>
                      <a:lnTo>
                        <a:pt x="128" y="1320"/>
                      </a:lnTo>
                      <a:lnTo>
                        <a:pt x="128" y="1319"/>
                      </a:lnTo>
                      <a:lnTo>
                        <a:pt x="128" y="1319"/>
                      </a:lnTo>
                      <a:lnTo>
                        <a:pt x="128" y="1319"/>
                      </a:lnTo>
                      <a:lnTo>
                        <a:pt x="128" y="1318"/>
                      </a:lnTo>
                      <a:lnTo>
                        <a:pt x="128" y="1317"/>
                      </a:lnTo>
                      <a:lnTo>
                        <a:pt x="128" y="1317"/>
                      </a:lnTo>
                      <a:lnTo>
                        <a:pt x="128" y="1316"/>
                      </a:lnTo>
                      <a:lnTo>
                        <a:pt x="128" y="1315"/>
                      </a:lnTo>
                      <a:lnTo>
                        <a:pt x="128" y="1315"/>
                      </a:lnTo>
                      <a:lnTo>
                        <a:pt x="128" y="1315"/>
                      </a:lnTo>
                      <a:lnTo>
                        <a:pt x="128" y="1314"/>
                      </a:lnTo>
                      <a:lnTo>
                        <a:pt x="128" y="1314"/>
                      </a:lnTo>
                      <a:lnTo>
                        <a:pt x="129" y="1314"/>
                      </a:lnTo>
                      <a:lnTo>
                        <a:pt x="129" y="1313"/>
                      </a:lnTo>
                      <a:lnTo>
                        <a:pt x="129" y="1313"/>
                      </a:lnTo>
                      <a:lnTo>
                        <a:pt x="129" y="1312"/>
                      </a:lnTo>
                      <a:lnTo>
                        <a:pt x="129" y="1311"/>
                      </a:lnTo>
                      <a:lnTo>
                        <a:pt x="128" y="1311"/>
                      </a:lnTo>
                      <a:lnTo>
                        <a:pt x="128" y="1310"/>
                      </a:lnTo>
                      <a:lnTo>
                        <a:pt x="128" y="1310"/>
                      </a:lnTo>
                      <a:lnTo>
                        <a:pt x="128" y="1309"/>
                      </a:lnTo>
                      <a:lnTo>
                        <a:pt x="127" y="1309"/>
                      </a:lnTo>
                      <a:lnTo>
                        <a:pt x="127" y="1308"/>
                      </a:lnTo>
                      <a:lnTo>
                        <a:pt x="126" y="1308"/>
                      </a:lnTo>
                      <a:lnTo>
                        <a:pt x="126" y="1308"/>
                      </a:lnTo>
                      <a:lnTo>
                        <a:pt x="126" y="1308"/>
                      </a:lnTo>
                      <a:lnTo>
                        <a:pt x="125" y="1308"/>
                      </a:lnTo>
                      <a:lnTo>
                        <a:pt x="124" y="1308"/>
                      </a:lnTo>
                      <a:lnTo>
                        <a:pt x="124" y="1308"/>
                      </a:lnTo>
                      <a:lnTo>
                        <a:pt x="124" y="1308"/>
                      </a:lnTo>
                      <a:lnTo>
                        <a:pt x="123" y="1308"/>
                      </a:lnTo>
                      <a:lnTo>
                        <a:pt x="123" y="1307"/>
                      </a:lnTo>
                      <a:lnTo>
                        <a:pt x="122" y="1307"/>
                      </a:lnTo>
                      <a:lnTo>
                        <a:pt x="123" y="1306"/>
                      </a:lnTo>
                      <a:lnTo>
                        <a:pt x="123" y="1306"/>
                      </a:lnTo>
                      <a:lnTo>
                        <a:pt x="123" y="1305"/>
                      </a:lnTo>
                      <a:lnTo>
                        <a:pt x="123" y="1306"/>
                      </a:lnTo>
                      <a:lnTo>
                        <a:pt x="122" y="1306"/>
                      </a:lnTo>
                      <a:lnTo>
                        <a:pt x="121" y="1306"/>
                      </a:lnTo>
                      <a:lnTo>
                        <a:pt x="121" y="1305"/>
                      </a:lnTo>
                      <a:lnTo>
                        <a:pt x="121" y="1304"/>
                      </a:lnTo>
                      <a:lnTo>
                        <a:pt x="121" y="1304"/>
                      </a:lnTo>
                      <a:lnTo>
                        <a:pt x="121" y="1304"/>
                      </a:lnTo>
                      <a:lnTo>
                        <a:pt x="121" y="1303"/>
                      </a:lnTo>
                      <a:lnTo>
                        <a:pt x="120" y="1303"/>
                      </a:lnTo>
                      <a:lnTo>
                        <a:pt x="120" y="1302"/>
                      </a:lnTo>
                      <a:lnTo>
                        <a:pt x="119" y="1302"/>
                      </a:lnTo>
                      <a:lnTo>
                        <a:pt x="119" y="1302"/>
                      </a:lnTo>
                      <a:lnTo>
                        <a:pt x="118" y="1302"/>
                      </a:lnTo>
                      <a:lnTo>
                        <a:pt x="117" y="1302"/>
                      </a:lnTo>
                      <a:lnTo>
                        <a:pt x="117" y="1302"/>
                      </a:lnTo>
                      <a:lnTo>
                        <a:pt x="117" y="1301"/>
                      </a:lnTo>
                      <a:lnTo>
                        <a:pt x="116" y="1301"/>
                      </a:lnTo>
                      <a:lnTo>
                        <a:pt x="115" y="1302"/>
                      </a:lnTo>
                      <a:lnTo>
                        <a:pt x="115" y="1302"/>
                      </a:lnTo>
                      <a:lnTo>
                        <a:pt x="115" y="1301"/>
                      </a:lnTo>
                      <a:lnTo>
                        <a:pt x="115" y="1300"/>
                      </a:lnTo>
                      <a:lnTo>
                        <a:pt x="116" y="1301"/>
                      </a:lnTo>
                      <a:lnTo>
                        <a:pt x="116" y="1300"/>
                      </a:lnTo>
                      <a:lnTo>
                        <a:pt x="116" y="1300"/>
                      </a:lnTo>
                      <a:lnTo>
                        <a:pt x="116" y="1299"/>
                      </a:lnTo>
                      <a:lnTo>
                        <a:pt x="115" y="1298"/>
                      </a:lnTo>
                      <a:lnTo>
                        <a:pt x="115" y="1299"/>
                      </a:lnTo>
                      <a:lnTo>
                        <a:pt x="114" y="1299"/>
                      </a:lnTo>
                      <a:lnTo>
                        <a:pt x="114" y="1298"/>
                      </a:lnTo>
                      <a:lnTo>
                        <a:pt x="114" y="1298"/>
                      </a:lnTo>
                      <a:lnTo>
                        <a:pt x="115" y="1298"/>
                      </a:lnTo>
                      <a:lnTo>
                        <a:pt x="115" y="1298"/>
                      </a:lnTo>
                      <a:lnTo>
                        <a:pt x="116" y="1298"/>
                      </a:lnTo>
                      <a:lnTo>
                        <a:pt x="116" y="1297"/>
                      </a:lnTo>
                      <a:lnTo>
                        <a:pt x="115" y="1296"/>
                      </a:lnTo>
                      <a:lnTo>
                        <a:pt x="115" y="1296"/>
                      </a:lnTo>
                      <a:lnTo>
                        <a:pt x="115" y="1296"/>
                      </a:lnTo>
                      <a:lnTo>
                        <a:pt x="115" y="1295"/>
                      </a:lnTo>
                      <a:lnTo>
                        <a:pt x="115" y="1295"/>
                      </a:lnTo>
                      <a:lnTo>
                        <a:pt x="116" y="1295"/>
                      </a:lnTo>
                      <a:lnTo>
                        <a:pt x="116" y="1296"/>
                      </a:lnTo>
                      <a:lnTo>
                        <a:pt x="117" y="1296"/>
                      </a:lnTo>
                      <a:lnTo>
                        <a:pt x="117" y="1295"/>
                      </a:lnTo>
                      <a:lnTo>
                        <a:pt x="117" y="1294"/>
                      </a:lnTo>
                      <a:lnTo>
                        <a:pt x="116" y="1294"/>
                      </a:lnTo>
                      <a:lnTo>
                        <a:pt x="116" y="1294"/>
                      </a:lnTo>
                      <a:lnTo>
                        <a:pt x="116" y="1293"/>
                      </a:lnTo>
                      <a:lnTo>
                        <a:pt x="116" y="1292"/>
                      </a:lnTo>
                      <a:lnTo>
                        <a:pt x="115" y="1292"/>
                      </a:lnTo>
                      <a:lnTo>
                        <a:pt x="115" y="1291"/>
                      </a:lnTo>
                      <a:lnTo>
                        <a:pt x="115" y="1291"/>
                      </a:lnTo>
                      <a:lnTo>
                        <a:pt x="115" y="1290"/>
                      </a:lnTo>
                      <a:lnTo>
                        <a:pt x="115" y="1291"/>
                      </a:lnTo>
                      <a:lnTo>
                        <a:pt x="114" y="1291"/>
                      </a:lnTo>
                      <a:lnTo>
                        <a:pt x="113" y="1291"/>
                      </a:lnTo>
                      <a:lnTo>
                        <a:pt x="114" y="1290"/>
                      </a:lnTo>
                      <a:lnTo>
                        <a:pt x="115" y="1290"/>
                      </a:lnTo>
                      <a:lnTo>
                        <a:pt x="115" y="1289"/>
                      </a:lnTo>
                      <a:lnTo>
                        <a:pt x="114" y="1289"/>
                      </a:lnTo>
                      <a:lnTo>
                        <a:pt x="114" y="1288"/>
                      </a:lnTo>
                      <a:lnTo>
                        <a:pt x="114" y="1287"/>
                      </a:lnTo>
                      <a:lnTo>
                        <a:pt x="114" y="1287"/>
                      </a:lnTo>
                      <a:lnTo>
                        <a:pt x="113" y="1287"/>
                      </a:lnTo>
                      <a:lnTo>
                        <a:pt x="113" y="1287"/>
                      </a:lnTo>
                      <a:lnTo>
                        <a:pt x="113" y="1286"/>
                      </a:lnTo>
                      <a:lnTo>
                        <a:pt x="113" y="1285"/>
                      </a:lnTo>
                      <a:lnTo>
                        <a:pt x="112" y="1285"/>
                      </a:lnTo>
                      <a:lnTo>
                        <a:pt x="112" y="1285"/>
                      </a:lnTo>
                      <a:lnTo>
                        <a:pt x="112" y="1284"/>
                      </a:lnTo>
                      <a:lnTo>
                        <a:pt x="111" y="1284"/>
                      </a:lnTo>
                      <a:lnTo>
                        <a:pt x="111" y="1283"/>
                      </a:lnTo>
                      <a:lnTo>
                        <a:pt x="111" y="1283"/>
                      </a:lnTo>
                      <a:lnTo>
                        <a:pt x="111" y="1283"/>
                      </a:lnTo>
                      <a:lnTo>
                        <a:pt x="111" y="1282"/>
                      </a:lnTo>
                      <a:lnTo>
                        <a:pt x="111" y="1281"/>
                      </a:lnTo>
                      <a:lnTo>
                        <a:pt x="110" y="1281"/>
                      </a:lnTo>
                      <a:lnTo>
                        <a:pt x="110" y="1281"/>
                      </a:lnTo>
                      <a:lnTo>
                        <a:pt x="110" y="1282"/>
                      </a:lnTo>
                      <a:lnTo>
                        <a:pt x="109" y="1282"/>
                      </a:lnTo>
                      <a:lnTo>
                        <a:pt x="109" y="1281"/>
                      </a:lnTo>
                      <a:lnTo>
                        <a:pt x="109" y="1281"/>
                      </a:lnTo>
                      <a:lnTo>
                        <a:pt x="109" y="1280"/>
                      </a:lnTo>
                      <a:lnTo>
                        <a:pt x="109" y="1280"/>
                      </a:lnTo>
                      <a:lnTo>
                        <a:pt x="109" y="1279"/>
                      </a:lnTo>
                      <a:lnTo>
                        <a:pt x="109" y="1280"/>
                      </a:lnTo>
                      <a:lnTo>
                        <a:pt x="108" y="1280"/>
                      </a:lnTo>
                      <a:lnTo>
                        <a:pt x="108" y="1279"/>
                      </a:lnTo>
                      <a:lnTo>
                        <a:pt x="108" y="1279"/>
                      </a:lnTo>
                      <a:lnTo>
                        <a:pt x="109" y="1279"/>
                      </a:lnTo>
                      <a:lnTo>
                        <a:pt x="109" y="1279"/>
                      </a:lnTo>
                      <a:lnTo>
                        <a:pt x="109" y="1279"/>
                      </a:lnTo>
                      <a:lnTo>
                        <a:pt x="109" y="1278"/>
                      </a:lnTo>
                      <a:lnTo>
                        <a:pt x="109" y="1277"/>
                      </a:lnTo>
                      <a:lnTo>
                        <a:pt x="108" y="1277"/>
                      </a:lnTo>
                      <a:lnTo>
                        <a:pt x="108" y="1278"/>
                      </a:lnTo>
                      <a:lnTo>
                        <a:pt x="107" y="1278"/>
                      </a:lnTo>
                      <a:lnTo>
                        <a:pt x="107" y="1278"/>
                      </a:lnTo>
                      <a:lnTo>
                        <a:pt x="106" y="1278"/>
                      </a:lnTo>
                      <a:lnTo>
                        <a:pt x="106" y="1277"/>
                      </a:lnTo>
                      <a:lnTo>
                        <a:pt x="107" y="1277"/>
                      </a:lnTo>
                      <a:lnTo>
                        <a:pt x="106" y="1277"/>
                      </a:lnTo>
                      <a:lnTo>
                        <a:pt x="106" y="1277"/>
                      </a:lnTo>
                      <a:lnTo>
                        <a:pt x="106" y="1276"/>
                      </a:lnTo>
                      <a:lnTo>
                        <a:pt x="106" y="1275"/>
                      </a:lnTo>
                      <a:lnTo>
                        <a:pt x="106" y="1275"/>
                      </a:lnTo>
                      <a:lnTo>
                        <a:pt x="106" y="1274"/>
                      </a:lnTo>
                      <a:lnTo>
                        <a:pt x="105" y="1274"/>
                      </a:lnTo>
                      <a:lnTo>
                        <a:pt x="105" y="1275"/>
                      </a:lnTo>
                      <a:lnTo>
                        <a:pt x="105" y="1275"/>
                      </a:lnTo>
                      <a:lnTo>
                        <a:pt x="105" y="1274"/>
                      </a:lnTo>
                      <a:lnTo>
                        <a:pt x="105" y="1274"/>
                      </a:lnTo>
                      <a:lnTo>
                        <a:pt x="105" y="1273"/>
                      </a:lnTo>
                      <a:lnTo>
                        <a:pt x="105" y="1273"/>
                      </a:lnTo>
                      <a:lnTo>
                        <a:pt x="105" y="1273"/>
                      </a:lnTo>
                      <a:lnTo>
                        <a:pt x="105" y="1272"/>
                      </a:lnTo>
                      <a:lnTo>
                        <a:pt x="104" y="1272"/>
                      </a:lnTo>
                      <a:lnTo>
                        <a:pt x="104" y="1273"/>
                      </a:lnTo>
                      <a:lnTo>
                        <a:pt x="104" y="1272"/>
                      </a:lnTo>
                      <a:lnTo>
                        <a:pt x="103" y="1272"/>
                      </a:lnTo>
                      <a:lnTo>
                        <a:pt x="103" y="1271"/>
                      </a:lnTo>
                      <a:lnTo>
                        <a:pt x="103" y="1270"/>
                      </a:lnTo>
                      <a:lnTo>
                        <a:pt x="102" y="1270"/>
                      </a:lnTo>
                      <a:lnTo>
                        <a:pt x="102" y="1270"/>
                      </a:lnTo>
                      <a:lnTo>
                        <a:pt x="102" y="1271"/>
                      </a:lnTo>
                      <a:lnTo>
                        <a:pt x="101" y="1271"/>
                      </a:lnTo>
                      <a:lnTo>
                        <a:pt x="101" y="1270"/>
                      </a:lnTo>
                      <a:lnTo>
                        <a:pt x="101" y="1270"/>
                      </a:lnTo>
                      <a:lnTo>
                        <a:pt x="101" y="1269"/>
                      </a:lnTo>
                      <a:lnTo>
                        <a:pt x="101" y="1268"/>
                      </a:lnTo>
                      <a:lnTo>
                        <a:pt x="100" y="1268"/>
                      </a:lnTo>
                      <a:lnTo>
                        <a:pt x="100" y="1269"/>
                      </a:lnTo>
                      <a:lnTo>
                        <a:pt x="100" y="1268"/>
                      </a:lnTo>
                      <a:lnTo>
                        <a:pt x="100" y="1268"/>
                      </a:lnTo>
                      <a:lnTo>
                        <a:pt x="100" y="1269"/>
                      </a:lnTo>
                      <a:lnTo>
                        <a:pt x="99" y="1270"/>
                      </a:lnTo>
                      <a:lnTo>
                        <a:pt x="98" y="1270"/>
                      </a:lnTo>
                      <a:lnTo>
                        <a:pt x="98" y="1269"/>
                      </a:lnTo>
                      <a:lnTo>
                        <a:pt x="98" y="1268"/>
                      </a:lnTo>
                      <a:lnTo>
                        <a:pt x="99" y="1268"/>
                      </a:lnTo>
                      <a:lnTo>
                        <a:pt x="99" y="1268"/>
                      </a:lnTo>
                      <a:lnTo>
                        <a:pt x="99" y="1267"/>
                      </a:lnTo>
                      <a:lnTo>
                        <a:pt x="98" y="1267"/>
                      </a:lnTo>
                      <a:lnTo>
                        <a:pt x="98" y="1266"/>
                      </a:lnTo>
                      <a:lnTo>
                        <a:pt x="99" y="1266"/>
                      </a:lnTo>
                      <a:lnTo>
                        <a:pt x="99" y="1266"/>
                      </a:lnTo>
                      <a:lnTo>
                        <a:pt x="99" y="1266"/>
                      </a:lnTo>
                      <a:lnTo>
                        <a:pt x="100" y="1266"/>
                      </a:lnTo>
                      <a:lnTo>
                        <a:pt x="100" y="1266"/>
                      </a:lnTo>
                      <a:lnTo>
                        <a:pt x="100" y="1265"/>
                      </a:lnTo>
                      <a:lnTo>
                        <a:pt x="99" y="1265"/>
                      </a:lnTo>
                      <a:lnTo>
                        <a:pt x="98" y="1265"/>
                      </a:lnTo>
                      <a:lnTo>
                        <a:pt x="98" y="1264"/>
                      </a:lnTo>
                      <a:lnTo>
                        <a:pt x="98" y="1264"/>
                      </a:lnTo>
                      <a:lnTo>
                        <a:pt x="98" y="1264"/>
                      </a:lnTo>
                      <a:lnTo>
                        <a:pt x="97" y="1264"/>
                      </a:lnTo>
                      <a:lnTo>
                        <a:pt x="96" y="1264"/>
                      </a:lnTo>
                      <a:lnTo>
                        <a:pt x="96" y="1264"/>
                      </a:lnTo>
                      <a:lnTo>
                        <a:pt x="96" y="1263"/>
                      </a:lnTo>
                      <a:lnTo>
                        <a:pt x="96" y="1263"/>
                      </a:lnTo>
                      <a:lnTo>
                        <a:pt x="96" y="1262"/>
                      </a:lnTo>
                      <a:lnTo>
                        <a:pt x="96" y="1262"/>
                      </a:lnTo>
                      <a:lnTo>
                        <a:pt x="96" y="1262"/>
                      </a:lnTo>
                      <a:lnTo>
                        <a:pt x="96" y="1261"/>
                      </a:lnTo>
                      <a:lnTo>
                        <a:pt x="96" y="1260"/>
                      </a:lnTo>
                      <a:lnTo>
                        <a:pt x="95" y="1260"/>
                      </a:lnTo>
                      <a:lnTo>
                        <a:pt x="95" y="1260"/>
                      </a:lnTo>
                      <a:lnTo>
                        <a:pt x="94" y="1260"/>
                      </a:lnTo>
                      <a:lnTo>
                        <a:pt x="94" y="1259"/>
                      </a:lnTo>
                      <a:lnTo>
                        <a:pt x="94" y="1259"/>
                      </a:lnTo>
                      <a:lnTo>
                        <a:pt x="93" y="1259"/>
                      </a:lnTo>
                      <a:lnTo>
                        <a:pt x="93" y="1260"/>
                      </a:lnTo>
                      <a:lnTo>
                        <a:pt x="93" y="1260"/>
                      </a:lnTo>
                      <a:lnTo>
                        <a:pt x="92" y="1260"/>
                      </a:lnTo>
                      <a:lnTo>
                        <a:pt x="92" y="1260"/>
                      </a:lnTo>
                      <a:lnTo>
                        <a:pt x="92" y="1259"/>
                      </a:lnTo>
                      <a:lnTo>
                        <a:pt x="92" y="1258"/>
                      </a:lnTo>
                      <a:lnTo>
                        <a:pt x="91" y="1258"/>
                      </a:lnTo>
                      <a:lnTo>
                        <a:pt x="91" y="1258"/>
                      </a:lnTo>
                      <a:lnTo>
                        <a:pt x="91" y="1259"/>
                      </a:lnTo>
                      <a:lnTo>
                        <a:pt x="91" y="1260"/>
                      </a:lnTo>
                      <a:lnTo>
                        <a:pt x="91" y="1260"/>
                      </a:lnTo>
                      <a:lnTo>
                        <a:pt x="90" y="1260"/>
                      </a:lnTo>
                      <a:lnTo>
                        <a:pt x="90" y="1260"/>
                      </a:lnTo>
                      <a:lnTo>
                        <a:pt x="90" y="1260"/>
                      </a:lnTo>
                      <a:lnTo>
                        <a:pt x="90" y="1259"/>
                      </a:lnTo>
                      <a:lnTo>
                        <a:pt x="89" y="1259"/>
                      </a:lnTo>
                      <a:lnTo>
                        <a:pt x="88" y="1260"/>
                      </a:lnTo>
                      <a:lnTo>
                        <a:pt x="88" y="1260"/>
                      </a:lnTo>
                      <a:lnTo>
                        <a:pt x="88" y="1259"/>
                      </a:lnTo>
                      <a:lnTo>
                        <a:pt x="88" y="1258"/>
                      </a:lnTo>
                      <a:lnTo>
                        <a:pt x="88" y="1258"/>
                      </a:lnTo>
                      <a:lnTo>
                        <a:pt x="88" y="1258"/>
                      </a:lnTo>
                      <a:lnTo>
                        <a:pt x="88" y="1258"/>
                      </a:lnTo>
                      <a:lnTo>
                        <a:pt x="89" y="1258"/>
                      </a:lnTo>
                      <a:lnTo>
                        <a:pt x="89" y="1258"/>
                      </a:lnTo>
                      <a:lnTo>
                        <a:pt x="88" y="1258"/>
                      </a:lnTo>
                      <a:lnTo>
                        <a:pt x="88" y="1258"/>
                      </a:lnTo>
                      <a:lnTo>
                        <a:pt x="88" y="1257"/>
                      </a:lnTo>
                      <a:lnTo>
                        <a:pt x="88" y="1256"/>
                      </a:lnTo>
                      <a:lnTo>
                        <a:pt x="87" y="1256"/>
                      </a:lnTo>
                      <a:lnTo>
                        <a:pt x="86" y="1256"/>
                      </a:lnTo>
                      <a:lnTo>
                        <a:pt x="86" y="1256"/>
                      </a:lnTo>
                      <a:lnTo>
                        <a:pt x="86" y="1254"/>
                      </a:lnTo>
                      <a:lnTo>
                        <a:pt x="86" y="1254"/>
                      </a:lnTo>
                      <a:lnTo>
                        <a:pt x="86" y="1254"/>
                      </a:lnTo>
                      <a:lnTo>
                        <a:pt x="86" y="1254"/>
                      </a:lnTo>
                      <a:lnTo>
                        <a:pt x="86" y="1253"/>
                      </a:lnTo>
                      <a:lnTo>
                        <a:pt x="87" y="1253"/>
                      </a:lnTo>
                      <a:lnTo>
                        <a:pt x="87" y="1254"/>
                      </a:lnTo>
                      <a:lnTo>
                        <a:pt x="88" y="1254"/>
                      </a:lnTo>
                      <a:lnTo>
                        <a:pt x="88" y="1253"/>
                      </a:lnTo>
                      <a:lnTo>
                        <a:pt x="87" y="1253"/>
                      </a:lnTo>
                      <a:lnTo>
                        <a:pt x="88" y="1253"/>
                      </a:lnTo>
                      <a:lnTo>
                        <a:pt x="88" y="1252"/>
                      </a:lnTo>
                      <a:lnTo>
                        <a:pt x="88" y="1252"/>
                      </a:lnTo>
                      <a:lnTo>
                        <a:pt x="89" y="1252"/>
                      </a:lnTo>
                      <a:lnTo>
                        <a:pt x="89" y="1251"/>
                      </a:lnTo>
                      <a:lnTo>
                        <a:pt x="88" y="1251"/>
                      </a:lnTo>
                      <a:lnTo>
                        <a:pt x="88" y="1251"/>
                      </a:lnTo>
                      <a:lnTo>
                        <a:pt x="88" y="1251"/>
                      </a:lnTo>
                      <a:lnTo>
                        <a:pt x="87" y="1250"/>
                      </a:lnTo>
                      <a:lnTo>
                        <a:pt x="88" y="1250"/>
                      </a:lnTo>
                      <a:lnTo>
                        <a:pt x="88" y="1250"/>
                      </a:lnTo>
                      <a:lnTo>
                        <a:pt x="88" y="1249"/>
                      </a:lnTo>
                      <a:lnTo>
                        <a:pt x="88" y="1249"/>
                      </a:lnTo>
                      <a:lnTo>
                        <a:pt x="87" y="1249"/>
                      </a:lnTo>
                      <a:lnTo>
                        <a:pt x="87" y="1249"/>
                      </a:lnTo>
                      <a:lnTo>
                        <a:pt x="86" y="1249"/>
                      </a:lnTo>
                      <a:lnTo>
                        <a:pt x="86" y="1249"/>
                      </a:lnTo>
                      <a:lnTo>
                        <a:pt x="86" y="1249"/>
                      </a:lnTo>
                      <a:lnTo>
                        <a:pt x="86" y="1248"/>
                      </a:lnTo>
                      <a:lnTo>
                        <a:pt x="86" y="1248"/>
                      </a:lnTo>
                      <a:lnTo>
                        <a:pt x="87" y="1248"/>
                      </a:lnTo>
                      <a:lnTo>
                        <a:pt x="87" y="1247"/>
                      </a:lnTo>
                      <a:lnTo>
                        <a:pt x="87" y="1247"/>
                      </a:lnTo>
                      <a:lnTo>
                        <a:pt x="88" y="1247"/>
                      </a:lnTo>
                      <a:lnTo>
                        <a:pt x="88" y="1246"/>
                      </a:lnTo>
                      <a:lnTo>
                        <a:pt x="87" y="1246"/>
                      </a:lnTo>
                      <a:lnTo>
                        <a:pt x="87" y="1245"/>
                      </a:lnTo>
                      <a:lnTo>
                        <a:pt x="87" y="1245"/>
                      </a:lnTo>
                      <a:lnTo>
                        <a:pt x="88" y="1245"/>
                      </a:lnTo>
                      <a:lnTo>
                        <a:pt x="87" y="1245"/>
                      </a:lnTo>
                      <a:lnTo>
                        <a:pt x="86" y="1245"/>
                      </a:lnTo>
                      <a:lnTo>
                        <a:pt x="86" y="1244"/>
                      </a:lnTo>
                      <a:lnTo>
                        <a:pt x="86" y="1243"/>
                      </a:lnTo>
                      <a:lnTo>
                        <a:pt x="86" y="1243"/>
                      </a:lnTo>
                      <a:lnTo>
                        <a:pt x="86" y="1244"/>
                      </a:lnTo>
                      <a:lnTo>
                        <a:pt x="85" y="1243"/>
                      </a:lnTo>
                      <a:lnTo>
                        <a:pt x="85" y="1243"/>
                      </a:lnTo>
                      <a:lnTo>
                        <a:pt x="85" y="1242"/>
                      </a:lnTo>
                      <a:lnTo>
                        <a:pt x="84" y="1242"/>
                      </a:lnTo>
                      <a:lnTo>
                        <a:pt x="84" y="1243"/>
                      </a:lnTo>
                      <a:lnTo>
                        <a:pt x="83" y="1243"/>
                      </a:lnTo>
                      <a:lnTo>
                        <a:pt x="83" y="1244"/>
                      </a:lnTo>
                      <a:lnTo>
                        <a:pt x="83" y="1245"/>
                      </a:lnTo>
                      <a:lnTo>
                        <a:pt x="83" y="1245"/>
                      </a:lnTo>
                      <a:lnTo>
                        <a:pt x="83" y="1244"/>
                      </a:lnTo>
                      <a:lnTo>
                        <a:pt x="82" y="1244"/>
                      </a:lnTo>
                      <a:lnTo>
                        <a:pt x="83" y="1244"/>
                      </a:lnTo>
                      <a:lnTo>
                        <a:pt x="83" y="1243"/>
                      </a:lnTo>
                      <a:lnTo>
                        <a:pt x="82" y="1243"/>
                      </a:lnTo>
                      <a:lnTo>
                        <a:pt x="81" y="1243"/>
                      </a:lnTo>
                      <a:lnTo>
                        <a:pt x="81" y="1243"/>
                      </a:lnTo>
                      <a:lnTo>
                        <a:pt x="81" y="1243"/>
                      </a:lnTo>
                      <a:lnTo>
                        <a:pt x="81" y="1242"/>
                      </a:lnTo>
                      <a:lnTo>
                        <a:pt x="80" y="1242"/>
                      </a:lnTo>
                      <a:lnTo>
                        <a:pt x="79" y="1242"/>
                      </a:lnTo>
                      <a:lnTo>
                        <a:pt x="79" y="1241"/>
                      </a:lnTo>
                      <a:lnTo>
                        <a:pt x="78" y="1241"/>
                      </a:lnTo>
                      <a:lnTo>
                        <a:pt x="77" y="1241"/>
                      </a:lnTo>
                      <a:lnTo>
                        <a:pt x="77" y="1241"/>
                      </a:lnTo>
                      <a:lnTo>
                        <a:pt x="76" y="1241"/>
                      </a:lnTo>
                      <a:lnTo>
                        <a:pt x="76" y="1240"/>
                      </a:lnTo>
                      <a:lnTo>
                        <a:pt x="76" y="1239"/>
                      </a:lnTo>
                      <a:lnTo>
                        <a:pt x="77" y="1239"/>
                      </a:lnTo>
                      <a:lnTo>
                        <a:pt x="77" y="1238"/>
                      </a:lnTo>
                      <a:lnTo>
                        <a:pt x="77" y="1237"/>
                      </a:lnTo>
                      <a:lnTo>
                        <a:pt x="76" y="1237"/>
                      </a:lnTo>
                      <a:lnTo>
                        <a:pt x="75" y="1237"/>
                      </a:lnTo>
                      <a:lnTo>
                        <a:pt x="75" y="1238"/>
                      </a:lnTo>
                      <a:lnTo>
                        <a:pt x="75" y="1239"/>
                      </a:lnTo>
                      <a:lnTo>
                        <a:pt x="75" y="1239"/>
                      </a:lnTo>
                      <a:lnTo>
                        <a:pt x="75" y="1240"/>
                      </a:lnTo>
                      <a:lnTo>
                        <a:pt x="74" y="1240"/>
                      </a:lnTo>
                      <a:lnTo>
                        <a:pt x="74" y="1239"/>
                      </a:lnTo>
                      <a:lnTo>
                        <a:pt x="73" y="1239"/>
                      </a:lnTo>
                      <a:lnTo>
                        <a:pt x="73" y="1239"/>
                      </a:lnTo>
                      <a:lnTo>
                        <a:pt x="74" y="1238"/>
                      </a:lnTo>
                      <a:lnTo>
                        <a:pt x="74" y="1237"/>
                      </a:lnTo>
                      <a:lnTo>
                        <a:pt x="74" y="1237"/>
                      </a:lnTo>
                      <a:lnTo>
                        <a:pt x="73" y="1237"/>
                      </a:lnTo>
                      <a:lnTo>
                        <a:pt x="73" y="1237"/>
                      </a:lnTo>
                      <a:lnTo>
                        <a:pt x="72" y="1237"/>
                      </a:lnTo>
                      <a:lnTo>
                        <a:pt x="72" y="1237"/>
                      </a:lnTo>
                      <a:lnTo>
                        <a:pt x="71" y="1238"/>
                      </a:lnTo>
                      <a:lnTo>
                        <a:pt x="71" y="1238"/>
                      </a:lnTo>
                      <a:lnTo>
                        <a:pt x="71" y="1239"/>
                      </a:lnTo>
                      <a:lnTo>
                        <a:pt x="71" y="1239"/>
                      </a:lnTo>
                      <a:lnTo>
                        <a:pt x="71" y="1240"/>
                      </a:lnTo>
                      <a:lnTo>
                        <a:pt x="71" y="1241"/>
                      </a:lnTo>
                      <a:lnTo>
                        <a:pt x="71" y="1241"/>
                      </a:lnTo>
                      <a:lnTo>
                        <a:pt x="71" y="1241"/>
                      </a:lnTo>
                      <a:lnTo>
                        <a:pt x="70" y="1241"/>
                      </a:lnTo>
                      <a:lnTo>
                        <a:pt x="70" y="1241"/>
                      </a:lnTo>
                      <a:lnTo>
                        <a:pt x="69" y="1241"/>
                      </a:lnTo>
                      <a:lnTo>
                        <a:pt x="69" y="1240"/>
                      </a:lnTo>
                      <a:lnTo>
                        <a:pt x="69" y="1240"/>
                      </a:lnTo>
                      <a:lnTo>
                        <a:pt x="68" y="1240"/>
                      </a:lnTo>
                      <a:lnTo>
                        <a:pt x="68" y="1239"/>
                      </a:lnTo>
                      <a:lnTo>
                        <a:pt x="67" y="1239"/>
                      </a:lnTo>
                      <a:lnTo>
                        <a:pt x="67" y="1240"/>
                      </a:lnTo>
                      <a:lnTo>
                        <a:pt x="67" y="1241"/>
                      </a:lnTo>
                      <a:lnTo>
                        <a:pt x="67" y="1241"/>
                      </a:lnTo>
                      <a:lnTo>
                        <a:pt x="67" y="1242"/>
                      </a:lnTo>
                      <a:lnTo>
                        <a:pt x="66" y="1242"/>
                      </a:lnTo>
                      <a:lnTo>
                        <a:pt x="65" y="1241"/>
                      </a:lnTo>
                      <a:lnTo>
                        <a:pt x="64" y="1241"/>
                      </a:lnTo>
                      <a:lnTo>
                        <a:pt x="64" y="1240"/>
                      </a:lnTo>
                      <a:lnTo>
                        <a:pt x="63" y="1240"/>
                      </a:lnTo>
                      <a:lnTo>
                        <a:pt x="63" y="1241"/>
                      </a:lnTo>
                      <a:lnTo>
                        <a:pt x="62" y="1241"/>
                      </a:lnTo>
                      <a:lnTo>
                        <a:pt x="62" y="1241"/>
                      </a:lnTo>
                      <a:lnTo>
                        <a:pt x="62" y="1241"/>
                      </a:lnTo>
                      <a:lnTo>
                        <a:pt x="62" y="1241"/>
                      </a:lnTo>
                      <a:lnTo>
                        <a:pt x="62" y="1240"/>
                      </a:lnTo>
                      <a:lnTo>
                        <a:pt x="61" y="1240"/>
                      </a:lnTo>
                      <a:lnTo>
                        <a:pt x="60" y="1240"/>
                      </a:lnTo>
                      <a:lnTo>
                        <a:pt x="60" y="1239"/>
                      </a:lnTo>
                      <a:lnTo>
                        <a:pt x="60" y="1239"/>
                      </a:lnTo>
                      <a:lnTo>
                        <a:pt x="60" y="1239"/>
                      </a:lnTo>
                      <a:lnTo>
                        <a:pt x="60" y="1238"/>
                      </a:lnTo>
                      <a:lnTo>
                        <a:pt x="60" y="1238"/>
                      </a:lnTo>
                      <a:lnTo>
                        <a:pt x="59" y="1239"/>
                      </a:lnTo>
                      <a:lnTo>
                        <a:pt x="58" y="1239"/>
                      </a:lnTo>
                      <a:lnTo>
                        <a:pt x="58" y="1240"/>
                      </a:lnTo>
                      <a:lnTo>
                        <a:pt x="58" y="1239"/>
                      </a:lnTo>
                      <a:lnTo>
                        <a:pt x="58" y="1239"/>
                      </a:lnTo>
                      <a:lnTo>
                        <a:pt x="57" y="1238"/>
                      </a:lnTo>
                      <a:lnTo>
                        <a:pt x="57" y="1237"/>
                      </a:lnTo>
                      <a:lnTo>
                        <a:pt x="57" y="1237"/>
                      </a:lnTo>
                      <a:lnTo>
                        <a:pt x="57" y="1236"/>
                      </a:lnTo>
                      <a:lnTo>
                        <a:pt x="56" y="1235"/>
                      </a:lnTo>
                      <a:lnTo>
                        <a:pt x="56" y="1236"/>
                      </a:lnTo>
                      <a:lnTo>
                        <a:pt x="56" y="1236"/>
                      </a:lnTo>
                      <a:lnTo>
                        <a:pt x="56" y="1237"/>
                      </a:lnTo>
                      <a:lnTo>
                        <a:pt x="56" y="1237"/>
                      </a:lnTo>
                      <a:lnTo>
                        <a:pt x="56" y="1238"/>
                      </a:lnTo>
                      <a:lnTo>
                        <a:pt x="56" y="1239"/>
                      </a:lnTo>
                      <a:lnTo>
                        <a:pt x="55" y="1239"/>
                      </a:lnTo>
                      <a:lnTo>
                        <a:pt x="54" y="1238"/>
                      </a:lnTo>
                      <a:lnTo>
                        <a:pt x="54" y="1237"/>
                      </a:lnTo>
                      <a:lnTo>
                        <a:pt x="53" y="1237"/>
                      </a:lnTo>
                      <a:lnTo>
                        <a:pt x="52" y="1237"/>
                      </a:lnTo>
                      <a:lnTo>
                        <a:pt x="52" y="1237"/>
                      </a:lnTo>
                      <a:lnTo>
                        <a:pt x="52" y="1237"/>
                      </a:lnTo>
                      <a:lnTo>
                        <a:pt x="52" y="1236"/>
                      </a:lnTo>
                      <a:lnTo>
                        <a:pt x="51" y="1235"/>
                      </a:lnTo>
                      <a:lnTo>
                        <a:pt x="51" y="1235"/>
                      </a:lnTo>
                      <a:lnTo>
                        <a:pt x="51" y="1234"/>
                      </a:lnTo>
                      <a:lnTo>
                        <a:pt x="50" y="1234"/>
                      </a:lnTo>
                      <a:lnTo>
                        <a:pt x="50" y="1235"/>
                      </a:lnTo>
                      <a:lnTo>
                        <a:pt x="50" y="1235"/>
                      </a:lnTo>
                      <a:lnTo>
                        <a:pt x="50" y="1235"/>
                      </a:lnTo>
                      <a:lnTo>
                        <a:pt x="49" y="1235"/>
                      </a:lnTo>
                      <a:lnTo>
                        <a:pt x="49" y="1235"/>
                      </a:lnTo>
                      <a:lnTo>
                        <a:pt x="49" y="1234"/>
                      </a:lnTo>
                      <a:lnTo>
                        <a:pt x="49" y="1233"/>
                      </a:lnTo>
                      <a:lnTo>
                        <a:pt x="48" y="1233"/>
                      </a:lnTo>
                      <a:lnTo>
                        <a:pt x="48" y="1233"/>
                      </a:lnTo>
                      <a:lnTo>
                        <a:pt x="48" y="1233"/>
                      </a:lnTo>
                      <a:lnTo>
                        <a:pt x="47" y="1233"/>
                      </a:lnTo>
                      <a:lnTo>
                        <a:pt x="46" y="1233"/>
                      </a:lnTo>
                      <a:lnTo>
                        <a:pt x="46" y="1232"/>
                      </a:lnTo>
                      <a:lnTo>
                        <a:pt x="45" y="1231"/>
                      </a:lnTo>
                      <a:lnTo>
                        <a:pt x="45" y="1230"/>
                      </a:lnTo>
                      <a:lnTo>
                        <a:pt x="45" y="1230"/>
                      </a:lnTo>
                      <a:lnTo>
                        <a:pt x="45" y="1229"/>
                      </a:lnTo>
                      <a:lnTo>
                        <a:pt x="45" y="1228"/>
                      </a:lnTo>
                      <a:lnTo>
                        <a:pt x="45" y="1228"/>
                      </a:lnTo>
                      <a:lnTo>
                        <a:pt x="46" y="1228"/>
                      </a:lnTo>
                      <a:lnTo>
                        <a:pt x="46" y="1228"/>
                      </a:lnTo>
                      <a:lnTo>
                        <a:pt x="47" y="1228"/>
                      </a:lnTo>
                      <a:lnTo>
                        <a:pt x="47" y="1227"/>
                      </a:lnTo>
                      <a:lnTo>
                        <a:pt x="46" y="1227"/>
                      </a:lnTo>
                      <a:lnTo>
                        <a:pt x="45" y="1227"/>
                      </a:lnTo>
                      <a:lnTo>
                        <a:pt x="45" y="1227"/>
                      </a:lnTo>
                      <a:lnTo>
                        <a:pt x="45" y="1228"/>
                      </a:lnTo>
                      <a:lnTo>
                        <a:pt x="44" y="1228"/>
                      </a:lnTo>
                      <a:lnTo>
                        <a:pt x="43" y="1228"/>
                      </a:lnTo>
                      <a:lnTo>
                        <a:pt x="43" y="1228"/>
                      </a:lnTo>
                      <a:lnTo>
                        <a:pt x="42" y="1228"/>
                      </a:lnTo>
                      <a:lnTo>
                        <a:pt x="41" y="1228"/>
                      </a:lnTo>
                      <a:lnTo>
                        <a:pt x="41" y="1228"/>
                      </a:lnTo>
                      <a:lnTo>
                        <a:pt x="41" y="1227"/>
                      </a:lnTo>
                      <a:lnTo>
                        <a:pt x="41" y="1226"/>
                      </a:lnTo>
                      <a:lnTo>
                        <a:pt x="41" y="1226"/>
                      </a:lnTo>
                      <a:lnTo>
                        <a:pt x="41" y="1226"/>
                      </a:lnTo>
                      <a:lnTo>
                        <a:pt x="42" y="1226"/>
                      </a:lnTo>
                      <a:lnTo>
                        <a:pt x="42" y="1225"/>
                      </a:lnTo>
                      <a:lnTo>
                        <a:pt x="42" y="1224"/>
                      </a:lnTo>
                      <a:lnTo>
                        <a:pt x="42" y="1224"/>
                      </a:lnTo>
                      <a:lnTo>
                        <a:pt x="43" y="1224"/>
                      </a:lnTo>
                      <a:lnTo>
                        <a:pt x="43" y="1223"/>
                      </a:lnTo>
                      <a:lnTo>
                        <a:pt x="43" y="1223"/>
                      </a:lnTo>
                      <a:lnTo>
                        <a:pt x="43" y="1222"/>
                      </a:lnTo>
                      <a:lnTo>
                        <a:pt x="43" y="1222"/>
                      </a:lnTo>
                      <a:lnTo>
                        <a:pt x="42" y="1222"/>
                      </a:lnTo>
                      <a:lnTo>
                        <a:pt x="41" y="1222"/>
                      </a:lnTo>
                      <a:lnTo>
                        <a:pt x="41" y="1222"/>
                      </a:lnTo>
                      <a:lnTo>
                        <a:pt x="41" y="1222"/>
                      </a:lnTo>
                      <a:lnTo>
                        <a:pt x="40" y="1222"/>
                      </a:lnTo>
                      <a:lnTo>
                        <a:pt x="40" y="1222"/>
                      </a:lnTo>
                      <a:lnTo>
                        <a:pt x="39" y="1221"/>
                      </a:lnTo>
                      <a:lnTo>
                        <a:pt x="40" y="1220"/>
                      </a:lnTo>
                      <a:lnTo>
                        <a:pt x="41" y="1220"/>
                      </a:lnTo>
                      <a:lnTo>
                        <a:pt x="41" y="1219"/>
                      </a:lnTo>
                      <a:lnTo>
                        <a:pt x="40" y="1219"/>
                      </a:lnTo>
                      <a:lnTo>
                        <a:pt x="40" y="1218"/>
                      </a:lnTo>
                      <a:lnTo>
                        <a:pt x="41" y="1218"/>
                      </a:lnTo>
                      <a:lnTo>
                        <a:pt x="41" y="1218"/>
                      </a:lnTo>
                      <a:lnTo>
                        <a:pt x="41" y="1217"/>
                      </a:lnTo>
                      <a:lnTo>
                        <a:pt x="41" y="1217"/>
                      </a:lnTo>
                      <a:lnTo>
                        <a:pt x="41" y="1216"/>
                      </a:lnTo>
                      <a:lnTo>
                        <a:pt x="40" y="1216"/>
                      </a:lnTo>
                      <a:lnTo>
                        <a:pt x="39" y="1216"/>
                      </a:lnTo>
                      <a:lnTo>
                        <a:pt x="39" y="1216"/>
                      </a:lnTo>
                      <a:lnTo>
                        <a:pt x="39" y="1216"/>
                      </a:lnTo>
                      <a:lnTo>
                        <a:pt x="39" y="1215"/>
                      </a:lnTo>
                      <a:lnTo>
                        <a:pt x="39" y="1214"/>
                      </a:lnTo>
                      <a:lnTo>
                        <a:pt x="39" y="1214"/>
                      </a:lnTo>
                      <a:lnTo>
                        <a:pt x="39" y="1213"/>
                      </a:lnTo>
                      <a:lnTo>
                        <a:pt x="39" y="1212"/>
                      </a:lnTo>
                      <a:lnTo>
                        <a:pt x="40" y="1212"/>
                      </a:lnTo>
                      <a:lnTo>
                        <a:pt x="40" y="1211"/>
                      </a:lnTo>
                      <a:lnTo>
                        <a:pt x="40" y="1211"/>
                      </a:lnTo>
                      <a:lnTo>
                        <a:pt x="39" y="1211"/>
                      </a:lnTo>
                      <a:lnTo>
                        <a:pt x="39" y="1210"/>
                      </a:lnTo>
                      <a:lnTo>
                        <a:pt x="39" y="1209"/>
                      </a:lnTo>
                      <a:lnTo>
                        <a:pt x="39" y="1209"/>
                      </a:lnTo>
                      <a:lnTo>
                        <a:pt x="39" y="1210"/>
                      </a:lnTo>
                      <a:lnTo>
                        <a:pt x="39" y="1211"/>
                      </a:lnTo>
                      <a:lnTo>
                        <a:pt x="38" y="1211"/>
                      </a:lnTo>
                      <a:lnTo>
                        <a:pt x="37" y="1211"/>
                      </a:lnTo>
                      <a:lnTo>
                        <a:pt x="37" y="1210"/>
                      </a:lnTo>
                      <a:lnTo>
                        <a:pt x="37" y="1209"/>
                      </a:lnTo>
                      <a:lnTo>
                        <a:pt x="38" y="1209"/>
                      </a:lnTo>
                      <a:lnTo>
                        <a:pt x="38" y="1208"/>
                      </a:lnTo>
                      <a:lnTo>
                        <a:pt x="38" y="1207"/>
                      </a:lnTo>
                      <a:lnTo>
                        <a:pt x="38" y="1207"/>
                      </a:lnTo>
                      <a:lnTo>
                        <a:pt x="39" y="1207"/>
                      </a:lnTo>
                      <a:lnTo>
                        <a:pt x="39" y="1206"/>
                      </a:lnTo>
                      <a:lnTo>
                        <a:pt x="40" y="1206"/>
                      </a:lnTo>
                      <a:lnTo>
                        <a:pt x="41" y="1206"/>
                      </a:lnTo>
                      <a:lnTo>
                        <a:pt x="41" y="1205"/>
                      </a:lnTo>
                      <a:lnTo>
                        <a:pt x="41" y="1205"/>
                      </a:lnTo>
                      <a:lnTo>
                        <a:pt x="40" y="1205"/>
                      </a:lnTo>
                      <a:lnTo>
                        <a:pt x="39" y="1205"/>
                      </a:lnTo>
                      <a:lnTo>
                        <a:pt x="39" y="1205"/>
                      </a:lnTo>
                      <a:lnTo>
                        <a:pt x="39" y="1205"/>
                      </a:lnTo>
                      <a:lnTo>
                        <a:pt x="39" y="1205"/>
                      </a:lnTo>
                      <a:lnTo>
                        <a:pt x="39" y="1204"/>
                      </a:lnTo>
                      <a:lnTo>
                        <a:pt x="39" y="1203"/>
                      </a:lnTo>
                      <a:lnTo>
                        <a:pt x="38" y="1203"/>
                      </a:lnTo>
                      <a:lnTo>
                        <a:pt x="38" y="1203"/>
                      </a:lnTo>
                      <a:lnTo>
                        <a:pt x="37" y="1203"/>
                      </a:lnTo>
                      <a:lnTo>
                        <a:pt x="37" y="1203"/>
                      </a:lnTo>
                      <a:lnTo>
                        <a:pt x="37" y="1203"/>
                      </a:lnTo>
                      <a:lnTo>
                        <a:pt x="37" y="1202"/>
                      </a:lnTo>
                      <a:lnTo>
                        <a:pt x="37" y="1201"/>
                      </a:lnTo>
                      <a:lnTo>
                        <a:pt x="37" y="1201"/>
                      </a:lnTo>
                      <a:lnTo>
                        <a:pt x="37" y="1200"/>
                      </a:lnTo>
                      <a:lnTo>
                        <a:pt x="37" y="1200"/>
                      </a:lnTo>
                      <a:lnTo>
                        <a:pt x="37" y="1199"/>
                      </a:lnTo>
                      <a:lnTo>
                        <a:pt x="37" y="1199"/>
                      </a:lnTo>
                      <a:lnTo>
                        <a:pt x="38" y="1199"/>
                      </a:lnTo>
                      <a:lnTo>
                        <a:pt x="39" y="1199"/>
                      </a:lnTo>
                      <a:lnTo>
                        <a:pt x="39" y="1198"/>
                      </a:lnTo>
                      <a:lnTo>
                        <a:pt x="39" y="1197"/>
                      </a:lnTo>
                      <a:lnTo>
                        <a:pt x="40" y="1197"/>
                      </a:lnTo>
                      <a:lnTo>
                        <a:pt x="40" y="1197"/>
                      </a:lnTo>
                      <a:lnTo>
                        <a:pt x="41" y="1197"/>
                      </a:lnTo>
                      <a:lnTo>
                        <a:pt x="41" y="1196"/>
                      </a:lnTo>
                      <a:lnTo>
                        <a:pt x="41" y="1195"/>
                      </a:lnTo>
                      <a:lnTo>
                        <a:pt x="41" y="1195"/>
                      </a:lnTo>
                      <a:lnTo>
                        <a:pt x="41" y="1195"/>
                      </a:lnTo>
                      <a:lnTo>
                        <a:pt x="42" y="1195"/>
                      </a:lnTo>
                      <a:lnTo>
                        <a:pt x="43" y="1195"/>
                      </a:lnTo>
                      <a:lnTo>
                        <a:pt x="43" y="1195"/>
                      </a:lnTo>
                      <a:lnTo>
                        <a:pt x="43" y="1195"/>
                      </a:lnTo>
                      <a:lnTo>
                        <a:pt x="44" y="1195"/>
                      </a:lnTo>
                      <a:lnTo>
                        <a:pt x="44" y="1195"/>
                      </a:lnTo>
                      <a:lnTo>
                        <a:pt x="44" y="1194"/>
                      </a:lnTo>
                      <a:lnTo>
                        <a:pt x="43" y="1194"/>
                      </a:lnTo>
                      <a:lnTo>
                        <a:pt x="43" y="1193"/>
                      </a:lnTo>
                      <a:lnTo>
                        <a:pt x="43" y="1193"/>
                      </a:lnTo>
                      <a:lnTo>
                        <a:pt x="42" y="1194"/>
                      </a:lnTo>
                      <a:lnTo>
                        <a:pt x="42" y="1193"/>
                      </a:lnTo>
                      <a:lnTo>
                        <a:pt x="43" y="1192"/>
                      </a:lnTo>
                      <a:lnTo>
                        <a:pt x="43" y="1192"/>
                      </a:lnTo>
                      <a:lnTo>
                        <a:pt x="43" y="1192"/>
                      </a:lnTo>
                      <a:lnTo>
                        <a:pt x="43" y="1191"/>
                      </a:lnTo>
                      <a:lnTo>
                        <a:pt x="43" y="1190"/>
                      </a:lnTo>
                      <a:lnTo>
                        <a:pt x="43" y="1190"/>
                      </a:lnTo>
                      <a:lnTo>
                        <a:pt x="43" y="1190"/>
                      </a:lnTo>
                      <a:lnTo>
                        <a:pt x="43" y="1189"/>
                      </a:lnTo>
                      <a:lnTo>
                        <a:pt x="42" y="1189"/>
                      </a:lnTo>
                      <a:lnTo>
                        <a:pt x="41" y="1189"/>
                      </a:lnTo>
                      <a:lnTo>
                        <a:pt x="41" y="1188"/>
                      </a:lnTo>
                      <a:lnTo>
                        <a:pt x="42" y="1188"/>
                      </a:lnTo>
                      <a:lnTo>
                        <a:pt x="43" y="1188"/>
                      </a:lnTo>
                      <a:lnTo>
                        <a:pt x="43" y="1189"/>
                      </a:lnTo>
                      <a:lnTo>
                        <a:pt x="43" y="1189"/>
                      </a:lnTo>
                      <a:lnTo>
                        <a:pt x="43" y="1188"/>
                      </a:lnTo>
                      <a:lnTo>
                        <a:pt x="43" y="1188"/>
                      </a:lnTo>
                      <a:lnTo>
                        <a:pt x="43" y="1187"/>
                      </a:lnTo>
                      <a:lnTo>
                        <a:pt x="43" y="1187"/>
                      </a:lnTo>
                      <a:lnTo>
                        <a:pt x="42" y="1187"/>
                      </a:lnTo>
                      <a:lnTo>
                        <a:pt x="42" y="1186"/>
                      </a:lnTo>
                      <a:lnTo>
                        <a:pt x="43" y="1186"/>
                      </a:lnTo>
                      <a:lnTo>
                        <a:pt x="43" y="1186"/>
                      </a:lnTo>
                      <a:lnTo>
                        <a:pt x="44" y="1187"/>
                      </a:lnTo>
                      <a:lnTo>
                        <a:pt x="44" y="1186"/>
                      </a:lnTo>
                      <a:lnTo>
                        <a:pt x="45" y="1186"/>
                      </a:lnTo>
                      <a:lnTo>
                        <a:pt x="45" y="1186"/>
                      </a:lnTo>
                      <a:lnTo>
                        <a:pt x="44" y="1185"/>
                      </a:lnTo>
                      <a:lnTo>
                        <a:pt x="43" y="1185"/>
                      </a:lnTo>
                      <a:lnTo>
                        <a:pt x="43" y="1185"/>
                      </a:lnTo>
                      <a:lnTo>
                        <a:pt x="42" y="1185"/>
                      </a:lnTo>
                      <a:lnTo>
                        <a:pt x="42" y="1184"/>
                      </a:lnTo>
                      <a:lnTo>
                        <a:pt x="43" y="1184"/>
                      </a:lnTo>
                      <a:lnTo>
                        <a:pt x="43" y="1184"/>
                      </a:lnTo>
                      <a:lnTo>
                        <a:pt x="43" y="1184"/>
                      </a:lnTo>
                      <a:lnTo>
                        <a:pt x="44" y="1184"/>
                      </a:lnTo>
                      <a:lnTo>
                        <a:pt x="45" y="1184"/>
                      </a:lnTo>
                      <a:lnTo>
                        <a:pt x="45" y="1184"/>
                      </a:lnTo>
                      <a:lnTo>
                        <a:pt x="45" y="1184"/>
                      </a:lnTo>
                      <a:lnTo>
                        <a:pt x="45" y="1184"/>
                      </a:lnTo>
                      <a:lnTo>
                        <a:pt x="45" y="1183"/>
                      </a:lnTo>
                      <a:lnTo>
                        <a:pt x="46" y="1182"/>
                      </a:lnTo>
                      <a:lnTo>
                        <a:pt x="47" y="1182"/>
                      </a:lnTo>
                      <a:lnTo>
                        <a:pt x="48" y="1182"/>
                      </a:lnTo>
                      <a:lnTo>
                        <a:pt x="48" y="1182"/>
                      </a:lnTo>
                      <a:lnTo>
                        <a:pt x="47" y="1182"/>
                      </a:lnTo>
                      <a:lnTo>
                        <a:pt x="46" y="1182"/>
                      </a:lnTo>
                      <a:lnTo>
                        <a:pt x="45" y="1182"/>
                      </a:lnTo>
                      <a:lnTo>
                        <a:pt x="45" y="1182"/>
                      </a:lnTo>
                      <a:lnTo>
                        <a:pt x="44" y="1182"/>
                      </a:lnTo>
                      <a:lnTo>
                        <a:pt x="44" y="1181"/>
                      </a:lnTo>
                      <a:lnTo>
                        <a:pt x="44" y="1180"/>
                      </a:lnTo>
                      <a:lnTo>
                        <a:pt x="45" y="1180"/>
                      </a:lnTo>
                      <a:lnTo>
                        <a:pt x="45" y="1179"/>
                      </a:lnTo>
                      <a:lnTo>
                        <a:pt x="45" y="1178"/>
                      </a:lnTo>
                      <a:lnTo>
                        <a:pt x="45" y="1178"/>
                      </a:lnTo>
                      <a:lnTo>
                        <a:pt x="45" y="1177"/>
                      </a:lnTo>
                      <a:lnTo>
                        <a:pt x="45" y="1176"/>
                      </a:lnTo>
                      <a:lnTo>
                        <a:pt x="46" y="1176"/>
                      </a:lnTo>
                      <a:lnTo>
                        <a:pt x="46" y="1176"/>
                      </a:lnTo>
                      <a:lnTo>
                        <a:pt x="45" y="1176"/>
                      </a:lnTo>
                      <a:lnTo>
                        <a:pt x="45" y="1175"/>
                      </a:lnTo>
                      <a:lnTo>
                        <a:pt x="45" y="1175"/>
                      </a:lnTo>
                      <a:lnTo>
                        <a:pt x="45" y="1176"/>
                      </a:lnTo>
                      <a:lnTo>
                        <a:pt x="44" y="1176"/>
                      </a:lnTo>
                      <a:lnTo>
                        <a:pt x="43" y="1176"/>
                      </a:lnTo>
                      <a:lnTo>
                        <a:pt x="43" y="1176"/>
                      </a:lnTo>
                      <a:lnTo>
                        <a:pt x="43" y="1176"/>
                      </a:lnTo>
                      <a:lnTo>
                        <a:pt x="43" y="1175"/>
                      </a:lnTo>
                      <a:lnTo>
                        <a:pt x="43" y="1174"/>
                      </a:lnTo>
                      <a:lnTo>
                        <a:pt x="43" y="1174"/>
                      </a:lnTo>
                      <a:lnTo>
                        <a:pt x="43" y="1173"/>
                      </a:lnTo>
                      <a:lnTo>
                        <a:pt x="43" y="1172"/>
                      </a:lnTo>
                      <a:lnTo>
                        <a:pt x="42" y="1172"/>
                      </a:lnTo>
                      <a:lnTo>
                        <a:pt x="42" y="1171"/>
                      </a:lnTo>
                      <a:lnTo>
                        <a:pt x="41" y="1171"/>
                      </a:lnTo>
                      <a:lnTo>
                        <a:pt x="41" y="1172"/>
                      </a:lnTo>
                      <a:lnTo>
                        <a:pt x="41" y="1172"/>
                      </a:lnTo>
                      <a:lnTo>
                        <a:pt x="40" y="1172"/>
                      </a:lnTo>
                      <a:lnTo>
                        <a:pt x="40" y="1171"/>
                      </a:lnTo>
                      <a:lnTo>
                        <a:pt x="40" y="1171"/>
                      </a:lnTo>
                      <a:lnTo>
                        <a:pt x="40" y="1170"/>
                      </a:lnTo>
                      <a:lnTo>
                        <a:pt x="41" y="1170"/>
                      </a:lnTo>
                      <a:lnTo>
                        <a:pt x="41" y="1169"/>
                      </a:lnTo>
                      <a:lnTo>
                        <a:pt x="41" y="1169"/>
                      </a:lnTo>
                      <a:lnTo>
                        <a:pt x="41" y="1168"/>
                      </a:lnTo>
                      <a:lnTo>
                        <a:pt x="40" y="1167"/>
                      </a:lnTo>
                      <a:lnTo>
                        <a:pt x="40" y="1167"/>
                      </a:lnTo>
                      <a:lnTo>
                        <a:pt x="39" y="1167"/>
                      </a:lnTo>
                      <a:lnTo>
                        <a:pt x="39" y="1168"/>
                      </a:lnTo>
                      <a:lnTo>
                        <a:pt x="39" y="1168"/>
                      </a:lnTo>
                      <a:lnTo>
                        <a:pt x="38" y="1168"/>
                      </a:lnTo>
                      <a:lnTo>
                        <a:pt x="38" y="1167"/>
                      </a:lnTo>
                      <a:lnTo>
                        <a:pt x="37" y="1167"/>
                      </a:lnTo>
                      <a:lnTo>
                        <a:pt x="38" y="1166"/>
                      </a:lnTo>
                      <a:lnTo>
                        <a:pt x="38" y="1165"/>
                      </a:lnTo>
                      <a:lnTo>
                        <a:pt x="39" y="1165"/>
                      </a:lnTo>
                      <a:lnTo>
                        <a:pt x="39" y="1164"/>
                      </a:lnTo>
                      <a:lnTo>
                        <a:pt x="39" y="1164"/>
                      </a:lnTo>
                      <a:lnTo>
                        <a:pt x="39" y="1163"/>
                      </a:lnTo>
                      <a:lnTo>
                        <a:pt x="40" y="1163"/>
                      </a:lnTo>
                      <a:lnTo>
                        <a:pt x="40" y="1163"/>
                      </a:lnTo>
                      <a:lnTo>
                        <a:pt x="39" y="1163"/>
                      </a:lnTo>
                      <a:lnTo>
                        <a:pt x="39" y="1162"/>
                      </a:lnTo>
                      <a:lnTo>
                        <a:pt x="39" y="1162"/>
                      </a:lnTo>
                      <a:lnTo>
                        <a:pt x="39" y="1163"/>
                      </a:lnTo>
                      <a:lnTo>
                        <a:pt x="38" y="1163"/>
                      </a:lnTo>
                      <a:lnTo>
                        <a:pt x="38" y="1163"/>
                      </a:lnTo>
                      <a:lnTo>
                        <a:pt x="37" y="1163"/>
                      </a:lnTo>
                      <a:lnTo>
                        <a:pt x="37" y="1163"/>
                      </a:lnTo>
                      <a:lnTo>
                        <a:pt x="37" y="1163"/>
                      </a:lnTo>
                      <a:lnTo>
                        <a:pt x="37" y="1162"/>
                      </a:lnTo>
                      <a:lnTo>
                        <a:pt x="37" y="1162"/>
                      </a:lnTo>
                      <a:lnTo>
                        <a:pt x="37" y="1161"/>
                      </a:lnTo>
                      <a:lnTo>
                        <a:pt x="37" y="1161"/>
                      </a:lnTo>
                      <a:lnTo>
                        <a:pt x="37" y="1160"/>
                      </a:lnTo>
                      <a:lnTo>
                        <a:pt x="36" y="1160"/>
                      </a:lnTo>
                      <a:lnTo>
                        <a:pt x="35" y="1161"/>
                      </a:lnTo>
                      <a:lnTo>
                        <a:pt x="35" y="1161"/>
                      </a:lnTo>
                      <a:lnTo>
                        <a:pt x="34" y="1160"/>
                      </a:lnTo>
                      <a:lnTo>
                        <a:pt x="34" y="1159"/>
                      </a:lnTo>
                      <a:lnTo>
                        <a:pt x="33" y="1159"/>
                      </a:lnTo>
                      <a:lnTo>
                        <a:pt x="33" y="1159"/>
                      </a:lnTo>
                      <a:lnTo>
                        <a:pt x="33" y="1158"/>
                      </a:lnTo>
                      <a:lnTo>
                        <a:pt x="33" y="1158"/>
                      </a:lnTo>
                      <a:lnTo>
                        <a:pt x="33" y="1157"/>
                      </a:lnTo>
                      <a:lnTo>
                        <a:pt x="32" y="1157"/>
                      </a:lnTo>
                      <a:lnTo>
                        <a:pt x="31" y="1157"/>
                      </a:lnTo>
                      <a:lnTo>
                        <a:pt x="31" y="1157"/>
                      </a:lnTo>
                      <a:lnTo>
                        <a:pt x="30" y="1156"/>
                      </a:lnTo>
                      <a:lnTo>
                        <a:pt x="29" y="1156"/>
                      </a:lnTo>
                      <a:lnTo>
                        <a:pt x="29" y="1155"/>
                      </a:lnTo>
                      <a:lnTo>
                        <a:pt x="28" y="1155"/>
                      </a:lnTo>
                      <a:lnTo>
                        <a:pt x="28" y="1154"/>
                      </a:lnTo>
                      <a:lnTo>
                        <a:pt x="27" y="1153"/>
                      </a:lnTo>
                      <a:lnTo>
                        <a:pt x="26" y="1152"/>
                      </a:lnTo>
                      <a:lnTo>
                        <a:pt x="26" y="1152"/>
                      </a:lnTo>
                      <a:lnTo>
                        <a:pt x="26" y="1152"/>
                      </a:lnTo>
                      <a:lnTo>
                        <a:pt x="26" y="1151"/>
                      </a:lnTo>
                      <a:lnTo>
                        <a:pt x="25" y="1151"/>
                      </a:lnTo>
                      <a:lnTo>
                        <a:pt x="24" y="1151"/>
                      </a:lnTo>
                      <a:lnTo>
                        <a:pt x="24" y="1150"/>
                      </a:lnTo>
                      <a:lnTo>
                        <a:pt x="23" y="1150"/>
                      </a:lnTo>
                      <a:lnTo>
                        <a:pt x="23" y="1150"/>
                      </a:lnTo>
                      <a:lnTo>
                        <a:pt x="24" y="1148"/>
                      </a:lnTo>
                      <a:lnTo>
                        <a:pt x="24" y="1148"/>
                      </a:lnTo>
                      <a:lnTo>
                        <a:pt x="24" y="1148"/>
                      </a:lnTo>
                      <a:lnTo>
                        <a:pt x="24" y="1147"/>
                      </a:lnTo>
                      <a:lnTo>
                        <a:pt x="23" y="1147"/>
                      </a:lnTo>
                      <a:lnTo>
                        <a:pt x="23" y="1148"/>
                      </a:lnTo>
                      <a:lnTo>
                        <a:pt x="22" y="1148"/>
                      </a:lnTo>
                      <a:lnTo>
                        <a:pt x="22" y="1148"/>
                      </a:lnTo>
                      <a:lnTo>
                        <a:pt x="21" y="1148"/>
                      </a:lnTo>
                      <a:lnTo>
                        <a:pt x="20" y="1148"/>
                      </a:lnTo>
                      <a:lnTo>
                        <a:pt x="20" y="1148"/>
                      </a:lnTo>
                      <a:lnTo>
                        <a:pt x="19" y="1148"/>
                      </a:lnTo>
                      <a:lnTo>
                        <a:pt x="18" y="1148"/>
                      </a:lnTo>
                      <a:lnTo>
                        <a:pt x="18" y="1147"/>
                      </a:lnTo>
                      <a:lnTo>
                        <a:pt x="18" y="1146"/>
                      </a:lnTo>
                      <a:lnTo>
                        <a:pt x="19" y="1146"/>
                      </a:lnTo>
                      <a:lnTo>
                        <a:pt x="20" y="1146"/>
                      </a:lnTo>
                      <a:lnTo>
                        <a:pt x="20" y="1146"/>
                      </a:lnTo>
                      <a:lnTo>
                        <a:pt x="20" y="1146"/>
                      </a:lnTo>
                      <a:lnTo>
                        <a:pt x="20" y="1145"/>
                      </a:lnTo>
                      <a:lnTo>
                        <a:pt x="20" y="1145"/>
                      </a:lnTo>
                      <a:lnTo>
                        <a:pt x="20" y="1144"/>
                      </a:lnTo>
                      <a:lnTo>
                        <a:pt x="19" y="1144"/>
                      </a:lnTo>
                      <a:lnTo>
                        <a:pt x="18" y="1144"/>
                      </a:lnTo>
                      <a:lnTo>
                        <a:pt x="18" y="1144"/>
                      </a:lnTo>
                      <a:lnTo>
                        <a:pt x="17" y="1144"/>
                      </a:lnTo>
                      <a:lnTo>
                        <a:pt x="17" y="1143"/>
                      </a:lnTo>
                      <a:lnTo>
                        <a:pt x="16" y="1143"/>
                      </a:lnTo>
                      <a:lnTo>
                        <a:pt x="16" y="1142"/>
                      </a:lnTo>
                      <a:lnTo>
                        <a:pt x="16" y="1142"/>
                      </a:lnTo>
                      <a:lnTo>
                        <a:pt x="15" y="1142"/>
                      </a:lnTo>
                      <a:lnTo>
                        <a:pt x="15" y="1141"/>
                      </a:lnTo>
                      <a:lnTo>
                        <a:pt x="14" y="1140"/>
                      </a:lnTo>
                      <a:lnTo>
                        <a:pt x="14" y="1140"/>
                      </a:lnTo>
                      <a:lnTo>
                        <a:pt x="14" y="1140"/>
                      </a:lnTo>
                      <a:lnTo>
                        <a:pt x="14" y="1139"/>
                      </a:lnTo>
                      <a:lnTo>
                        <a:pt x="14" y="1138"/>
                      </a:lnTo>
                      <a:lnTo>
                        <a:pt x="15" y="1138"/>
                      </a:lnTo>
                      <a:lnTo>
                        <a:pt x="15" y="1137"/>
                      </a:lnTo>
                      <a:lnTo>
                        <a:pt x="15" y="1136"/>
                      </a:lnTo>
                      <a:lnTo>
                        <a:pt x="14" y="1136"/>
                      </a:lnTo>
                      <a:lnTo>
                        <a:pt x="14" y="1136"/>
                      </a:lnTo>
                      <a:lnTo>
                        <a:pt x="13" y="1136"/>
                      </a:lnTo>
                      <a:lnTo>
                        <a:pt x="12" y="1137"/>
                      </a:lnTo>
                      <a:lnTo>
                        <a:pt x="12" y="1138"/>
                      </a:lnTo>
                      <a:lnTo>
                        <a:pt x="12" y="1138"/>
                      </a:lnTo>
                      <a:lnTo>
                        <a:pt x="12" y="1138"/>
                      </a:lnTo>
                      <a:lnTo>
                        <a:pt x="12" y="1139"/>
                      </a:lnTo>
                      <a:lnTo>
                        <a:pt x="11" y="1139"/>
                      </a:lnTo>
                      <a:lnTo>
                        <a:pt x="10" y="1139"/>
                      </a:lnTo>
                      <a:lnTo>
                        <a:pt x="10" y="1138"/>
                      </a:lnTo>
                      <a:lnTo>
                        <a:pt x="10" y="1138"/>
                      </a:lnTo>
                      <a:lnTo>
                        <a:pt x="10" y="1137"/>
                      </a:lnTo>
                      <a:lnTo>
                        <a:pt x="10" y="1136"/>
                      </a:lnTo>
                      <a:lnTo>
                        <a:pt x="11" y="1136"/>
                      </a:lnTo>
                      <a:lnTo>
                        <a:pt x="12" y="1136"/>
                      </a:lnTo>
                      <a:lnTo>
                        <a:pt x="12" y="1136"/>
                      </a:lnTo>
                      <a:lnTo>
                        <a:pt x="12" y="1136"/>
                      </a:lnTo>
                      <a:lnTo>
                        <a:pt x="12" y="1135"/>
                      </a:lnTo>
                      <a:lnTo>
                        <a:pt x="12" y="1135"/>
                      </a:lnTo>
                      <a:lnTo>
                        <a:pt x="11" y="1135"/>
                      </a:lnTo>
                      <a:lnTo>
                        <a:pt x="10" y="1135"/>
                      </a:lnTo>
                      <a:lnTo>
                        <a:pt x="10" y="1134"/>
                      </a:lnTo>
                      <a:lnTo>
                        <a:pt x="10" y="1134"/>
                      </a:lnTo>
                      <a:lnTo>
                        <a:pt x="10" y="1133"/>
                      </a:lnTo>
                      <a:lnTo>
                        <a:pt x="11" y="1132"/>
                      </a:lnTo>
                      <a:lnTo>
                        <a:pt x="11" y="1131"/>
                      </a:lnTo>
                      <a:lnTo>
                        <a:pt x="11" y="1131"/>
                      </a:lnTo>
                      <a:lnTo>
                        <a:pt x="11" y="1129"/>
                      </a:lnTo>
                      <a:lnTo>
                        <a:pt x="11" y="1129"/>
                      </a:lnTo>
                      <a:lnTo>
                        <a:pt x="10" y="1128"/>
                      </a:lnTo>
                      <a:lnTo>
                        <a:pt x="10" y="1127"/>
                      </a:lnTo>
                      <a:lnTo>
                        <a:pt x="10" y="1127"/>
                      </a:lnTo>
                      <a:lnTo>
                        <a:pt x="10" y="1127"/>
                      </a:lnTo>
                      <a:lnTo>
                        <a:pt x="9" y="1126"/>
                      </a:lnTo>
                      <a:lnTo>
                        <a:pt x="8" y="1126"/>
                      </a:lnTo>
                      <a:lnTo>
                        <a:pt x="7" y="1125"/>
                      </a:lnTo>
                      <a:lnTo>
                        <a:pt x="7" y="1125"/>
                      </a:lnTo>
                      <a:lnTo>
                        <a:pt x="7" y="1124"/>
                      </a:lnTo>
                      <a:lnTo>
                        <a:pt x="7" y="1123"/>
                      </a:lnTo>
                      <a:lnTo>
                        <a:pt x="9" y="1123"/>
                      </a:lnTo>
                      <a:lnTo>
                        <a:pt x="10" y="1122"/>
                      </a:lnTo>
                      <a:lnTo>
                        <a:pt x="11" y="1121"/>
                      </a:lnTo>
                      <a:lnTo>
                        <a:pt x="12" y="1121"/>
                      </a:lnTo>
                      <a:lnTo>
                        <a:pt x="12" y="1120"/>
                      </a:lnTo>
                      <a:lnTo>
                        <a:pt x="12" y="1119"/>
                      </a:lnTo>
                      <a:lnTo>
                        <a:pt x="12" y="1119"/>
                      </a:lnTo>
                      <a:lnTo>
                        <a:pt x="12" y="1118"/>
                      </a:lnTo>
                      <a:lnTo>
                        <a:pt x="12" y="1117"/>
                      </a:lnTo>
                      <a:lnTo>
                        <a:pt x="14" y="1117"/>
                      </a:lnTo>
                      <a:lnTo>
                        <a:pt x="14" y="1116"/>
                      </a:lnTo>
                      <a:lnTo>
                        <a:pt x="16" y="1115"/>
                      </a:lnTo>
                      <a:lnTo>
                        <a:pt x="16" y="1115"/>
                      </a:lnTo>
                      <a:lnTo>
                        <a:pt x="17" y="1115"/>
                      </a:lnTo>
                      <a:lnTo>
                        <a:pt x="17" y="1114"/>
                      </a:lnTo>
                      <a:lnTo>
                        <a:pt x="17" y="1113"/>
                      </a:lnTo>
                      <a:lnTo>
                        <a:pt x="17" y="1112"/>
                      </a:lnTo>
                      <a:lnTo>
                        <a:pt x="17" y="1112"/>
                      </a:lnTo>
                      <a:lnTo>
                        <a:pt x="18" y="1111"/>
                      </a:lnTo>
                      <a:lnTo>
                        <a:pt x="18" y="1110"/>
                      </a:lnTo>
                      <a:lnTo>
                        <a:pt x="17" y="1109"/>
                      </a:lnTo>
                      <a:lnTo>
                        <a:pt x="17" y="1108"/>
                      </a:lnTo>
                      <a:lnTo>
                        <a:pt x="18" y="1108"/>
                      </a:lnTo>
                      <a:lnTo>
                        <a:pt x="18" y="1106"/>
                      </a:lnTo>
                      <a:lnTo>
                        <a:pt x="18" y="1105"/>
                      </a:lnTo>
                      <a:lnTo>
                        <a:pt x="18" y="1104"/>
                      </a:lnTo>
                      <a:lnTo>
                        <a:pt x="18" y="1102"/>
                      </a:lnTo>
                      <a:lnTo>
                        <a:pt x="19" y="1102"/>
                      </a:lnTo>
                      <a:lnTo>
                        <a:pt x="20" y="1102"/>
                      </a:lnTo>
                      <a:lnTo>
                        <a:pt x="20" y="1101"/>
                      </a:lnTo>
                      <a:lnTo>
                        <a:pt x="20" y="1101"/>
                      </a:lnTo>
                      <a:lnTo>
                        <a:pt x="21" y="1100"/>
                      </a:lnTo>
                      <a:lnTo>
                        <a:pt x="22" y="1099"/>
                      </a:lnTo>
                      <a:lnTo>
                        <a:pt x="21" y="1098"/>
                      </a:lnTo>
                      <a:lnTo>
                        <a:pt x="21" y="1097"/>
                      </a:lnTo>
                      <a:lnTo>
                        <a:pt x="20" y="1096"/>
                      </a:lnTo>
                      <a:lnTo>
                        <a:pt x="19" y="1096"/>
                      </a:lnTo>
                      <a:lnTo>
                        <a:pt x="18" y="1096"/>
                      </a:lnTo>
                      <a:lnTo>
                        <a:pt x="17" y="1097"/>
                      </a:lnTo>
                      <a:lnTo>
                        <a:pt x="16" y="1097"/>
                      </a:lnTo>
                      <a:lnTo>
                        <a:pt x="16" y="1097"/>
                      </a:lnTo>
                      <a:lnTo>
                        <a:pt x="15" y="1097"/>
                      </a:lnTo>
                      <a:lnTo>
                        <a:pt x="14" y="1096"/>
                      </a:lnTo>
                      <a:lnTo>
                        <a:pt x="14" y="1096"/>
                      </a:lnTo>
                      <a:lnTo>
                        <a:pt x="14" y="1094"/>
                      </a:lnTo>
                      <a:lnTo>
                        <a:pt x="13" y="1092"/>
                      </a:lnTo>
                      <a:lnTo>
                        <a:pt x="12" y="1091"/>
                      </a:lnTo>
                      <a:lnTo>
                        <a:pt x="11" y="1090"/>
                      </a:lnTo>
                      <a:lnTo>
                        <a:pt x="10" y="1089"/>
                      </a:lnTo>
                      <a:lnTo>
                        <a:pt x="9" y="1088"/>
                      </a:lnTo>
                      <a:lnTo>
                        <a:pt x="9" y="1087"/>
                      </a:lnTo>
                      <a:lnTo>
                        <a:pt x="9" y="1086"/>
                      </a:lnTo>
                      <a:lnTo>
                        <a:pt x="8" y="1086"/>
                      </a:lnTo>
                      <a:lnTo>
                        <a:pt x="7" y="1085"/>
                      </a:lnTo>
                      <a:lnTo>
                        <a:pt x="7" y="1083"/>
                      </a:lnTo>
                      <a:lnTo>
                        <a:pt x="8" y="1083"/>
                      </a:lnTo>
                      <a:lnTo>
                        <a:pt x="8" y="1081"/>
                      </a:lnTo>
                      <a:lnTo>
                        <a:pt x="8" y="1080"/>
                      </a:lnTo>
                      <a:lnTo>
                        <a:pt x="8" y="1079"/>
                      </a:lnTo>
                      <a:lnTo>
                        <a:pt x="8" y="1077"/>
                      </a:lnTo>
                      <a:lnTo>
                        <a:pt x="8" y="1077"/>
                      </a:lnTo>
                      <a:lnTo>
                        <a:pt x="7" y="1076"/>
                      </a:lnTo>
                      <a:lnTo>
                        <a:pt x="6" y="1076"/>
                      </a:lnTo>
                      <a:lnTo>
                        <a:pt x="5" y="1076"/>
                      </a:lnTo>
                      <a:lnTo>
                        <a:pt x="3" y="1076"/>
                      </a:lnTo>
                      <a:lnTo>
                        <a:pt x="3" y="1075"/>
                      </a:lnTo>
                      <a:lnTo>
                        <a:pt x="1" y="1075"/>
                      </a:lnTo>
                      <a:lnTo>
                        <a:pt x="1" y="1074"/>
                      </a:lnTo>
                      <a:lnTo>
                        <a:pt x="1" y="1073"/>
                      </a:lnTo>
                      <a:lnTo>
                        <a:pt x="1" y="1072"/>
                      </a:lnTo>
                      <a:lnTo>
                        <a:pt x="1" y="1072"/>
                      </a:lnTo>
                      <a:lnTo>
                        <a:pt x="3" y="1070"/>
                      </a:lnTo>
                      <a:lnTo>
                        <a:pt x="4" y="1070"/>
                      </a:lnTo>
                      <a:lnTo>
                        <a:pt x="5" y="1069"/>
                      </a:lnTo>
                      <a:lnTo>
                        <a:pt x="5" y="1068"/>
                      </a:lnTo>
                      <a:lnTo>
                        <a:pt x="5" y="1067"/>
                      </a:lnTo>
                      <a:lnTo>
                        <a:pt x="4" y="1066"/>
                      </a:lnTo>
                      <a:lnTo>
                        <a:pt x="2" y="1065"/>
                      </a:lnTo>
                      <a:lnTo>
                        <a:pt x="1" y="1064"/>
                      </a:lnTo>
                      <a:lnTo>
                        <a:pt x="1" y="1064"/>
                      </a:lnTo>
                      <a:lnTo>
                        <a:pt x="2" y="1063"/>
                      </a:lnTo>
                      <a:lnTo>
                        <a:pt x="5" y="1062"/>
                      </a:lnTo>
                      <a:lnTo>
                        <a:pt x="6" y="1061"/>
                      </a:lnTo>
                      <a:lnTo>
                        <a:pt x="7" y="1060"/>
                      </a:lnTo>
                      <a:lnTo>
                        <a:pt x="7" y="1058"/>
                      </a:lnTo>
                      <a:lnTo>
                        <a:pt x="6" y="1057"/>
                      </a:lnTo>
                      <a:lnTo>
                        <a:pt x="5" y="1057"/>
                      </a:lnTo>
                      <a:lnTo>
                        <a:pt x="5" y="1056"/>
                      </a:lnTo>
                      <a:lnTo>
                        <a:pt x="4" y="1056"/>
                      </a:lnTo>
                      <a:lnTo>
                        <a:pt x="3" y="1056"/>
                      </a:lnTo>
                      <a:lnTo>
                        <a:pt x="2" y="1058"/>
                      </a:lnTo>
                      <a:lnTo>
                        <a:pt x="1" y="1058"/>
                      </a:lnTo>
                      <a:lnTo>
                        <a:pt x="0" y="1058"/>
                      </a:lnTo>
                      <a:lnTo>
                        <a:pt x="0" y="1057"/>
                      </a:lnTo>
                      <a:lnTo>
                        <a:pt x="0" y="1056"/>
                      </a:lnTo>
                      <a:lnTo>
                        <a:pt x="0" y="1056"/>
                      </a:lnTo>
                      <a:lnTo>
                        <a:pt x="1" y="1055"/>
                      </a:lnTo>
                      <a:lnTo>
                        <a:pt x="2" y="1054"/>
                      </a:lnTo>
                      <a:lnTo>
                        <a:pt x="3" y="1053"/>
                      </a:lnTo>
                      <a:lnTo>
                        <a:pt x="5" y="1052"/>
                      </a:lnTo>
                      <a:lnTo>
                        <a:pt x="6" y="1051"/>
                      </a:lnTo>
                      <a:lnTo>
                        <a:pt x="8" y="1048"/>
                      </a:lnTo>
                      <a:lnTo>
                        <a:pt x="9" y="1046"/>
                      </a:lnTo>
                      <a:lnTo>
                        <a:pt x="10" y="1045"/>
                      </a:lnTo>
                      <a:lnTo>
                        <a:pt x="12" y="1043"/>
                      </a:lnTo>
                      <a:lnTo>
                        <a:pt x="13" y="1043"/>
                      </a:lnTo>
                      <a:lnTo>
                        <a:pt x="14" y="1043"/>
                      </a:lnTo>
                      <a:lnTo>
                        <a:pt x="16" y="1043"/>
                      </a:lnTo>
                      <a:lnTo>
                        <a:pt x="17" y="1044"/>
                      </a:lnTo>
                      <a:lnTo>
                        <a:pt x="18" y="1044"/>
                      </a:lnTo>
                      <a:lnTo>
                        <a:pt x="19" y="1045"/>
                      </a:lnTo>
                      <a:lnTo>
                        <a:pt x="20" y="1045"/>
                      </a:lnTo>
                      <a:lnTo>
                        <a:pt x="22" y="1044"/>
                      </a:lnTo>
                      <a:lnTo>
                        <a:pt x="22" y="1043"/>
                      </a:lnTo>
                      <a:lnTo>
                        <a:pt x="22" y="1043"/>
                      </a:lnTo>
                      <a:lnTo>
                        <a:pt x="22" y="1042"/>
                      </a:lnTo>
                      <a:lnTo>
                        <a:pt x="22" y="1041"/>
                      </a:lnTo>
                      <a:lnTo>
                        <a:pt x="22" y="1039"/>
                      </a:lnTo>
                      <a:lnTo>
                        <a:pt x="21" y="1039"/>
                      </a:lnTo>
                      <a:lnTo>
                        <a:pt x="20" y="1038"/>
                      </a:lnTo>
                      <a:lnTo>
                        <a:pt x="18" y="1037"/>
                      </a:lnTo>
                      <a:lnTo>
                        <a:pt x="17" y="1037"/>
                      </a:lnTo>
                      <a:lnTo>
                        <a:pt x="16" y="1037"/>
                      </a:lnTo>
                      <a:lnTo>
                        <a:pt x="15" y="1036"/>
                      </a:lnTo>
                      <a:lnTo>
                        <a:pt x="13" y="1035"/>
                      </a:lnTo>
                      <a:lnTo>
                        <a:pt x="12" y="1035"/>
                      </a:lnTo>
                      <a:lnTo>
                        <a:pt x="12" y="1034"/>
                      </a:lnTo>
                      <a:lnTo>
                        <a:pt x="11" y="1034"/>
                      </a:lnTo>
                      <a:lnTo>
                        <a:pt x="10" y="1032"/>
                      </a:lnTo>
                      <a:lnTo>
                        <a:pt x="10" y="1032"/>
                      </a:lnTo>
                      <a:lnTo>
                        <a:pt x="11" y="1031"/>
                      </a:lnTo>
                      <a:lnTo>
                        <a:pt x="12" y="1030"/>
                      </a:lnTo>
                      <a:lnTo>
                        <a:pt x="12" y="1029"/>
                      </a:lnTo>
                      <a:lnTo>
                        <a:pt x="13" y="1028"/>
                      </a:lnTo>
                      <a:lnTo>
                        <a:pt x="13" y="1027"/>
                      </a:lnTo>
                      <a:lnTo>
                        <a:pt x="13" y="1026"/>
                      </a:lnTo>
                      <a:lnTo>
                        <a:pt x="13" y="1025"/>
                      </a:lnTo>
                      <a:lnTo>
                        <a:pt x="12" y="1024"/>
                      </a:lnTo>
                      <a:lnTo>
                        <a:pt x="11" y="1022"/>
                      </a:lnTo>
                      <a:lnTo>
                        <a:pt x="10" y="1021"/>
                      </a:lnTo>
                      <a:lnTo>
                        <a:pt x="8" y="1020"/>
                      </a:lnTo>
                      <a:lnTo>
                        <a:pt x="7" y="1019"/>
                      </a:lnTo>
                      <a:lnTo>
                        <a:pt x="7" y="1018"/>
                      </a:lnTo>
                      <a:lnTo>
                        <a:pt x="6" y="1017"/>
                      </a:lnTo>
                      <a:lnTo>
                        <a:pt x="6" y="1015"/>
                      </a:lnTo>
                      <a:lnTo>
                        <a:pt x="6" y="1013"/>
                      </a:lnTo>
                      <a:lnTo>
                        <a:pt x="5" y="1012"/>
                      </a:lnTo>
                      <a:lnTo>
                        <a:pt x="6" y="1011"/>
                      </a:lnTo>
                      <a:lnTo>
                        <a:pt x="6" y="1009"/>
                      </a:lnTo>
                      <a:lnTo>
                        <a:pt x="7" y="1008"/>
                      </a:lnTo>
                      <a:lnTo>
                        <a:pt x="7" y="1007"/>
                      </a:lnTo>
                      <a:lnTo>
                        <a:pt x="9" y="1005"/>
                      </a:lnTo>
                      <a:lnTo>
                        <a:pt x="10" y="1003"/>
                      </a:lnTo>
                      <a:lnTo>
                        <a:pt x="10" y="1002"/>
                      </a:lnTo>
                      <a:lnTo>
                        <a:pt x="11" y="1001"/>
                      </a:lnTo>
                      <a:lnTo>
                        <a:pt x="12" y="1000"/>
                      </a:lnTo>
                      <a:lnTo>
                        <a:pt x="13" y="999"/>
                      </a:lnTo>
                      <a:lnTo>
                        <a:pt x="14" y="997"/>
                      </a:lnTo>
                      <a:lnTo>
                        <a:pt x="14" y="996"/>
                      </a:lnTo>
                      <a:lnTo>
                        <a:pt x="14" y="995"/>
                      </a:lnTo>
                      <a:lnTo>
                        <a:pt x="13" y="994"/>
                      </a:lnTo>
                      <a:lnTo>
                        <a:pt x="12" y="994"/>
                      </a:lnTo>
                      <a:lnTo>
                        <a:pt x="12" y="993"/>
                      </a:lnTo>
                      <a:lnTo>
                        <a:pt x="11" y="993"/>
                      </a:lnTo>
                      <a:lnTo>
                        <a:pt x="10" y="993"/>
                      </a:lnTo>
                      <a:lnTo>
                        <a:pt x="9" y="993"/>
                      </a:lnTo>
                      <a:lnTo>
                        <a:pt x="7" y="994"/>
                      </a:lnTo>
                      <a:lnTo>
                        <a:pt x="5" y="995"/>
                      </a:lnTo>
                      <a:lnTo>
                        <a:pt x="4" y="994"/>
                      </a:lnTo>
                      <a:lnTo>
                        <a:pt x="3" y="994"/>
                      </a:lnTo>
                      <a:lnTo>
                        <a:pt x="3" y="993"/>
                      </a:lnTo>
                      <a:lnTo>
                        <a:pt x="2" y="992"/>
                      </a:lnTo>
                      <a:lnTo>
                        <a:pt x="1" y="991"/>
                      </a:lnTo>
                      <a:lnTo>
                        <a:pt x="1" y="990"/>
                      </a:lnTo>
                      <a:lnTo>
                        <a:pt x="2" y="990"/>
                      </a:lnTo>
                      <a:lnTo>
                        <a:pt x="2" y="989"/>
                      </a:lnTo>
                      <a:lnTo>
                        <a:pt x="3" y="989"/>
                      </a:lnTo>
                      <a:lnTo>
                        <a:pt x="3" y="988"/>
                      </a:lnTo>
                      <a:lnTo>
                        <a:pt x="5" y="988"/>
                      </a:lnTo>
                      <a:lnTo>
                        <a:pt x="5" y="989"/>
                      </a:lnTo>
                      <a:lnTo>
                        <a:pt x="7" y="989"/>
                      </a:lnTo>
                      <a:lnTo>
                        <a:pt x="8" y="990"/>
                      </a:lnTo>
                      <a:lnTo>
                        <a:pt x="9" y="990"/>
                      </a:lnTo>
                      <a:lnTo>
                        <a:pt x="10" y="989"/>
                      </a:lnTo>
                      <a:lnTo>
                        <a:pt x="10" y="989"/>
                      </a:lnTo>
                      <a:lnTo>
                        <a:pt x="11" y="988"/>
                      </a:lnTo>
                      <a:lnTo>
                        <a:pt x="12" y="986"/>
                      </a:lnTo>
                      <a:lnTo>
                        <a:pt x="14" y="986"/>
                      </a:lnTo>
                      <a:lnTo>
                        <a:pt x="14" y="985"/>
                      </a:lnTo>
                      <a:lnTo>
                        <a:pt x="16" y="984"/>
                      </a:lnTo>
                      <a:lnTo>
                        <a:pt x="16" y="984"/>
                      </a:lnTo>
                      <a:lnTo>
                        <a:pt x="16" y="982"/>
                      </a:lnTo>
                      <a:lnTo>
                        <a:pt x="16" y="982"/>
                      </a:lnTo>
                      <a:lnTo>
                        <a:pt x="15" y="982"/>
                      </a:lnTo>
                      <a:lnTo>
                        <a:pt x="14" y="981"/>
                      </a:lnTo>
                      <a:lnTo>
                        <a:pt x="12" y="980"/>
                      </a:lnTo>
                      <a:lnTo>
                        <a:pt x="12" y="980"/>
                      </a:lnTo>
                      <a:lnTo>
                        <a:pt x="10" y="979"/>
                      </a:lnTo>
                      <a:lnTo>
                        <a:pt x="9" y="978"/>
                      </a:lnTo>
                      <a:lnTo>
                        <a:pt x="7" y="978"/>
                      </a:lnTo>
                      <a:lnTo>
                        <a:pt x="6" y="977"/>
                      </a:lnTo>
                      <a:lnTo>
                        <a:pt x="5" y="977"/>
                      </a:lnTo>
                      <a:lnTo>
                        <a:pt x="3" y="976"/>
                      </a:lnTo>
                      <a:lnTo>
                        <a:pt x="3" y="976"/>
                      </a:lnTo>
                      <a:lnTo>
                        <a:pt x="2" y="976"/>
                      </a:lnTo>
                      <a:lnTo>
                        <a:pt x="2" y="974"/>
                      </a:lnTo>
                      <a:lnTo>
                        <a:pt x="2" y="973"/>
                      </a:lnTo>
                      <a:lnTo>
                        <a:pt x="3" y="972"/>
                      </a:lnTo>
                      <a:lnTo>
                        <a:pt x="3" y="971"/>
                      </a:lnTo>
                      <a:lnTo>
                        <a:pt x="5" y="971"/>
                      </a:lnTo>
                      <a:lnTo>
                        <a:pt x="6" y="971"/>
                      </a:lnTo>
                      <a:lnTo>
                        <a:pt x="7" y="971"/>
                      </a:lnTo>
                      <a:lnTo>
                        <a:pt x="7" y="970"/>
                      </a:lnTo>
                      <a:lnTo>
                        <a:pt x="7" y="969"/>
                      </a:lnTo>
                      <a:lnTo>
                        <a:pt x="7" y="967"/>
                      </a:lnTo>
                      <a:lnTo>
                        <a:pt x="7" y="967"/>
                      </a:lnTo>
                      <a:lnTo>
                        <a:pt x="6" y="966"/>
                      </a:lnTo>
                      <a:lnTo>
                        <a:pt x="5" y="963"/>
                      </a:lnTo>
                      <a:lnTo>
                        <a:pt x="4" y="961"/>
                      </a:lnTo>
                      <a:lnTo>
                        <a:pt x="4" y="960"/>
                      </a:lnTo>
                      <a:lnTo>
                        <a:pt x="5" y="959"/>
                      </a:lnTo>
                      <a:lnTo>
                        <a:pt x="5" y="957"/>
                      </a:lnTo>
                      <a:lnTo>
                        <a:pt x="5" y="955"/>
                      </a:lnTo>
                      <a:lnTo>
                        <a:pt x="6" y="954"/>
                      </a:lnTo>
                      <a:lnTo>
                        <a:pt x="7" y="953"/>
                      </a:lnTo>
                      <a:lnTo>
                        <a:pt x="9" y="952"/>
                      </a:lnTo>
                      <a:lnTo>
                        <a:pt x="11" y="950"/>
                      </a:lnTo>
                      <a:lnTo>
                        <a:pt x="14" y="948"/>
                      </a:lnTo>
                      <a:lnTo>
                        <a:pt x="15" y="947"/>
                      </a:lnTo>
                      <a:lnTo>
                        <a:pt x="16" y="946"/>
                      </a:lnTo>
                      <a:lnTo>
                        <a:pt x="18" y="944"/>
                      </a:lnTo>
                      <a:lnTo>
                        <a:pt x="18" y="943"/>
                      </a:lnTo>
                      <a:lnTo>
                        <a:pt x="18" y="942"/>
                      </a:lnTo>
                      <a:lnTo>
                        <a:pt x="16" y="941"/>
                      </a:lnTo>
                      <a:lnTo>
                        <a:pt x="15" y="941"/>
                      </a:lnTo>
                      <a:lnTo>
                        <a:pt x="14" y="942"/>
                      </a:lnTo>
                      <a:lnTo>
                        <a:pt x="12" y="942"/>
                      </a:lnTo>
                      <a:lnTo>
                        <a:pt x="11" y="943"/>
                      </a:lnTo>
                      <a:lnTo>
                        <a:pt x="10" y="942"/>
                      </a:lnTo>
                      <a:lnTo>
                        <a:pt x="11" y="941"/>
                      </a:lnTo>
                      <a:lnTo>
                        <a:pt x="12" y="940"/>
                      </a:lnTo>
                      <a:lnTo>
                        <a:pt x="12" y="938"/>
                      </a:lnTo>
                      <a:lnTo>
                        <a:pt x="14" y="937"/>
                      </a:lnTo>
                      <a:lnTo>
                        <a:pt x="16" y="935"/>
                      </a:lnTo>
                      <a:lnTo>
                        <a:pt x="19" y="935"/>
                      </a:lnTo>
                      <a:lnTo>
                        <a:pt x="19" y="933"/>
                      </a:lnTo>
                      <a:lnTo>
                        <a:pt x="19" y="931"/>
                      </a:lnTo>
                      <a:lnTo>
                        <a:pt x="20" y="931"/>
                      </a:lnTo>
                      <a:lnTo>
                        <a:pt x="20" y="929"/>
                      </a:lnTo>
                      <a:lnTo>
                        <a:pt x="22" y="928"/>
                      </a:lnTo>
                      <a:lnTo>
                        <a:pt x="22" y="927"/>
                      </a:lnTo>
                      <a:lnTo>
                        <a:pt x="24" y="925"/>
                      </a:lnTo>
                      <a:lnTo>
                        <a:pt x="24" y="925"/>
                      </a:lnTo>
                      <a:lnTo>
                        <a:pt x="23" y="923"/>
                      </a:lnTo>
                      <a:lnTo>
                        <a:pt x="22" y="923"/>
                      </a:lnTo>
                      <a:lnTo>
                        <a:pt x="22" y="923"/>
                      </a:lnTo>
                      <a:lnTo>
                        <a:pt x="21" y="923"/>
                      </a:lnTo>
                      <a:lnTo>
                        <a:pt x="20" y="925"/>
                      </a:lnTo>
                      <a:lnTo>
                        <a:pt x="18" y="926"/>
                      </a:lnTo>
                      <a:lnTo>
                        <a:pt x="17" y="927"/>
                      </a:lnTo>
                      <a:lnTo>
                        <a:pt x="16" y="925"/>
                      </a:lnTo>
                      <a:lnTo>
                        <a:pt x="16" y="924"/>
                      </a:lnTo>
                      <a:lnTo>
                        <a:pt x="14" y="923"/>
                      </a:lnTo>
                      <a:lnTo>
                        <a:pt x="13" y="922"/>
                      </a:lnTo>
                      <a:lnTo>
                        <a:pt x="12" y="922"/>
                      </a:lnTo>
                      <a:lnTo>
                        <a:pt x="10" y="921"/>
                      </a:lnTo>
                      <a:lnTo>
                        <a:pt x="10" y="921"/>
                      </a:lnTo>
                      <a:lnTo>
                        <a:pt x="10" y="920"/>
                      </a:lnTo>
                      <a:lnTo>
                        <a:pt x="10" y="919"/>
                      </a:lnTo>
                      <a:lnTo>
                        <a:pt x="11" y="918"/>
                      </a:lnTo>
                      <a:lnTo>
                        <a:pt x="12" y="917"/>
                      </a:lnTo>
                      <a:lnTo>
                        <a:pt x="13" y="916"/>
                      </a:lnTo>
                      <a:lnTo>
                        <a:pt x="16" y="914"/>
                      </a:lnTo>
                      <a:lnTo>
                        <a:pt x="16" y="914"/>
                      </a:lnTo>
                      <a:lnTo>
                        <a:pt x="18" y="913"/>
                      </a:lnTo>
                      <a:lnTo>
                        <a:pt x="18" y="911"/>
                      </a:lnTo>
                      <a:lnTo>
                        <a:pt x="17" y="910"/>
                      </a:lnTo>
                      <a:lnTo>
                        <a:pt x="16" y="910"/>
                      </a:lnTo>
                      <a:lnTo>
                        <a:pt x="14" y="910"/>
                      </a:lnTo>
                      <a:lnTo>
                        <a:pt x="14" y="910"/>
                      </a:lnTo>
                      <a:lnTo>
                        <a:pt x="12" y="911"/>
                      </a:lnTo>
                      <a:lnTo>
                        <a:pt x="11" y="911"/>
                      </a:lnTo>
                      <a:lnTo>
                        <a:pt x="10" y="911"/>
                      </a:lnTo>
                      <a:lnTo>
                        <a:pt x="7" y="910"/>
                      </a:lnTo>
                      <a:lnTo>
                        <a:pt x="7" y="910"/>
                      </a:lnTo>
                      <a:lnTo>
                        <a:pt x="7" y="908"/>
                      </a:lnTo>
                      <a:lnTo>
                        <a:pt x="7" y="907"/>
                      </a:lnTo>
                      <a:lnTo>
                        <a:pt x="10" y="906"/>
                      </a:lnTo>
                      <a:lnTo>
                        <a:pt x="10" y="906"/>
                      </a:lnTo>
                      <a:lnTo>
                        <a:pt x="11" y="905"/>
                      </a:lnTo>
                      <a:lnTo>
                        <a:pt x="12" y="905"/>
                      </a:lnTo>
                      <a:lnTo>
                        <a:pt x="14" y="904"/>
                      </a:lnTo>
                      <a:lnTo>
                        <a:pt x="16" y="904"/>
                      </a:lnTo>
                      <a:lnTo>
                        <a:pt x="17" y="904"/>
                      </a:lnTo>
                      <a:lnTo>
                        <a:pt x="18" y="902"/>
                      </a:lnTo>
                      <a:lnTo>
                        <a:pt x="19" y="900"/>
                      </a:lnTo>
                      <a:lnTo>
                        <a:pt x="20" y="899"/>
                      </a:lnTo>
                      <a:lnTo>
                        <a:pt x="22" y="898"/>
                      </a:lnTo>
                      <a:lnTo>
                        <a:pt x="24" y="898"/>
                      </a:lnTo>
                      <a:lnTo>
                        <a:pt x="26" y="896"/>
                      </a:lnTo>
                      <a:lnTo>
                        <a:pt x="26" y="895"/>
                      </a:lnTo>
                      <a:lnTo>
                        <a:pt x="24" y="894"/>
                      </a:lnTo>
                      <a:lnTo>
                        <a:pt x="23" y="893"/>
                      </a:lnTo>
                      <a:lnTo>
                        <a:pt x="22" y="891"/>
                      </a:lnTo>
                      <a:lnTo>
                        <a:pt x="22" y="891"/>
                      </a:lnTo>
                      <a:lnTo>
                        <a:pt x="23" y="889"/>
                      </a:lnTo>
                      <a:lnTo>
                        <a:pt x="24" y="889"/>
                      </a:lnTo>
                      <a:lnTo>
                        <a:pt x="24" y="889"/>
                      </a:lnTo>
                      <a:lnTo>
                        <a:pt x="25" y="889"/>
                      </a:lnTo>
                      <a:lnTo>
                        <a:pt x="26" y="891"/>
                      </a:lnTo>
                      <a:lnTo>
                        <a:pt x="26" y="893"/>
                      </a:lnTo>
                      <a:lnTo>
                        <a:pt x="26" y="893"/>
                      </a:lnTo>
                      <a:lnTo>
                        <a:pt x="27" y="894"/>
                      </a:lnTo>
                      <a:lnTo>
                        <a:pt x="28" y="894"/>
                      </a:lnTo>
                      <a:lnTo>
                        <a:pt x="30" y="895"/>
                      </a:lnTo>
                      <a:lnTo>
                        <a:pt x="31" y="895"/>
                      </a:lnTo>
                      <a:lnTo>
                        <a:pt x="31" y="895"/>
                      </a:lnTo>
                      <a:lnTo>
                        <a:pt x="32" y="895"/>
                      </a:lnTo>
                      <a:lnTo>
                        <a:pt x="32" y="894"/>
                      </a:lnTo>
                      <a:lnTo>
                        <a:pt x="31" y="893"/>
                      </a:lnTo>
                      <a:lnTo>
                        <a:pt x="31" y="892"/>
                      </a:lnTo>
                      <a:lnTo>
                        <a:pt x="31" y="891"/>
                      </a:lnTo>
                      <a:lnTo>
                        <a:pt x="31" y="890"/>
                      </a:lnTo>
                      <a:lnTo>
                        <a:pt x="31" y="888"/>
                      </a:lnTo>
                      <a:lnTo>
                        <a:pt x="31" y="887"/>
                      </a:lnTo>
                      <a:lnTo>
                        <a:pt x="32" y="887"/>
                      </a:lnTo>
                      <a:lnTo>
                        <a:pt x="33" y="887"/>
                      </a:lnTo>
                      <a:lnTo>
                        <a:pt x="34" y="887"/>
                      </a:lnTo>
                      <a:lnTo>
                        <a:pt x="34" y="887"/>
                      </a:lnTo>
                      <a:lnTo>
                        <a:pt x="34" y="886"/>
                      </a:lnTo>
                      <a:lnTo>
                        <a:pt x="34" y="885"/>
                      </a:lnTo>
                      <a:lnTo>
                        <a:pt x="33" y="885"/>
                      </a:lnTo>
                      <a:lnTo>
                        <a:pt x="31" y="883"/>
                      </a:lnTo>
                      <a:lnTo>
                        <a:pt x="31" y="883"/>
                      </a:lnTo>
                      <a:lnTo>
                        <a:pt x="29" y="881"/>
                      </a:lnTo>
                      <a:lnTo>
                        <a:pt x="29" y="880"/>
                      </a:lnTo>
                      <a:lnTo>
                        <a:pt x="29" y="878"/>
                      </a:lnTo>
                      <a:lnTo>
                        <a:pt x="29" y="877"/>
                      </a:lnTo>
                      <a:lnTo>
                        <a:pt x="29" y="876"/>
                      </a:lnTo>
                      <a:lnTo>
                        <a:pt x="29" y="875"/>
                      </a:lnTo>
                      <a:lnTo>
                        <a:pt x="29" y="874"/>
                      </a:lnTo>
                      <a:lnTo>
                        <a:pt x="30" y="874"/>
                      </a:lnTo>
                      <a:lnTo>
                        <a:pt x="32" y="874"/>
                      </a:lnTo>
                      <a:lnTo>
                        <a:pt x="33" y="873"/>
                      </a:lnTo>
                      <a:lnTo>
                        <a:pt x="35" y="872"/>
                      </a:lnTo>
                      <a:lnTo>
                        <a:pt x="38" y="870"/>
                      </a:lnTo>
                      <a:lnTo>
                        <a:pt x="40" y="870"/>
                      </a:lnTo>
                      <a:lnTo>
                        <a:pt x="42" y="870"/>
                      </a:lnTo>
                      <a:lnTo>
                        <a:pt x="45" y="870"/>
                      </a:lnTo>
                      <a:lnTo>
                        <a:pt x="46" y="870"/>
                      </a:lnTo>
                      <a:lnTo>
                        <a:pt x="47" y="870"/>
                      </a:lnTo>
                      <a:lnTo>
                        <a:pt x="48" y="869"/>
                      </a:lnTo>
                      <a:lnTo>
                        <a:pt x="48" y="868"/>
                      </a:lnTo>
                      <a:lnTo>
                        <a:pt x="48" y="868"/>
                      </a:lnTo>
                      <a:lnTo>
                        <a:pt x="47" y="868"/>
                      </a:lnTo>
                      <a:lnTo>
                        <a:pt x="46" y="867"/>
                      </a:lnTo>
                      <a:lnTo>
                        <a:pt x="45" y="865"/>
                      </a:lnTo>
                      <a:lnTo>
                        <a:pt x="44" y="864"/>
                      </a:lnTo>
                      <a:lnTo>
                        <a:pt x="42" y="862"/>
                      </a:lnTo>
                      <a:lnTo>
                        <a:pt x="41" y="862"/>
                      </a:lnTo>
                      <a:lnTo>
                        <a:pt x="41" y="861"/>
                      </a:lnTo>
                      <a:lnTo>
                        <a:pt x="41" y="860"/>
                      </a:lnTo>
                      <a:lnTo>
                        <a:pt x="42" y="859"/>
                      </a:lnTo>
                      <a:lnTo>
                        <a:pt x="43" y="860"/>
                      </a:lnTo>
                      <a:lnTo>
                        <a:pt x="44" y="860"/>
                      </a:lnTo>
                      <a:lnTo>
                        <a:pt x="45" y="861"/>
                      </a:lnTo>
                      <a:lnTo>
                        <a:pt x="45" y="862"/>
                      </a:lnTo>
                      <a:lnTo>
                        <a:pt x="45" y="862"/>
                      </a:lnTo>
                      <a:lnTo>
                        <a:pt x="47" y="862"/>
                      </a:lnTo>
                      <a:lnTo>
                        <a:pt x="48" y="861"/>
                      </a:lnTo>
                      <a:lnTo>
                        <a:pt x="48" y="860"/>
                      </a:lnTo>
                      <a:lnTo>
                        <a:pt x="48" y="860"/>
                      </a:lnTo>
                      <a:lnTo>
                        <a:pt x="48" y="859"/>
                      </a:lnTo>
                      <a:lnTo>
                        <a:pt x="48" y="858"/>
                      </a:lnTo>
                      <a:lnTo>
                        <a:pt x="48" y="856"/>
                      </a:lnTo>
                      <a:lnTo>
                        <a:pt x="48" y="855"/>
                      </a:lnTo>
                      <a:lnTo>
                        <a:pt x="48" y="855"/>
                      </a:lnTo>
                      <a:lnTo>
                        <a:pt x="48" y="854"/>
                      </a:lnTo>
                      <a:lnTo>
                        <a:pt x="50" y="853"/>
                      </a:lnTo>
                      <a:lnTo>
                        <a:pt x="50" y="853"/>
                      </a:lnTo>
                      <a:lnTo>
                        <a:pt x="50" y="852"/>
                      </a:lnTo>
                      <a:lnTo>
                        <a:pt x="50" y="851"/>
                      </a:lnTo>
                      <a:lnTo>
                        <a:pt x="50" y="851"/>
                      </a:lnTo>
                      <a:lnTo>
                        <a:pt x="50" y="850"/>
                      </a:lnTo>
                      <a:lnTo>
                        <a:pt x="49" y="849"/>
                      </a:lnTo>
                      <a:lnTo>
                        <a:pt x="48" y="849"/>
                      </a:lnTo>
                      <a:lnTo>
                        <a:pt x="48" y="850"/>
                      </a:lnTo>
                      <a:lnTo>
                        <a:pt x="46" y="851"/>
                      </a:lnTo>
                      <a:lnTo>
                        <a:pt x="45" y="851"/>
                      </a:lnTo>
                      <a:lnTo>
                        <a:pt x="45" y="851"/>
                      </a:lnTo>
                      <a:lnTo>
                        <a:pt x="44" y="851"/>
                      </a:lnTo>
                      <a:lnTo>
                        <a:pt x="43" y="850"/>
                      </a:lnTo>
                      <a:lnTo>
                        <a:pt x="43" y="849"/>
                      </a:lnTo>
                      <a:lnTo>
                        <a:pt x="43" y="848"/>
                      </a:lnTo>
                      <a:lnTo>
                        <a:pt x="43" y="847"/>
                      </a:lnTo>
                      <a:lnTo>
                        <a:pt x="43" y="845"/>
                      </a:lnTo>
                      <a:lnTo>
                        <a:pt x="43" y="844"/>
                      </a:lnTo>
                      <a:lnTo>
                        <a:pt x="43" y="843"/>
                      </a:lnTo>
                      <a:lnTo>
                        <a:pt x="41" y="841"/>
                      </a:lnTo>
                      <a:lnTo>
                        <a:pt x="41" y="841"/>
                      </a:lnTo>
                      <a:lnTo>
                        <a:pt x="40" y="841"/>
                      </a:lnTo>
                      <a:lnTo>
                        <a:pt x="39" y="842"/>
                      </a:lnTo>
                      <a:lnTo>
                        <a:pt x="38" y="842"/>
                      </a:lnTo>
                      <a:lnTo>
                        <a:pt x="37" y="841"/>
                      </a:lnTo>
                      <a:lnTo>
                        <a:pt x="37" y="841"/>
                      </a:lnTo>
                      <a:lnTo>
                        <a:pt x="37" y="840"/>
                      </a:lnTo>
                      <a:lnTo>
                        <a:pt x="37" y="839"/>
                      </a:lnTo>
                      <a:lnTo>
                        <a:pt x="38" y="838"/>
                      </a:lnTo>
                      <a:lnTo>
                        <a:pt x="39" y="837"/>
                      </a:lnTo>
                      <a:lnTo>
                        <a:pt x="39" y="837"/>
                      </a:lnTo>
                      <a:lnTo>
                        <a:pt x="40" y="837"/>
                      </a:lnTo>
                      <a:lnTo>
                        <a:pt x="40" y="836"/>
                      </a:lnTo>
                      <a:lnTo>
                        <a:pt x="41" y="837"/>
                      </a:lnTo>
                      <a:lnTo>
                        <a:pt x="42" y="837"/>
                      </a:lnTo>
                      <a:lnTo>
                        <a:pt x="43" y="837"/>
                      </a:lnTo>
                      <a:lnTo>
                        <a:pt x="43" y="837"/>
                      </a:lnTo>
                      <a:lnTo>
                        <a:pt x="44" y="836"/>
                      </a:lnTo>
                      <a:lnTo>
                        <a:pt x="45" y="836"/>
                      </a:lnTo>
                      <a:lnTo>
                        <a:pt x="45" y="834"/>
                      </a:lnTo>
                      <a:lnTo>
                        <a:pt x="44" y="834"/>
                      </a:lnTo>
                      <a:lnTo>
                        <a:pt x="44" y="833"/>
                      </a:lnTo>
                      <a:lnTo>
                        <a:pt x="44" y="832"/>
                      </a:lnTo>
                      <a:lnTo>
                        <a:pt x="45" y="831"/>
                      </a:lnTo>
                      <a:lnTo>
                        <a:pt x="45" y="830"/>
                      </a:lnTo>
                      <a:lnTo>
                        <a:pt x="47" y="830"/>
                      </a:lnTo>
                      <a:lnTo>
                        <a:pt x="48" y="830"/>
                      </a:lnTo>
                      <a:lnTo>
                        <a:pt x="50" y="828"/>
                      </a:lnTo>
                      <a:lnTo>
                        <a:pt x="50" y="828"/>
                      </a:lnTo>
                      <a:lnTo>
                        <a:pt x="51" y="826"/>
                      </a:lnTo>
                      <a:lnTo>
                        <a:pt x="51" y="826"/>
                      </a:lnTo>
                      <a:lnTo>
                        <a:pt x="51" y="824"/>
                      </a:lnTo>
                      <a:lnTo>
                        <a:pt x="51" y="824"/>
                      </a:lnTo>
                      <a:lnTo>
                        <a:pt x="50" y="824"/>
                      </a:lnTo>
                      <a:lnTo>
                        <a:pt x="49" y="824"/>
                      </a:lnTo>
                      <a:lnTo>
                        <a:pt x="48" y="824"/>
                      </a:lnTo>
                      <a:lnTo>
                        <a:pt x="46" y="826"/>
                      </a:lnTo>
                      <a:lnTo>
                        <a:pt x="45" y="828"/>
                      </a:lnTo>
                      <a:lnTo>
                        <a:pt x="44" y="828"/>
                      </a:lnTo>
                      <a:lnTo>
                        <a:pt x="43" y="828"/>
                      </a:lnTo>
                      <a:lnTo>
                        <a:pt x="43" y="828"/>
                      </a:lnTo>
                      <a:lnTo>
                        <a:pt x="42" y="828"/>
                      </a:lnTo>
                      <a:lnTo>
                        <a:pt x="41" y="828"/>
                      </a:lnTo>
                      <a:lnTo>
                        <a:pt x="41" y="826"/>
                      </a:lnTo>
                      <a:lnTo>
                        <a:pt x="40" y="825"/>
                      </a:lnTo>
                      <a:lnTo>
                        <a:pt x="39" y="824"/>
                      </a:lnTo>
                      <a:lnTo>
                        <a:pt x="39" y="822"/>
                      </a:lnTo>
                      <a:lnTo>
                        <a:pt x="40" y="821"/>
                      </a:lnTo>
                      <a:lnTo>
                        <a:pt x="42" y="820"/>
                      </a:lnTo>
                      <a:lnTo>
                        <a:pt x="43" y="821"/>
                      </a:lnTo>
                      <a:lnTo>
                        <a:pt x="47" y="821"/>
                      </a:lnTo>
                      <a:lnTo>
                        <a:pt x="48" y="821"/>
                      </a:lnTo>
                      <a:lnTo>
                        <a:pt x="48" y="820"/>
                      </a:lnTo>
                      <a:lnTo>
                        <a:pt x="49" y="820"/>
                      </a:lnTo>
                      <a:lnTo>
                        <a:pt x="49" y="819"/>
                      </a:lnTo>
                      <a:lnTo>
                        <a:pt x="49" y="818"/>
                      </a:lnTo>
                      <a:lnTo>
                        <a:pt x="49" y="818"/>
                      </a:lnTo>
                      <a:lnTo>
                        <a:pt x="48" y="817"/>
                      </a:lnTo>
                      <a:lnTo>
                        <a:pt x="48" y="817"/>
                      </a:lnTo>
                      <a:lnTo>
                        <a:pt x="45" y="818"/>
                      </a:lnTo>
                      <a:lnTo>
                        <a:pt x="43" y="818"/>
                      </a:lnTo>
                      <a:lnTo>
                        <a:pt x="41" y="817"/>
                      </a:lnTo>
                      <a:lnTo>
                        <a:pt x="39" y="817"/>
                      </a:lnTo>
                      <a:lnTo>
                        <a:pt x="39" y="816"/>
                      </a:lnTo>
                      <a:lnTo>
                        <a:pt x="38" y="815"/>
                      </a:lnTo>
                      <a:lnTo>
                        <a:pt x="38" y="814"/>
                      </a:lnTo>
                      <a:lnTo>
                        <a:pt x="38" y="813"/>
                      </a:lnTo>
                      <a:lnTo>
                        <a:pt x="39" y="813"/>
                      </a:lnTo>
                      <a:lnTo>
                        <a:pt x="41" y="812"/>
                      </a:lnTo>
                      <a:lnTo>
                        <a:pt x="43" y="811"/>
                      </a:lnTo>
                      <a:lnTo>
                        <a:pt x="43" y="811"/>
                      </a:lnTo>
                      <a:lnTo>
                        <a:pt x="43" y="810"/>
                      </a:lnTo>
                      <a:lnTo>
                        <a:pt x="43" y="809"/>
                      </a:lnTo>
                      <a:lnTo>
                        <a:pt x="41" y="809"/>
                      </a:lnTo>
                      <a:lnTo>
                        <a:pt x="41" y="809"/>
                      </a:lnTo>
                      <a:lnTo>
                        <a:pt x="40" y="808"/>
                      </a:lnTo>
                      <a:lnTo>
                        <a:pt x="39" y="806"/>
                      </a:lnTo>
                      <a:lnTo>
                        <a:pt x="40" y="805"/>
                      </a:lnTo>
                      <a:lnTo>
                        <a:pt x="41" y="803"/>
                      </a:lnTo>
                      <a:lnTo>
                        <a:pt x="43" y="802"/>
                      </a:lnTo>
                      <a:lnTo>
                        <a:pt x="44" y="801"/>
                      </a:lnTo>
                      <a:lnTo>
                        <a:pt x="47" y="801"/>
                      </a:lnTo>
                      <a:lnTo>
                        <a:pt x="53" y="799"/>
                      </a:lnTo>
                      <a:lnTo>
                        <a:pt x="54" y="798"/>
                      </a:lnTo>
                      <a:lnTo>
                        <a:pt x="56" y="796"/>
                      </a:lnTo>
                      <a:lnTo>
                        <a:pt x="56" y="796"/>
                      </a:lnTo>
                      <a:lnTo>
                        <a:pt x="56" y="794"/>
                      </a:lnTo>
                      <a:lnTo>
                        <a:pt x="55" y="794"/>
                      </a:lnTo>
                      <a:lnTo>
                        <a:pt x="52" y="793"/>
                      </a:lnTo>
                      <a:lnTo>
                        <a:pt x="50" y="794"/>
                      </a:lnTo>
                      <a:lnTo>
                        <a:pt x="49" y="794"/>
                      </a:lnTo>
                      <a:lnTo>
                        <a:pt x="48" y="794"/>
                      </a:lnTo>
                      <a:lnTo>
                        <a:pt x="48" y="792"/>
                      </a:lnTo>
                      <a:lnTo>
                        <a:pt x="48" y="792"/>
                      </a:lnTo>
                      <a:lnTo>
                        <a:pt x="49" y="791"/>
                      </a:lnTo>
                      <a:lnTo>
                        <a:pt x="50" y="790"/>
                      </a:lnTo>
                      <a:lnTo>
                        <a:pt x="54" y="788"/>
                      </a:lnTo>
                      <a:lnTo>
                        <a:pt x="56" y="786"/>
                      </a:lnTo>
                      <a:lnTo>
                        <a:pt x="58" y="783"/>
                      </a:lnTo>
                      <a:lnTo>
                        <a:pt x="61" y="782"/>
                      </a:lnTo>
                      <a:lnTo>
                        <a:pt x="62" y="780"/>
                      </a:lnTo>
                      <a:lnTo>
                        <a:pt x="63" y="780"/>
                      </a:lnTo>
                      <a:lnTo>
                        <a:pt x="64" y="779"/>
                      </a:lnTo>
                      <a:lnTo>
                        <a:pt x="64" y="777"/>
                      </a:lnTo>
                      <a:lnTo>
                        <a:pt x="62" y="777"/>
                      </a:lnTo>
                      <a:lnTo>
                        <a:pt x="62" y="776"/>
                      </a:lnTo>
                      <a:lnTo>
                        <a:pt x="62" y="775"/>
                      </a:lnTo>
                      <a:lnTo>
                        <a:pt x="62" y="773"/>
                      </a:lnTo>
                      <a:lnTo>
                        <a:pt x="64" y="771"/>
                      </a:lnTo>
                      <a:lnTo>
                        <a:pt x="65" y="771"/>
                      </a:lnTo>
                      <a:lnTo>
                        <a:pt x="66" y="771"/>
                      </a:lnTo>
                      <a:lnTo>
                        <a:pt x="66" y="773"/>
                      </a:lnTo>
                      <a:lnTo>
                        <a:pt x="66" y="776"/>
                      </a:lnTo>
                      <a:lnTo>
                        <a:pt x="66" y="778"/>
                      </a:lnTo>
                      <a:lnTo>
                        <a:pt x="66" y="780"/>
                      </a:lnTo>
                      <a:lnTo>
                        <a:pt x="67" y="780"/>
                      </a:lnTo>
                      <a:lnTo>
                        <a:pt x="67" y="780"/>
                      </a:lnTo>
                      <a:lnTo>
                        <a:pt x="69" y="780"/>
                      </a:lnTo>
                      <a:lnTo>
                        <a:pt x="70" y="778"/>
                      </a:lnTo>
                      <a:lnTo>
                        <a:pt x="71" y="777"/>
                      </a:lnTo>
                      <a:lnTo>
                        <a:pt x="72" y="775"/>
                      </a:lnTo>
                      <a:lnTo>
                        <a:pt x="72" y="771"/>
                      </a:lnTo>
                      <a:lnTo>
                        <a:pt x="72" y="770"/>
                      </a:lnTo>
                      <a:lnTo>
                        <a:pt x="71" y="769"/>
                      </a:lnTo>
                      <a:lnTo>
                        <a:pt x="70" y="769"/>
                      </a:lnTo>
                      <a:lnTo>
                        <a:pt x="69" y="769"/>
                      </a:lnTo>
                      <a:lnTo>
                        <a:pt x="66" y="768"/>
                      </a:lnTo>
                      <a:lnTo>
                        <a:pt x="65" y="768"/>
                      </a:lnTo>
                      <a:lnTo>
                        <a:pt x="64" y="767"/>
                      </a:lnTo>
                      <a:lnTo>
                        <a:pt x="64" y="767"/>
                      </a:lnTo>
                      <a:lnTo>
                        <a:pt x="64" y="766"/>
                      </a:lnTo>
                      <a:lnTo>
                        <a:pt x="64" y="765"/>
                      </a:lnTo>
                      <a:lnTo>
                        <a:pt x="65" y="765"/>
                      </a:lnTo>
                      <a:lnTo>
                        <a:pt x="67" y="763"/>
                      </a:lnTo>
                      <a:lnTo>
                        <a:pt x="68" y="763"/>
                      </a:lnTo>
                      <a:lnTo>
                        <a:pt x="69" y="763"/>
                      </a:lnTo>
                      <a:lnTo>
                        <a:pt x="70" y="765"/>
                      </a:lnTo>
                      <a:lnTo>
                        <a:pt x="70" y="765"/>
                      </a:lnTo>
                      <a:lnTo>
                        <a:pt x="71" y="767"/>
                      </a:lnTo>
                      <a:lnTo>
                        <a:pt x="71" y="767"/>
                      </a:lnTo>
                      <a:lnTo>
                        <a:pt x="73" y="768"/>
                      </a:lnTo>
                      <a:lnTo>
                        <a:pt x="73" y="768"/>
                      </a:lnTo>
                      <a:lnTo>
                        <a:pt x="75" y="768"/>
                      </a:lnTo>
                      <a:lnTo>
                        <a:pt x="75" y="768"/>
                      </a:lnTo>
                      <a:lnTo>
                        <a:pt x="75" y="767"/>
                      </a:lnTo>
                      <a:lnTo>
                        <a:pt x="75" y="766"/>
                      </a:lnTo>
                      <a:lnTo>
                        <a:pt x="74" y="763"/>
                      </a:lnTo>
                      <a:lnTo>
                        <a:pt x="73" y="761"/>
                      </a:lnTo>
                      <a:lnTo>
                        <a:pt x="71" y="760"/>
                      </a:lnTo>
                      <a:lnTo>
                        <a:pt x="71" y="758"/>
                      </a:lnTo>
                      <a:lnTo>
                        <a:pt x="71" y="756"/>
                      </a:lnTo>
                      <a:lnTo>
                        <a:pt x="71" y="755"/>
                      </a:lnTo>
                      <a:lnTo>
                        <a:pt x="71" y="754"/>
                      </a:lnTo>
                      <a:lnTo>
                        <a:pt x="73" y="754"/>
                      </a:lnTo>
                      <a:lnTo>
                        <a:pt x="74" y="754"/>
                      </a:lnTo>
                      <a:lnTo>
                        <a:pt x="75" y="753"/>
                      </a:lnTo>
                      <a:lnTo>
                        <a:pt x="76" y="752"/>
                      </a:lnTo>
                      <a:lnTo>
                        <a:pt x="78" y="750"/>
                      </a:lnTo>
                      <a:lnTo>
                        <a:pt x="81" y="751"/>
                      </a:lnTo>
                      <a:lnTo>
                        <a:pt x="83" y="752"/>
                      </a:lnTo>
                      <a:lnTo>
                        <a:pt x="85" y="752"/>
                      </a:lnTo>
                      <a:lnTo>
                        <a:pt x="87" y="752"/>
                      </a:lnTo>
                      <a:lnTo>
                        <a:pt x="89" y="751"/>
                      </a:lnTo>
                      <a:lnTo>
                        <a:pt x="89" y="750"/>
                      </a:lnTo>
                      <a:lnTo>
                        <a:pt x="89" y="749"/>
                      </a:lnTo>
                      <a:lnTo>
                        <a:pt x="88" y="748"/>
                      </a:lnTo>
                      <a:lnTo>
                        <a:pt x="86" y="748"/>
                      </a:lnTo>
                      <a:lnTo>
                        <a:pt x="83" y="748"/>
                      </a:lnTo>
                      <a:lnTo>
                        <a:pt x="82" y="747"/>
                      </a:lnTo>
                      <a:lnTo>
                        <a:pt x="81" y="746"/>
                      </a:lnTo>
                      <a:lnTo>
                        <a:pt x="81" y="746"/>
                      </a:lnTo>
                      <a:lnTo>
                        <a:pt x="81" y="744"/>
                      </a:lnTo>
                      <a:lnTo>
                        <a:pt x="81" y="744"/>
                      </a:lnTo>
                      <a:lnTo>
                        <a:pt x="83" y="743"/>
                      </a:lnTo>
                      <a:lnTo>
                        <a:pt x="86" y="743"/>
                      </a:lnTo>
                      <a:lnTo>
                        <a:pt x="90" y="742"/>
                      </a:lnTo>
                      <a:lnTo>
                        <a:pt x="92" y="742"/>
                      </a:lnTo>
                      <a:lnTo>
                        <a:pt x="94" y="743"/>
                      </a:lnTo>
                      <a:lnTo>
                        <a:pt x="97" y="743"/>
                      </a:lnTo>
                      <a:lnTo>
                        <a:pt x="98" y="743"/>
                      </a:lnTo>
                      <a:lnTo>
                        <a:pt x="98" y="742"/>
                      </a:lnTo>
                      <a:lnTo>
                        <a:pt x="98" y="740"/>
                      </a:lnTo>
                      <a:lnTo>
                        <a:pt x="96" y="735"/>
                      </a:lnTo>
                      <a:lnTo>
                        <a:pt x="96" y="735"/>
                      </a:lnTo>
                      <a:lnTo>
                        <a:pt x="94" y="733"/>
                      </a:lnTo>
                      <a:lnTo>
                        <a:pt x="92" y="733"/>
                      </a:lnTo>
                      <a:lnTo>
                        <a:pt x="91" y="733"/>
                      </a:lnTo>
                      <a:lnTo>
                        <a:pt x="91" y="732"/>
                      </a:lnTo>
                      <a:lnTo>
                        <a:pt x="92" y="731"/>
                      </a:lnTo>
                      <a:lnTo>
                        <a:pt x="92" y="731"/>
                      </a:lnTo>
                      <a:lnTo>
                        <a:pt x="93" y="731"/>
                      </a:lnTo>
                      <a:lnTo>
                        <a:pt x="94" y="731"/>
                      </a:lnTo>
                      <a:lnTo>
                        <a:pt x="96" y="732"/>
                      </a:lnTo>
                      <a:lnTo>
                        <a:pt x="97" y="731"/>
                      </a:lnTo>
                      <a:lnTo>
                        <a:pt x="97" y="731"/>
                      </a:lnTo>
                      <a:lnTo>
                        <a:pt x="97" y="730"/>
                      </a:lnTo>
                      <a:lnTo>
                        <a:pt x="98" y="729"/>
                      </a:lnTo>
                      <a:lnTo>
                        <a:pt x="98" y="727"/>
                      </a:lnTo>
                      <a:lnTo>
                        <a:pt x="98" y="726"/>
                      </a:lnTo>
                      <a:lnTo>
                        <a:pt x="100" y="726"/>
                      </a:lnTo>
                      <a:lnTo>
                        <a:pt x="102" y="725"/>
                      </a:lnTo>
                      <a:lnTo>
                        <a:pt x="104" y="725"/>
                      </a:lnTo>
                      <a:lnTo>
                        <a:pt x="105" y="724"/>
                      </a:lnTo>
                      <a:lnTo>
                        <a:pt x="105" y="723"/>
                      </a:lnTo>
                      <a:lnTo>
                        <a:pt x="105" y="723"/>
                      </a:lnTo>
                      <a:lnTo>
                        <a:pt x="103" y="721"/>
                      </a:lnTo>
                      <a:lnTo>
                        <a:pt x="102" y="721"/>
                      </a:lnTo>
                      <a:lnTo>
                        <a:pt x="102" y="718"/>
                      </a:lnTo>
                      <a:lnTo>
                        <a:pt x="101" y="716"/>
                      </a:lnTo>
                      <a:lnTo>
                        <a:pt x="101" y="713"/>
                      </a:lnTo>
                      <a:lnTo>
                        <a:pt x="103" y="711"/>
                      </a:lnTo>
                      <a:lnTo>
                        <a:pt x="105" y="711"/>
                      </a:lnTo>
                      <a:lnTo>
                        <a:pt x="107" y="712"/>
                      </a:lnTo>
                      <a:lnTo>
                        <a:pt x="109" y="712"/>
                      </a:lnTo>
                      <a:lnTo>
                        <a:pt x="110" y="711"/>
                      </a:lnTo>
                      <a:lnTo>
                        <a:pt x="111" y="712"/>
                      </a:lnTo>
                      <a:lnTo>
                        <a:pt x="110" y="713"/>
                      </a:lnTo>
                      <a:lnTo>
                        <a:pt x="109" y="714"/>
                      </a:lnTo>
                      <a:lnTo>
                        <a:pt x="109" y="716"/>
                      </a:lnTo>
                      <a:lnTo>
                        <a:pt x="111" y="716"/>
                      </a:lnTo>
                      <a:lnTo>
                        <a:pt x="112" y="716"/>
                      </a:lnTo>
                      <a:lnTo>
                        <a:pt x="113" y="716"/>
                      </a:lnTo>
                      <a:lnTo>
                        <a:pt x="113" y="714"/>
                      </a:lnTo>
                      <a:lnTo>
                        <a:pt x="113" y="712"/>
                      </a:lnTo>
                      <a:lnTo>
                        <a:pt x="112" y="710"/>
                      </a:lnTo>
                      <a:lnTo>
                        <a:pt x="111" y="709"/>
                      </a:lnTo>
                      <a:lnTo>
                        <a:pt x="111" y="708"/>
                      </a:lnTo>
                      <a:lnTo>
                        <a:pt x="111" y="707"/>
                      </a:lnTo>
                      <a:lnTo>
                        <a:pt x="112" y="706"/>
                      </a:lnTo>
                      <a:lnTo>
                        <a:pt x="115" y="706"/>
                      </a:lnTo>
                      <a:lnTo>
                        <a:pt x="115" y="706"/>
                      </a:lnTo>
                      <a:lnTo>
                        <a:pt x="115" y="707"/>
                      </a:lnTo>
                      <a:lnTo>
                        <a:pt x="115" y="708"/>
                      </a:lnTo>
                      <a:lnTo>
                        <a:pt x="114" y="708"/>
                      </a:lnTo>
                      <a:lnTo>
                        <a:pt x="114" y="710"/>
                      </a:lnTo>
                      <a:lnTo>
                        <a:pt x="115" y="710"/>
                      </a:lnTo>
                      <a:lnTo>
                        <a:pt x="115" y="710"/>
                      </a:lnTo>
                      <a:lnTo>
                        <a:pt x="116" y="710"/>
                      </a:lnTo>
                      <a:lnTo>
                        <a:pt x="117" y="710"/>
                      </a:lnTo>
                      <a:lnTo>
                        <a:pt x="119" y="709"/>
                      </a:lnTo>
                      <a:lnTo>
                        <a:pt x="121" y="707"/>
                      </a:lnTo>
                      <a:lnTo>
                        <a:pt x="122" y="706"/>
                      </a:lnTo>
                      <a:lnTo>
                        <a:pt x="124" y="706"/>
                      </a:lnTo>
                      <a:lnTo>
                        <a:pt x="124" y="707"/>
                      </a:lnTo>
                      <a:lnTo>
                        <a:pt x="124" y="708"/>
                      </a:lnTo>
                      <a:lnTo>
                        <a:pt x="124" y="710"/>
                      </a:lnTo>
                      <a:lnTo>
                        <a:pt x="124" y="711"/>
                      </a:lnTo>
                      <a:lnTo>
                        <a:pt x="125" y="712"/>
                      </a:lnTo>
                      <a:lnTo>
                        <a:pt x="126" y="712"/>
                      </a:lnTo>
                      <a:lnTo>
                        <a:pt x="127" y="712"/>
                      </a:lnTo>
                      <a:lnTo>
                        <a:pt x="128" y="712"/>
                      </a:lnTo>
                      <a:lnTo>
                        <a:pt x="128" y="710"/>
                      </a:lnTo>
                      <a:lnTo>
                        <a:pt x="128" y="709"/>
                      </a:lnTo>
                      <a:lnTo>
                        <a:pt x="128" y="707"/>
                      </a:lnTo>
                      <a:lnTo>
                        <a:pt x="128" y="704"/>
                      </a:lnTo>
                      <a:lnTo>
                        <a:pt x="128" y="703"/>
                      </a:lnTo>
                      <a:lnTo>
                        <a:pt x="128" y="702"/>
                      </a:lnTo>
                      <a:lnTo>
                        <a:pt x="128" y="702"/>
                      </a:lnTo>
                      <a:lnTo>
                        <a:pt x="126" y="701"/>
                      </a:lnTo>
                      <a:lnTo>
                        <a:pt x="124" y="700"/>
                      </a:lnTo>
                      <a:lnTo>
                        <a:pt x="122" y="700"/>
                      </a:lnTo>
                      <a:lnTo>
                        <a:pt x="121" y="699"/>
                      </a:lnTo>
                      <a:lnTo>
                        <a:pt x="121" y="698"/>
                      </a:lnTo>
                      <a:lnTo>
                        <a:pt x="121" y="697"/>
                      </a:lnTo>
                      <a:lnTo>
                        <a:pt x="121" y="697"/>
                      </a:lnTo>
                      <a:lnTo>
                        <a:pt x="121" y="696"/>
                      </a:lnTo>
                      <a:lnTo>
                        <a:pt x="121" y="695"/>
                      </a:lnTo>
                      <a:lnTo>
                        <a:pt x="122" y="695"/>
                      </a:lnTo>
                      <a:lnTo>
                        <a:pt x="123" y="695"/>
                      </a:lnTo>
                      <a:lnTo>
                        <a:pt x="124" y="694"/>
                      </a:lnTo>
                      <a:lnTo>
                        <a:pt x="125" y="693"/>
                      </a:lnTo>
                      <a:lnTo>
                        <a:pt x="126" y="693"/>
                      </a:lnTo>
                      <a:lnTo>
                        <a:pt x="127" y="693"/>
                      </a:lnTo>
                      <a:lnTo>
                        <a:pt x="128" y="693"/>
                      </a:lnTo>
                      <a:lnTo>
                        <a:pt x="129" y="692"/>
                      </a:lnTo>
                      <a:lnTo>
                        <a:pt x="129" y="691"/>
                      </a:lnTo>
                      <a:lnTo>
                        <a:pt x="130" y="691"/>
                      </a:lnTo>
                      <a:lnTo>
                        <a:pt x="129" y="690"/>
                      </a:lnTo>
                      <a:lnTo>
                        <a:pt x="129" y="689"/>
                      </a:lnTo>
                      <a:lnTo>
                        <a:pt x="128" y="689"/>
                      </a:lnTo>
                      <a:lnTo>
                        <a:pt x="128" y="689"/>
                      </a:lnTo>
                      <a:lnTo>
                        <a:pt x="127" y="687"/>
                      </a:lnTo>
                      <a:lnTo>
                        <a:pt x="127" y="687"/>
                      </a:lnTo>
                      <a:lnTo>
                        <a:pt x="127" y="686"/>
                      </a:lnTo>
                      <a:lnTo>
                        <a:pt x="128" y="685"/>
                      </a:lnTo>
                      <a:lnTo>
                        <a:pt x="128" y="684"/>
                      </a:lnTo>
                      <a:lnTo>
                        <a:pt x="128" y="683"/>
                      </a:lnTo>
                      <a:lnTo>
                        <a:pt x="129" y="681"/>
                      </a:lnTo>
                      <a:lnTo>
                        <a:pt x="130" y="681"/>
                      </a:lnTo>
                      <a:lnTo>
                        <a:pt x="130" y="680"/>
                      </a:lnTo>
                      <a:lnTo>
                        <a:pt x="131" y="679"/>
                      </a:lnTo>
                      <a:lnTo>
                        <a:pt x="132" y="679"/>
                      </a:lnTo>
                      <a:lnTo>
                        <a:pt x="133" y="680"/>
                      </a:lnTo>
                      <a:lnTo>
                        <a:pt x="134" y="680"/>
                      </a:lnTo>
                      <a:lnTo>
                        <a:pt x="134" y="680"/>
                      </a:lnTo>
                      <a:lnTo>
                        <a:pt x="136" y="680"/>
                      </a:lnTo>
                      <a:lnTo>
                        <a:pt x="137" y="679"/>
                      </a:lnTo>
                      <a:lnTo>
                        <a:pt x="138" y="678"/>
                      </a:lnTo>
                      <a:lnTo>
                        <a:pt x="138" y="678"/>
                      </a:lnTo>
                      <a:lnTo>
                        <a:pt x="139" y="677"/>
                      </a:lnTo>
                      <a:lnTo>
                        <a:pt x="139" y="676"/>
                      </a:lnTo>
                      <a:lnTo>
                        <a:pt x="140" y="676"/>
                      </a:lnTo>
                      <a:lnTo>
                        <a:pt x="139" y="675"/>
                      </a:lnTo>
                      <a:lnTo>
                        <a:pt x="138" y="675"/>
                      </a:lnTo>
                      <a:lnTo>
                        <a:pt x="137" y="674"/>
                      </a:lnTo>
                      <a:lnTo>
                        <a:pt x="136" y="674"/>
                      </a:lnTo>
                      <a:lnTo>
                        <a:pt x="134" y="674"/>
                      </a:lnTo>
                      <a:lnTo>
                        <a:pt x="133" y="675"/>
                      </a:lnTo>
                      <a:lnTo>
                        <a:pt x="131" y="674"/>
                      </a:lnTo>
                      <a:lnTo>
                        <a:pt x="130" y="674"/>
                      </a:lnTo>
                      <a:lnTo>
                        <a:pt x="130" y="673"/>
                      </a:lnTo>
                      <a:lnTo>
                        <a:pt x="130" y="672"/>
                      </a:lnTo>
                      <a:lnTo>
                        <a:pt x="130" y="671"/>
                      </a:lnTo>
                      <a:lnTo>
                        <a:pt x="130" y="670"/>
                      </a:lnTo>
                      <a:lnTo>
                        <a:pt x="131" y="669"/>
                      </a:lnTo>
                      <a:lnTo>
                        <a:pt x="132" y="668"/>
                      </a:lnTo>
                      <a:lnTo>
                        <a:pt x="133" y="668"/>
                      </a:lnTo>
                      <a:lnTo>
                        <a:pt x="134" y="668"/>
                      </a:lnTo>
                      <a:lnTo>
                        <a:pt x="135" y="668"/>
                      </a:lnTo>
                      <a:lnTo>
                        <a:pt x="136" y="668"/>
                      </a:lnTo>
                      <a:lnTo>
                        <a:pt x="136" y="668"/>
                      </a:lnTo>
                      <a:lnTo>
                        <a:pt x="138" y="669"/>
                      </a:lnTo>
                      <a:lnTo>
                        <a:pt x="138" y="669"/>
                      </a:lnTo>
                      <a:lnTo>
                        <a:pt x="140" y="669"/>
                      </a:lnTo>
                      <a:lnTo>
                        <a:pt x="141" y="668"/>
                      </a:lnTo>
                      <a:lnTo>
                        <a:pt x="141" y="668"/>
                      </a:lnTo>
                      <a:lnTo>
                        <a:pt x="141" y="666"/>
                      </a:lnTo>
                      <a:lnTo>
                        <a:pt x="141" y="666"/>
                      </a:lnTo>
                      <a:lnTo>
                        <a:pt x="141" y="664"/>
                      </a:lnTo>
                      <a:lnTo>
                        <a:pt x="141" y="663"/>
                      </a:lnTo>
                      <a:lnTo>
                        <a:pt x="141" y="662"/>
                      </a:lnTo>
                      <a:lnTo>
                        <a:pt x="141" y="661"/>
                      </a:lnTo>
                      <a:lnTo>
                        <a:pt x="141" y="660"/>
                      </a:lnTo>
                      <a:lnTo>
                        <a:pt x="141" y="660"/>
                      </a:lnTo>
                      <a:lnTo>
                        <a:pt x="141" y="659"/>
                      </a:lnTo>
                      <a:lnTo>
                        <a:pt x="142" y="658"/>
                      </a:lnTo>
                      <a:lnTo>
                        <a:pt x="143" y="658"/>
                      </a:lnTo>
                      <a:lnTo>
                        <a:pt x="143" y="659"/>
                      </a:lnTo>
                      <a:lnTo>
                        <a:pt x="144" y="659"/>
                      </a:lnTo>
                      <a:lnTo>
                        <a:pt x="145" y="659"/>
                      </a:lnTo>
                      <a:lnTo>
                        <a:pt x="145" y="658"/>
                      </a:lnTo>
                      <a:lnTo>
                        <a:pt x="146" y="657"/>
                      </a:lnTo>
                      <a:lnTo>
                        <a:pt x="146" y="657"/>
                      </a:lnTo>
                      <a:lnTo>
                        <a:pt x="146" y="655"/>
                      </a:lnTo>
                      <a:lnTo>
                        <a:pt x="147" y="655"/>
                      </a:lnTo>
                      <a:lnTo>
                        <a:pt x="147" y="655"/>
                      </a:lnTo>
                      <a:lnTo>
                        <a:pt x="148" y="655"/>
                      </a:lnTo>
                      <a:lnTo>
                        <a:pt x="149" y="655"/>
                      </a:lnTo>
                      <a:lnTo>
                        <a:pt x="149" y="655"/>
                      </a:lnTo>
                      <a:lnTo>
                        <a:pt x="150" y="655"/>
                      </a:lnTo>
                      <a:lnTo>
                        <a:pt x="151" y="656"/>
                      </a:lnTo>
                      <a:lnTo>
                        <a:pt x="151" y="657"/>
                      </a:lnTo>
                      <a:lnTo>
                        <a:pt x="152" y="657"/>
                      </a:lnTo>
                      <a:lnTo>
                        <a:pt x="152" y="656"/>
                      </a:lnTo>
                      <a:lnTo>
                        <a:pt x="153" y="655"/>
                      </a:lnTo>
                      <a:lnTo>
                        <a:pt x="153" y="654"/>
                      </a:lnTo>
                      <a:lnTo>
                        <a:pt x="153" y="653"/>
                      </a:lnTo>
                      <a:lnTo>
                        <a:pt x="153" y="652"/>
                      </a:lnTo>
                      <a:lnTo>
                        <a:pt x="153" y="651"/>
                      </a:lnTo>
                      <a:lnTo>
                        <a:pt x="152" y="651"/>
                      </a:lnTo>
                      <a:lnTo>
                        <a:pt x="151" y="651"/>
                      </a:lnTo>
                      <a:lnTo>
                        <a:pt x="150" y="650"/>
                      </a:lnTo>
                      <a:lnTo>
                        <a:pt x="149" y="650"/>
                      </a:lnTo>
                      <a:lnTo>
                        <a:pt x="147" y="650"/>
                      </a:lnTo>
                      <a:lnTo>
                        <a:pt x="145" y="650"/>
                      </a:lnTo>
                      <a:lnTo>
                        <a:pt x="145" y="649"/>
                      </a:lnTo>
                      <a:lnTo>
                        <a:pt x="144" y="649"/>
                      </a:lnTo>
                      <a:lnTo>
                        <a:pt x="143" y="648"/>
                      </a:lnTo>
                      <a:lnTo>
                        <a:pt x="143" y="646"/>
                      </a:lnTo>
                      <a:lnTo>
                        <a:pt x="143" y="645"/>
                      </a:lnTo>
                      <a:lnTo>
                        <a:pt x="142" y="643"/>
                      </a:lnTo>
                      <a:lnTo>
                        <a:pt x="142" y="642"/>
                      </a:lnTo>
                      <a:lnTo>
                        <a:pt x="143" y="641"/>
                      </a:lnTo>
                      <a:lnTo>
                        <a:pt x="143" y="641"/>
                      </a:lnTo>
                      <a:lnTo>
                        <a:pt x="143" y="641"/>
                      </a:lnTo>
                      <a:lnTo>
                        <a:pt x="144" y="641"/>
                      </a:lnTo>
                      <a:lnTo>
                        <a:pt x="145" y="642"/>
                      </a:lnTo>
                      <a:lnTo>
                        <a:pt x="146" y="643"/>
                      </a:lnTo>
                      <a:lnTo>
                        <a:pt x="148" y="645"/>
                      </a:lnTo>
                      <a:lnTo>
                        <a:pt x="151" y="645"/>
                      </a:lnTo>
                      <a:lnTo>
                        <a:pt x="151" y="645"/>
                      </a:lnTo>
                      <a:lnTo>
                        <a:pt x="152" y="644"/>
                      </a:lnTo>
                      <a:lnTo>
                        <a:pt x="152" y="643"/>
                      </a:lnTo>
                      <a:lnTo>
                        <a:pt x="152" y="643"/>
                      </a:lnTo>
                      <a:lnTo>
                        <a:pt x="151" y="641"/>
                      </a:lnTo>
                      <a:lnTo>
                        <a:pt x="151" y="640"/>
                      </a:lnTo>
                      <a:lnTo>
                        <a:pt x="150" y="639"/>
                      </a:lnTo>
                      <a:lnTo>
                        <a:pt x="149" y="638"/>
                      </a:lnTo>
                      <a:lnTo>
                        <a:pt x="147" y="638"/>
                      </a:lnTo>
                      <a:lnTo>
                        <a:pt x="147" y="638"/>
                      </a:lnTo>
                      <a:lnTo>
                        <a:pt x="147" y="637"/>
                      </a:lnTo>
                      <a:lnTo>
                        <a:pt x="147" y="636"/>
                      </a:lnTo>
                      <a:lnTo>
                        <a:pt x="147" y="635"/>
                      </a:lnTo>
                      <a:lnTo>
                        <a:pt x="147" y="634"/>
                      </a:lnTo>
                      <a:lnTo>
                        <a:pt x="147" y="634"/>
                      </a:lnTo>
                      <a:lnTo>
                        <a:pt x="147" y="633"/>
                      </a:lnTo>
                      <a:lnTo>
                        <a:pt x="146" y="632"/>
                      </a:lnTo>
                      <a:lnTo>
                        <a:pt x="145" y="630"/>
                      </a:lnTo>
                      <a:lnTo>
                        <a:pt x="143" y="630"/>
                      </a:lnTo>
                      <a:lnTo>
                        <a:pt x="143" y="628"/>
                      </a:lnTo>
                      <a:lnTo>
                        <a:pt x="143" y="628"/>
                      </a:lnTo>
                      <a:lnTo>
                        <a:pt x="143" y="627"/>
                      </a:lnTo>
                      <a:lnTo>
                        <a:pt x="143" y="626"/>
                      </a:lnTo>
                      <a:lnTo>
                        <a:pt x="144" y="626"/>
                      </a:lnTo>
                      <a:lnTo>
                        <a:pt x="145" y="626"/>
                      </a:lnTo>
                      <a:lnTo>
                        <a:pt x="146" y="626"/>
                      </a:lnTo>
                      <a:lnTo>
                        <a:pt x="147" y="627"/>
                      </a:lnTo>
                      <a:lnTo>
                        <a:pt x="148" y="628"/>
                      </a:lnTo>
                      <a:lnTo>
                        <a:pt x="149" y="628"/>
                      </a:lnTo>
                      <a:lnTo>
                        <a:pt x="149" y="627"/>
                      </a:lnTo>
                      <a:lnTo>
                        <a:pt x="150" y="627"/>
                      </a:lnTo>
                      <a:lnTo>
                        <a:pt x="151" y="626"/>
                      </a:lnTo>
                      <a:lnTo>
                        <a:pt x="151" y="625"/>
                      </a:lnTo>
                      <a:lnTo>
                        <a:pt x="150" y="624"/>
                      </a:lnTo>
                      <a:lnTo>
                        <a:pt x="149" y="622"/>
                      </a:lnTo>
                      <a:lnTo>
                        <a:pt x="149" y="621"/>
                      </a:lnTo>
                      <a:lnTo>
                        <a:pt x="147" y="619"/>
                      </a:lnTo>
                      <a:lnTo>
                        <a:pt x="146" y="617"/>
                      </a:lnTo>
                      <a:lnTo>
                        <a:pt x="145" y="617"/>
                      </a:lnTo>
                      <a:lnTo>
                        <a:pt x="145" y="616"/>
                      </a:lnTo>
                      <a:lnTo>
                        <a:pt x="146" y="615"/>
                      </a:lnTo>
                      <a:lnTo>
                        <a:pt x="147" y="615"/>
                      </a:lnTo>
                      <a:lnTo>
                        <a:pt x="148" y="615"/>
                      </a:lnTo>
                      <a:lnTo>
                        <a:pt x="149" y="615"/>
                      </a:lnTo>
                      <a:lnTo>
                        <a:pt x="150" y="615"/>
                      </a:lnTo>
                      <a:lnTo>
                        <a:pt x="151" y="615"/>
                      </a:lnTo>
                      <a:lnTo>
                        <a:pt x="152" y="615"/>
                      </a:lnTo>
                      <a:lnTo>
                        <a:pt x="153" y="615"/>
                      </a:lnTo>
                      <a:lnTo>
                        <a:pt x="154" y="615"/>
                      </a:lnTo>
                      <a:lnTo>
                        <a:pt x="154" y="615"/>
                      </a:lnTo>
                      <a:lnTo>
                        <a:pt x="153" y="613"/>
                      </a:lnTo>
                      <a:lnTo>
                        <a:pt x="153" y="612"/>
                      </a:lnTo>
                      <a:lnTo>
                        <a:pt x="152" y="611"/>
                      </a:lnTo>
                      <a:lnTo>
                        <a:pt x="151" y="610"/>
                      </a:lnTo>
                      <a:lnTo>
                        <a:pt x="149" y="610"/>
                      </a:lnTo>
                      <a:lnTo>
                        <a:pt x="147" y="609"/>
                      </a:lnTo>
                      <a:lnTo>
                        <a:pt x="146" y="609"/>
                      </a:lnTo>
                      <a:lnTo>
                        <a:pt x="145" y="609"/>
                      </a:lnTo>
                      <a:lnTo>
                        <a:pt x="145" y="608"/>
                      </a:lnTo>
                      <a:lnTo>
                        <a:pt x="145" y="607"/>
                      </a:lnTo>
                      <a:lnTo>
                        <a:pt x="145" y="607"/>
                      </a:lnTo>
                      <a:lnTo>
                        <a:pt x="145" y="606"/>
                      </a:lnTo>
                      <a:lnTo>
                        <a:pt x="147" y="605"/>
                      </a:lnTo>
                      <a:lnTo>
                        <a:pt x="147" y="605"/>
                      </a:lnTo>
                      <a:lnTo>
                        <a:pt x="149" y="605"/>
                      </a:lnTo>
                      <a:lnTo>
                        <a:pt x="149" y="604"/>
                      </a:lnTo>
                      <a:lnTo>
                        <a:pt x="149" y="603"/>
                      </a:lnTo>
                      <a:lnTo>
                        <a:pt x="150" y="601"/>
                      </a:lnTo>
                      <a:lnTo>
                        <a:pt x="150" y="600"/>
                      </a:lnTo>
                      <a:lnTo>
                        <a:pt x="150" y="599"/>
                      </a:lnTo>
                      <a:lnTo>
                        <a:pt x="151" y="598"/>
                      </a:lnTo>
                      <a:lnTo>
                        <a:pt x="151" y="598"/>
                      </a:lnTo>
                      <a:lnTo>
                        <a:pt x="152" y="598"/>
                      </a:lnTo>
                      <a:lnTo>
                        <a:pt x="153" y="599"/>
                      </a:lnTo>
                      <a:lnTo>
                        <a:pt x="153" y="600"/>
                      </a:lnTo>
                      <a:lnTo>
                        <a:pt x="153" y="601"/>
                      </a:lnTo>
                      <a:lnTo>
                        <a:pt x="154" y="601"/>
                      </a:lnTo>
                      <a:lnTo>
                        <a:pt x="155" y="601"/>
                      </a:lnTo>
                      <a:lnTo>
                        <a:pt x="156" y="601"/>
                      </a:lnTo>
                      <a:lnTo>
                        <a:pt x="157" y="600"/>
                      </a:lnTo>
                      <a:lnTo>
                        <a:pt x="157" y="598"/>
                      </a:lnTo>
                      <a:lnTo>
                        <a:pt x="157" y="598"/>
                      </a:lnTo>
                      <a:lnTo>
                        <a:pt x="156" y="597"/>
                      </a:lnTo>
                      <a:lnTo>
                        <a:pt x="155" y="596"/>
                      </a:lnTo>
                      <a:lnTo>
                        <a:pt x="153" y="594"/>
                      </a:lnTo>
                      <a:lnTo>
                        <a:pt x="152" y="592"/>
                      </a:lnTo>
                      <a:lnTo>
                        <a:pt x="151" y="592"/>
                      </a:lnTo>
                      <a:lnTo>
                        <a:pt x="150" y="592"/>
                      </a:lnTo>
                      <a:lnTo>
                        <a:pt x="149" y="591"/>
                      </a:lnTo>
                      <a:lnTo>
                        <a:pt x="147" y="591"/>
                      </a:lnTo>
                      <a:lnTo>
                        <a:pt x="145" y="591"/>
                      </a:lnTo>
                      <a:lnTo>
                        <a:pt x="144" y="590"/>
                      </a:lnTo>
                      <a:lnTo>
                        <a:pt x="144" y="589"/>
                      </a:lnTo>
                      <a:lnTo>
                        <a:pt x="144" y="588"/>
                      </a:lnTo>
                      <a:lnTo>
                        <a:pt x="145" y="586"/>
                      </a:lnTo>
                      <a:lnTo>
                        <a:pt x="145" y="584"/>
                      </a:lnTo>
                      <a:lnTo>
                        <a:pt x="145" y="584"/>
                      </a:lnTo>
                      <a:lnTo>
                        <a:pt x="147" y="583"/>
                      </a:lnTo>
                      <a:lnTo>
                        <a:pt x="149" y="582"/>
                      </a:lnTo>
                      <a:lnTo>
                        <a:pt x="151" y="582"/>
                      </a:lnTo>
                      <a:lnTo>
                        <a:pt x="151" y="582"/>
                      </a:lnTo>
                      <a:lnTo>
                        <a:pt x="152" y="581"/>
                      </a:lnTo>
                      <a:lnTo>
                        <a:pt x="153" y="579"/>
                      </a:lnTo>
                      <a:lnTo>
                        <a:pt x="153" y="578"/>
                      </a:lnTo>
                      <a:lnTo>
                        <a:pt x="154" y="577"/>
                      </a:lnTo>
                      <a:lnTo>
                        <a:pt x="155" y="576"/>
                      </a:lnTo>
                      <a:lnTo>
                        <a:pt x="156" y="576"/>
                      </a:lnTo>
                      <a:lnTo>
                        <a:pt x="157" y="575"/>
                      </a:lnTo>
                      <a:lnTo>
                        <a:pt x="159" y="575"/>
                      </a:lnTo>
                      <a:lnTo>
                        <a:pt x="159" y="574"/>
                      </a:lnTo>
                      <a:lnTo>
                        <a:pt x="159" y="573"/>
                      </a:lnTo>
                      <a:lnTo>
                        <a:pt x="158" y="573"/>
                      </a:lnTo>
                      <a:lnTo>
                        <a:pt x="157" y="572"/>
                      </a:lnTo>
                      <a:lnTo>
                        <a:pt x="155" y="571"/>
                      </a:lnTo>
                      <a:lnTo>
                        <a:pt x="153" y="570"/>
                      </a:lnTo>
                      <a:lnTo>
                        <a:pt x="151" y="569"/>
                      </a:lnTo>
                      <a:lnTo>
                        <a:pt x="149" y="568"/>
                      </a:lnTo>
                      <a:lnTo>
                        <a:pt x="147" y="567"/>
                      </a:lnTo>
                      <a:lnTo>
                        <a:pt x="147" y="565"/>
                      </a:lnTo>
                      <a:lnTo>
                        <a:pt x="146" y="564"/>
                      </a:lnTo>
                      <a:lnTo>
                        <a:pt x="146" y="563"/>
                      </a:lnTo>
                      <a:lnTo>
                        <a:pt x="146" y="562"/>
                      </a:lnTo>
                      <a:lnTo>
                        <a:pt x="146" y="561"/>
                      </a:lnTo>
                      <a:lnTo>
                        <a:pt x="147" y="560"/>
                      </a:lnTo>
                      <a:lnTo>
                        <a:pt x="147" y="560"/>
                      </a:lnTo>
                      <a:lnTo>
                        <a:pt x="148" y="560"/>
                      </a:lnTo>
                      <a:lnTo>
                        <a:pt x="149" y="559"/>
                      </a:lnTo>
                      <a:lnTo>
                        <a:pt x="149" y="559"/>
                      </a:lnTo>
                      <a:lnTo>
                        <a:pt x="150" y="559"/>
                      </a:lnTo>
                      <a:lnTo>
                        <a:pt x="150" y="558"/>
                      </a:lnTo>
                      <a:lnTo>
                        <a:pt x="151" y="558"/>
                      </a:lnTo>
                      <a:lnTo>
                        <a:pt x="151" y="558"/>
                      </a:lnTo>
                      <a:lnTo>
                        <a:pt x="152" y="558"/>
                      </a:lnTo>
                      <a:lnTo>
                        <a:pt x="153" y="559"/>
                      </a:lnTo>
                      <a:lnTo>
                        <a:pt x="153" y="559"/>
                      </a:lnTo>
                      <a:lnTo>
                        <a:pt x="154" y="559"/>
                      </a:lnTo>
                      <a:lnTo>
                        <a:pt x="154" y="558"/>
                      </a:lnTo>
                      <a:lnTo>
                        <a:pt x="155" y="558"/>
                      </a:lnTo>
                      <a:lnTo>
                        <a:pt x="155" y="558"/>
                      </a:lnTo>
                      <a:lnTo>
                        <a:pt x="155" y="557"/>
                      </a:lnTo>
                      <a:lnTo>
                        <a:pt x="154" y="556"/>
                      </a:lnTo>
                      <a:lnTo>
                        <a:pt x="153" y="556"/>
                      </a:lnTo>
                      <a:lnTo>
                        <a:pt x="153" y="555"/>
                      </a:lnTo>
                      <a:lnTo>
                        <a:pt x="153" y="554"/>
                      </a:lnTo>
                      <a:lnTo>
                        <a:pt x="152" y="554"/>
                      </a:lnTo>
                      <a:lnTo>
                        <a:pt x="151" y="554"/>
                      </a:lnTo>
                      <a:lnTo>
                        <a:pt x="151" y="553"/>
                      </a:lnTo>
                      <a:lnTo>
                        <a:pt x="150" y="552"/>
                      </a:lnTo>
                      <a:lnTo>
                        <a:pt x="149" y="551"/>
                      </a:lnTo>
                      <a:lnTo>
                        <a:pt x="149" y="550"/>
                      </a:lnTo>
                      <a:lnTo>
                        <a:pt x="148" y="550"/>
                      </a:lnTo>
                      <a:lnTo>
                        <a:pt x="148" y="549"/>
                      </a:lnTo>
                      <a:lnTo>
                        <a:pt x="147" y="548"/>
                      </a:lnTo>
                      <a:lnTo>
                        <a:pt x="147" y="548"/>
                      </a:lnTo>
                      <a:lnTo>
                        <a:pt x="146" y="547"/>
                      </a:lnTo>
                      <a:lnTo>
                        <a:pt x="145" y="546"/>
                      </a:lnTo>
                      <a:lnTo>
                        <a:pt x="145" y="546"/>
                      </a:lnTo>
                      <a:lnTo>
                        <a:pt x="145" y="545"/>
                      </a:lnTo>
                      <a:lnTo>
                        <a:pt x="145" y="544"/>
                      </a:lnTo>
                      <a:lnTo>
                        <a:pt x="145" y="544"/>
                      </a:lnTo>
                      <a:lnTo>
                        <a:pt x="146" y="543"/>
                      </a:lnTo>
                      <a:lnTo>
                        <a:pt x="147" y="543"/>
                      </a:lnTo>
                      <a:lnTo>
                        <a:pt x="147" y="542"/>
                      </a:lnTo>
                      <a:lnTo>
                        <a:pt x="148" y="542"/>
                      </a:lnTo>
                      <a:lnTo>
                        <a:pt x="149" y="542"/>
                      </a:lnTo>
                      <a:lnTo>
                        <a:pt x="149" y="542"/>
                      </a:lnTo>
                      <a:lnTo>
                        <a:pt x="149" y="541"/>
                      </a:lnTo>
                      <a:lnTo>
                        <a:pt x="150" y="541"/>
                      </a:lnTo>
                      <a:lnTo>
                        <a:pt x="151" y="540"/>
                      </a:lnTo>
                      <a:lnTo>
                        <a:pt x="151" y="539"/>
                      </a:lnTo>
                      <a:lnTo>
                        <a:pt x="153" y="539"/>
                      </a:lnTo>
                      <a:lnTo>
                        <a:pt x="153" y="538"/>
                      </a:lnTo>
                      <a:lnTo>
                        <a:pt x="154" y="537"/>
                      </a:lnTo>
                      <a:lnTo>
                        <a:pt x="155" y="537"/>
                      </a:lnTo>
                      <a:lnTo>
                        <a:pt x="155" y="536"/>
                      </a:lnTo>
                      <a:lnTo>
                        <a:pt x="155" y="535"/>
                      </a:lnTo>
                      <a:lnTo>
                        <a:pt x="156" y="535"/>
                      </a:lnTo>
                      <a:lnTo>
                        <a:pt x="156" y="535"/>
                      </a:lnTo>
                      <a:lnTo>
                        <a:pt x="157" y="534"/>
                      </a:lnTo>
                      <a:lnTo>
                        <a:pt x="157" y="533"/>
                      </a:lnTo>
                      <a:lnTo>
                        <a:pt x="158" y="533"/>
                      </a:lnTo>
                      <a:lnTo>
                        <a:pt x="158" y="533"/>
                      </a:lnTo>
                      <a:lnTo>
                        <a:pt x="159" y="533"/>
                      </a:lnTo>
                      <a:lnTo>
                        <a:pt x="160" y="533"/>
                      </a:lnTo>
                      <a:lnTo>
                        <a:pt x="160" y="532"/>
                      </a:lnTo>
                      <a:lnTo>
                        <a:pt x="161" y="532"/>
                      </a:lnTo>
                      <a:lnTo>
                        <a:pt x="162" y="532"/>
                      </a:lnTo>
                      <a:lnTo>
                        <a:pt x="162" y="532"/>
                      </a:lnTo>
                      <a:lnTo>
                        <a:pt x="163" y="532"/>
                      </a:lnTo>
                      <a:lnTo>
                        <a:pt x="163" y="531"/>
                      </a:lnTo>
                      <a:lnTo>
                        <a:pt x="164" y="531"/>
                      </a:lnTo>
                      <a:lnTo>
                        <a:pt x="164" y="531"/>
                      </a:lnTo>
                      <a:lnTo>
                        <a:pt x="164" y="530"/>
                      </a:lnTo>
                      <a:lnTo>
                        <a:pt x="164" y="529"/>
                      </a:lnTo>
                      <a:lnTo>
                        <a:pt x="164" y="529"/>
                      </a:lnTo>
                      <a:lnTo>
                        <a:pt x="164" y="528"/>
                      </a:lnTo>
                      <a:lnTo>
                        <a:pt x="164" y="527"/>
                      </a:lnTo>
                      <a:lnTo>
                        <a:pt x="163" y="527"/>
                      </a:lnTo>
                      <a:lnTo>
                        <a:pt x="163" y="526"/>
                      </a:lnTo>
                      <a:lnTo>
                        <a:pt x="162" y="525"/>
                      </a:lnTo>
                      <a:lnTo>
                        <a:pt x="162" y="524"/>
                      </a:lnTo>
                      <a:lnTo>
                        <a:pt x="161" y="523"/>
                      </a:lnTo>
                      <a:lnTo>
                        <a:pt x="160" y="523"/>
                      </a:lnTo>
                      <a:lnTo>
                        <a:pt x="160" y="523"/>
                      </a:lnTo>
                      <a:lnTo>
                        <a:pt x="159" y="522"/>
                      </a:lnTo>
                      <a:lnTo>
                        <a:pt x="158" y="522"/>
                      </a:lnTo>
                      <a:lnTo>
                        <a:pt x="157" y="521"/>
                      </a:lnTo>
                      <a:lnTo>
                        <a:pt x="157" y="521"/>
                      </a:lnTo>
                      <a:lnTo>
                        <a:pt x="156" y="521"/>
                      </a:lnTo>
                      <a:lnTo>
                        <a:pt x="155" y="521"/>
                      </a:lnTo>
                      <a:lnTo>
                        <a:pt x="154" y="521"/>
                      </a:lnTo>
                      <a:lnTo>
                        <a:pt x="153" y="521"/>
                      </a:lnTo>
                      <a:lnTo>
                        <a:pt x="153" y="521"/>
                      </a:lnTo>
                      <a:lnTo>
                        <a:pt x="152" y="520"/>
                      </a:lnTo>
                      <a:lnTo>
                        <a:pt x="151" y="520"/>
                      </a:lnTo>
                      <a:lnTo>
                        <a:pt x="151" y="520"/>
                      </a:lnTo>
                      <a:lnTo>
                        <a:pt x="151" y="520"/>
                      </a:lnTo>
                      <a:lnTo>
                        <a:pt x="151" y="519"/>
                      </a:lnTo>
                      <a:lnTo>
                        <a:pt x="151" y="518"/>
                      </a:lnTo>
                      <a:lnTo>
                        <a:pt x="151" y="518"/>
                      </a:lnTo>
                      <a:lnTo>
                        <a:pt x="151" y="517"/>
                      </a:lnTo>
                      <a:lnTo>
                        <a:pt x="150" y="516"/>
                      </a:lnTo>
                      <a:lnTo>
                        <a:pt x="150" y="516"/>
                      </a:lnTo>
                      <a:lnTo>
                        <a:pt x="150" y="515"/>
                      </a:lnTo>
                      <a:lnTo>
                        <a:pt x="150" y="514"/>
                      </a:lnTo>
                      <a:lnTo>
                        <a:pt x="150" y="513"/>
                      </a:lnTo>
                      <a:lnTo>
                        <a:pt x="150" y="512"/>
                      </a:lnTo>
                      <a:lnTo>
                        <a:pt x="151" y="512"/>
                      </a:lnTo>
                      <a:lnTo>
                        <a:pt x="151" y="512"/>
                      </a:lnTo>
                      <a:lnTo>
                        <a:pt x="151" y="512"/>
                      </a:lnTo>
                      <a:lnTo>
                        <a:pt x="152" y="511"/>
                      </a:lnTo>
                      <a:lnTo>
                        <a:pt x="153" y="511"/>
                      </a:lnTo>
                      <a:lnTo>
                        <a:pt x="154" y="510"/>
                      </a:lnTo>
                      <a:lnTo>
                        <a:pt x="155" y="510"/>
                      </a:lnTo>
                      <a:lnTo>
                        <a:pt x="156" y="510"/>
                      </a:lnTo>
                      <a:lnTo>
                        <a:pt x="157" y="510"/>
                      </a:lnTo>
                      <a:lnTo>
                        <a:pt x="157" y="510"/>
                      </a:lnTo>
                      <a:lnTo>
                        <a:pt x="158" y="509"/>
                      </a:lnTo>
                      <a:lnTo>
                        <a:pt x="159" y="509"/>
                      </a:lnTo>
                      <a:lnTo>
                        <a:pt x="160" y="509"/>
                      </a:lnTo>
                      <a:lnTo>
                        <a:pt x="160" y="508"/>
                      </a:lnTo>
                      <a:lnTo>
                        <a:pt x="160" y="508"/>
                      </a:lnTo>
                      <a:lnTo>
                        <a:pt x="160" y="507"/>
                      </a:lnTo>
                      <a:lnTo>
                        <a:pt x="161" y="507"/>
                      </a:lnTo>
                      <a:lnTo>
                        <a:pt x="161" y="506"/>
                      </a:lnTo>
                      <a:lnTo>
                        <a:pt x="162" y="506"/>
                      </a:lnTo>
                      <a:lnTo>
                        <a:pt x="162" y="505"/>
                      </a:lnTo>
                      <a:lnTo>
                        <a:pt x="162" y="504"/>
                      </a:lnTo>
                      <a:lnTo>
                        <a:pt x="163" y="504"/>
                      </a:lnTo>
                      <a:lnTo>
                        <a:pt x="164" y="502"/>
                      </a:lnTo>
                      <a:lnTo>
                        <a:pt x="164" y="502"/>
                      </a:lnTo>
                      <a:lnTo>
                        <a:pt x="164" y="501"/>
                      </a:lnTo>
                      <a:lnTo>
                        <a:pt x="165" y="501"/>
                      </a:lnTo>
                      <a:lnTo>
                        <a:pt x="165" y="500"/>
                      </a:lnTo>
                      <a:lnTo>
                        <a:pt x="166" y="500"/>
                      </a:lnTo>
                      <a:lnTo>
                        <a:pt x="166" y="499"/>
                      </a:lnTo>
                      <a:lnTo>
                        <a:pt x="166" y="499"/>
                      </a:lnTo>
                      <a:lnTo>
                        <a:pt x="166" y="498"/>
                      </a:lnTo>
                      <a:lnTo>
                        <a:pt x="166" y="497"/>
                      </a:lnTo>
                      <a:lnTo>
                        <a:pt x="166" y="496"/>
                      </a:lnTo>
                      <a:lnTo>
                        <a:pt x="166" y="495"/>
                      </a:lnTo>
                      <a:lnTo>
                        <a:pt x="166" y="495"/>
                      </a:lnTo>
                      <a:lnTo>
                        <a:pt x="166" y="494"/>
                      </a:lnTo>
                      <a:lnTo>
                        <a:pt x="166" y="493"/>
                      </a:lnTo>
                      <a:lnTo>
                        <a:pt x="166" y="493"/>
                      </a:lnTo>
                      <a:lnTo>
                        <a:pt x="166" y="491"/>
                      </a:lnTo>
                      <a:lnTo>
                        <a:pt x="166" y="491"/>
                      </a:lnTo>
                      <a:lnTo>
                        <a:pt x="166" y="489"/>
                      </a:lnTo>
                      <a:lnTo>
                        <a:pt x="166" y="489"/>
                      </a:lnTo>
                      <a:lnTo>
                        <a:pt x="166" y="488"/>
                      </a:lnTo>
                      <a:lnTo>
                        <a:pt x="166" y="487"/>
                      </a:lnTo>
                      <a:lnTo>
                        <a:pt x="165" y="486"/>
                      </a:lnTo>
                      <a:lnTo>
                        <a:pt x="165" y="485"/>
                      </a:lnTo>
                      <a:lnTo>
                        <a:pt x="164" y="485"/>
                      </a:lnTo>
                      <a:lnTo>
                        <a:pt x="164" y="484"/>
                      </a:lnTo>
                      <a:lnTo>
                        <a:pt x="164" y="484"/>
                      </a:lnTo>
                      <a:lnTo>
                        <a:pt x="163" y="483"/>
                      </a:lnTo>
                      <a:lnTo>
                        <a:pt x="162" y="483"/>
                      </a:lnTo>
                      <a:lnTo>
                        <a:pt x="162" y="483"/>
                      </a:lnTo>
                      <a:lnTo>
                        <a:pt x="161" y="483"/>
                      </a:lnTo>
                      <a:lnTo>
                        <a:pt x="160" y="483"/>
                      </a:lnTo>
                      <a:lnTo>
                        <a:pt x="160" y="483"/>
                      </a:lnTo>
                      <a:lnTo>
                        <a:pt x="159" y="483"/>
                      </a:lnTo>
                      <a:lnTo>
                        <a:pt x="158" y="483"/>
                      </a:lnTo>
                      <a:lnTo>
                        <a:pt x="157" y="483"/>
                      </a:lnTo>
                      <a:lnTo>
                        <a:pt x="157" y="482"/>
                      </a:lnTo>
                      <a:lnTo>
                        <a:pt x="157" y="482"/>
                      </a:lnTo>
                      <a:lnTo>
                        <a:pt x="157" y="481"/>
                      </a:lnTo>
                      <a:lnTo>
                        <a:pt x="156" y="480"/>
                      </a:lnTo>
                      <a:lnTo>
                        <a:pt x="156" y="480"/>
                      </a:lnTo>
                      <a:lnTo>
                        <a:pt x="156" y="479"/>
                      </a:lnTo>
                      <a:lnTo>
                        <a:pt x="156" y="478"/>
                      </a:lnTo>
                      <a:lnTo>
                        <a:pt x="155" y="478"/>
                      </a:lnTo>
                      <a:lnTo>
                        <a:pt x="155" y="477"/>
                      </a:lnTo>
                      <a:lnTo>
                        <a:pt x="155" y="476"/>
                      </a:lnTo>
                      <a:lnTo>
                        <a:pt x="155" y="476"/>
                      </a:lnTo>
                      <a:lnTo>
                        <a:pt x="155" y="475"/>
                      </a:lnTo>
                      <a:lnTo>
                        <a:pt x="156" y="474"/>
                      </a:lnTo>
                      <a:lnTo>
                        <a:pt x="156" y="474"/>
                      </a:lnTo>
                      <a:lnTo>
                        <a:pt x="157" y="473"/>
                      </a:lnTo>
                      <a:lnTo>
                        <a:pt x="157" y="472"/>
                      </a:lnTo>
                      <a:lnTo>
                        <a:pt x="158" y="472"/>
                      </a:lnTo>
                      <a:lnTo>
                        <a:pt x="159" y="472"/>
                      </a:lnTo>
                      <a:lnTo>
                        <a:pt x="160" y="471"/>
                      </a:lnTo>
                      <a:lnTo>
                        <a:pt x="160" y="470"/>
                      </a:lnTo>
                      <a:lnTo>
                        <a:pt x="160" y="470"/>
                      </a:lnTo>
                      <a:lnTo>
                        <a:pt x="161" y="470"/>
                      </a:lnTo>
                      <a:lnTo>
                        <a:pt x="162" y="468"/>
                      </a:lnTo>
                      <a:lnTo>
                        <a:pt x="163" y="468"/>
                      </a:lnTo>
                      <a:lnTo>
                        <a:pt x="163" y="467"/>
                      </a:lnTo>
                      <a:lnTo>
                        <a:pt x="164" y="467"/>
                      </a:lnTo>
                      <a:lnTo>
                        <a:pt x="164" y="466"/>
                      </a:lnTo>
                      <a:lnTo>
                        <a:pt x="164" y="466"/>
                      </a:lnTo>
                      <a:lnTo>
                        <a:pt x="165" y="466"/>
                      </a:lnTo>
                      <a:lnTo>
                        <a:pt x="166" y="465"/>
                      </a:lnTo>
                      <a:lnTo>
                        <a:pt x="166" y="464"/>
                      </a:lnTo>
                      <a:lnTo>
                        <a:pt x="167" y="464"/>
                      </a:lnTo>
                      <a:lnTo>
                        <a:pt x="168" y="463"/>
                      </a:lnTo>
                      <a:lnTo>
                        <a:pt x="168" y="463"/>
                      </a:lnTo>
                      <a:lnTo>
                        <a:pt x="168" y="462"/>
                      </a:lnTo>
                      <a:lnTo>
                        <a:pt x="169" y="461"/>
                      </a:lnTo>
                      <a:lnTo>
                        <a:pt x="169" y="461"/>
                      </a:lnTo>
                      <a:lnTo>
                        <a:pt x="169" y="460"/>
                      </a:lnTo>
                      <a:lnTo>
                        <a:pt x="168" y="460"/>
                      </a:lnTo>
                      <a:lnTo>
                        <a:pt x="168" y="459"/>
                      </a:lnTo>
                      <a:lnTo>
                        <a:pt x="168" y="459"/>
                      </a:lnTo>
                      <a:lnTo>
                        <a:pt x="168" y="458"/>
                      </a:lnTo>
                      <a:lnTo>
                        <a:pt x="168" y="457"/>
                      </a:lnTo>
                      <a:lnTo>
                        <a:pt x="168" y="457"/>
                      </a:lnTo>
                      <a:lnTo>
                        <a:pt x="167" y="456"/>
                      </a:lnTo>
                      <a:lnTo>
                        <a:pt x="167" y="455"/>
                      </a:lnTo>
                      <a:lnTo>
                        <a:pt x="166" y="455"/>
                      </a:lnTo>
                      <a:lnTo>
                        <a:pt x="166" y="454"/>
                      </a:lnTo>
                      <a:lnTo>
                        <a:pt x="166" y="453"/>
                      </a:lnTo>
                      <a:lnTo>
                        <a:pt x="166" y="453"/>
                      </a:lnTo>
                      <a:lnTo>
                        <a:pt x="166" y="452"/>
                      </a:lnTo>
                      <a:lnTo>
                        <a:pt x="166" y="451"/>
                      </a:lnTo>
                      <a:lnTo>
                        <a:pt x="166" y="451"/>
                      </a:lnTo>
                      <a:lnTo>
                        <a:pt x="166" y="450"/>
                      </a:lnTo>
                      <a:lnTo>
                        <a:pt x="165" y="449"/>
                      </a:lnTo>
                      <a:lnTo>
                        <a:pt x="165" y="449"/>
                      </a:lnTo>
                      <a:lnTo>
                        <a:pt x="165" y="448"/>
                      </a:lnTo>
                      <a:lnTo>
                        <a:pt x="164" y="448"/>
                      </a:lnTo>
                      <a:lnTo>
                        <a:pt x="164" y="447"/>
                      </a:lnTo>
                      <a:lnTo>
                        <a:pt x="163" y="447"/>
                      </a:lnTo>
                      <a:lnTo>
                        <a:pt x="162" y="447"/>
                      </a:lnTo>
                      <a:lnTo>
                        <a:pt x="162" y="447"/>
                      </a:lnTo>
                      <a:lnTo>
                        <a:pt x="162" y="448"/>
                      </a:lnTo>
                      <a:lnTo>
                        <a:pt x="161" y="448"/>
                      </a:lnTo>
                      <a:lnTo>
                        <a:pt x="160" y="448"/>
                      </a:lnTo>
                      <a:lnTo>
                        <a:pt x="160" y="448"/>
                      </a:lnTo>
                      <a:lnTo>
                        <a:pt x="159" y="448"/>
                      </a:lnTo>
                      <a:lnTo>
                        <a:pt x="159" y="447"/>
                      </a:lnTo>
                      <a:lnTo>
                        <a:pt x="159" y="447"/>
                      </a:lnTo>
                      <a:lnTo>
                        <a:pt x="159" y="446"/>
                      </a:lnTo>
                      <a:lnTo>
                        <a:pt x="159" y="445"/>
                      </a:lnTo>
                      <a:lnTo>
                        <a:pt x="160" y="445"/>
                      </a:lnTo>
                      <a:lnTo>
                        <a:pt x="160" y="445"/>
                      </a:lnTo>
                      <a:lnTo>
                        <a:pt x="160" y="444"/>
                      </a:lnTo>
                      <a:lnTo>
                        <a:pt x="160" y="443"/>
                      </a:lnTo>
                      <a:lnTo>
                        <a:pt x="160" y="443"/>
                      </a:lnTo>
                      <a:lnTo>
                        <a:pt x="160" y="442"/>
                      </a:lnTo>
                      <a:lnTo>
                        <a:pt x="161" y="442"/>
                      </a:lnTo>
                      <a:lnTo>
                        <a:pt x="161" y="441"/>
                      </a:lnTo>
                      <a:lnTo>
                        <a:pt x="161" y="440"/>
                      </a:lnTo>
                      <a:lnTo>
                        <a:pt x="162" y="440"/>
                      </a:lnTo>
                      <a:lnTo>
                        <a:pt x="162" y="440"/>
                      </a:lnTo>
                      <a:lnTo>
                        <a:pt x="162" y="439"/>
                      </a:lnTo>
                      <a:lnTo>
                        <a:pt x="162" y="439"/>
                      </a:lnTo>
                      <a:lnTo>
                        <a:pt x="162" y="438"/>
                      </a:lnTo>
                      <a:lnTo>
                        <a:pt x="162" y="438"/>
                      </a:lnTo>
                      <a:lnTo>
                        <a:pt x="162" y="437"/>
                      </a:lnTo>
                      <a:lnTo>
                        <a:pt x="163" y="437"/>
                      </a:lnTo>
                      <a:lnTo>
                        <a:pt x="163" y="436"/>
                      </a:lnTo>
                      <a:lnTo>
                        <a:pt x="163" y="436"/>
                      </a:lnTo>
                      <a:lnTo>
                        <a:pt x="163" y="435"/>
                      </a:lnTo>
                      <a:lnTo>
                        <a:pt x="163" y="434"/>
                      </a:lnTo>
                      <a:lnTo>
                        <a:pt x="163" y="434"/>
                      </a:lnTo>
                      <a:lnTo>
                        <a:pt x="162" y="431"/>
                      </a:lnTo>
                      <a:lnTo>
                        <a:pt x="162" y="429"/>
                      </a:lnTo>
                      <a:lnTo>
                        <a:pt x="161" y="428"/>
                      </a:lnTo>
                      <a:lnTo>
                        <a:pt x="161" y="426"/>
                      </a:lnTo>
                      <a:lnTo>
                        <a:pt x="160" y="424"/>
                      </a:lnTo>
                      <a:lnTo>
                        <a:pt x="160" y="423"/>
                      </a:lnTo>
                      <a:lnTo>
                        <a:pt x="160" y="421"/>
                      </a:lnTo>
                      <a:lnTo>
                        <a:pt x="160" y="420"/>
                      </a:lnTo>
                      <a:lnTo>
                        <a:pt x="159" y="419"/>
                      </a:lnTo>
                      <a:lnTo>
                        <a:pt x="158" y="419"/>
                      </a:lnTo>
                      <a:lnTo>
                        <a:pt x="157" y="419"/>
                      </a:lnTo>
                      <a:lnTo>
                        <a:pt x="157" y="420"/>
                      </a:lnTo>
                      <a:lnTo>
                        <a:pt x="156" y="420"/>
                      </a:lnTo>
                      <a:lnTo>
                        <a:pt x="155" y="421"/>
                      </a:lnTo>
                      <a:lnTo>
                        <a:pt x="155" y="421"/>
                      </a:lnTo>
                      <a:lnTo>
                        <a:pt x="154" y="420"/>
                      </a:lnTo>
                      <a:lnTo>
                        <a:pt x="153" y="419"/>
                      </a:lnTo>
                      <a:lnTo>
                        <a:pt x="153" y="418"/>
                      </a:lnTo>
                      <a:lnTo>
                        <a:pt x="153" y="417"/>
                      </a:lnTo>
                      <a:lnTo>
                        <a:pt x="154" y="416"/>
                      </a:lnTo>
                      <a:lnTo>
                        <a:pt x="154" y="415"/>
                      </a:lnTo>
                      <a:lnTo>
                        <a:pt x="154" y="415"/>
                      </a:lnTo>
                      <a:lnTo>
                        <a:pt x="154" y="414"/>
                      </a:lnTo>
                      <a:lnTo>
                        <a:pt x="154" y="413"/>
                      </a:lnTo>
                      <a:lnTo>
                        <a:pt x="153" y="412"/>
                      </a:lnTo>
                      <a:lnTo>
                        <a:pt x="152" y="411"/>
                      </a:lnTo>
                      <a:lnTo>
                        <a:pt x="151" y="409"/>
                      </a:lnTo>
                      <a:lnTo>
                        <a:pt x="149" y="409"/>
                      </a:lnTo>
                      <a:lnTo>
                        <a:pt x="148" y="409"/>
                      </a:lnTo>
                      <a:lnTo>
                        <a:pt x="147" y="409"/>
                      </a:lnTo>
                      <a:lnTo>
                        <a:pt x="147" y="410"/>
                      </a:lnTo>
                      <a:lnTo>
                        <a:pt x="146" y="411"/>
                      </a:lnTo>
                      <a:lnTo>
                        <a:pt x="147" y="412"/>
                      </a:lnTo>
                      <a:lnTo>
                        <a:pt x="147" y="414"/>
                      </a:lnTo>
                      <a:lnTo>
                        <a:pt x="148" y="415"/>
                      </a:lnTo>
                      <a:lnTo>
                        <a:pt x="148" y="416"/>
                      </a:lnTo>
                      <a:lnTo>
                        <a:pt x="147" y="417"/>
                      </a:lnTo>
                      <a:lnTo>
                        <a:pt x="147" y="417"/>
                      </a:lnTo>
                      <a:lnTo>
                        <a:pt x="145" y="415"/>
                      </a:lnTo>
                      <a:lnTo>
                        <a:pt x="143" y="414"/>
                      </a:lnTo>
                      <a:lnTo>
                        <a:pt x="142" y="413"/>
                      </a:lnTo>
                      <a:lnTo>
                        <a:pt x="141" y="411"/>
                      </a:lnTo>
                      <a:lnTo>
                        <a:pt x="141" y="409"/>
                      </a:lnTo>
                      <a:lnTo>
                        <a:pt x="141" y="407"/>
                      </a:lnTo>
                      <a:lnTo>
                        <a:pt x="141" y="405"/>
                      </a:lnTo>
                      <a:lnTo>
                        <a:pt x="143" y="405"/>
                      </a:lnTo>
                      <a:lnTo>
                        <a:pt x="143" y="405"/>
                      </a:lnTo>
                      <a:lnTo>
                        <a:pt x="144" y="406"/>
                      </a:lnTo>
                      <a:lnTo>
                        <a:pt x="145" y="406"/>
                      </a:lnTo>
                      <a:lnTo>
                        <a:pt x="146" y="405"/>
                      </a:lnTo>
                      <a:lnTo>
                        <a:pt x="147" y="405"/>
                      </a:lnTo>
                      <a:lnTo>
                        <a:pt x="147" y="404"/>
                      </a:lnTo>
                      <a:lnTo>
                        <a:pt x="146" y="402"/>
                      </a:lnTo>
                      <a:lnTo>
                        <a:pt x="147" y="401"/>
                      </a:lnTo>
                      <a:lnTo>
                        <a:pt x="147" y="400"/>
                      </a:lnTo>
                      <a:lnTo>
                        <a:pt x="148" y="400"/>
                      </a:lnTo>
                      <a:lnTo>
                        <a:pt x="149" y="400"/>
                      </a:lnTo>
                      <a:lnTo>
                        <a:pt x="149" y="400"/>
                      </a:lnTo>
                      <a:lnTo>
                        <a:pt x="150" y="400"/>
                      </a:lnTo>
                      <a:lnTo>
                        <a:pt x="151" y="400"/>
                      </a:lnTo>
                      <a:lnTo>
                        <a:pt x="153" y="400"/>
                      </a:lnTo>
                      <a:lnTo>
                        <a:pt x="154" y="398"/>
                      </a:lnTo>
                      <a:lnTo>
                        <a:pt x="156" y="397"/>
                      </a:lnTo>
                      <a:lnTo>
                        <a:pt x="157" y="396"/>
                      </a:lnTo>
                      <a:lnTo>
                        <a:pt x="159" y="396"/>
                      </a:lnTo>
                      <a:lnTo>
                        <a:pt x="160" y="396"/>
                      </a:lnTo>
                      <a:lnTo>
                        <a:pt x="161" y="396"/>
                      </a:lnTo>
                      <a:lnTo>
                        <a:pt x="163" y="395"/>
                      </a:lnTo>
                      <a:lnTo>
                        <a:pt x="164" y="394"/>
                      </a:lnTo>
                      <a:lnTo>
                        <a:pt x="167" y="391"/>
                      </a:lnTo>
                      <a:lnTo>
                        <a:pt x="169" y="388"/>
                      </a:lnTo>
                      <a:lnTo>
                        <a:pt x="171" y="387"/>
                      </a:lnTo>
                      <a:lnTo>
                        <a:pt x="172" y="386"/>
                      </a:lnTo>
                      <a:lnTo>
                        <a:pt x="172" y="385"/>
                      </a:lnTo>
                      <a:lnTo>
                        <a:pt x="172" y="384"/>
                      </a:lnTo>
                      <a:lnTo>
                        <a:pt x="172" y="384"/>
                      </a:lnTo>
                      <a:lnTo>
                        <a:pt x="170" y="384"/>
                      </a:lnTo>
                      <a:lnTo>
                        <a:pt x="169" y="383"/>
                      </a:lnTo>
                      <a:lnTo>
                        <a:pt x="168" y="382"/>
                      </a:lnTo>
                      <a:lnTo>
                        <a:pt x="168" y="381"/>
                      </a:lnTo>
                      <a:lnTo>
                        <a:pt x="168" y="380"/>
                      </a:lnTo>
                      <a:lnTo>
                        <a:pt x="168" y="379"/>
                      </a:lnTo>
                      <a:lnTo>
                        <a:pt x="168" y="378"/>
                      </a:lnTo>
                      <a:lnTo>
                        <a:pt x="168" y="377"/>
                      </a:lnTo>
                      <a:lnTo>
                        <a:pt x="168" y="375"/>
                      </a:lnTo>
                      <a:lnTo>
                        <a:pt x="166" y="373"/>
                      </a:lnTo>
                      <a:lnTo>
                        <a:pt x="166" y="373"/>
                      </a:lnTo>
                      <a:lnTo>
                        <a:pt x="165" y="373"/>
                      </a:lnTo>
                      <a:lnTo>
                        <a:pt x="164" y="373"/>
                      </a:lnTo>
                      <a:lnTo>
                        <a:pt x="162" y="373"/>
                      </a:lnTo>
                      <a:lnTo>
                        <a:pt x="160" y="375"/>
                      </a:lnTo>
                      <a:lnTo>
                        <a:pt x="158" y="375"/>
                      </a:lnTo>
                      <a:lnTo>
                        <a:pt x="157" y="375"/>
                      </a:lnTo>
                      <a:lnTo>
                        <a:pt x="156" y="375"/>
                      </a:lnTo>
                      <a:lnTo>
                        <a:pt x="155" y="374"/>
                      </a:lnTo>
                      <a:lnTo>
                        <a:pt x="156" y="371"/>
                      </a:lnTo>
                      <a:lnTo>
                        <a:pt x="157" y="368"/>
                      </a:lnTo>
                      <a:lnTo>
                        <a:pt x="157" y="366"/>
                      </a:lnTo>
                      <a:lnTo>
                        <a:pt x="159" y="365"/>
                      </a:lnTo>
                      <a:lnTo>
                        <a:pt x="160" y="365"/>
                      </a:lnTo>
                      <a:lnTo>
                        <a:pt x="162" y="365"/>
                      </a:lnTo>
                      <a:lnTo>
                        <a:pt x="164" y="365"/>
                      </a:lnTo>
                      <a:lnTo>
                        <a:pt x="166" y="365"/>
                      </a:lnTo>
                      <a:lnTo>
                        <a:pt x="167" y="365"/>
                      </a:lnTo>
                      <a:lnTo>
                        <a:pt x="168" y="365"/>
                      </a:lnTo>
                      <a:lnTo>
                        <a:pt x="169" y="365"/>
                      </a:lnTo>
                      <a:lnTo>
                        <a:pt x="170" y="366"/>
                      </a:lnTo>
                      <a:lnTo>
                        <a:pt x="171" y="368"/>
                      </a:lnTo>
                      <a:lnTo>
                        <a:pt x="172" y="369"/>
                      </a:lnTo>
                      <a:lnTo>
                        <a:pt x="173" y="370"/>
                      </a:lnTo>
                      <a:lnTo>
                        <a:pt x="174" y="371"/>
                      </a:lnTo>
                      <a:lnTo>
                        <a:pt x="176" y="371"/>
                      </a:lnTo>
                      <a:lnTo>
                        <a:pt x="176" y="371"/>
                      </a:lnTo>
                      <a:lnTo>
                        <a:pt x="177" y="370"/>
                      </a:lnTo>
                      <a:lnTo>
                        <a:pt x="177" y="369"/>
                      </a:lnTo>
                      <a:lnTo>
                        <a:pt x="177" y="366"/>
                      </a:lnTo>
                      <a:lnTo>
                        <a:pt x="177" y="364"/>
                      </a:lnTo>
                      <a:lnTo>
                        <a:pt x="179" y="360"/>
                      </a:lnTo>
                      <a:lnTo>
                        <a:pt x="179" y="358"/>
                      </a:lnTo>
                      <a:lnTo>
                        <a:pt x="179" y="356"/>
                      </a:lnTo>
                      <a:lnTo>
                        <a:pt x="180" y="355"/>
                      </a:lnTo>
                      <a:lnTo>
                        <a:pt x="181" y="353"/>
                      </a:lnTo>
                      <a:lnTo>
                        <a:pt x="182" y="352"/>
                      </a:lnTo>
                      <a:lnTo>
                        <a:pt x="183" y="352"/>
                      </a:lnTo>
                      <a:lnTo>
                        <a:pt x="185" y="352"/>
                      </a:lnTo>
                      <a:lnTo>
                        <a:pt x="188" y="352"/>
                      </a:lnTo>
                      <a:lnTo>
                        <a:pt x="190" y="351"/>
                      </a:lnTo>
                      <a:lnTo>
                        <a:pt x="192" y="351"/>
                      </a:lnTo>
                      <a:lnTo>
                        <a:pt x="193" y="352"/>
                      </a:lnTo>
                      <a:lnTo>
                        <a:pt x="194" y="352"/>
                      </a:lnTo>
                      <a:lnTo>
                        <a:pt x="194" y="354"/>
                      </a:lnTo>
                      <a:lnTo>
                        <a:pt x="194" y="355"/>
                      </a:lnTo>
                      <a:lnTo>
                        <a:pt x="193" y="356"/>
                      </a:lnTo>
                      <a:lnTo>
                        <a:pt x="193" y="358"/>
                      </a:lnTo>
                      <a:lnTo>
                        <a:pt x="191" y="358"/>
                      </a:lnTo>
                      <a:lnTo>
                        <a:pt x="189" y="359"/>
                      </a:lnTo>
                      <a:lnTo>
                        <a:pt x="188" y="360"/>
                      </a:lnTo>
                      <a:lnTo>
                        <a:pt x="187" y="361"/>
                      </a:lnTo>
                      <a:lnTo>
                        <a:pt x="187" y="362"/>
                      </a:lnTo>
                      <a:lnTo>
                        <a:pt x="188" y="364"/>
                      </a:lnTo>
                      <a:lnTo>
                        <a:pt x="189" y="365"/>
                      </a:lnTo>
                      <a:lnTo>
                        <a:pt x="191" y="365"/>
                      </a:lnTo>
                      <a:lnTo>
                        <a:pt x="191" y="365"/>
                      </a:lnTo>
                      <a:lnTo>
                        <a:pt x="193" y="365"/>
                      </a:lnTo>
                      <a:lnTo>
                        <a:pt x="194" y="364"/>
                      </a:lnTo>
                      <a:lnTo>
                        <a:pt x="195" y="363"/>
                      </a:lnTo>
                      <a:lnTo>
                        <a:pt x="195" y="362"/>
                      </a:lnTo>
                      <a:lnTo>
                        <a:pt x="196" y="361"/>
                      </a:lnTo>
                      <a:lnTo>
                        <a:pt x="196" y="360"/>
                      </a:lnTo>
                      <a:lnTo>
                        <a:pt x="196" y="357"/>
                      </a:lnTo>
                      <a:lnTo>
                        <a:pt x="196" y="356"/>
                      </a:lnTo>
                      <a:lnTo>
                        <a:pt x="196" y="355"/>
                      </a:lnTo>
                      <a:lnTo>
                        <a:pt x="198" y="354"/>
                      </a:lnTo>
                      <a:lnTo>
                        <a:pt x="200" y="354"/>
                      </a:lnTo>
                      <a:lnTo>
                        <a:pt x="201" y="353"/>
                      </a:lnTo>
                      <a:lnTo>
                        <a:pt x="203" y="352"/>
                      </a:lnTo>
                      <a:lnTo>
                        <a:pt x="206" y="350"/>
                      </a:lnTo>
                      <a:lnTo>
                        <a:pt x="208" y="349"/>
                      </a:lnTo>
                      <a:lnTo>
                        <a:pt x="210" y="348"/>
                      </a:lnTo>
                      <a:lnTo>
                        <a:pt x="210" y="346"/>
                      </a:lnTo>
                      <a:lnTo>
                        <a:pt x="211" y="345"/>
                      </a:lnTo>
                      <a:lnTo>
                        <a:pt x="211" y="344"/>
                      </a:lnTo>
                      <a:lnTo>
                        <a:pt x="210" y="342"/>
                      </a:lnTo>
                      <a:lnTo>
                        <a:pt x="210" y="341"/>
                      </a:lnTo>
                      <a:lnTo>
                        <a:pt x="209" y="341"/>
                      </a:lnTo>
                      <a:lnTo>
                        <a:pt x="208" y="341"/>
                      </a:lnTo>
                      <a:lnTo>
                        <a:pt x="207" y="341"/>
                      </a:lnTo>
                      <a:lnTo>
                        <a:pt x="206" y="341"/>
                      </a:lnTo>
                      <a:lnTo>
                        <a:pt x="205" y="341"/>
                      </a:lnTo>
                      <a:lnTo>
                        <a:pt x="204" y="341"/>
                      </a:lnTo>
                      <a:lnTo>
                        <a:pt x="203" y="341"/>
                      </a:lnTo>
                      <a:lnTo>
                        <a:pt x="203" y="340"/>
                      </a:lnTo>
                      <a:lnTo>
                        <a:pt x="204" y="339"/>
                      </a:lnTo>
                      <a:lnTo>
                        <a:pt x="205" y="339"/>
                      </a:lnTo>
                      <a:lnTo>
                        <a:pt x="206" y="338"/>
                      </a:lnTo>
                      <a:lnTo>
                        <a:pt x="206" y="337"/>
                      </a:lnTo>
                      <a:lnTo>
                        <a:pt x="206" y="335"/>
                      </a:lnTo>
                      <a:lnTo>
                        <a:pt x="206" y="334"/>
                      </a:lnTo>
                      <a:lnTo>
                        <a:pt x="208" y="333"/>
                      </a:lnTo>
                      <a:lnTo>
                        <a:pt x="209" y="331"/>
                      </a:lnTo>
                      <a:lnTo>
                        <a:pt x="210" y="331"/>
                      </a:lnTo>
                      <a:lnTo>
                        <a:pt x="210" y="330"/>
                      </a:lnTo>
                      <a:lnTo>
                        <a:pt x="209" y="329"/>
                      </a:lnTo>
                      <a:lnTo>
                        <a:pt x="208" y="328"/>
                      </a:lnTo>
                      <a:lnTo>
                        <a:pt x="207" y="328"/>
                      </a:lnTo>
                      <a:lnTo>
                        <a:pt x="206" y="328"/>
                      </a:lnTo>
                      <a:lnTo>
                        <a:pt x="205" y="329"/>
                      </a:lnTo>
                      <a:lnTo>
                        <a:pt x="204" y="329"/>
                      </a:lnTo>
                      <a:lnTo>
                        <a:pt x="202" y="327"/>
                      </a:lnTo>
                      <a:lnTo>
                        <a:pt x="200" y="327"/>
                      </a:lnTo>
                      <a:lnTo>
                        <a:pt x="199" y="326"/>
                      </a:lnTo>
                      <a:lnTo>
                        <a:pt x="198" y="325"/>
                      </a:lnTo>
                      <a:lnTo>
                        <a:pt x="196" y="325"/>
                      </a:lnTo>
                      <a:lnTo>
                        <a:pt x="195" y="324"/>
                      </a:lnTo>
                      <a:lnTo>
                        <a:pt x="196" y="323"/>
                      </a:lnTo>
                      <a:lnTo>
                        <a:pt x="197" y="322"/>
                      </a:lnTo>
                      <a:lnTo>
                        <a:pt x="198" y="321"/>
                      </a:lnTo>
                      <a:lnTo>
                        <a:pt x="200" y="320"/>
                      </a:lnTo>
                      <a:lnTo>
                        <a:pt x="202" y="319"/>
                      </a:lnTo>
                      <a:lnTo>
                        <a:pt x="204" y="318"/>
                      </a:lnTo>
                      <a:lnTo>
                        <a:pt x="206" y="317"/>
                      </a:lnTo>
                      <a:lnTo>
                        <a:pt x="208" y="316"/>
                      </a:lnTo>
                      <a:lnTo>
                        <a:pt x="211" y="316"/>
                      </a:lnTo>
                      <a:lnTo>
                        <a:pt x="213" y="316"/>
                      </a:lnTo>
                      <a:lnTo>
                        <a:pt x="214" y="316"/>
                      </a:lnTo>
                      <a:lnTo>
                        <a:pt x="215" y="316"/>
                      </a:lnTo>
                      <a:lnTo>
                        <a:pt x="217" y="316"/>
                      </a:lnTo>
                      <a:lnTo>
                        <a:pt x="217" y="317"/>
                      </a:lnTo>
                      <a:lnTo>
                        <a:pt x="218" y="317"/>
                      </a:lnTo>
                      <a:lnTo>
                        <a:pt x="219" y="316"/>
                      </a:lnTo>
                      <a:lnTo>
                        <a:pt x="219" y="314"/>
                      </a:lnTo>
                      <a:lnTo>
                        <a:pt x="219" y="312"/>
                      </a:lnTo>
                      <a:lnTo>
                        <a:pt x="218" y="310"/>
                      </a:lnTo>
                      <a:lnTo>
                        <a:pt x="217" y="308"/>
                      </a:lnTo>
                      <a:lnTo>
                        <a:pt x="217" y="305"/>
                      </a:lnTo>
                      <a:lnTo>
                        <a:pt x="216" y="303"/>
                      </a:lnTo>
                      <a:lnTo>
                        <a:pt x="214" y="301"/>
                      </a:lnTo>
                      <a:lnTo>
                        <a:pt x="213" y="299"/>
                      </a:lnTo>
                      <a:lnTo>
                        <a:pt x="212" y="297"/>
                      </a:lnTo>
                      <a:lnTo>
                        <a:pt x="210" y="297"/>
                      </a:lnTo>
                      <a:lnTo>
                        <a:pt x="208" y="296"/>
                      </a:lnTo>
                      <a:lnTo>
                        <a:pt x="207" y="296"/>
                      </a:lnTo>
                      <a:lnTo>
                        <a:pt x="205" y="296"/>
                      </a:lnTo>
                      <a:lnTo>
                        <a:pt x="204" y="297"/>
                      </a:lnTo>
                      <a:lnTo>
                        <a:pt x="204" y="296"/>
                      </a:lnTo>
                      <a:lnTo>
                        <a:pt x="203" y="295"/>
                      </a:lnTo>
                      <a:lnTo>
                        <a:pt x="203" y="295"/>
                      </a:lnTo>
                      <a:lnTo>
                        <a:pt x="205" y="292"/>
                      </a:lnTo>
                      <a:lnTo>
                        <a:pt x="207" y="289"/>
                      </a:lnTo>
                      <a:lnTo>
                        <a:pt x="209" y="287"/>
                      </a:lnTo>
                      <a:lnTo>
                        <a:pt x="210" y="285"/>
                      </a:lnTo>
                      <a:lnTo>
                        <a:pt x="212" y="285"/>
                      </a:lnTo>
                      <a:lnTo>
                        <a:pt x="213" y="285"/>
                      </a:lnTo>
                      <a:lnTo>
                        <a:pt x="214" y="285"/>
                      </a:lnTo>
                      <a:lnTo>
                        <a:pt x="217" y="285"/>
                      </a:lnTo>
                      <a:lnTo>
                        <a:pt x="219" y="286"/>
                      </a:lnTo>
                      <a:lnTo>
                        <a:pt x="221" y="287"/>
                      </a:lnTo>
                      <a:lnTo>
                        <a:pt x="222" y="289"/>
                      </a:lnTo>
                      <a:lnTo>
                        <a:pt x="223" y="289"/>
                      </a:lnTo>
                      <a:lnTo>
                        <a:pt x="225" y="291"/>
                      </a:lnTo>
                      <a:lnTo>
                        <a:pt x="226" y="291"/>
                      </a:lnTo>
                      <a:lnTo>
                        <a:pt x="227" y="292"/>
                      </a:lnTo>
                      <a:lnTo>
                        <a:pt x="227" y="293"/>
                      </a:lnTo>
                      <a:lnTo>
                        <a:pt x="229" y="292"/>
                      </a:lnTo>
                      <a:lnTo>
                        <a:pt x="229" y="291"/>
                      </a:lnTo>
                      <a:lnTo>
                        <a:pt x="229" y="289"/>
                      </a:lnTo>
                      <a:lnTo>
                        <a:pt x="229" y="287"/>
                      </a:lnTo>
                      <a:lnTo>
                        <a:pt x="228" y="282"/>
                      </a:lnTo>
                      <a:lnTo>
                        <a:pt x="227" y="281"/>
                      </a:lnTo>
                      <a:lnTo>
                        <a:pt x="227" y="280"/>
                      </a:lnTo>
                      <a:lnTo>
                        <a:pt x="228" y="280"/>
                      </a:lnTo>
                      <a:lnTo>
                        <a:pt x="229" y="280"/>
                      </a:lnTo>
                      <a:lnTo>
                        <a:pt x="229" y="279"/>
                      </a:lnTo>
                      <a:lnTo>
                        <a:pt x="231" y="280"/>
                      </a:lnTo>
                      <a:lnTo>
                        <a:pt x="234" y="280"/>
                      </a:lnTo>
                      <a:lnTo>
                        <a:pt x="237" y="280"/>
                      </a:lnTo>
                      <a:lnTo>
                        <a:pt x="240" y="280"/>
                      </a:lnTo>
                      <a:lnTo>
                        <a:pt x="242" y="280"/>
                      </a:lnTo>
                      <a:lnTo>
                        <a:pt x="244" y="279"/>
                      </a:lnTo>
                      <a:lnTo>
                        <a:pt x="247" y="278"/>
                      </a:lnTo>
                      <a:lnTo>
                        <a:pt x="248" y="277"/>
                      </a:lnTo>
                      <a:lnTo>
                        <a:pt x="250" y="276"/>
                      </a:lnTo>
                      <a:lnTo>
                        <a:pt x="252" y="276"/>
                      </a:lnTo>
                      <a:lnTo>
                        <a:pt x="253" y="277"/>
                      </a:lnTo>
                      <a:lnTo>
                        <a:pt x="255" y="278"/>
                      </a:lnTo>
                      <a:lnTo>
                        <a:pt x="257" y="278"/>
                      </a:lnTo>
                      <a:lnTo>
                        <a:pt x="258" y="278"/>
                      </a:lnTo>
                      <a:lnTo>
                        <a:pt x="259" y="278"/>
                      </a:lnTo>
                      <a:lnTo>
                        <a:pt x="260" y="278"/>
                      </a:lnTo>
                      <a:lnTo>
                        <a:pt x="261" y="279"/>
                      </a:lnTo>
                      <a:lnTo>
                        <a:pt x="261" y="280"/>
                      </a:lnTo>
                      <a:lnTo>
                        <a:pt x="261" y="282"/>
                      </a:lnTo>
                      <a:lnTo>
                        <a:pt x="261" y="282"/>
                      </a:lnTo>
                      <a:lnTo>
                        <a:pt x="261" y="283"/>
                      </a:lnTo>
                      <a:lnTo>
                        <a:pt x="262" y="284"/>
                      </a:lnTo>
                      <a:lnTo>
                        <a:pt x="263" y="284"/>
                      </a:lnTo>
                      <a:lnTo>
                        <a:pt x="263" y="284"/>
                      </a:lnTo>
                      <a:lnTo>
                        <a:pt x="265" y="284"/>
                      </a:lnTo>
                      <a:lnTo>
                        <a:pt x="265" y="283"/>
                      </a:lnTo>
                      <a:lnTo>
                        <a:pt x="267" y="282"/>
                      </a:lnTo>
                      <a:lnTo>
                        <a:pt x="267" y="281"/>
                      </a:lnTo>
                      <a:lnTo>
                        <a:pt x="269" y="280"/>
                      </a:lnTo>
                      <a:lnTo>
                        <a:pt x="269" y="280"/>
                      </a:lnTo>
                      <a:lnTo>
                        <a:pt x="271" y="280"/>
                      </a:lnTo>
                      <a:lnTo>
                        <a:pt x="271" y="280"/>
                      </a:lnTo>
                      <a:lnTo>
                        <a:pt x="273" y="279"/>
                      </a:lnTo>
                      <a:lnTo>
                        <a:pt x="274" y="278"/>
                      </a:lnTo>
                      <a:lnTo>
                        <a:pt x="274" y="278"/>
                      </a:lnTo>
                      <a:lnTo>
                        <a:pt x="274" y="277"/>
                      </a:lnTo>
                      <a:lnTo>
                        <a:pt x="274" y="276"/>
                      </a:lnTo>
                      <a:lnTo>
                        <a:pt x="273" y="275"/>
                      </a:lnTo>
                      <a:lnTo>
                        <a:pt x="273" y="274"/>
                      </a:lnTo>
                      <a:lnTo>
                        <a:pt x="273" y="273"/>
                      </a:lnTo>
                      <a:lnTo>
                        <a:pt x="273" y="272"/>
                      </a:lnTo>
                      <a:lnTo>
                        <a:pt x="274" y="270"/>
                      </a:lnTo>
                      <a:lnTo>
                        <a:pt x="276" y="270"/>
                      </a:lnTo>
                      <a:lnTo>
                        <a:pt x="276" y="269"/>
                      </a:lnTo>
                      <a:lnTo>
                        <a:pt x="277" y="268"/>
                      </a:lnTo>
                      <a:lnTo>
                        <a:pt x="278" y="267"/>
                      </a:lnTo>
                      <a:lnTo>
                        <a:pt x="280" y="266"/>
                      </a:lnTo>
                      <a:lnTo>
                        <a:pt x="280" y="266"/>
                      </a:lnTo>
                      <a:lnTo>
                        <a:pt x="282" y="266"/>
                      </a:lnTo>
                      <a:lnTo>
                        <a:pt x="284" y="266"/>
                      </a:lnTo>
                      <a:lnTo>
                        <a:pt x="286" y="266"/>
                      </a:lnTo>
                      <a:lnTo>
                        <a:pt x="288" y="266"/>
                      </a:lnTo>
                      <a:lnTo>
                        <a:pt x="290" y="266"/>
                      </a:lnTo>
                      <a:lnTo>
                        <a:pt x="293" y="266"/>
                      </a:lnTo>
                      <a:lnTo>
                        <a:pt x="295" y="266"/>
                      </a:lnTo>
                      <a:lnTo>
                        <a:pt x="297" y="266"/>
                      </a:lnTo>
                      <a:lnTo>
                        <a:pt x="299" y="264"/>
                      </a:lnTo>
                      <a:lnTo>
                        <a:pt x="301" y="263"/>
                      </a:lnTo>
                      <a:lnTo>
                        <a:pt x="302" y="263"/>
                      </a:lnTo>
                      <a:lnTo>
                        <a:pt x="305" y="263"/>
                      </a:lnTo>
                      <a:lnTo>
                        <a:pt x="307" y="262"/>
                      </a:lnTo>
                      <a:lnTo>
                        <a:pt x="309" y="262"/>
                      </a:lnTo>
                      <a:lnTo>
                        <a:pt x="311" y="261"/>
                      </a:lnTo>
                      <a:lnTo>
                        <a:pt x="312" y="261"/>
                      </a:lnTo>
                      <a:lnTo>
                        <a:pt x="312" y="260"/>
                      </a:lnTo>
                      <a:lnTo>
                        <a:pt x="312" y="259"/>
                      </a:lnTo>
                      <a:lnTo>
                        <a:pt x="311" y="259"/>
                      </a:lnTo>
                      <a:lnTo>
                        <a:pt x="310" y="259"/>
                      </a:lnTo>
                      <a:lnTo>
                        <a:pt x="309" y="259"/>
                      </a:lnTo>
                      <a:lnTo>
                        <a:pt x="308" y="259"/>
                      </a:lnTo>
                      <a:lnTo>
                        <a:pt x="307" y="258"/>
                      </a:lnTo>
                      <a:lnTo>
                        <a:pt x="307" y="257"/>
                      </a:lnTo>
                      <a:lnTo>
                        <a:pt x="306" y="257"/>
                      </a:lnTo>
                      <a:lnTo>
                        <a:pt x="306" y="256"/>
                      </a:lnTo>
                      <a:lnTo>
                        <a:pt x="306" y="255"/>
                      </a:lnTo>
                      <a:lnTo>
                        <a:pt x="306" y="254"/>
                      </a:lnTo>
                      <a:lnTo>
                        <a:pt x="307" y="253"/>
                      </a:lnTo>
                      <a:lnTo>
                        <a:pt x="307" y="252"/>
                      </a:lnTo>
                      <a:lnTo>
                        <a:pt x="309" y="251"/>
                      </a:lnTo>
                      <a:lnTo>
                        <a:pt x="312" y="250"/>
                      </a:lnTo>
                      <a:lnTo>
                        <a:pt x="313" y="250"/>
                      </a:lnTo>
                      <a:lnTo>
                        <a:pt x="315" y="249"/>
                      </a:lnTo>
                      <a:lnTo>
                        <a:pt x="317" y="249"/>
                      </a:lnTo>
                      <a:lnTo>
                        <a:pt x="318" y="249"/>
                      </a:lnTo>
                      <a:lnTo>
                        <a:pt x="320" y="251"/>
                      </a:lnTo>
                      <a:lnTo>
                        <a:pt x="323" y="251"/>
                      </a:lnTo>
                      <a:lnTo>
                        <a:pt x="326" y="253"/>
                      </a:lnTo>
                      <a:lnTo>
                        <a:pt x="328" y="254"/>
                      </a:lnTo>
                      <a:lnTo>
                        <a:pt x="329" y="255"/>
                      </a:lnTo>
                      <a:lnTo>
                        <a:pt x="331" y="256"/>
                      </a:lnTo>
                      <a:lnTo>
                        <a:pt x="332" y="257"/>
                      </a:lnTo>
                      <a:lnTo>
                        <a:pt x="333" y="257"/>
                      </a:lnTo>
                      <a:lnTo>
                        <a:pt x="335" y="256"/>
                      </a:lnTo>
                      <a:lnTo>
                        <a:pt x="335" y="255"/>
                      </a:lnTo>
                      <a:lnTo>
                        <a:pt x="335" y="254"/>
                      </a:lnTo>
                      <a:lnTo>
                        <a:pt x="335" y="253"/>
                      </a:lnTo>
                      <a:lnTo>
                        <a:pt x="335" y="252"/>
                      </a:lnTo>
                      <a:lnTo>
                        <a:pt x="334" y="251"/>
                      </a:lnTo>
                      <a:lnTo>
                        <a:pt x="333" y="249"/>
                      </a:lnTo>
                      <a:lnTo>
                        <a:pt x="332" y="247"/>
                      </a:lnTo>
                      <a:lnTo>
                        <a:pt x="331" y="246"/>
                      </a:lnTo>
                      <a:lnTo>
                        <a:pt x="329" y="245"/>
                      </a:lnTo>
                      <a:lnTo>
                        <a:pt x="327" y="244"/>
                      </a:lnTo>
                      <a:lnTo>
                        <a:pt x="325" y="244"/>
                      </a:lnTo>
                      <a:lnTo>
                        <a:pt x="324" y="242"/>
                      </a:lnTo>
                      <a:lnTo>
                        <a:pt x="323" y="241"/>
                      </a:lnTo>
                      <a:lnTo>
                        <a:pt x="322" y="240"/>
                      </a:lnTo>
                      <a:lnTo>
                        <a:pt x="322" y="238"/>
                      </a:lnTo>
                      <a:lnTo>
                        <a:pt x="322" y="238"/>
                      </a:lnTo>
                      <a:lnTo>
                        <a:pt x="323" y="238"/>
                      </a:lnTo>
                      <a:lnTo>
                        <a:pt x="324" y="238"/>
                      </a:lnTo>
                      <a:lnTo>
                        <a:pt x="326" y="238"/>
                      </a:lnTo>
                      <a:lnTo>
                        <a:pt x="327" y="238"/>
                      </a:lnTo>
                      <a:lnTo>
                        <a:pt x="328" y="237"/>
                      </a:lnTo>
                      <a:lnTo>
                        <a:pt x="328" y="236"/>
                      </a:lnTo>
                      <a:lnTo>
                        <a:pt x="328" y="235"/>
                      </a:lnTo>
                      <a:lnTo>
                        <a:pt x="328" y="234"/>
                      </a:lnTo>
                      <a:lnTo>
                        <a:pt x="326" y="233"/>
                      </a:lnTo>
                      <a:lnTo>
                        <a:pt x="325" y="232"/>
                      </a:lnTo>
                      <a:lnTo>
                        <a:pt x="324" y="231"/>
                      </a:lnTo>
                      <a:lnTo>
                        <a:pt x="324" y="230"/>
                      </a:lnTo>
                      <a:lnTo>
                        <a:pt x="324" y="228"/>
                      </a:lnTo>
                      <a:lnTo>
                        <a:pt x="324" y="226"/>
                      </a:lnTo>
                      <a:lnTo>
                        <a:pt x="324" y="223"/>
                      </a:lnTo>
                      <a:lnTo>
                        <a:pt x="325" y="222"/>
                      </a:lnTo>
                      <a:lnTo>
                        <a:pt x="326" y="221"/>
                      </a:lnTo>
                      <a:lnTo>
                        <a:pt x="326" y="221"/>
                      </a:lnTo>
                      <a:lnTo>
                        <a:pt x="328" y="221"/>
                      </a:lnTo>
                      <a:lnTo>
                        <a:pt x="328" y="221"/>
                      </a:lnTo>
                      <a:lnTo>
                        <a:pt x="329" y="222"/>
                      </a:lnTo>
                      <a:lnTo>
                        <a:pt x="329" y="223"/>
                      </a:lnTo>
                      <a:lnTo>
                        <a:pt x="331" y="224"/>
                      </a:lnTo>
                      <a:lnTo>
                        <a:pt x="331" y="224"/>
                      </a:lnTo>
                      <a:lnTo>
                        <a:pt x="332" y="224"/>
                      </a:lnTo>
                      <a:lnTo>
                        <a:pt x="335" y="223"/>
                      </a:lnTo>
                      <a:lnTo>
                        <a:pt x="337" y="221"/>
                      </a:lnTo>
                      <a:lnTo>
                        <a:pt x="339" y="221"/>
                      </a:lnTo>
                      <a:lnTo>
                        <a:pt x="341" y="219"/>
                      </a:lnTo>
                      <a:lnTo>
                        <a:pt x="343" y="217"/>
                      </a:lnTo>
                      <a:lnTo>
                        <a:pt x="345" y="215"/>
                      </a:lnTo>
                      <a:lnTo>
                        <a:pt x="345" y="214"/>
                      </a:lnTo>
                      <a:lnTo>
                        <a:pt x="345" y="213"/>
                      </a:lnTo>
                      <a:lnTo>
                        <a:pt x="345" y="211"/>
                      </a:lnTo>
                      <a:lnTo>
                        <a:pt x="345" y="207"/>
                      </a:lnTo>
                      <a:lnTo>
                        <a:pt x="344" y="204"/>
                      </a:lnTo>
                      <a:lnTo>
                        <a:pt x="343" y="202"/>
                      </a:lnTo>
                      <a:lnTo>
                        <a:pt x="343" y="200"/>
                      </a:lnTo>
                      <a:lnTo>
                        <a:pt x="341" y="200"/>
                      </a:lnTo>
                      <a:lnTo>
                        <a:pt x="340" y="199"/>
                      </a:lnTo>
                      <a:lnTo>
                        <a:pt x="339" y="198"/>
                      </a:lnTo>
                      <a:lnTo>
                        <a:pt x="338" y="198"/>
                      </a:lnTo>
                      <a:lnTo>
                        <a:pt x="338" y="197"/>
                      </a:lnTo>
                      <a:lnTo>
                        <a:pt x="338" y="196"/>
                      </a:lnTo>
                      <a:lnTo>
                        <a:pt x="340" y="192"/>
                      </a:lnTo>
                      <a:lnTo>
                        <a:pt x="341" y="189"/>
                      </a:lnTo>
                      <a:lnTo>
                        <a:pt x="342" y="188"/>
                      </a:lnTo>
                      <a:lnTo>
                        <a:pt x="343" y="186"/>
                      </a:lnTo>
                      <a:lnTo>
                        <a:pt x="343" y="186"/>
                      </a:lnTo>
                      <a:lnTo>
                        <a:pt x="343" y="186"/>
                      </a:lnTo>
                      <a:lnTo>
                        <a:pt x="345" y="186"/>
                      </a:lnTo>
                      <a:lnTo>
                        <a:pt x="345" y="186"/>
                      </a:lnTo>
                      <a:lnTo>
                        <a:pt x="347" y="188"/>
                      </a:lnTo>
                      <a:lnTo>
                        <a:pt x="350" y="192"/>
                      </a:lnTo>
                      <a:lnTo>
                        <a:pt x="351" y="195"/>
                      </a:lnTo>
                      <a:lnTo>
                        <a:pt x="352" y="198"/>
                      </a:lnTo>
                      <a:lnTo>
                        <a:pt x="352" y="199"/>
                      </a:lnTo>
                      <a:lnTo>
                        <a:pt x="352" y="200"/>
                      </a:lnTo>
                      <a:lnTo>
                        <a:pt x="353" y="201"/>
                      </a:lnTo>
                      <a:lnTo>
                        <a:pt x="354" y="202"/>
                      </a:lnTo>
                      <a:lnTo>
                        <a:pt x="356" y="201"/>
                      </a:lnTo>
                      <a:lnTo>
                        <a:pt x="358" y="200"/>
                      </a:lnTo>
                      <a:lnTo>
                        <a:pt x="360" y="198"/>
                      </a:lnTo>
                      <a:lnTo>
                        <a:pt x="361" y="197"/>
                      </a:lnTo>
                      <a:lnTo>
                        <a:pt x="362" y="194"/>
                      </a:lnTo>
                      <a:lnTo>
                        <a:pt x="362" y="192"/>
                      </a:lnTo>
                      <a:lnTo>
                        <a:pt x="362" y="190"/>
                      </a:lnTo>
                      <a:lnTo>
                        <a:pt x="362" y="188"/>
                      </a:lnTo>
                      <a:lnTo>
                        <a:pt x="360" y="186"/>
                      </a:lnTo>
                      <a:lnTo>
                        <a:pt x="360" y="184"/>
                      </a:lnTo>
                      <a:lnTo>
                        <a:pt x="358" y="182"/>
                      </a:lnTo>
                      <a:lnTo>
                        <a:pt x="357" y="180"/>
                      </a:lnTo>
                      <a:lnTo>
                        <a:pt x="356" y="179"/>
                      </a:lnTo>
                      <a:lnTo>
                        <a:pt x="356" y="178"/>
                      </a:lnTo>
                      <a:lnTo>
                        <a:pt x="356" y="177"/>
                      </a:lnTo>
                      <a:lnTo>
                        <a:pt x="358" y="177"/>
                      </a:lnTo>
                      <a:lnTo>
                        <a:pt x="359" y="177"/>
                      </a:lnTo>
                      <a:lnTo>
                        <a:pt x="362" y="178"/>
                      </a:lnTo>
                      <a:lnTo>
                        <a:pt x="364" y="178"/>
                      </a:lnTo>
                      <a:lnTo>
                        <a:pt x="365" y="179"/>
                      </a:lnTo>
                      <a:lnTo>
                        <a:pt x="366" y="179"/>
                      </a:lnTo>
                      <a:lnTo>
                        <a:pt x="368" y="179"/>
                      </a:lnTo>
                      <a:lnTo>
                        <a:pt x="369" y="179"/>
                      </a:lnTo>
                      <a:lnTo>
                        <a:pt x="370" y="178"/>
                      </a:lnTo>
                      <a:lnTo>
                        <a:pt x="369" y="177"/>
                      </a:lnTo>
                      <a:lnTo>
                        <a:pt x="368" y="177"/>
                      </a:lnTo>
                      <a:lnTo>
                        <a:pt x="366" y="177"/>
                      </a:lnTo>
                      <a:lnTo>
                        <a:pt x="366" y="176"/>
                      </a:lnTo>
                      <a:lnTo>
                        <a:pt x="365" y="174"/>
                      </a:lnTo>
                      <a:lnTo>
                        <a:pt x="366" y="171"/>
                      </a:lnTo>
                      <a:lnTo>
                        <a:pt x="367" y="169"/>
                      </a:lnTo>
                      <a:lnTo>
                        <a:pt x="368" y="167"/>
                      </a:lnTo>
                      <a:lnTo>
                        <a:pt x="369" y="163"/>
                      </a:lnTo>
                      <a:lnTo>
                        <a:pt x="371" y="163"/>
                      </a:lnTo>
                      <a:lnTo>
                        <a:pt x="372" y="163"/>
                      </a:lnTo>
                      <a:lnTo>
                        <a:pt x="373" y="163"/>
                      </a:lnTo>
                      <a:lnTo>
                        <a:pt x="375" y="163"/>
                      </a:lnTo>
                      <a:lnTo>
                        <a:pt x="376" y="163"/>
                      </a:lnTo>
                      <a:lnTo>
                        <a:pt x="377" y="162"/>
                      </a:lnTo>
                      <a:lnTo>
                        <a:pt x="378" y="162"/>
                      </a:lnTo>
                      <a:lnTo>
                        <a:pt x="379" y="160"/>
                      </a:lnTo>
                      <a:lnTo>
                        <a:pt x="379" y="159"/>
                      </a:lnTo>
                      <a:lnTo>
                        <a:pt x="380" y="154"/>
                      </a:lnTo>
                      <a:lnTo>
                        <a:pt x="381" y="150"/>
                      </a:lnTo>
                      <a:lnTo>
                        <a:pt x="381" y="146"/>
                      </a:lnTo>
                      <a:lnTo>
                        <a:pt x="381" y="143"/>
                      </a:lnTo>
                      <a:lnTo>
                        <a:pt x="381" y="139"/>
                      </a:lnTo>
                      <a:lnTo>
                        <a:pt x="382" y="137"/>
                      </a:lnTo>
                      <a:lnTo>
                        <a:pt x="383" y="136"/>
                      </a:lnTo>
                      <a:lnTo>
                        <a:pt x="385" y="135"/>
                      </a:lnTo>
                      <a:lnTo>
                        <a:pt x="388" y="133"/>
                      </a:lnTo>
                      <a:lnTo>
                        <a:pt x="389" y="131"/>
                      </a:lnTo>
                      <a:lnTo>
                        <a:pt x="390" y="129"/>
                      </a:lnTo>
                      <a:lnTo>
                        <a:pt x="389" y="128"/>
                      </a:lnTo>
                      <a:lnTo>
                        <a:pt x="388" y="127"/>
                      </a:lnTo>
                      <a:lnTo>
                        <a:pt x="385" y="127"/>
                      </a:lnTo>
                      <a:lnTo>
                        <a:pt x="384" y="128"/>
                      </a:lnTo>
                      <a:lnTo>
                        <a:pt x="382" y="129"/>
                      </a:lnTo>
                      <a:lnTo>
                        <a:pt x="381" y="130"/>
                      </a:lnTo>
                      <a:lnTo>
                        <a:pt x="379" y="130"/>
                      </a:lnTo>
                      <a:lnTo>
                        <a:pt x="377" y="130"/>
                      </a:lnTo>
                      <a:lnTo>
                        <a:pt x="375" y="129"/>
                      </a:lnTo>
                      <a:lnTo>
                        <a:pt x="373" y="127"/>
                      </a:lnTo>
                      <a:lnTo>
                        <a:pt x="373" y="126"/>
                      </a:lnTo>
                      <a:lnTo>
                        <a:pt x="375" y="125"/>
                      </a:lnTo>
                      <a:lnTo>
                        <a:pt x="376" y="124"/>
                      </a:lnTo>
                      <a:lnTo>
                        <a:pt x="379" y="122"/>
                      </a:lnTo>
                      <a:lnTo>
                        <a:pt x="381" y="120"/>
                      </a:lnTo>
                      <a:lnTo>
                        <a:pt x="385" y="119"/>
                      </a:lnTo>
                      <a:lnTo>
                        <a:pt x="390" y="116"/>
                      </a:lnTo>
                      <a:lnTo>
                        <a:pt x="393" y="115"/>
                      </a:lnTo>
                      <a:lnTo>
                        <a:pt x="396" y="113"/>
                      </a:lnTo>
                      <a:lnTo>
                        <a:pt x="398" y="112"/>
                      </a:lnTo>
                      <a:lnTo>
                        <a:pt x="399" y="112"/>
                      </a:lnTo>
                      <a:lnTo>
                        <a:pt x="401" y="112"/>
                      </a:lnTo>
                      <a:lnTo>
                        <a:pt x="403" y="112"/>
                      </a:lnTo>
                      <a:lnTo>
                        <a:pt x="407" y="114"/>
                      </a:lnTo>
                      <a:lnTo>
                        <a:pt x="410" y="116"/>
                      </a:lnTo>
                      <a:lnTo>
                        <a:pt x="413" y="118"/>
                      </a:lnTo>
                      <a:lnTo>
                        <a:pt x="415" y="119"/>
                      </a:lnTo>
                      <a:lnTo>
                        <a:pt x="418" y="120"/>
                      </a:lnTo>
                      <a:lnTo>
                        <a:pt x="421" y="120"/>
                      </a:lnTo>
                      <a:lnTo>
                        <a:pt x="424" y="120"/>
                      </a:lnTo>
                      <a:lnTo>
                        <a:pt x="428" y="121"/>
                      </a:lnTo>
                      <a:lnTo>
                        <a:pt x="430" y="121"/>
                      </a:lnTo>
                      <a:lnTo>
                        <a:pt x="432" y="121"/>
                      </a:lnTo>
                      <a:lnTo>
                        <a:pt x="432" y="120"/>
                      </a:lnTo>
                      <a:lnTo>
                        <a:pt x="432" y="118"/>
                      </a:lnTo>
                      <a:lnTo>
                        <a:pt x="432" y="113"/>
                      </a:lnTo>
                      <a:lnTo>
                        <a:pt x="432" y="110"/>
                      </a:lnTo>
                      <a:lnTo>
                        <a:pt x="432" y="108"/>
                      </a:lnTo>
                      <a:lnTo>
                        <a:pt x="428" y="103"/>
                      </a:lnTo>
                      <a:lnTo>
                        <a:pt x="424" y="101"/>
                      </a:lnTo>
                      <a:lnTo>
                        <a:pt x="421" y="99"/>
                      </a:lnTo>
                      <a:lnTo>
                        <a:pt x="418" y="97"/>
                      </a:lnTo>
                      <a:lnTo>
                        <a:pt x="417" y="97"/>
                      </a:lnTo>
                      <a:lnTo>
                        <a:pt x="417" y="95"/>
                      </a:lnTo>
                      <a:lnTo>
                        <a:pt x="418" y="93"/>
                      </a:lnTo>
                      <a:lnTo>
                        <a:pt x="420" y="89"/>
                      </a:lnTo>
                      <a:lnTo>
                        <a:pt x="422" y="86"/>
                      </a:lnTo>
                      <a:lnTo>
                        <a:pt x="424" y="84"/>
                      </a:lnTo>
                      <a:lnTo>
                        <a:pt x="426" y="83"/>
                      </a:lnTo>
                      <a:lnTo>
                        <a:pt x="427" y="82"/>
                      </a:lnTo>
                      <a:lnTo>
                        <a:pt x="428" y="82"/>
                      </a:lnTo>
                      <a:lnTo>
                        <a:pt x="430" y="84"/>
                      </a:lnTo>
                      <a:lnTo>
                        <a:pt x="431" y="85"/>
                      </a:lnTo>
                      <a:lnTo>
                        <a:pt x="433" y="87"/>
                      </a:lnTo>
                      <a:lnTo>
                        <a:pt x="434" y="90"/>
                      </a:lnTo>
                      <a:lnTo>
                        <a:pt x="436" y="93"/>
                      </a:lnTo>
                      <a:lnTo>
                        <a:pt x="437" y="95"/>
                      </a:lnTo>
                      <a:lnTo>
                        <a:pt x="438" y="97"/>
                      </a:lnTo>
                      <a:lnTo>
                        <a:pt x="440" y="97"/>
                      </a:lnTo>
                      <a:lnTo>
                        <a:pt x="442" y="97"/>
                      </a:lnTo>
                      <a:lnTo>
                        <a:pt x="445" y="95"/>
                      </a:lnTo>
                      <a:lnTo>
                        <a:pt x="449" y="93"/>
                      </a:lnTo>
                      <a:lnTo>
                        <a:pt x="453" y="91"/>
                      </a:lnTo>
                      <a:lnTo>
                        <a:pt x="457" y="90"/>
                      </a:lnTo>
                      <a:lnTo>
                        <a:pt x="463" y="87"/>
                      </a:lnTo>
                      <a:lnTo>
                        <a:pt x="466" y="84"/>
                      </a:lnTo>
                      <a:lnTo>
                        <a:pt x="468" y="80"/>
                      </a:lnTo>
                      <a:lnTo>
                        <a:pt x="471" y="72"/>
                      </a:lnTo>
                      <a:lnTo>
                        <a:pt x="470" y="70"/>
                      </a:lnTo>
                      <a:lnTo>
                        <a:pt x="469" y="68"/>
                      </a:lnTo>
                      <a:lnTo>
                        <a:pt x="468" y="66"/>
                      </a:lnTo>
                      <a:lnTo>
                        <a:pt x="465" y="62"/>
                      </a:lnTo>
                      <a:lnTo>
                        <a:pt x="462" y="57"/>
                      </a:lnTo>
                      <a:lnTo>
                        <a:pt x="462" y="57"/>
                      </a:lnTo>
                      <a:lnTo>
                        <a:pt x="462" y="55"/>
                      </a:lnTo>
                      <a:lnTo>
                        <a:pt x="462" y="54"/>
                      </a:lnTo>
                      <a:lnTo>
                        <a:pt x="462" y="53"/>
                      </a:lnTo>
                      <a:lnTo>
                        <a:pt x="462" y="53"/>
                      </a:lnTo>
                      <a:lnTo>
                        <a:pt x="463" y="51"/>
                      </a:lnTo>
                      <a:lnTo>
                        <a:pt x="464" y="50"/>
                      </a:lnTo>
                      <a:lnTo>
                        <a:pt x="465" y="49"/>
                      </a:lnTo>
                      <a:lnTo>
                        <a:pt x="466" y="49"/>
                      </a:lnTo>
                      <a:lnTo>
                        <a:pt x="468" y="49"/>
                      </a:lnTo>
                      <a:lnTo>
                        <a:pt x="474" y="49"/>
                      </a:lnTo>
                      <a:lnTo>
                        <a:pt x="475" y="49"/>
                      </a:lnTo>
                      <a:lnTo>
                        <a:pt x="479" y="49"/>
                      </a:lnTo>
                      <a:lnTo>
                        <a:pt x="485" y="49"/>
                      </a:lnTo>
                      <a:lnTo>
                        <a:pt x="489" y="49"/>
                      </a:lnTo>
                      <a:lnTo>
                        <a:pt x="489" y="49"/>
                      </a:lnTo>
                      <a:lnTo>
                        <a:pt x="490" y="48"/>
                      </a:lnTo>
                      <a:lnTo>
                        <a:pt x="491" y="48"/>
                      </a:lnTo>
                      <a:lnTo>
                        <a:pt x="491" y="47"/>
                      </a:lnTo>
                      <a:lnTo>
                        <a:pt x="491" y="46"/>
                      </a:lnTo>
                      <a:lnTo>
                        <a:pt x="491" y="44"/>
                      </a:lnTo>
                      <a:lnTo>
                        <a:pt x="491" y="44"/>
                      </a:lnTo>
                      <a:lnTo>
                        <a:pt x="491" y="44"/>
                      </a:lnTo>
                      <a:lnTo>
                        <a:pt x="492" y="43"/>
                      </a:lnTo>
                      <a:lnTo>
                        <a:pt x="493" y="42"/>
                      </a:lnTo>
                      <a:lnTo>
                        <a:pt x="493" y="42"/>
                      </a:lnTo>
                      <a:lnTo>
                        <a:pt x="497" y="42"/>
                      </a:lnTo>
                      <a:lnTo>
                        <a:pt x="499" y="42"/>
                      </a:lnTo>
                      <a:lnTo>
                        <a:pt x="500" y="42"/>
                      </a:lnTo>
                      <a:lnTo>
                        <a:pt x="501" y="41"/>
                      </a:lnTo>
                      <a:lnTo>
                        <a:pt x="502" y="41"/>
                      </a:lnTo>
                      <a:lnTo>
                        <a:pt x="502" y="40"/>
                      </a:lnTo>
                      <a:lnTo>
                        <a:pt x="504" y="38"/>
                      </a:lnTo>
                      <a:lnTo>
                        <a:pt x="504" y="37"/>
                      </a:lnTo>
                      <a:lnTo>
                        <a:pt x="504" y="37"/>
                      </a:lnTo>
                      <a:lnTo>
                        <a:pt x="505" y="36"/>
                      </a:lnTo>
                      <a:lnTo>
                        <a:pt x="508" y="34"/>
                      </a:lnTo>
                      <a:lnTo>
                        <a:pt x="509" y="34"/>
                      </a:lnTo>
                      <a:lnTo>
                        <a:pt x="510" y="34"/>
                      </a:lnTo>
                      <a:lnTo>
                        <a:pt x="511" y="33"/>
                      </a:lnTo>
                      <a:lnTo>
                        <a:pt x="512" y="33"/>
                      </a:lnTo>
                      <a:lnTo>
                        <a:pt x="513" y="33"/>
                      </a:lnTo>
                      <a:lnTo>
                        <a:pt x="514" y="33"/>
                      </a:lnTo>
                      <a:lnTo>
                        <a:pt x="514" y="32"/>
                      </a:lnTo>
                      <a:lnTo>
                        <a:pt x="515" y="32"/>
                      </a:lnTo>
                      <a:lnTo>
                        <a:pt x="518" y="32"/>
                      </a:lnTo>
                      <a:lnTo>
                        <a:pt x="521" y="31"/>
                      </a:lnTo>
                      <a:lnTo>
                        <a:pt x="523" y="30"/>
                      </a:lnTo>
                      <a:lnTo>
                        <a:pt x="524" y="27"/>
                      </a:lnTo>
                      <a:lnTo>
                        <a:pt x="525" y="26"/>
                      </a:lnTo>
                      <a:lnTo>
                        <a:pt x="525" y="24"/>
                      </a:lnTo>
                      <a:lnTo>
                        <a:pt x="527" y="21"/>
                      </a:lnTo>
                      <a:lnTo>
                        <a:pt x="527" y="17"/>
                      </a:lnTo>
                      <a:lnTo>
                        <a:pt x="527" y="16"/>
                      </a:lnTo>
                      <a:lnTo>
                        <a:pt x="527" y="15"/>
                      </a:lnTo>
                      <a:lnTo>
                        <a:pt x="528" y="15"/>
                      </a:lnTo>
                      <a:lnTo>
                        <a:pt x="529" y="13"/>
                      </a:lnTo>
                      <a:lnTo>
                        <a:pt x="531" y="13"/>
                      </a:lnTo>
                      <a:lnTo>
                        <a:pt x="531" y="12"/>
                      </a:lnTo>
                      <a:lnTo>
                        <a:pt x="533" y="11"/>
                      </a:lnTo>
                      <a:lnTo>
                        <a:pt x="535" y="10"/>
                      </a:lnTo>
                      <a:lnTo>
                        <a:pt x="537" y="9"/>
                      </a:lnTo>
                      <a:lnTo>
                        <a:pt x="538" y="9"/>
                      </a:lnTo>
                      <a:lnTo>
                        <a:pt x="540" y="9"/>
                      </a:lnTo>
                      <a:lnTo>
                        <a:pt x="540" y="9"/>
                      </a:lnTo>
                      <a:lnTo>
                        <a:pt x="542" y="9"/>
                      </a:lnTo>
                      <a:lnTo>
                        <a:pt x="543" y="10"/>
                      </a:lnTo>
                      <a:lnTo>
                        <a:pt x="544" y="9"/>
                      </a:lnTo>
                      <a:lnTo>
                        <a:pt x="546" y="9"/>
                      </a:lnTo>
                      <a:lnTo>
                        <a:pt x="547" y="9"/>
                      </a:lnTo>
                      <a:lnTo>
                        <a:pt x="548" y="8"/>
                      </a:lnTo>
                      <a:lnTo>
                        <a:pt x="549" y="7"/>
                      </a:lnTo>
                      <a:lnTo>
                        <a:pt x="550" y="6"/>
                      </a:lnTo>
                      <a:lnTo>
                        <a:pt x="550" y="5"/>
                      </a:lnTo>
                      <a:lnTo>
                        <a:pt x="550" y="4"/>
                      </a:lnTo>
                      <a:lnTo>
                        <a:pt x="550" y="4"/>
                      </a:lnTo>
                      <a:lnTo>
                        <a:pt x="550" y="3"/>
                      </a:lnTo>
                      <a:lnTo>
                        <a:pt x="550" y="2"/>
                      </a:lnTo>
                      <a:lnTo>
                        <a:pt x="550" y="2"/>
                      </a:lnTo>
                      <a:lnTo>
                        <a:pt x="551" y="0"/>
                      </a:lnTo>
                      <a:lnTo>
                        <a:pt x="552" y="0"/>
                      </a:lnTo>
                      <a:lnTo>
                        <a:pt x="553" y="2"/>
                      </a:lnTo>
                      <a:lnTo>
                        <a:pt x="554" y="4"/>
                      </a:lnTo>
                      <a:lnTo>
                        <a:pt x="554" y="6"/>
                      </a:lnTo>
                      <a:lnTo>
                        <a:pt x="555" y="7"/>
                      </a:lnTo>
                      <a:lnTo>
                        <a:pt x="555" y="9"/>
                      </a:ln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2" name="Chuquisaca" hidden="1">
                  <a:extLst>
                    <a:ext uri="{FF2B5EF4-FFF2-40B4-BE49-F238E27FC236}">
                      <a16:creationId xmlns:a16="http://schemas.microsoft.com/office/drawing/2014/main" xmlns="" id="{E093EEE5-3CEE-D729-8DF6-92E4FE4002A8}"/>
                    </a:ext>
                  </a:extLst>
                </p:cNvPr>
                <p:cNvSpPr>
                  <a:spLocks/>
                </p:cNvSpPr>
                <p:nvPr/>
              </p:nvSpPr>
              <p:spPr bwMode="auto">
                <a:xfrm>
                  <a:off x="2984" y="3020"/>
                  <a:ext cx="887" cy="838"/>
                </a:xfrm>
                <a:custGeom>
                  <a:avLst/>
                  <a:gdLst>
                    <a:gd name="T0" fmla="*/ 65 w 887"/>
                    <a:gd name="T1" fmla="*/ 15 h 838"/>
                    <a:gd name="T2" fmla="*/ 100 w 887"/>
                    <a:gd name="T3" fmla="*/ 25 h 838"/>
                    <a:gd name="T4" fmla="*/ 118 w 887"/>
                    <a:gd name="T5" fmla="*/ 69 h 838"/>
                    <a:gd name="T6" fmla="*/ 160 w 887"/>
                    <a:gd name="T7" fmla="*/ 82 h 838"/>
                    <a:gd name="T8" fmla="*/ 179 w 887"/>
                    <a:gd name="T9" fmla="*/ 53 h 838"/>
                    <a:gd name="T10" fmla="*/ 217 w 887"/>
                    <a:gd name="T11" fmla="*/ 34 h 838"/>
                    <a:gd name="T12" fmla="*/ 259 w 887"/>
                    <a:gd name="T13" fmla="*/ 54 h 838"/>
                    <a:gd name="T14" fmla="*/ 303 w 887"/>
                    <a:gd name="T15" fmla="*/ 82 h 838"/>
                    <a:gd name="T16" fmla="*/ 351 w 887"/>
                    <a:gd name="T17" fmla="*/ 83 h 838"/>
                    <a:gd name="T18" fmla="*/ 378 w 887"/>
                    <a:gd name="T19" fmla="*/ 143 h 838"/>
                    <a:gd name="T20" fmla="*/ 413 w 887"/>
                    <a:gd name="T21" fmla="*/ 171 h 838"/>
                    <a:gd name="T22" fmla="*/ 426 w 887"/>
                    <a:gd name="T23" fmla="*/ 215 h 838"/>
                    <a:gd name="T24" fmla="*/ 453 w 887"/>
                    <a:gd name="T25" fmla="*/ 195 h 838"/>
                    <a:gd name="T26" fmla="*/ 486 w 887"/>
                    <a:gd name="T27" fmla="*/ 181 h 838"/>
                    <a:gd name="T28" fmla="*/ 500 w 887"/>
                    <a:gd name="T29" fmla="*/ 200 h 838"/>
                    <a:gd name="T30" fmla="*/ 502 w 887"/>
                    <a:gd name="T31" fmla="*/ 286 h 838"/>
                    <a:gd name="T32" fmla="*/ 506 w 887"/>
                    <a:gd name="T33" fmla="*/ 340 h 838"/>
                    <a:gd name="T34" fmla="*/ 504 w 887"/>
                    <a:gd name="T35" fmla="*/ 394 h 838"/>
                    <a:gd name="T36" fmla="*/ 500 w 887"/>
                    <a:gd name="T37" fmla="*/ 447 h 838"/>
                    <a:gd name="T38" fmla="*/ 506 w 887"/>
                    <a:gd name="T39" fmla="*/ 499 h 838"/>
                    <a:gd name="T40" fmla="*/ 520 w 887"/>
                    <a:gd name="T41" fmla="*/ 556 h 838"/>
                    <a:gd name="T42" fmla="*/ 568 w 887"/>
                    <a:gd name="T43" fmla="*/ 551 h 838"/>
                    <a:gd name="T44" fmla="*/ 677 w 887"/>
                    <a:gd name="T45" fmla="*/ 550 h 838"/>
                    <a:gd name="T46" fmla="*/ 420 w 887"/>
                    <a:gd name="T47" fmla="*/ 686 h 838"/>
                    <a:gd name="T48" fmla="*/ 388 w 887"/>
                    <a:gd name="T49" fmla="*/ 678 h 838"/>
                    <a:gd name="T50" fmla="*/ 384 w 887"/>
                    <a:gd name="T51" fmla="*/ 714 h 838"/>
                    <a:gd name="T52" fmla="*/ 355 w 887"/>
                    <a:gd name="T53" fmla="*/ 734 h 838"/>
                    <a:gd name="T54" fmla="*/ 314 w 887"/>
                    <a:gd name="T55" fmla="*/ 722 h 838"/>
                    <a:gd name="T56" fmla="*/ 280 w 887"/>
                    <a:gd name="T57" fmla="*/ 693 h 838"/>
                    <a:gd name="T58" fmla="*/ 243 w 887"/>
                    <a:gd name="T59" fmla="*/ 701 h 838"/>
                    <a:gd name="T60" fmla="*/ 220 w 887"/>
                    <a:gd name="T61" fmla="*/ 722 h 838"/>
                    <a:gd name="T62" fmla="*/ 196 w 887"/>
                    <a:gd name="T63" fmla="*/ 706 h 838"/>
                    <a:gd name="T64" fmla="*/ 175 w 887"/>
                    <a:gd name="T65" fmla="*/ 704 h 838"/>
                    <a:gd name="T66" fmla="*/ 154 w 887"/>
                    <a:gd name="T67" fmla="*/ 692 h 838"/>
                    <a:gd name="T68" fmla="*/ 137 w 887"/>
                    <a:gd name="T69" fmla="*/ 706 h 838"/>
                    <a:gd name="T70" fmla="*/ 134 w 887"/>
                    <a:gd name="T71" fmla="*/ 748 h 838"/>
                    <a:gd name="T72" fmla="*/ 132 w 887"/>
                    <a:gd name="T73" fmla="*/ 781 h 838"/>
                    <a:gd name="T74" fmla="*/ 126 w 887"/>
                    <a:gd name="T75" fmla="*/ 823 h 838"/>
                    <a:gd name="T76" fmla="*/ 77 w 887"/>
                    <a:gd name="T77" fmla="*/ 813 h 838"/>
                    <a:gd name="T78" fmla="*/ 77 w 887"/>
                    <a:gd name="T79" fmla="*/ 750 h 838"/>
                    <a:gd name="T80" fmla="*/ 97 w 887"/>
                    <a:gd name="T81" fmla="*/ 654 h 838"/>
                    <a:gd name="T82" fmla="*/ 94 w 887"/>
                    <a:gd name="T83" fmla="*/ 611 h 838"/>
                    <a:gd name="T84" fmla="*/ 120 w 887"/>
                    <a:gd name="T85" fmla="*/ 548 h 838"/>
                    <a:gd name="T86" fmla="*/ 103 w 887"/>
                    <a:gd name="T87" fmla="*/ 491 h 838"/>
                    <a:gd name="T88" fmla="*/ 119 w 887"/>
                    <a:gd name="T89" fmla="*/ 429 h 838"/>
                    <a:gd name="T90" fmla="*/ 162 w 887"/>
                    <a:gd name="T91" fmla="*/ 414 h 838"/>
                    <a:gd name="T92" fmla="*/ 183 w 887"/>
                    <a:gd name="T93" fmla="*/ 392 h 838"/>
                    <a:gd name="T94" fmla="*/ 207 w 887"/>
                    <a:gd name="T95" fmla="*/ 413 h 838"/>
                    <a:gd name="T96" fmla="*/ 228 w 887"/>
                    <a:gd name="T97" fmla="*/ 415 h 838"/>
                    <a:gd name="T98" fmla="*/ 249 w 887"/>
                    <a:gd name="T99" fmla="*/ 371 h 838"/>
                    <a:gd name="T100" fmla="*/ 219 w 887"/>
                    <a:gd name="T101" fmla="*/ 326 h 838"/>
                    <a:gd name="T102" fmla="*/ 207 w 887"/>
                    <a:gd name="T103" fmla="*/ 276 h 838"/>
                    <a:gd name="T104" fmla="*/ 164 w 887"/>
                    <a:gd name="T105" fmla="*/ 272 h 838"/>
                    <a:gd name="T106" fmla="*/ 117 w 887"/>
                    <a:gd name="T107" fmla="*/ 255 h 838"/>
                    <a:gd name="T108" fmla="*/ 81 w 887"/>
                    <a:gd name="T109" fmla="*/ 223 h 838"/>
                    <a:gd name="T110" fmla="*/ 45 w 887"/>
                    <a:gd name="T111" fmla="*/ 195 h 838"/>
                    <a:gd name="T112" fmla="*/ 48 w 887"/>
                    <a:gd name="T113" fmla="*/ 159 h 838"/>
                    <a:gd name="T114" fmla="*/ 75 w 887"/>
                    <a:gd name="T115" fmla="*/ 145 h 838"/>
                    <a:gd name="T116" fmla="*/ 75 w 887"/>
                    <a:gd name="T117" fmla="*/ 113 h 838"/>
                    <a:gd name="T118" fmla="*/ 70 w 887"/>
                    <a:gd name="T119" fmla="*/ 105 h 838"/>
                    <a:gd name="T120" fmla="*/ 79 w 887"/>
                    <a:gd name="T121" fmla="*/ 74 h 838"/>
                    <a:gd name="T122" fmla="*/ 52 w 887"/>
                    <a:gd name="T123" fmla="*/ 49 h 838"/>
                    <a:gd name="T124" fmla="*/ 7 w 887"/>
                    <a:gd name="T125" fmla="*/ 23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7" h="838">
                      <a:moveTo>
                        <a:pt x="10" y="5"/>
                      </a:moveTo>
                      <a:lnTo>
                        <a:pt x="10" y="5"/>
                      </a:lnTo>
                      <a:lnTo>
                        <a:pt x="11" y="5"/>
                      </a:lnTo>
                      <a:lnTo>
                        <a:pt x="12" y="5"/>
                      </a:lnTo>
                      <a:lnTo>
                        <a:pt x="13" y="5"/>
                      </a:lnTo>
                      <a:lnTo>
                        <a:pt x="14" y="6"/>
                      </a:lnTo>
                      <a:lnTo>
                        <a:pt x="15" y="6"/>
                      </a:lnTo>
                      <a:lnTo>
                        <a:pt x="16" y="6"/>
                      </a:lnTo>
                      <a:lnTo>
                        <a:pt x="16" y="7"/>
                      </a:lnTo>
                      <a:lnTo>
                        <a:pt x="16" y="7"/>
                      </a:lnTo>
                      <a:lnTo>
                        <a:pt x="17" y="7"/>
                      </a:lnTo>
                      <a:lnTo>
                        <a:pt x="18" y="7"/>
                      </a:lnTo>
                      <a:lnTo>
                        <a:pt x="18" y="7"/>
                      </a:lnTo>
                      <a:lnTo>
                        <a:pt x="19" y="7"/>
                      </a:lnTo>
                      <a:lnTo>
                        <a:pt x="20" y="7"/>
                      </a:lnTo>
                      <a:lnTo>
                        <a:pt x="23" y="7"/>
                      </a:lnTo>
                      <a:lnTo>
                        <a:pt x="24" y="7"/>
                      </a:lnTo>
                      <a:lnTo>
                        <a:pt x="25" y="7"/>
                      </a:lnTo>
                      <a:lnTo>
                        <a:pt x="27" y="7"/>
                      </a:lnTo>
                      <a:lnTo>
                        <a:pt x="27" y="7"/>
                      </a:lnTo>
                      <a:lnTo>
                        <a:pt x="29" y="8"/>
                      </a:lnTo>
                      <a:lnTo>
                        <a:pt x="29" y="8"/>
                      </a:lnTo>
                      <a:lnTo>
                        <a:pt x="30" y="9"/>
                      </a:lnTo>
                      <a:lnTo>
                        <a:pt x="30" y="10"/>
                      </a:lnTo>
                      <a:lnTo>
                        <a:pt x="31" y="10"/>
                      </a:lnTo>
                      <a:lnTo>
                        <a:pt x="31" y="10"/>
                      </a:lnTo>
                      <a:lnTo>
                        <a:pt x="32" y="11"/>
                      </a:lnTo>
                      <a:lnTo>
                        <a:pt x="33" y="11"/>
                      </a:lnTo>
                      <a:lnTo>
                        <a:pt x="33" y="11"/>
                      </a:lnTo>
                      <a:lnTo>
                        <a:pt x="34" y="12"/>
                      </a:lnTo>
                      <a:lnTo>
                        <a:pt x="35" y="12"/>
                      </a:lnTo>
                      <a:lnTo>
                        <a:pt x="35" y="13"/>
                      </a:lnTo>
                      <a:lnTo>
                        <a:pt x="35" y="13"/>
                      </a:lnTo>
                      <a:lnTo>
                        <a:pt x="36" y="14"/>
                      </a:lnTo>
                      <a:lnTo>
                        <a:pt x="37" y="14"/>
                      </a:lnTo>
                      <a:lnTo>
                        <a:pt x="37" y="14"/>
                      </a:lnTo>
                      <a:lnTo>
                        <a:pt x="38" y="14"/>
                      </a:lnTo>
                      <a:lnTo>
                        <a:pt x="38" y="15"/>
                      </a:lnTo>
                      <a:lnTo>
                        <a:pt x="39" y="15"/>
                      </a:lnTo>
                      <a:lnTo>
                        <a:pt x="39" y="14"/>
                      </a:lnTo>
                      <a:lnTo>
                        <a:pt x="39" y="14"/>
                      </a:lnTo>
                      <a:lnTo>
                        <a:pt x="40" y="14"/>
                      </a:lnTo>
                      <a:lnTo>
                        <a:pt x="41" y="13"/>
                      </a:lnTo>
                      <a:lnTo>
                        <a:pt x="41" y="13"/>
                      </a:lnTo>
                      <a:lnTo>
                        <a:pt x="41" y="12"/>
                      </a:lnTo>
                      <a:lnTo>
                        <a:pt x="41" y="11"/>
                      </a:lnTo>
                      <a:lnTo>
                        <a:pt x="42" y="11"/>
                      </a:lnTo>
                      <a:lnTo>
                        <a:pt x="42" y="11"/>
                      </a:lnTo>
                      <a:lnTo>
                        <a:pt x="43" y="11"/>
                      </a:lnTo>
                      <a:lnTo>
                        <a:pt x="43" y="12"/>
                      </a:lnTo>
                      <a:lnTo>
                        <a:pt x="44" y="12"/>
                      </a:lnTo>
                      <a:lnTo>
                        <a:pt x="44" y="12"/>
                      </a:lnTo>
                      <a:lnTo>
                        <a:pt x="45" y="12"/>
                      </a:lnTo>
                      <a:lnTo>
                        <a:pt x="46" y="12"/>
                      </a:lnTo>
                      <a:lnTo>
                        <a:pt x="46" y="11"/>
                      </a:lnTo>
                      <a:lnTo>
                        <a:pt x="46" y="10"/>
                      </a:lnTo>
                      <a:lnTo>
                        <a:pt x="47" y="10"/>
                      </a:lnTo>
                      <a:lnTo>
                        <a:pt x="48" y="10"/>
                      </a:lnTo>
                      <a:lnTo>
                        <a:pt x="48" y="10"/>
                      </a:lnTo>
                      <a:lnTo>
                        <a:pt x="49" y="10"/>
                      </a:lnTo>
                      <a:lnTo>
                        <a:pt x="49" y="10"/>
                      </a:lnTo>
                      <a:lnTo>
                        <a:pt x="50" y="10"/>
                      </a:lnTo>
                      <a:lnTo>
                        <a:pt x="50" y="11"/>
                      </a:lnTo>
                      <a:lnTo>
                        <a:pt x="50" y="11"/>
                      </a:lnTo>
                      <a:lnTo>
                        <a:pt x="51" y="11"/>
                      </a:lnTo>
                      <a:lnTo>
                        <a:pt x="51" y="12"/>
                      </a:lnTo>
                      <a:lnTo>
                        <a:pt x="52" y="12"/>
                      </a:lnTo>
                      <a:lnTo>
                        <a:pt x="52" y="13"/>
                      </a:lnTo>
                      <a:lnTo>
                        <a:pt x="52" y="13"/>
                      </a:lnTo>
                      <a:lnTo>
                        <a:pt x="53" y="13"/>
                      </a:lnTo>
                      <a:lnTo>
                        <a:pt x="54" y="13"/>
                      </a:lnTo>
                      <a:lnTo>
                        <a:pt x="54" y="13"/>
                      </a:lnTo>
                      <a:lnTo>
                        <a:pt x="55" y="13"/>
                      </a:lnTo>
                      <a:lnTo>
                        <a:pt x="56" y="13"/>
                      </a:lnTo>
                      <a:lnTo>
                        <a:pt x="56" y="13"/>
                      </a:lnTo>
                      <a:lnTo>
                        <a:pt x="57" y="13"/>
                      </a:lnTo>
                      <a:lnTo>
                        <a:pt x="58" y="13"/>
                      </a:lnTo>
                      <a:lnTo>
                        <a:pt x="58" y="13"/>
                      </a:lnTo>
                      <a:lnTo>
                        <a:pt x="58" y="13"/>
                      </a:lnTo>
                      <a:lnTo>
                        <a:pt x="58" y="13"/>
                      </a:lnTo>
                      <a:lnTo>
                        <a:pt x="59" y="13"/>
                      </a:lnTo>
                      <a:lnTo>
                        <a:pt x="60" y="13"/>
                      </a:lnTo>
                      <a:lnTo>
                        <a:pt x="60" y="14"/>
                      </a:lnTo>
                      <a:lnTo>
                        <a:pt x="60" y="15"/>
                      </a:lnTo>
                      <a:lnTo>
                        <a:pt x="61" y="15"/>
                      </a:lnTo>
                      <a:lnTo>
                        <a:pt x="61" y="16"/>
                      </a:lnTo>
                      <a:lnTo>
                        <a:pt x="62" y="16"/>
                      </a:lnTo>
                      <a:lnTo>
                        <a:pt x="63" y="16"/>
                      </a:lnTo>
                      <a:lnTo>
                        <a:pt x="63" y="15"/>
                      </a:lnTo>
                      <a:lnTo>
                        <a:pt x="63" y="15"/>
                      </a:lnTo>
                      <a:lnTo>
                        <a:pt x="64" y="15"/>
                      </a:lnTo>
                      <a:lnTo>
                        <a:pt x="65" y="14"/>
                      </a:lnTo>
                      <a:lnTo>
                        <a:pt x="65" y="14"/>
                      </a:lnTo>
                      <a:lnTo>
                        <a:pt x="65" y="15"/>
                      </a:lnTo>
                      <a:lnTo>
                        <a:pt x="66" y="15"/>
                      </a:lnTo>
                      <a:lnTo>
                        <a:pt x="67" y="15"/>
                      </a:lnTo>
                      <a:lnTo>
                        <a:pt x="67" y="16"/>
                      </a:lnTo>
                      <a:lnTo>
                        <a:pt x="67" y="16"/>
                      </a:lnTo>
                      <a:lnTo>
                        <a:pt x="68" y="16"/>
                      </a:lnTo>
                      <a:lnTo>
                        <a:pt x="69" y="16"/>
                      </a:lnTo>
                      <a:lnTo>
                        <a:pt x="69" y="16"/>
                      </a:lnTo>
                      <a:lnTo>
                        <a:pt x="69" y="17"/>
                      </a:lnTo>
                      <a:lnTo>
                        <a:pt x="70" y="17"/>
                      </a:lnTo>
                      <a:lnTo>
                        <a:pt x="70" y="17"/>
                      </a:lnTo>
                      <a:lnTo>
                        <a:pt x="71" y="17"/>
                      </a:lnTo>
                      <a:lnTo>
                        <a:pt x="71" y="17"/>
                      </a:lnTo>
                      <a:lnTo>
                        <a:pt x="72" y="18"/>
                      </a:lnTo>
                      <a:lnTo>
                        <a:pt x="73" y="18"/>
                      </a:lnTo>
                      <a:lnTo>
                        <a:pt x="73" y="19"/>
                      </a:lnTo>
                      <a:lnTo>
                        <a:pt x="73" y="19"/>
                      </a:lnTo>
                      <a:lnTo>
                        <a:pt x="73" y="18"/>
                      </a:lnTo>
                      <a:lnTo>
                        <a:pt x="74" y="18"/>
                      </a:lnTo>
                      <a:lnTo>
                        <a:pt x="74" y="19"/>
                      </a:lnTo>
                      <a:lnTo>
                        <a:pt x="75" y="19"/>
                      </a:lnTo>
                      <a:lnTo>
                        <a:pt x="75" y="19"/>
                      </a:lnTo>
                      <a:lnTo>
                        <a:pt x="75" y="20"/>
                      </a:lnTo>
                      <a:lnTo>
                        <a:pt x="76" y="20"/>
                      </a:lnTo>
                      <a:lnTo>
                        <a:pt x="77" y="19"/>
                      </a:lnTo>
                      <a:lnTo>
                        <a:pt x="77" y="19"/>
                      </a:lnTo>
                      <a:lnTo>
                        <a:pt x="78" y="19"/>
                      </a:lnTo>
                      <a:lnTo>
                        <a:pt x="79" y="19"/>
                      </a:lnTo>
                      <a:lnTo>
                        <a:pt x="79" y="19"/>
                      </a:lnTo>
                      <a:lnTo>
                        <a:pt x="80" y="19"/>
                      </a:lnTo>
                      <a:lnTo>
                        <a:pt x="80" y="20"/>
                      </a:lnTo>
                      <a:lnTo>
                        <a:pt x="80" y="20"/>
                      </a:lnTo>
                      <a:lnTo>
                        <a:pt x="80" y="21"/>
                      </a:lnTo>
                      <a:lnTo>
                        <a:pt x="81" y="21"/>
                      </a:lnTo>
                      <a:lnTo>
                        <a:pt x="82" y="21"/>
                      </a:lnTo>
                      <a:lnTo>
                        <a:pt x="82" y="21"/>
                      </a:lnTo>
                      <a:lnTo>
                        <a:pt x="83" y="21"/>
                      </a:lnTo>
                      <a:lnTo>
                        <a:pt x="84" y="21"/>
                      </a:lnTo>
                      <a:lnTo>
                        <a:pt x="84" y="22"/>
                      </a:lnTo>
                      <a:lnTo>
                        <a:pt x="84" y="23"/>
                      </a:lnTo>
                      <a:lnTo>
                        <a:pt x="85" y="22"/>
                      </a:lnTo>
                      <a:lnTo>
                        <a:pt x="85" y="23"/>
                      </a:lnTo>
                      <a:lnTo>
                        <a:pt x="86" y="23"/>
                      </a:lnTo>
                      <a:lnTo>
                        <a:pt x="86" y="23"/>
                      </a:lnTo>
                      <a:lnTo>
                        <a:pt x="87" y="22"/>
                      </a:lnTo>
                      <a:lnTo>
                        <a:pt x="88" y="22"/>
                      </a:lnTo>
                      <a:lnTo>
                        <a:pt x="88" y="21"/>
                      </a:lnTo>
                      <a:lnTo>
                        <a:pt x="88" y="21"/>
                      </a:lnTo>
                      <a:lnTo>
                        <a:pt x="88" y="20"/>
                      </a:lnTo>
                      <a:lnTo>
                        <a:pt x="88" y="19"/>
                      </a:lnTo>
                      <a:lnTo>
                        <a:pt x="88" y="19"/>
                      </a:lnTo>
                      <a:lnTo>
                        <a:pt x="88" y="18"/>
                      </a:lnTo>
                      <a:lnTo>
                        <a:pt x="89" y="18"/>
                      </a:lnTo>
                      <a:lnTo>
                        <a:pt x="89" y="17"/>
                      </a:lnTo>
                      <a:lnTo>
                        <a:pt x="90" y="18"/>
                      </a:lnTo>
                      <a:lnTo>
                        <a:pt x="90" y="19"/>
                      </a:lnTo>
                      <a:lnTo>
                        <a:pt x="92" y="19"/>
                      </a:lnTo>
                      <a:lnTo>
                        <a:pt x="92" y="19"/>
                      </a:lnTo>
                      <a:lnTo>
                        <a:pt x="92" y="19"/>
                      </a:lnTo>
                      <a:lnTo>
                        <a:pt x="93" y="19"/>
                      </a:lnTo>
                      <a:lnTo>
                        <a:pt x="93" y="20"/>
                      </a:lnTo>
                      <a:lnTo>
                        <a:pt x="92" y="21"/>
                      </a:lnTo>
                      <a:lnTo>
                        <a:pt x="92" y="21"/>
                      </a:lnTo>
                      <a:lnTo>
                        <a:pt x="92" y="22"/>
                      </a:lnTo>
                      <a:lnTo>
                        <a:pt x="92" y="22"/>
                      </a:lnTo>
                      <a:lnTo>
                        <a:pt x="92" y="22"/>
                      </a:lnTo>
                      <a:lnTo>
                        <a:pt x="92" y="23"/>
                      </a:lnTo>
                      <a:lnTo>
                        <a:pt x="92" y="23"/>
                      </a:lnTo>
                      <a:lnTo>
                        <a:pt x="92" y="24"/>
                      </a:lnTo>
                      <a:lnTo>
                        <a:pt x="92" y="25"/>
                      </a:lnTo>
                      <a:lnTo>
                        <a:pt x="92" y="25"/>
                      </a:lnTo>
                      <a:lnTo>
                        <a:pt x="92" y="25"/>
                      </a:lnTo>
                      <a:lnTo>
                        <a:pt x="92" y="26"/>
                      </a:lnTo>
                      <a:lnTo>
                        <a:pt x="92" y="27"/>
                      </a:lnTo>
                      <a:lnTo>
                        <a:pt x="92" y="27"/>
                      </a:lnTo>
                      <a:lnTo>
                        <a:pt x="92" y="27"/>
                      </a:lnTo>
                      <a:lnTo>
                        <a:pt x="92" y="28"/>
                      </a:lnTo>
                      <a:lnTo>
                        <a:pt x="93" y="28"/>
                      </a:lnTo>
                      <a:lnTo>
                        <a:pt x="94" y="28"/>
                      </a:lnTo>
                      <a:lnTo>
                        <a:pt x="94" y="29"/>
                      </a:lnTo>
                      <a:lnTo>
                        <a:pt x="94" y="28"/>
                      </a:lnTo>
                      <a:lnTo>
                        <a:pt x="94" y="27"/>
                      </a:lnTo>
                      <a:lnTo>
                        <a:pt x="95" y="27"/>
                      </a:lnTo>
                      <a:lnTo>
                        <a:pt x="96" y="27"/>
                      </a:lnTo>
                      <a:lnTo>
                        <a:pt x="96" y="26"/>
                      </a:lnTo>
                      <a:lnTo>
                        <a:pt x="96" y="25"/>
                      </a:lnTo>
                      <a:lnTo>
                        <a:pt x="96" y="25"/>
                      </a:lnTo>
                      <a:lnTo>
                        <a:pt x="96" y="25"/>
                      </a:lnTo>
                      <a:lnTo>
                        <a:pt x="97" y="24"/>
                      </a:lnTo>
                      <a:lnTo>
                        <a:pt x="98" y="24"/>
                      </a:lnTo>
                      <a:lnTo>
                        <a:pt x="99" y="24"/>
                      </a:lnTo>
                      <a:lnTo>
                        <a:pt x="99" y="25"/>
                      </a:lnTo>
                      <a:lnTo>
                        <a:pt x="99" y="25"/>
                      </a:lnTo>
                      <a:lnTo>
                        <a:pt x="99" y="25"/>
                      </a:lnTo>
                      <a:lnTo>
                        <a:pt x="100" y="25"/>
                      </a:lnTo>
                      <a:lnTo>
                        <a:pt x="100" y="26"/>
                      </a:lnTo>
                      <a:lnTo>
                        <a:pt x="101" y="26"/>
                      </a:lnTo>
                      <a:lnTo>
                        <a:pt x="101" y="27"/>
                      </a:lnTo>
                      <a:lnTo>
                        <a:pt x="101" y="27"/>
                      </a:lnTo>
                      <a:lnTo>
                        <a:pt x="102" y="27"/>
                      </a:lnTo>
                      <a:lnTo>
                        <a:pt x="102" y="28"/>
                      </a:lnTo>
                      <a:lnTo>
                        <a:pt x="102" y="29"/>
                      </a:lnTo>
                      <a:lnTo>
                        <a:pt x="103" y="29"/>
                      </a:lnTo>
                      <a:lnTo>
                        <a:pt x="103" y="30"/>
                      </a:lnTo>
                      <a:lnTo>
                        <a:pt x="103" y="31"/>
                      </a:lnTo>
                      <a:lnTo>
                        <a:pt x="103" y="31"/>
                      </a:lnTo>
                      <a:lnTo>
                        <a:pt x="103" y="32"/>
                      </a:lnTo>
                      <a:lnTo>
                        <a:pt x="103" y="33"/>
                      </a:lnTo>
                      <a:lnTo>
                        <a:pt x="103" y="34"/>
                      </a:lnTo>
                      <a:lnTo>
                        <a:pt x="103" y="34"/>
                      </a:lnTo>
                      <a:lnTo>
                        <a:pt x="103" y="35"/>
                      </a:lnTo>
                      <a:lnTo>
                        <a:pt x="103" y="36"/>
                      </a:lnTo>
                      <a:lnTo>
                        <a:pt x="103" y="36"/>
                      </a:lnTo>
                      <a:lnTo>
                        <a:pt x="103" y="36"/>
                      </a:lnTo>
                      <a:lnTo>
                        <a:pt x="103" y="37"/>
                      </a:lnTo>
                      <a:lnTo>
                        <a:pt x="103" y="37"/>
                      </a:lnTo>
                      <a:lnTo>
                        <a:pt x="103" y="38"/>
                      </a:lnTo>
                      <a:lnTo>
                        <a:pt x="104" y="38"/>
                      </a:lnTo>
                      <a:lnTo>
                        <a:pt x="104" y="38"/>
                      </a:lnTo>
                      <a:lnTo>
                        <a:pt x="104" y="39"/>
                      </a:lnTo>
                      <a:lnTo>
                        <a:pt x="104" y="40"/>
                      </a:lnTo>
                      <a:lnTo>
                        <a:pt x="105" y="40"/>
                      </a:lnTo>
                      <a:lnTo>
                        <a:pt x="105" y="40"/>
                      </a:lnTo>
                      <a:lnTo>
                        <a:pt x="105" y="40"/>
                      </a:lnTo>
                      <a:lnTo>
                        <a:pt x="105" y="41"/>
                      </a:lnTo>
                      <a:lnTo>
                        <a:pt x="106" y="41"/>
                      </a:lnTo>
                      <a:lnTo>
                        <a:pt x="106" y="42"/>
                      </a:lnTo>
                      <a:lnTo>
                        <a:pt x="107" y="42"/>
                      </a:lnTo>
                      <a:lnTo>
                        <a:pt x="107" y="42"/>
                      </a:lnTo>
                      <a:lnTo>
                        <a:pt x="108" y="42"/>
                      </a:lnTo>
                      <a:lnTo>
                        <a:pt x="109" y="41"/>
                      </a:lnTo>
                      <a:lnTo>
                        <a:pt x="109" y="41"/>
                      </a:lnTo>
                      <a:lnTo>
                        <a:pt x="110" y="41"/>
                      </a:lnTo>
                      <a:lnTo>
                        <a:pt x="111" y="41"/>
                      </a:lnTo>
                      <a:lnTo>
                        <a:pt x="111" y="40"/>
                      </a:lnTo>
                      <a:lnTo>
                        <a:pt x="112" y="40"/>
                      </a:lnTo>
                      <a:lnTo>
                        <a:pt x="113" y="40"/>
                      </a:lnTo>
                      <a:lnTo>
                        <a:pt x="113" y="40"/>
                      </a:lnTo>
                      <a:lnTo>
                        <a:pt x="114" y="40"/>
                      </a:lnTo>
                      <a:lnTo>
                        <a:pt x="115" y="40"/>
                      </a:lnTo>
                      <a:lnTo>
                        <a:pt x="115" y="41"/>
                      </a:lnTo>
                      <a:lnTo>
                        <a:pt x="115" y="42"/>
                      </a:lnTo>
                      <a:lnTo>
                        <a:pt x="115" y="42"/>
                      </a:lnTo>
                      <a:lnTo>
                        <a:pt x="115" y="43"/>
                      </a:lnTo>
                      <a:lnTo>
                        <a:pt x="115" y="44"/>
                      </a:lnTo>
                      <a:lnTo>
                        <a:pt x="115" y="44"/>
                      </a:lnTo>
                      <a:lnTo>
                        <a:pt x="115" y="45"/>
                      </a:lnTo>
                      <a:lnTo>
                        <a:pt x="115" y="46"/>
                      </a:lnTo>
                      <a:lnTo>
                        <a:pt x="115" y="46"/>
                      </a:lnTo>
                      <a:lnTo>
                        <a:pt x="115" y="47"/>
                      </a:lnTo>
                      <a:lnTo>
                        <a:pt x="115" y="48"/>
                      </a:lnTo>
                      <a:lnTo>
                        <a:pt x="115" y="48"/>
                      </a:lnTo>
                      <a:lnTo>
                        <a:pt x="115" y="48"/>
                      </a:lnTo>
                      <a:lnTo>
                        <a:pt x="115" y="49"/>
                      </a:lnTo>
                      <a:lnTo>
                        <a:pt x="116" y="50"/>
                      </a:lnTo>
                      <a:lnTo>
                        <a:pt x="116" y="50"/>
                      </a:lnTo>
                      <a:lnTo>
                        <a:pt x="116" y="51"/>
                      </a:lnTo>
                      <a:lnTo>
                        <a:pt x="117" y="52"/>
                      </a:lnTo>
                      <a:lnTo>
                        <a:pt x="117" y="53"/>
                      </a:lnTo>
                      <a:lnTo>
                        <a:pt x="117" y="53"/>
                      </a:lnTo>
                      <a:lnTo>
                        <a:pt x="117" y="54"/>
                      </a:lnTo>
                      <a:lnTo>
                        <a:pt x="117" y="55"/>
                      </a:lnTo>
                      <a:lnTo>
                        <a:pt x="117" y="55"/>
                      </a:lnTo>
                      <a:lnTo>
                        <a:pt x="117" y="56"/>
                      </a:lnTo>
                      <a:lnTo>
                        <a:pt x="116" y="57"/>
                      </a:lnTo>
                      <a:lnTo>
                        <a:pt x="116" y="57"/>
                      </a:lnTo>
                      <a:lnTo>
                        <a:pt x="115" y="57"/>
                      </a:lnTo>
                      <a:lnTo>
                        <a:pt x="115" y="58"/>
                      </a:lnTo>
                      <a:lnTo>
                        <a:pt x="115" y="59"/>
                      </a:lnTo>
                      <a:lnTo>
                        <a:pt x="115" y="60"/>
                      </a:lnTo>
                      <a:lnTo>
                        <a:pt x="115" y="60"/>
                      </a:lnTo>
                      <a:lnTo>
                        <a:pt x="115" y="61"/>
                      </a:lnTo>
                      <a:lnTo>
                        <a:pt x="115" y="61"/>
                      </a:lnTo>
                      <a:lnTo>
                        <a:pt x="115" y="62"/>
                      </a:lnTo>
                      <a:lnTo>
                        <a:pt x="115" y="63"/>
                      </a:lnTo>
                      <a:lnTo>
                        <a:pt x="115" y="63"/>
                      </a:lnTo>
                      <a:lnTo>
                        <a:pt x="115" y="64"/>
                      </a:lnTo>
                      <a:lnTo>
                        <a:pt x="115" y="64"/>
                      </a:lnTo>
                      <a:lnTo>
                        <a:pt x="115" y="65"/>
                      </a:lnTo>
                      <a:lnTo>
                        <a:pt x="115" y="65"/>
                      </a:lnTo>
                      <a:lnTo>
                        <a:pt x="115" y="65"/>
                      </a:lnTo>
                      <a:lnTo>
                        <a:pt x="114" y="66"/>
                      </a:lnTo>
                      <a:lnTo>
                        <a:pt x="115" y="66"/>
                      </a:lnTo>
                      <a:lnTo>
                        <a:pt x="115" y="67"/>
                      </a:lnTo>
                      <a:lnTo>
                        <a:pt x="115" y="67"/>
                      </a:lnTo>
                      <a:lnTo>
                        <a:pt x="115" y="68"/>
                      </a:lnTo>
                      <a:lnTo>
                        <a:pt x="116" y="69"/>
                      </a:lnTo>
                      <a:lnTo>
                        <a:pt x="117" y="69"/>
                      </a:lnTo>
                      <a:lnTo>
                        <a:pt x="118" y="69"/>
                      </a:lnTo>
                      <a:lnTo>
                        <a:pt x="118" y="69"/>
                      </a:lnTo>
                      <a:lnTo>
                        <a:pt x="119" y="69"/>
                      </a:lnTo>
                      <a:lnTo>
                        <a:pt x="120" y="69"/>
                      </a:lnTo>
                      <a:lnTo>
                        <a:pt x="120" y="69"/>
                      </a:lnTo>
                      <a:lnTo>
                        <a:pt x="121" y="69"/>
                      </a:lnTo>
                      <a:lnTo>
                        <a:pt x="122" y="69"/>
                      </a:lnTo>
                      <a:lnTo>
                        <a:pt x="122" y="68"/>
                      </a:lnTo>
                      <a:lnTo>
                        <a:pt x="123" y="68"/>
                      </a:lnTo>
                      <a:lnTo>
                        <a:pt x="123" y="69"/>
                      </a:lnTo>
                      <a:lnTo>
                        <a:pt x="124" y="69"/>
                      </a:lnTo>
                      <a:lnTo>
                        <a:pt x="124" y="69"/>
                      </a:lnTo>
                      <a:lnTo>
                        <a:pt x="125" y="70"/>
                      </a:lnTo>
                      <a:lnTo>
                        <a:pt x="125" y="71"/>
                      </a:lnTo>
                      <a:lnTo>
                        <a:pt x="125" y="72"/>
                      </a:lnTo>
                      <a:lnTo>
                        <a:pt x="126" y="72"/>
                      </a:lnTo>
                      <a:lnTo>
                        <a:pt x="126" y="72"/>
                      </a:lnTo>
                      <a:lnTo>
                        <a:pt x="127" y="72"/>
                      </a:lnTo>
                      <a:lnTo>
                        <a:pt x="128" y="72"/>
                      </a:lnTo>
                      <a:lnTo>
                        <a:pt x="128" y="71"/>
                      </a:lnTo>
                      <a:lnTo>
                        <a:pt x="128" y="71"/>
                      </a:lnTo>
                      <a:lnTo>
                        <a:pt x="129" y="71"/>
                      </a:lnTo>
                      <a:lnTo>
                        <a:pt x="130" y="70"/>
                      </a:lnTo>
                      <a:lnTo>
                        <a:pt x="130" y="70"/>
                      </a:lnTo>
                      <a:lnTo>
                        <a:pt x="131" y="70"/>
                      </a:lnTo>
                      <a:lnTo>
                        <a:pt x="132" y="70"/>
                      </a:lnTo>
                      <a:lnTo>
                        <a:pt x="132" y="70"/>
                      </a:lnTo>
                      <a:lnTo>
                        <a:pt x="133" y="70"/>
                      </a:lnTo>
                      <a:lnTo>
                        <a:pt x="133" y="69"/>
                      </a:lnTo>
                      <a:lnTo>
                        <a:pt x="134" y="69"/>
                      </a:lnTo>
                      <a:lnTo>
                        <a:pt x="134" y="69"/>
                      </a:lnTo>
                      <a:lnTo>
                        <a:pt x="134" y="69"/>
                      </a:lnTo>
                      <a:lnTo>
                        <a:pt x="134" y="68"/>
                      </a:lnTo>
                      <a:lnTo>
                        <a:pt x="135" y="68"/>
                      </a:lnTo>
                      <a:lnTo>
                        <a:pt x="136" y="68"/>
                      </a:lnTo>
                      <a:lnTo>
                        <a:pt x="137" y="68"/>
                      </a:lnTo>
                      <a:lnTo>
                        <a:pt x="137" y="68"/>
                      </a:lnTo>
                      <a:lnTo>
                        <a:pt x="137" y="69"/>
                      </a:lnTo>
                      <a:lnTo>
                        <a:pt x="138" y="69"/>
                      </a:lnTo>
                      <a:lnTo>
                        <a:pt x="139" y="69"/>
                      </a:lnTo>
                      <a:lnTo>
                        <a:pt x="139" y="68"/>
                      </a:lnTo>
                      <a:lnTo>
                        <a:pt x="139" y="68"/>
                      </a:lnTo>
                      <a:lnTo>
                        <a:pt x="139" y="67"/>
                      </a:lnTo>
                      <a:lnTo>
                        <a:pt x="140" y="67"/>
                      </a:lnTo>
                      <a:lnTo>
                        <a:pt x="140" y="67"/>
                      </a:lnTo>
                      <a:lnTo>
                        <a:pt x="141" y="67"/>
                      </a:lnTo>
                      <a:lnTo>
                        <a:pt x="140" y="67"/>
                      </a:lnTo>
                      <a:lnTo>
                        <a:pt x="140" y="68"/>
                      </a:lnTo>
                      <a:lnTo>
                        <a:pt x="140" y="69"/>
                      </a:lnTo>
                      <a:lnTo>
                        <a:pt x="140" y="69"/>
                      </a:lnTo>
                      <a:lnTo>
                        <a:pt x="141" y="69"/>
                      </a:lnTo>
                      <a:lnTo>
                        <a:pt x="141" y="70"/>
                      </a:lnTo>
                      <a:lnTo>
                        <a:pt x="142" y="70"/>
                      </a:lnTo>
                      <a:lnTo>
                        <a:pt x="142" y="71"/>
                      </a:lnTo>
                      <a:lnTo>
                        <a:pt x="143" y="71"/>
                      </a:lnTo>
                      <a:lnTo>
                        <a:pt x="143" y="72"/>
                      </a:lnTo>
                      <a:lnTo>
                        <a:pt x="144" y="72"/>
                      </a:lnTo>
                      <a:lnTo>
                        <a:pt x="145" y="72"/>
                      </a:lnTo>
                      <a:lnTo>
                        <a:pt x="145" y="72"/>
                      </a:lnTo>
                      <a:lnTo>
                        <a:pt x="145" y="73"/>
                      </a:lnTo>
                      <a:lnTo>
                        <a:pt x="146" y="73"/>
                      </a:lnTo>
                      <a:lnTo>
                        <a:pt x="146" y="74"/>
                      </a:lnTo>
                      <a:lnTo>
                        <a:pt x="146" y="74"/>
                      </a:lnTo>
                      <a:lnTo>
                        <a:pt x="147" y="74"/>
                      </a:lnTo>
                      <a:lnTo>
                        <a:pt x="147" y="74"/>
                      </a:lnTo>
                      <a:lnTo>
                        <a:pt x="147" y="74"/>
                      </a:lnTo>
                      <a:lnTo>
                        <a:pt x="148" y="74"/>
                      </a:lnTo>
                      <a:lnTo>
                        <a:pt x="149" y="74"/>
                      </a:lnTo>
                      <a:lnTo>
                        <a:pt x="149" y="75"/>
                      </a:lnTo>
                      <a:lnTo>
                        <a:pt x="150" y="75"/>
                      </a:lnTo>
                      <a:lnTo>
                        <a:pt x="151" y="75"/>
                      </a:lnTo>
                      <a:lnTo>
                        <a:pt x="151" y="76"/>
                      </a:lnTo>
                      <a:lnTo>
                        <a:pt x="151" y="76"/>
                      </a:lnTo>
                      <a:lnTo>
                        <a:pt x="151" y="76"/>
                      </a:lnTo>
                      <a:lnTo>
                        <a:pt x="152" y="76"/>
                      </a:lnTo>
                      <a:lnTo>
                        <a:pt x="152" y="77"/>
                      </a:lnTo>
                      <a:lnTo>
                        <a:pt x="151" y="78"/>
                      </a:lnTo>
                      <a:lnTo>
                        <a:pt x="152" y="78"/>
                      </a:lnTo>
                      <a:lnTo>
                        <a:pt x="152" y="78"/>
                      </a:lnTo>
                      <a:lnTo>
                        <a:pt x="152" y="79"/>
                      </a:lnTo>
                      <a:lnTo>
                        <a:pt x="153" y="79"/>
                      </a:lnTo>
                      <a:lnTo>
                        <a:pt x="153" y="80"/>
                      </a:lnTo>
                      <a:lnTo>
                        <a:pt x="153" y="80"/>
                      </a:lnTo>
                      <a:lnTo>
                        <a:pt x="153" y="80"/>
                      </a:lnTo>
                      <a:lnTo>
                        <a:pt x="154" y="80"/>
                      </a:lnTo>
                      <a:lnTo>
                        <a:pt x="155" y="80"/>
                      </a:lnTo>
                      <a:lnTo>
                        <a:pt x="155" y="81"/>
                      </a:lnTo>
                      <a:lnTo>
                        <a:pt x="156" y="81"/>
                      </a:lnTo>
                      <a:lnTo>
                        <a:pt x="156" y="81"/>
                      </a:lnTo>
                      <a:lnTo>
                        <a:pt x="157" y="81"/>
                      </a:lnTo>
                      <a:lnTo>
                        <a:pt x="158" y="80"/>
                      </a:lnTo>
                      <a:lnTo>
                        <a:pt x="158" y="81"/>
                      </a:lnTo>
                      <a:lnTo>
                        <a:pt x="159" y="81"/>
                      </a:lnTo>
                      <a:lnTo>
                        <a:pt x="159" y="82"/>
                      </a:lnTo>
                      <a:lnTo>
                        <a:pt x="160" y="82"/>
                      </a:lnTo>
                      <a:lnTo>
                        <a:pt x="160" y="82"/>
                      </a:lnTo>
                      <a:lnTo>
                        <a:pt x="160" y="82"/>
                      </a:lnTo>
                      <a:lnTo>
                        <a:pt x="161" y="83"/>
                      </a:lnTo>
                      <a:lnTo>
                        <a:pt x="161" y="84"/>
                      </a:lnTo>
                      <a:lnTo>
                        <a:pt x="162" y="84"/>
                      </a:lnTo>
                      <a:lnTo>
                        <a:pt x="162" y="84"/>
                      </a:lnTo>
                      <a:lnTo>
                        <a:pt x="162" y="84"/>
                      </a:lnTo>
                      <a:lnTo>
                        <a:pt x="162" y="85"/>
                      </a:lnTo>
                      <a:lnTo>
                        <a:pt x="163" y="85"/>
                      </a:lnTo>
                      <a:lnTo>
                        <a:pt x="164" y="85"/>
                      </a:lnTo>
                      <a:lnTo>
                        <a:pt x="164" y="84"/>
                      </a:lnTo>
                      <a:lnTo>
                        <a:pt x="165" y="84"/>
                      </a:lnTo>
                      <a:lnTo>
                        <a:pt x="165" y="85"/>
                      </a:lnTo>
                      <a:lnTo>
                        <a:pt x="165" y="86"/>
                      </a:lnTo>
                      <a:lnTo>
                        <a:pt x="166" y="86"/>
                      </a:lnTo>
                      <a:lnTo>
                        <a:pt x="166" y="86"/>
                      </a:lnTo>
                      <a:lnTo>
                        <a:pt x="166" y="86"/>
                      </a:lnTo>
                      <a:lnTo>
                        <a:pt x="167" y="86"/>
                      </a:lnTo>
                      <a:lnTo>
                        <a:pt x="167" y="86"/>
                      </a:lnTo>
                      <a:lnTo>
                        <a:pt x="168" y="86"/>
                      </a:lnTo>
                      <a:lnTo>
                        <a:pt x="168" y="85"/>
                      </a:lnTo>
                      <a:lnTo>
                        <a:pt x="168" y="84"/>
                      </a:lnTo>
                      <a:lnTo>
                        <a:pt x="169" y="84"/>
                      </a:lnTo>
                      <a:lnTo>
                        <a:pt x="169" y="83"/>
                      </a:lnTo>
                      <a:lnTo>
                        <a:pt x="169" y="82"/>
                      </a:lnTo>
                      <a:lnTo>
                        <a:pt x="168" y="82"/>
                      </a:lnTo>
                      <a:lnTo>
                        <a:pt x="168" y="81"/>
                      </a:lnTo>
                      <a:lnTo>
                        <a:pt x="168" y="80"/>
                      </a:lnTo>
                      <a:lnTo>
                        <a:pt x="168" y="80"/>
                      </a:lnTo>
                      <a:lnTo>
                        <a:pt x="168" y="79"/>
                      </a:lnTo>
                      <a:lnTo>
                        <a:pt x="168" y="78"/>
                      </a:lnTo>
                      <a:lnTo>
                        <a:pt x="167" y="78"/>
                      </a:lnTo>
                      <a:lnTo>
                        <a:pt x="167" y="78"/>
                      </a:lnTo>
                      <a:lnTo>
                        <a:pt x="166" y="78"/>
                      </a:lnTo>
                      <a:lnTo>
                        <a:pt x="166" y="78"/>
                      </a:lnTo>
                      <a:lnTo>
                        <a:pt x="166" y="78"/>
                      </a:lnTo>
                      <a:lnTo>
                        <a:pt x="165" y="78"/>
                      </a:lnTo>
                      <a:lnTo>
                        <a:pt x="165" y="77"/>
                      </a:lnTo>
                      <a:lnTo>
                        <a:pt x="165" y="76"/>
                      </a:lnTo>
                      <a:lnTo>
                        <a:pt x="165" y="76"/>
                      </a:lnTo>
                      <a:lnTo>
                        <a:pt x="165" y="75"/>
                      </a:lnTo>
                      <a:lnTo>
                        <a:pt x="165" y="74"/>
                      </a:lnTo>
                      <a:lnTo>
                        <a:pt x="165" y="74"/>
                      </a:lnTo>
                      <a:lnTo>
                        <a:pt x="164" y="74"/>
                      </a:lnTo>
                      <a:lnTo>
                        <a:pt x="164" y="73"/>
                      </a:lnTo>
                      <a:lnTo>
                        <a:pt x="164" y="72"/>
                      </a:lnTo>
                      <a:lnTo>
                        <a:pt x="165" y="72"/>
                      </a:lnTo>
                      <a:lnTo>
                        <a:pt x="166" y="72"/>
                      </a:lnTo>
                      <a:lnTo>
                        <a:pt x="166" y="71"/>
                      </a:lnTo>
                      <a:lnTo>
                        <a:pt x="166" y="70"/>
                      </a:lnTo>
                      <a:lnTo>
                        <a:pt x="165" y="69"/>
                      </a:lnTo>
                      <a:lnTo>
                        <a:pt x="165" y="69"/>
                      </a:lnTo>
                      <a:lnTo>
                        <a:pt x="165" y="68"/>
                      </a:lnTo>
                      <a:lnTo>
                        <a:pt x="166" y="68"/>
                      </a:lnTo>
                      <a:lnTo>
                        <a:pt x="166" y="68"/>
                      </a:lnTo>
                      <a:lnTo>
                        <a:pt x="167" y="67"/>
                      </a:lnTo>
                      <a:lnTo>
                        <a:pt x="167" y="67"/>
                      </a:lnTo>
                      <a:lnTo>
                        <a:pt x="168" y="67"/>
                      </a:lnTo>
                      <a:lnTo>
                        <a:pt x="168" y="66"/>
                      </a:lnTo>
                      <a:lnTo>
                        <a:pt x="168" y="65"/>
                      </a:lnTo>
                      <a:lnTo>
                        <a:pt x="168" y="65"/>
                      </a:lnTo>
                      <a:lnTo>
                        <a:pt x="168" y="65"/>
                      </a:lnTo>
                      <a:lnTo>
                        <a:pt x="168" y="64"/>
                      </a:lnTo>
                      <a:lnTo>
                        <a:pt x="169" y="64"/>
                      </a:lnTo>
                      <a:lnTo>
                        <a:pt x="170" y="64"/>
                      </a:lnTo>
                      <a:lnTo>
                        <a:pt x="170" y="65"/>
                      </a:lnTo>
                      <a:lnTo>
                        <a:pt x="171" y="65"/>
                      </a:lnTo>
                      <a:lnTo>
                        <a:pt x="172" y="65"/>
                      </a:lnTo>
                      <a:lnTo>
                        <a:pt x="172" y="64"/>
                      </a:lnTo>
                      <a:lnTo>
                        <a:pt x="172" y="63"/>
                      </a:lnTo>
                      <a:lnTo>
                        <a:pt x="171" y="63"/>
                      </a:lnTo>
                      <a:lnTo>
                        <a:pt x="172" y="63"/>
                      </a:lnTo>
                      <a:lnTo>
                        <a:pt x="172" y="62"/>
                      </a:lnTo>
                      <a:lnTo>
                        <a:pt x="172" y="61"/>
                      </a:lnTo>
                      <a:lnTo>
                        <a:pt x="172" y="61"/>
                      </a:lnTo>
                      <a:lnTo>
                        <a:pt x="172" y="60"/>
                      </a:lnTo>
                      <a:lnTo>
                        <a:pt x="173" y="60"/>
                      </a:lnTo>
                      <a:lnTo>
                        <a:pt x="173" y="60"/>
                      </a:lnTo>
                      <a:lnTo>
                        <a:pt x="173" y="59"/>
                      </a:lnTo>
                      <a:lnTo>
                        <a:pt x="173" y="59"/>
                      </a:lnTo>
                      <a:lnTo>
                        <a:pt x="174" y="59"/>
                      </a:lnTo>
                      <a:lnTo>
                        <a:pt x="175" y="58"/>
                      </a:lnTo>
                      <a:lnTo>
                        <a:pt x="175" y="58"/>
                      </a:lnTo>
                      <a:lnTo>
                        <a:pt x="176" y="57"/>
                      </a:lnTo>
                      <a:lnTo>
                        <a:pt x="176" y="57"/>
                      </a:lnTo>
                      <a:lnTo>
                        <a:pt x="177" y="57"/>
                      </a:lnTo>
                      <a:lnTo>
                        <a:pt x="177" y="56"/>
                      </a:lnTo>
                      <a:lnTo>
                        <a:pt x="177" y="55"/>
                      </a:lnTo>
                      <a:lnTo>
                        <a:pt x="177" y="55"/>
                      </a:lnTo>
                      <a:lnTo>
                        <a:pt x="177" y="54"/>
                      </a:lnTo>
                      <a:lnTo>
                        <a:pt x="177" y="54"/>
                      </a:lnTo>
                      <a:lnTo>
                        <a:pt x="178" y="54"/>
                      </a:lnTo>
                      <a:lnTo>
                        <a:pt x="178" y="53"/>
                      </a:lnTo>
                      <a:lnTo>
                        <a:pt x="179" y="53"/>
                      </a:lnTo>
                      <a:lnTo>
                        <a:pt x="179" y="54"/>
                      </a:lnTo>
                      <a:lnTo>
                        <a:pt x="179" y="54"/>
                      </a:lnTo>
                      <a:lnTo>
                        <a:pt x="179" y="55"/>
                      </a:lnTo>
                      <a:lnTo>
                        <a:pt x="180" y="55"/>
                      </a:lnTo>
                      <a:lnTo>
                        <a:pt x="180" y="54"/>
                      </a:lnTo>
                      <a:lnTo>
                        <a:pt x="181" y="54"/>
                      </a:lnTo>
                      <a:lnTo>
                        <a:pt x="181" y="55"/>
                      </a:lnTo>
                      <a:lnTo>
                        <a:pt x="181" y="54"/>
                      </a:lnTo>
                      <a:lnTo>
                        <a:pt x="182" y="54"/>
                      </a:lnTo>
                      <a:lnTo>
                        <a:pt x="183" y="54"/>
                      </a:lnTo>
                      <a:lnTo>
                        <a:pt x="183" y="54"/>
                      </a:lnTo>
                      <a:lnTo>
                        <a:pt x="183" y="53"/>
                      </a:lnTo>
                      <a:lnTo>
                        <a:pt x="184" y="53"/>
                      </a:lnTo>
                      <a:lnTo>
                        <a:pt x="184" y="53"/>
                      </a:lnTo>
                      <a:lnTo>
                        <a:pt x="185" y="53"/>
                      </a:lnTo>
                      <a:lnTo>
                        <a:pt x="185" y="53"/>
                      </a:lnTo>
                      <a:lnTo>
                        <a:pt x="185" y="53"/>
                      </a:lnTo>
                      <a:lnTo>
                        <a:pt x="186" y="53"/>
                      </a:lnTo>
                      <a:lnTo>
                        <a:pt x="187" y="53"/>
                      </a:lnTo>
                      <a:lnTo>
                        <a:pt x="187" y="53"/>
                      </a:lnTo>
                      <a:lnTo>
                        <a:pt x="187" y="52"/>
                      </a:lnTo>
                      <a:lnTo>
                        <a:pt x="188" y="52"/>
                      </a:lnTo>
                      <a:lnTo>
                        <a:pt x="188" y="51"/>
                      </a:lnTo>
                      <a:lnTo>
                        <a:pt x="187" y="51"/>
                      </a:lnTo>
                      <a:lnTo>
                        <a:pt x="187" y="50"/>
                      </a:lnTo>
                      <a:lnTo>
                        <a:pt x="187" y="50"/>
                      </a:lnTo>
                      <a:lnTo>
                        <a:pt x="187" y="49"/>
                      </a:lnTo>
                      <a:lnTo>
                        <a:pt x="188" y="49"/>
                      </a:lnTo>
                      <a:lnTo>
                        <a:pt x="189" y="48"/>
                      </a:lnTo>
                      <a:lnTo>
                        <a:pt x="189" y="48"/>
                      </a:lnTo>
                      <a:lnTo>
                        <a:pt x="189" y="48"/>
                      </a:lnTo>
                      <a:lnTo>
                        <a:pt x="190" y="48"/>
                      </a:lnTo>
                      <a:lnTo>
                        <a:pt x="190" y="47"/>
                      </a:lnTo>
                      <a:lnTo>
                        <a:pt x="191" y="47"/>
                      </a:lnTo>
                      <a:lnTo>
                        <a:pt x="192" y="47"/>
                      </a:lnTo>
                      <a:lnTo>
                        <a:pt x="192" y="46"/>
                      </a:lnTo>
                      <a:lnTo>
                        <a:pt x="192" y="46"/>
                      </a:lnTo>
                      <a:lnTo>
                        <a:pt x="193" y="46"/>
                      </a:lnTo>
                      <a:lnTo>
                        <a:pt x="193" y="46"/>
                      </a:lnTo>
                      <a:lnTo>
                        <a:pt x="194" y="46"/>
                      </a:lnTo>
                      <a:lnTo>
                        <a:pt x="194" y="45"/>
                      </a:lnTo>
                      <a:lnTo>
                        <a:pt x="194" y="44"/>
                      </a:lnTo>
                      <a:lnTo>
                        <a:pt x="194" y="44"/>
                      </a:lnTo>
                      <a:lnTo>
                        <a:pt x="194" y="43"/>
                      </a:lnTo>
                      <a:lnTo>
                        <a:pt x="194" y="43"/>
                      </a:lnTo>
                      <a:lnTo>
                        <a:pt x="194" y="42"/>
                      </a:lnTo>
                      <a:lnTo>
                        <a:pt x="195" y="42"/>
                      </a:lnTo>
                      <a:lnTo>
                        <a:pt x="196" y="42"/>
                      </a:lnTo>
                      <a:lnTo>
                        <a:pt x="196" y="42"/>
                      </a:lnTo>
                      <a:lnTo>
                        <a:pt x="196" y="42"/>
                      </a:lnTo>
                      <a:lnTo>
                        <a:pt x="197" y="42"/>
                      </a:lnTo>
                      <a:lnTo>
                        <a:pt x="198" y="41"/>
                      </a:lnTo>
                      <a:lnTo>
                        <a:pt x="198" y="41"/>
                      </a:lnTo>
                      <a:lnTo>
                        <a:pt x="199" y="41"/>
                      </a:lnTo>
                      <a:lnTo>
                        <a:pt x="199" y="40"/>
                      </a:lnTo>
                      <a:lnTo>
                        <a:pt x="200" y="40"/>
                      </a:lnTo>
                      <a:lnTo>
                        <a:pt x="200" y="40"/>
                      </a:lnTo>
                      <a:lnTo>
                        <a:pt x="200" y="39"/>
                      </a:lnTo>
                      <a:lnTo>
                        <a:pt x="200" y="39"/>
                      </a:lnTo>
                      <a:lnTo>
                        <a:pt x="201" y="39"/>
                      </a:lnTo>
                      <a:lnTo>
                        <a:pt x="202" y="39"/>
                      </a:lnTo>
                      <a:lnTo>
                        <a:pt x="202" y="38"/>
                      </a:lnTo>
                      <a:lnTo>
                        <a:pt x="203" y="38"/>
                      </a:lnTo>
                      <a:lnTo>
                        <a:pt x="204" y="38"/>
                      </a:lnTo>
                      <a:lnTo>
                        <a:pt x="204" y="38"/>
                      </a:lnTo>
                      <a:lnTo>
                        <a:pt x="205" y="38"/>
                      </a:lnTo>
                      <a:lnTo>
                        <a:pt x="206" y="37"/>
                      </a:lnTo>
                      <a:lnTo>
                        <a:pt x="206" y="36"/>
                      </a:lnTo>
                      <a:lnTo>
                        <a:pt x="206" y="36"/>
                      </a:lnTo>
                      <a:lnTo>
                        <a:pt x="207" y="36"/>
                      </a:lnTo>
                      <a:lnTo>
                        <a:pt x="208" y="36"/>
                      </a:lnTo>
                      <a:lnTo>
                        <a:pt x="208" y="35"/>
                      </a:lnTo>
                      <a:lnTo>
                        <a:pt x="208" y="35"/>
                      </a:lnTo>
                      <a:lnTo>
                        <a:pt x="209" y="35"/>
                      </a:lnTo>
                      <a:lnTo>
                        <a:pt x="209" y="36"/>
                      </a:lnTo>
                      <a:lnTo>
                        <a:pt x="209" y="36"/>
                      </a:lnTo>
                      <a:lnTo>
                        <a:pt x="210" y="36"/>
                      </a:lnTo>
                      <a:lnTo>
                        <a:pt x="210" y="36"/>
                      </a:lnTo>
                      <a:lnTo>
                        <a:pt x="211" y="36"/>
                      </a:lnTo>
                      <a:lnTo>
                        <a:pt x="211" y="36"/>
                      </a:lnTo>
                      <a:lnTo>
                        <a:pt x="212" y="36"/>
                      </a:lnTo>
                      <a:lnTo>
                        <a:pt x="212" y="36"/>
                      </a:lnTo>
                      <a:lnTo>
                        <a:pt x="213" y="35"/>
                      </a:lnTo>
                      <a:lnTo>
                        <a:pt x="213" y="34"/>
                      </a:lnTo>
                      <a:lnTo>
                        <a:pt x="213" y="34"/>
                      </a:lnTo>
                      <a:lnTo>
                        <a:pt x="213" y="35"/>
                      </a:lnTo>
                      <a:lnTo>
                        <a:pt x="214" y="35"/>
                      </a:lnTo>
                      <a:lnTo>
                        <a:pt x="215" y="35"/>
                      </a:lnTo>
                      <a:lnTo>
                        <a:pt x="215" y="35"/>
                      </a:lnTo>
                      <a:lnTo>
                        <a:pt x="215" y="34"/>
                      </a:lnTo>
                      <a:lnTo>
                        <a:pt x="216" y="34"/>
                      </a:lnTo>
                      <a:lnTo>
                        <a:pt x="216" y="34"/>
                      </a:lnTo>
                      <a:lnTo>
                        <a:pt x="217" y="34"/>
                      </a:lnTo>
                      <a:lnTo>
                        <a:pt x="217" y="34"/>
                      </a:lnTo>
                      <a:lnTo>
                        <a:pt x="218" y="34"/>
                      </a:lnTo>
                      <a:lnTo>
                        <a:pt x="218" y="34"/>
                      </a:lnTo>
                      <a:lnTo>
                        <a:pt x="219" y="34"/>
                      </a:lnTo>
                      <a:lnTo>
                        <a:pt x="219" y="35"/>
                      </a:lnTo>
                      <a:lnTo>
                        <a:pt x="219" y="35"/>
                      </a:lnTo>
                      <a:lnTo>
                        <a:pt x="220" y="35"/>
                      </a:lnTo>
                      <a:lnTo>
                        <a:pt x="221" y="35"/>
                      </a:lnTo>
                      <a:lnTo>
                        <a:pt x="221" y="35"/>
                      </a:lnTo>
                      <a:lnTo>
                        <a:pt x="222" y="35"/>
                      </a:lnTo>
                      <a:lnTo>
                        <a:pt x="223" y="35"/>
                      </a:lnTo>
                      <a:lnTo>
                        <a:pt x="223" y="35"/>
                      </a:lnTo>
                      <a:lnTo>
                        <a:pt x="224" y="35"/>
                      </a:lnTo>
                      <a:lnTo>
                        <a:pt x="225" y="35"/>
                      </a:lnTo>
                      <a:lnTo>
                        <a:pt x="225" y="35"/>
                      </a:lnTo>
                      <a:lnTo>
                        <a:pt x="226" y="35"/>
                      </a:lnTo>
                      <a:lnTo>
                        <a:pt x="226" y="36"/>
                      </a:lnTo>
                      <a:lnTo>
                        <a:pt x="227" y="36"/>
                      </a:lnTo>
                      <a:lnTo>
                        <a:pt x="227" y="36"/>
                      </a:lnTo>
                      <a:lnTo>
                        <a:pt x="228" y="37"/>
                      </a:lnTo>
                      <a:lnTo>
                        <a:pt x="228" y="38"/>
                      </a:lnTo>
                      <a:lnTo>
                        <a:pt x="228" y="38"/>
                      </a:lnTo>
                      <a:lnTo>
                        <a:pt x="228" y="39"/>
                      </a:lnTo>
                      <a:lnTo>
                        <a:pt x="229" y="40"/>
                      </a:lnTo>
                      <a:lnTo>
                        <a:pt x="230" y="40"/>
                      </a:lnTo>
                      <a:lnTo>
                        <a:pt x="230" y="40"/>
                      </a:lnTo>
                      <a:lnTo>
                        <a:pt x="230" y="41"/>
                      </a:lnTo>
                      <a:lnTo>
                        <a:pt x="230" y="42"/>
                      </a:lnTo>
                      <a:lnTo>
                        <a:pt x="231" y="42"/>
                      </a:lnTo>
                      <a:lnTo>
                        <a:pt x="231" y="42"/>
                      </a:lnTo>
                      <a:lnTo>
                        <a:pt x="231" y="43"/>
                      </a:lnTo>
                      <a:lnTo>
                        <a:pt x="230" y="43"/>
                      </a:lnTo>
                      <a:lnTo>
                        <a:pt x="231" y="44"/>
                      </a:lnTo>
                      <a:lnTo>
                        <a:pt x="231" y="44"/>
                      </a:lnTo>
                      <a:lnTo>
                        <a:pt x="232" y="44"/>
                      </a:lnTo>
                      <a:lnTo>
                        <a:pt x="233" y="45"/>
                      </a:lnTo>
                      <a:lnTo>
                        <a:pt x="234" y="45"/>
                      </a:lnTo>
                      <a:lnTo>
                        <a:pt x="234" y="45"/>
                      </a:lnTo>
                      <a:lnTo>
                        <a:pt x="235" y="45"/>
                      </a:lnTo>
                      <a:lnTo>
                        <a:pt x="235" y="46"/>
                      </a:lnTo>
                      <a:lnTo>
                        <a:pt x="235" y="45"/>
                      </a:lnTo>
                      <a:lnTo>
                        <a:pt x="236" y="45"/>
                      </a:lnTo>
                      <a:lnTo>
                        <a:pt x="236" y="45"/>
                      </a:lnTo>
                      <a:lnTo>
                        <a:pt x="237" y="45"/>
                      </a:lnTo>
                      <a:lnTo>
                        <a:pt x="237" y="46"/>
                      </a:lnTo>
                      <a:lnTo>
                        <a:pt x="238" y="46"/>
                      </a:lnTo>
                      <a:lnTo>
                        <a:pt x="238" y="46"/>
                      </a:lnTo>
                      <a:lnTo>
                        <a:pt x="239" y="46"/>
                      </a:lnTo>
                      <a:lnTo>
                        <a:pt x="240" y="46"/>
                      </a:lnTo>
                      <a:lnTo>
                        <a:pt x="240" y="47"/>
                      </a:lnTo>
                      <a:lnTo>
                        <a:pt x="241" y="47"/>
                      </a:lnTo>
                      <a:lnTo>
                        <a:pt x="241" y="46"/>
                      </a:lnTo>
                      <a:lnTo>
                        <a:pt x="242" y="46"/>
                      </a:lnTo>
                      <a:lnTo>
                        <a:pt x="242" y="47"/>
                      </a:lnTo>
                      <a:lnTo>
                        <a:pt x="243" y="47"/>
                      </a:lnTo>
                      <a:lnTo>
                        <a:pt x="244" y="48"/>
                      </a:lnTo>
                      <a:lnTo>
                        <a:pt x="244" y="48"/>
                      </a:lnTo>
                      <a:lnTo>
                        <a:pt x="244" y="47"/>
                      </a:lnTo>
                      <a:lnTo>
                        <a:pt x="245" y="47"/>
                      </a:lnTo>
                      <a:lnTo>
                        <a:pt x="246" y="46"/>
                      </a:lnTo>
                      <a:lnTo>
                        <a:pt x="246" y="46"/>
                      </a:lnTo>
                      <a:lnTo>
                        <a:pt x="246" y="47"/>
                      </a:lnTo>
                      <a:lnTo>
                        <a:pt x="247" y="47"/>
                      </a:lnTo>
                      <a:lnTo>
                        <a:pt x="248" y="47"/>
                      </a:lnTo>
                      <a:lnTo>
                        <a:pt x="249" y="47"/>
                      </a:lnTo>
                      <a:lnTo>
                        <a:pt x="249" y="47"/>
                      </a:lnTo>
                      <a:lnTo>
                        <a:pt x="250" y="47"/>
                      </a:lnTo>
                      <a:lnTo>
                        <a:pt x="251" y="47"/>
                      </a:lnTo>
                      <a:lnTo>
                        <a:pt x="251" y="48"/>
                      </a:lnTo>
                      <a:lnTo>
                        <a:pt x="251" y="48"/>
                      </a:lnTo>
                      <a:lnTo>
                        <a:pt x="252" y="48"/>
                      </a:lnTo>
                      <a:lnTo>
                        <a:pt x="252" y="47"/>
                      </a:lnTo>
                      <a:lnTo>
                        <a:pt x="252" y="46"/>
                      </a:lnTo>
                      <a:lnTo>
                        <a:pt x="253" y="46"/>
                      </a:lnTo>
                      <a:lnTo>
                        <a:pt x="253" y="45"/>
                      </a:lnTo>
                      <a:lnTo>
                        <a:pt x="253" y="45"/>
                      </a:lnTo>
                      <a:lnTo>
                        <a:pt x="254" y="46"/>
                      </a:lnTo>
                      <a:lnTo>
                        <a:pt x="254" y="46"/>
                      </a:lnTo>
                      <a:lnTo>
                        <a:pt x="254" y="47"/>
                      </a:lnTo>
                      <a:lnTo>
                        <a:pt x="254" y="48"/>
                      </a:lnTo>
                      <a:lnTo>
                        <a:pt x="255" y="48"/>
                      </a:lnTo>
                      <a:lnTo>
                        <a:pt x="255" y="48"/>
                      </a:lnTo>
                      <a:lnTo>
                        <a:pt x="256" y="48"/>
                      </a:lnTo>
                      <a:lnTo>
                        <a:pt x="257" y="48"/>
                      </a:lnTo>
                      <a:lnTo>
                        <a:pt x="257" y="48"/>
                      </a:lnTo>
                      <a:lnTo>
                        <a:pt x="257" y="48"/>
                      </a:lnTo>
                      <a:lnTo>
                        <a:pt x="257" y="49"/>
                      </a:lnTo>
                      <a:lnTo>
                        <a:pt x="257" y="50"/>
                      </a:lnTo>
                      <a:lnTo>
                        <a:pt x="258" y="50"/>
                      </a:lnTo>
                      <a:lnTo>
                        <a:pt x="258" y="50"/>
                      </a:lnTo>
                      <a:lnTo>
                        <a:pt x="258" y="51"/>
                      </a:lnTo>
                      <a:lnTo>
                        <a:pt x="259" y="52"/>
                      </a:lnTo>
                      <a:lnTo>
                        <a:pt x="259" y="53"/>
                      </a:lnTo>
                      <a:lnTo>
                        <a:pt x="259" y="53"/>
                      </a:lnTo>
                      <a:lnTo>
                        <a:pt x="259" y="54"/>
                      </a:lnTo>
                      <a:lnTo>
                        <a:pt x="259" y="55"/>
                      </a:lnTo>
                      <a:lnTo>
                        <a:pt x="260" y="55"/>
                      </a:lnTo>
                      <a:lnTo>
                        <a:pt x="261" y="55"/>
                      </a:lnTo>
                      <a:lnTo>
                        <a:pt x="262" y="56"/>
                      </a:lnTo>
                      <a:lnTo>
                        <a:pt x="263" y="57"/>
                      </a:lnTo>
                      <a:lnTo>
                        <a:pt x="264" y="56"/>
                      </a:lnTo>
                      <a:lnTo>
                        <a:pt x="264" y="57"/>
                      </a:lnTo>
                      <a:lnTo>
                        <a:pt x="265" y="57"/>
                      </a:lnTo>
                      <a:lnTo>
                        <a:pt x="265" y="58"/>
                      </a:lnTo>
                      <a:lnTo>
                        <a:pt x="265" y="59"/>
                      </a:lnTo>
                      <a:lnTo>
                        <a:pt x="267" y="59"/>
                      </a:lnTo>
                      <a:lnTo>
                        <a:pt x="267" y="60"/>
                      </a:lnTo>
                      <a:lnTo>
                        <a:pt x="267" y="61"/>
                      </a:lnTo>
                      <a:lnTo>
                        <a:pt x="268" y="61"/>
                      </a:lnTo>
                      <a:lnTo>
                        <a:pt x="268" y="61"/>
                      </a:lnTo>
                      <a:lnTo>
                        <a:pt x="267" y="61"/>
                      </a:lnTo>
                      <a:lnTo>
                        <a:pt x="267" y="62"/>
                      </a:lnTo>
                      <a:lnTo>
                        <a:pt x="266" y="62"/>
                      </a:lnTo>
                      <a:lnTo>
                        <a:pt x="266" y="63"/>
                      </a:lnTo>
                      <a:lnTo>
                        <a:pt x="266" y="63"/>
                      </a:lnTo>
                      <a:lnTo>
                        <a:pt x="266" y="64"/>
                      </a:lnTo>
                      <a:lnTo>
                        <a:pt x="266" y="65"/>
                      </a:lnTo>
                      <a:lnTo>
                        <a:pt x="267" y="65"/>
                      </a:lnTo>
                      <a:lnTo>
                        <a:pt x="267" y="65"/>
                      </a:lnTo>
                      <a:lnTo>
                        <a:pt x="268" y="65"/>
                      </a:lnTo>
                      <a:lnTo>
                        <a:pt x="268" y="65"/>
                      </a:lnTo>
                      <a:lnTo>
                        <a:pt x="269" y="65"/>
                      </a:lnTo>
                      <a:lnTo>
                        <a:pt x="269" y="65"/>
                      </a:lnTo>
                      <a:lnTo>
                        <a:pt x="269" y="66"/>
                      </a:lnTo>
                      <a:lnTo>
                        <a:pt x="270" y="67"/>
                      </a:lnTo>
                      <a:lnTo>
                        <a:pt x="270" y="67"/>
                      </a:lnTo>
                      <a:lnTo>
                        <a:pt x="270" y="68"/>
                      </a:lnTo>
                      <a:lnTo>
                        <a:pt x="270" y="69"/>
                      </a:lnTo>
                      <a:lnTo>
                        <a:pt x="271" y="69"/>
                      </a:lnTo>
                      <a:lnTo>
                        <a:pt x="272" y="69"/>
                      </a:lnTo>
                      <a:lnTo>
                        <a:pt x="272" y="70"/>
                      </a:lnTo>
                      <a:lnTo>
                        <a:pt x="272" y="71"/>
                      </a:lnTo>
                      <a:lnTo>
                        <a:pt x="272" y="72"/>
                      </a:lnTo>
                      <a:lnTo>
                        <a:pt x="272" y="72"/>
                      </a:lnTo>
                      <a:lnTo>
                        <a:pt x="273" y="72"/>
                      </a:lnTo>
                      <a:lnTo>
                        <a:pt x="273" y="73"/>
                      </a:lnTo>
                      <a:lnTo>
                        <a:pt x="274" y="74"/>
                      </a:lnTo>
                      <a:lnTo>
                        <a:pt x="274" y="74"/>
                      </a:lnTo>
                      <a:lnTo>
                        <a:pt x="275" y="74"/>
                      </a:lnTo>
                      <a:lnTo>
                        <a:pt x="276" y="74"/>
                      </a:lnTo>
                      <a:lnTo>
                        <a:pt x="276" y="75"/>
                      </a:lnTo>
                      <a:lnTo>
                        <a:pt x="276" y="76"/>
                      </a:lnTo>
                      <a:lnTo>
                        <a:pt x="277" y="76"/>
                      </a:lnTo>
                      <a:lnTo>
                        <a:pt x="278" y="75"/>
                      </a:lnTo>
                      <a:lnTo>
                        <a:pt x="278" y="75"/>
                      </a:lnTo>
                      <a:lnTo>
                        <a:pt x="279" y="75"/>
                      </a:lnTo>
                      <a:lnTo>
                        <a:pt x="280" y="76"/>
                      </a:lnTo>
                      <a:lnTo>
                        <a:pt x="280" y="76"/>
                      </a:lnTo>
                      <a:lnTo>
                        <a:pt x="281" y="77"/>
                      </a:lnTo>
                      <a:lnTo>
                        <a:pt x="282" y="78"/>
                      </a:lnTo>
                      <a:lnTo>
                        <a:pt x="282" y="78"/>
                      </a:lnTo>
                      <a:lnTo>
                        <a:pt x="283" y="78"/>
                      </a:lnTo>
                      <a:lnTo>
                        <a:pt x="284" y="78"/>
                      </a:lnTo>
                      <a:lnTo>
                        <a:pt x="284" y="78"/>
                      </a:lnTo>
                      <a:lnTo>
                        <a:pt x="285" y="78"/>
                      </a:lnTo>
                      <a:lnTo>
                        <a:pt x="286" y="79"/>
                      </a:lnTo>
                      <a:lnTo>
                        <a:pt x="287" y="79"/>
                      </a:lnTo>
                      <a:lnTo>
                        <a:pt x="287" y="80"/>
                      </a:lnTo>
                      <a:lnTo>
                        <a:pt x="287" y="80"/>
                      </a:lnTo>
                      <a:lnTo>
                        <a:pt x="287" y="81"/>
                      </a:lnTo>
                      <a:lnTo>
                        <a:pt x="288" y="81"/>
                      </a:lnTo>
                      <a:lnTo>
                        <a:pt x="288" y="82"/>
                      </a:lnTo>
                      <a:lnTo>
                        <a:pt x="288" y="82"/>
                      </a:lnTo>
                      <a:lnTo>
                        <a:pt x="289" y="83"/>
                      </a:lnTo>
                      <a:lnTo>
                        <a:pt x="289" y="84"/>
                      </a:lnTo>
                      <a:lnTo>
                        <a:pt x="289" y="83"/>
                      </a:lnTo>
                      <a:lnTo>
                        <a:pt x="290" y="83"/>
                      </a:lnTo>
                      <a:lnTo>
                        <a:pt x="291" y="83"/>
                      </a:lnTo>
                      <a:lnTo>
                        <a:pt x="291" y="84"/>
                      </a:lnTo>
                      <a:lnTo>
                        <a:pt x="292" y="83"/>
                      </a:lnTo>
                      <a:lnTo>
                        <a:pt x="293" y="83"/>
                      </a:lnTo>
                      <a:lnTo>
                        <a:pt x="293" y="84"/>
                      </a:lnTo>
                      <a:lnTo>
                        <a:pt x="293" y="84"/>
                      </a:lnTo>
                      <a:lnTo>
                        <a:pt x="294" y="84"/>
                      </a:lnTo>
                      <a:lnTo>
                        <a:pt x="295" y="84"/>
                      </a:lnTo>
                      <a:lnTo>
                        <a:pt x="295" y="84"/>
                      </a:lnTo>
                      <a:lnTo>
                        <a:pt x="296" y="84"/>
                      </a:lnTo>
                      <a:lnTo>
                        <a:pt x="297" y="84"/>
                      </a:lnTo>
                      <a:lnTo>
                        <a:pt x="298" y="84"/>
                      </a:lnTo>
                      <a:lnTo>
                        <a:pt x="299" y="84"/>
                      </a:lnTo>
                      <a:lnTo>
                        <a:pt x="299" y="84"/>
                      </a:lnTo>
                      <a:lnTo>
                        <a:pt x="299" y="83"/>
                      </a:lnTo>
                      <a:lnTo>
                        <a:pt x="299" y="82"/>
                      </a:lnTo>
                      <a:lnTo>
                        <a:pt x="300" y="82"/>
                      </a:lnTo>
                      <a:lnTo>
                        <a:pt x="301" y="82"/>
                      </a:lnTo>
                      <a:lnTo>
                        <a:pt x="301" y="82"/>
                      </a:lnTo>
                      <a:lnTo>
                        <a:pt x="302" y="82"/>
                      </a:lnTo>
                      <a:lnTo>
                        <a:pt x="303" y="82"/>
                      </a:lnTo>
                      <a:lnTo>
                        <a:pt x="303" y="82"/>
                      </a:lnTo>
                      <a:lnTo>
                        <a:pt x="304" y="82"/>
                      </a:lnTo>
                      <a:lnTo>
                        <a:pt x="305" y="82"/>
                      </a:lnTo>
                      <a:lnTo>
                        <a:pt x="306" y="82"/>
                      </a:lnTo>
                      <a:lnTo>
                        <a:pt x="307" y="82"/>
                      </a:lnTo>
                      <a:lnTo>
                        <a:pt x="308" y="82"/>
                      </a:lnTo>
                      <a:lnTo>
                        <a:pt x="308" y="82"/>
                      </a:lnTo>
                      <a:lnTo>
                        <a:pt x="309" y="82"/>
                      </a:lnTo>
                      <a:lnTo>
                        <a:pt x="310" y="82"/>
                      </a:lnTo>
                      <a:lnTo>
                        <a:pt x="310" y="82"/>
                      </a:lnTo>
                      <a:lnTo>
                        <a:pt x="311" y="82"/>
                      </a:lnTo>
                      <a:lnTo>
                        <a:pt x="312" y="81"/>
                      </a:lnTo>
                      <a:lnTo>
                        <a:pt x="312" y="80"/>
                      </a:lnTo>
                      <a:lnTo>
                        <a:pt x="313" y="80"/>
                      </a:lnTo>
                      <a:lnTo>
                        <a:pt x="314" y="78"/>
                      </a:lnTo>
                      <a:lnTo>
                        <a:pt x="314" y="78"/>
                      </a:lnTo>
                      <a:lnTo>
                        <a:pt x="315" y="78"/>
                      </a:lnTo>
                      <a:lnTo>
                        <a:pt x="316" y="78"/>
                      </a:lnTo>
                      <a:lnTo>
                        <a:pt x="316" y="78"/>
                      </a:lnTo>
                      <a:lnTo>
                        <a:pt x="317" y="78"/>
                      </a:lnTo>
                      <a:lnTo>
                        <a:pt x="318" y="77"/>
                      </a:lnTo>
                      <a:lnTo>
                        <a:pt x="318" y="77"/>
                      </a:lnTo>
                      <a:lnTo>
                        <a:pt x="319" y="76"/>
                      </a:lnTo>
                      <a:lnTo>
                        <a:pt x="319" y="76"/>
                      </a:lnTo>
                      <a:lnTo>
                        <a:pt x="319" y="75"/>
                      </a:lnTo>
                      <a:lnTo>
                        <a:pt x="319" y="74"/>
                      </a:lnTo>
                      <a:lnTo>
                        <a:pt x="320" y="74"/>
                      </a:lnTo>
                      <a:lnTo>
                        <a:pt x="320" y="73"/>
                      </a:lnTo>
                      <a:lnTo>
                        <a:pt x="320" y="72"/>
                      </a:lnTo>
                      <a:lnTo>
                        <a:pt x="320" y="72"/>
                      </a:lnTo>
                      <a:lnTo>
                        <a:pt x="320" y="72"/>
                      </a:lnTo>
                      <a:lnTo>
                        <a:pt x="321" y="72"/>
                      </a:lnTo>
                      <a:lnTo>
                        <a:pt x="321" y="71"/>
                      </a:lnTo>
                      <a:lnTo>
                        <a:pt x="322" y="71"/>
                      </a:lnTo>
                      <a:lnTo>
                        <a:pt x="322" y="71"/>
                      </a:lnTo>
                      <a:lnTo>
                        <a:pt x="323" y="71"/>
                      </a:lnTo>
                      <a:lnTo>
                        <a:pt x="324" y="71"/>
                      </a:lnTo>
                      <a:lnTo>
                        <a:pt x="325" y="71"/>
                      </a:lnTo>
                      <a:lnTo>
                        <a:pt x="325" y="71"/>
                      </a:lnTo>
                      <a:lnTo>
                        <a:pt x="326" y="70"/>
                      </a:lnTo>
                      <a:lnTo>
                        <a:pt x="329" y="69"/>
                      </a:lnTo>
                      <a:lnTo>
                        <a:pt x="329" y="69"/>
                      </a:lnTo>
                      <a:lnTo>
                        <a:pt x="330" y="69"/>
                      </a:lnTo>
                      <a:lnTo>
                        <a:pt x="330" y="69"/>
                      </a:lnTo>
                      <a:lnTo>
                        <a:pt x="331" y="69"/>
                      </a:lnTo>
                      <a:lnTo>
                        <a:pt x="331" y="69"/>
                      </a:lnTo>
                      <a:lnTo>
                        <a:pt x="332" y="69"/>
                      </a:lnTo>
                      <a:lnTo>
                        <a:pt x="333" y="69"/>
                      </a:lnTo>
                      <a:lnTo>
                        <a:pt x="333" y="69"/>
                      </a:lnTo>
                      <a:lnTo>
                        <a:pt x="334" y="69"/>
                      </a:lnTo>
                      <a:lnTo>
                        <a:pt x="335" y="69"/>
                      </a:lnTo>
                      <a:lnTo>
                        <a:pt x="335" y="69"/>
                      </a:lnTo>
                      <a:lnTo>
                        <a:pt x="335" y="69"/>
                      </a:lnTo>
                      <a:lnTo>
                        <a:pt x="336" y="69"/>
                      </a:lnTo>
                      <a:lnTo>
                        <a:pt x="337" y="69"/>
                      </a:lnTo>
                      <a:lnTo>
                        <a:pt x="337" y="69"/>
                      </a:lnTo>
                      <a:lnTo>
                        <a:pt x="337" y="69"/>
                      </a:lnTo>
                      <a:lnTo>
                        <a:pt x="337" y="68"/>
                      </a:lnTo>
                      <a:lnTo>
                        <a:pt x="337" y="67"/>
                      </a:lnTo>
                      <a:lnTo>
                        <a:pt x="338" y="67"/>
                      </a:lnTo>
                      <a:lnTo>
                        <a:pt x="339" y="67"/>
                      </a:lnTo>
                      <a:lnTo>
                        <a:pt x="338" y="68"/>
                      </a:lnTo>
                      <a:lnTo>
                        <a:pt x="339" y="68"/>
                      </a:lnTo>
                      <a:lnTo>
                        <a:pt x="339" y="69"/>
                      </a:lnTo>
                      <a:lnTo>
                        <a:pt x="339" y="69"/>
                      </a:lnTo>
                      <a:lnTo>
                        <a:pt x="339" y="70"/>
                      </a:lnTo>
                      <a:lnTo>
                        <a:pt x="339" y="71"/>
                      </a:lnTo>
                      <a:lnTo>
                        <a:pt x="339" y="72"/>
                      </a:lnTo>
                      <a:lnTo>
                        <a:pt x="339" y="72"/>
                      </a:lnTo>
                      <a:lnTo>
                        <a:pt x="339" y="73"/>
                      </a:lnTo>
                      <a:lnTo>
                        <a:pt x="339" y="74"/>
                      </a:lnTo>
                      <a:lnTo>
                        <a:pt x="340" y="75"/>
                      </a:lnTo>
                      <a:lnTo>
                        <a:pt x="341" y="76"/>
                      </a:lnTo>
                      <a:lnTo>
                        <a:pt x="341" y="76"/>
                      </a:lnTo>
                      <a:lnTo>
                        <a:pt x="341" y="77"/>
                      </a:lnTo>
                      <a:lnTo>
                        <a:pt x="341" y="78"/>
                      </a:lnTo>
                      <a:lnTo>
                        <a:pt x="341" y="78"/>
                      </a:lnTo>
                      <a:lnTo>
                        <a:pt x="342" y="79"/>
                      </a:lnTo>
                      <a:lnTo>
                        <a:pt x="342" y="80"/>
                      </a:lnTo>
                      <a:lnTo>
                        <a:pt x="343" y="80"/>
                      </a:lnTo>
                      <a:lnTo>
                        <a:pt x="344" y="81"/>
                      </a:lnTo>
                      <a:lnTo>
                        <a:pt x="344" y="81"/>
                      </a:lnTo>
                      <a:lnTo>
                        <a:pt x="345" y="81"/>
                      </a:lnTo>
                      <a:lnTo>
                        <a:pt x="346" y="81"/>
                      </a:lnTo>
                      <a:lnTo>
                        <a:pt x="346" y="80"/>
                      </a:lnTo>
                      <a:lnTo>
                        <a:pt x="347" y="80"/>
                      </a:lnTo>
                      <a:lnTo>
                        <a:pt x="347" y="81"/>
                      </a:lnTo>
                      <a:lnTo>
                        <a:pt x="348" y="82"/>
                      </a:lnTo>
                      <a:lnTo>
                        <a:pt x="348" y="82"/>
                      </a:lnTo>
                      <a:lnTo>
                        <a:pt x="349" y="81"/>
                      </a:lnTo>
                      <a:lnTo>
                        <a:pt x="350" y="81"/>
                      </a:lnTo>
                      <a:lnTo>
                        <a:pt x="350" y="81"/>
                      </a:lnTo>
                      <a:lnTo>
                        <a:pt x="351" y="82"/>
                      </a:lnTo>
                      <a:lnTo>
                        <a:pt x="351" y="82"/>
                      </a:lnTo>
                      <a:lnTo>
                        <a:pt x="351" y="83"/>
                      </a:lnTo>
                      <a:lnTo>
                        <a:pt x="351" y="84"/>
                      </a:lnTo>
                      <a:lnTo>
                        <a:pt x="351" y="84"/>
                      </a:lnTo>
                      <a:lnTo>
                        <a:pt x="351" y="85"/>
                      </a:lnTo>
                      <a:lnTo>
                        <a:pt x="352" y="86"/>
                      </a:lnTo>
                      <a:lnTo>
                        <a:pt x="352" y="87"/>
                      </a:lnTo>
                      <a:lnTo>
                        <a:pt x="352" y="88"/>
                      </a:lnTo>
                      <a:lnTo>
                        <a:pt x="352" y="90"/>
                      </a:lnTo>
                      <a:lnTo>
                        <a:pt x="352" y="90"/>
                      </a:lnTo>
                      <a:lnTo>
                        <a:pt x="351" y="93"/>
                      </a:lnTo>
                      <a:lnTo>
                        <a:pt x="351" y="94"/>
                      </a:lnTo>
                      <a:lnTo>
                        <a:pt x="350" y="95"/>
                      </a:lnTo>
                      <a:lnTo>
                        <a:pt x="349" y="97"/>
                      </a:lnTo>
                      <a:lnTo>
                        <a:pt x="350" y="99"/>
                      </a:lnTo>
                      <a:lnTo>
                        <a:pt x="350" y="100"/>
                      </a:lnTo>
                      <a:lnTo>
                        <a:pt x="350" y="101"/>
                      </a:lnTo>
                      <a:lnTo>
                        <a:pt x="351" y="101"/>
                      </a:lnTo>
                      <a:lnTo>
                        <a:pt x="352" y="103"/>
                      </a:lnTo>
                      <a:lnTo>
                        <a:pt x="352" y="103"/>
                      </a:lnTo>
                      <a:lnTo>
                        <a:pt x="351" y="103"/>
                      </a:lnTo>
                      <a:lnTo>
                        <a:pt x="350" y="104"/>
                      </a:lnTo>
                      <a:lnTo>
                        <a:pt x="350" y="104"/>
                      </a:lnTo>
                      <a:lnTo>
                        <a:pt x="350" y="105"/>
                      </a:lnTo>
                      <a:lnTo>
                        <a:pt x="350" y="105"/>
                      </a:lnTo>
                      <a:lnTo>
                        <a:pt x="350" y="105"/>
                      </a:lnTo>
                      <a:lnTo>
                        <a:pt x="350" y="106"/>
                      </a:lnTo>
                      <a:lnTo>
                        <a:pt x="352" y="106"/>
                      </a:lnTo>
                      <a:lnTo>
                        <a:pt x="352" y="106"/>
                      </a:lnTo>
                      <a:lnTo>
                        <a:pt x="353" y="107"/>
                      </a:lnTo>
                      <a:lnTo>
                        <a:pt x="354" y="107"/>
                      </a:lnTo>
                      <a:lnTo>
                        <a:pt x="356" y="109"/>
                      </a:lnTo>
                      <a:lnTo>
                        <a:pt x="356" y="110"/>
                      </a:lnTo>
                      <a:lnTo>
                        <a:pt x="358" y="112"/>
                      </a:lnTo>
                      <a:lnTo>
                        <a:pt x="358" y="113"/>
                      </a:lnTo>
                      <a:lnTo>
                        <a:pt x="358" y="114"/>
                      </a:lnTo>
                      <a:lnTo>
                        <a:pt x="358" y="115"/>
                      </a:lnTo>
                      <a:lnTo>
                        <a:pt x="358" y="116"/>
                      </a:lnTo>
                      <a:lnTo>
                        <a:pt x="358" y="117"/>
                      </a:lnTo>
                      <a:lnTo>
                        <a:pt x="358" y="118"/>
                      </a:lnTo>
                      <a:lnTo>
                        <a:pt x="358" y="120"/>
                      </a:lnTo>
                      <a:lnTo>
                        <a:pt x="358" y="120"/>
                      </a:lnTo>
                      <a:lnTo>
                        <a:pt x="357" y="120"/>
                      </a:lnTo>
                      <a:lnTo>
                        <a:pt x="357" y="121"/>
                      </a:lnTo>
                      <a:lnTo>
                        <a:pt x="356" y="122"/>
                      </a:lnTo>
                      <a:lnTo>
                        <a:pt x="357" y="122"/>
                      </a:lnTo>
                      <a:lnTo>
                        <a:pt x="357" y="123"/>
                      </a:lnTo>
                      <a:lnTo>
                        <a:pt x="358" y="123"/>
                      </a:lnTo>
                      <a:lnTo>
                        <a:pt x="358" y="123"/>
                      </a:lnTo>
                      <a:lnTo>
                        <a:pt x="358" y="124"/>
                      </a:lnTo>
                      <a:lnTo>
                        <a:pt x="358" y="124"/>
                      </a:lnTo>
                      <a:lnTo>
                        <a:pt x="359" y="125"/>
                      </a:lnTo>
                      <a:lnTo>
                        <a:pt x="360" y="125"/>
                      </a:lnTo>
                      <a:lnTo>
                        <a:pt x="360" y="126"/>
                      </a:lnTo>
                      <a:lnTo>
                        <a:pt x="360" y="126"/>
                      </a:lnTo>
                      <a:lnTo>
                        <a:pt x="361" y="126"/>
                      </a:lnTo>
                      <a:lnTo>
                        <a:pt x="362" y="126"/>
                      </a:lnTo>
                      <a:lnTo>
                        <a:pt x="363" y="126"/>
                      </a:lnTo>
                      <a:lnTo>
                        <a:pt x="363" y="126"/>
                      </a:lnTo>
                      <a:lnTo>
                        <a:pt x="364" y="126"/>
                      </a:lnTo>
                      <a:lnTo>
                        <a:pt x="365" y="126"/>
                      </a:lnTo>
                      <a:lnTo>
                        <a:pt x="365" y="126"/>
                      </a:lnTo>
                      <a:lnTo>
                        <a:pt x="365" y="126"/>
                      </a:lnTo>
                      <a:lnTo>
                        <a:pt x="366" y="127"/>
                      </a:lnTo>
                      <a:lnTo>
                        <a:pt x="367" y="128"/>
                      </a:lnTo>
                      <a:lnTo>
                        <a:pt x="367" y="128"/>
                      </a:lnTo>
                      <a:lnTo>
                        <a:pt x="368" y="128"/>
                      </a:lnTo>
                      <a:lnTo>
                        <a:pt x="368" y="129"/>
                      </a:lnTo>
                      <a:lnTo>
                        <a:pt x="369" y="130"/>
                      </a:lnTo>
                      <a:lnTo>
                        <a:pt x="369" y="131"/>
                      </a:lnTo>
                      <a:lnTo>
                        <a:pt x="369" y="131"/>
                      </a:lnTo>
                      <a:lnTo>
                        <a:pt x="370" y="132"/>
                      </a:lnTo>
                      <a:lnTo>
                        <a:pt x="371" y="131"/>
                      </a:lnTo>
                      <a:lnTo>
                        <a:pt x="371" y="131"/>
                      </a:lnTo>
                      <a:lnTo>
                        <a:pt x="371" y="132"/>
                      </a:lnTo>
                      <a:lnTo>
                        <a:pt x="372" y="132"/>
                      </a:lnTo>
                      <a:lnTo>
                        <a:pt x="372" y="133"/>
                      </a:lnTo>
                      <a:lnTo>
                        <a:pt x="372" y="133"/>
                      </a:lnTo>
                      <a:lnTo>
                        <a:pt x="373" y="134"/>
                      </a:lnTo>
                      <a:lnTo>
                        <a:pt x="373" y="135"/>
                      </a:lnTo>
                      <a:lnTo>
                        <a:pt x="374" y="135"/>
                      </a:lnTo>
                      <a:lnTo>
                        <a:pt x="374" y="136"/>
                      </a:lnTo>
                      <a:lnTo>
                        <a:pt x="373" y="136"/>
                      </a:lnTo>
                      <a:lnTo>
                        <a:pt x="373" y="137"/>
                      </a:lnTo>
                      <a:lnTo>
                        <a:pt x="374" y="137"/>
                      </a:lnTo>
                      <a:lnTo>
                        <a:pt x="375" y="137"/>
                      </a:lnTo>
                      <a:lnTo>
                        <a:pt x="375" y="137"/>
                      </a:lnTo>
                      <a:lnTo>
                        <a:pt x="376" y="137"/>
                      </a:lnTo>
                      <a:lnTo>
                        <a:pt x="376" y="138"/>
                      </a:lnTo>
                      <a:lnTo>
                        <a:pt x="376" y="139"/>
                      </a:lnTo>
                      <a:lnTo>
                        <a:pt x="376" y="139"/>
                      </a:lnTo>
                      <a:lnTo>
                        <a:pt x="376" y="140"/>
                      </a:lnTo>
                      <a:lnTo>
                        <a:pt x="376" y="141"/>
                      </a:lnTo>
                      <a:lnTo>
                        <a:pt x="377" y="141"/>
                      </a:lnTo>
                      <a:lnTo>
                        <a:pt x="377" y="142"/>
                      </a:lnTo>
                      <a:lnTo>
                        <a:pt x="378" y="143"/>
                      </a:lnTo>
                      <a:lnTo>
                        <a:pt x="379" y="143"/>
                      </a:lnTo>
                      <a:lnTo>
                        <a:pt x="379" y="144"/>
                      </a:lnTo>
                      <a:lnTo>
                        <a:pt x="379" y="145"/>
                      </a:lnTo>
                      <a:lnTo>
                        <a:pt x="379" y="145"/>
                      </a:lnTo>
                      <a:lnTo>
                        <a:pt x="379" y="146"/>
                      </a:lnTo>
                      <a:lnTo>
                        <a:pt x="379" y="147"/>
                      </a:lnTo>
                      <a:lnTo>
                        <a:pt x="379" y="147"/>
                      </a:lnTo>
                      <a:lnTo>
                        <a:pt x="380" y="148"/>
                      </a:lnTo>
                      <a:lnTo>
                        <a:pt x="380" y="149"/>
                      </a:lnTo>
                      <a:lnTo>
                        <a:pt x="381" y="149"/>
                      </a:lnTo>
                      <a:lnTo>
                        <a:pt x="380" y="150"/>
                      </a:lnTo>
                      <a:lnTo>
                        <a:pt x="380" y="151"/>
                      </a:lnTo>
                      <a:lnTo>
                        <a:pt x="379" y="152"/>
                      </a:lnTo>
                      <a:lnTo>
                        <a:pt x="379" y="152"/>
                      </a:lnTo>
                      <a:lnTo>
                        <a:pt x="379" y="153"/>
                      </a:lnTo>
                      <a:lnTo>
                        <a:pt x="380" y="153"/>
                      </a:lnTo>
                      <a:lnTo>
                        <a:pt x="380" y="152"/>
                      </a:lnTo>
                      <a:lnTo>
                        <a:pt x="381" y="152"/>
                      </a:lnTo>
                      <a:lnTo>
                        <a:pt x="381" y="153"/>
                      </a:lnTo>
                      <a:lnTo>
                        <a:pt x="382" y="154"/>
                      </a:lnTo>
                      <a:lnTo>
                        <a:pt x="381" y="154"/>
                      </a:lnTo>
                      <a:lnTo>
                        <a:pt x="381" y="155"/>
                      </a:lnTo>
                      <a:lnTo>
                        <a:pt x="381" y="156"/>
                      </a:lnTo>
                      <a:lnTo>
                        <a:pt x="382" y="156"/>
                      </a:lnTo>
                      <a:lnTo>
                        <a:pt x="382" y="156"/>
                      </a:lnTo>
                      <a:lnTo>
                        <a:pt x="382" y="156"/>
                      </a:lnTo>
                      <a:lnTo>
                        <a:pt x="383" y="156"/>
                      </a:lnTo>
                      <a:lnTo>
                        <a:pt x="383" y="157"/>
                      </a:lnTo>
                      <a:lnTo>
                        <a:pt x="383" y="158"/>
                      </a:lnTo>
                      <a:lnTo>
                        <a:pt x="384" y="158"/>
                      </a:lnTo>
                      <a:lnTo>
                        <a:pt x="384" y="158"/>
                      </a:lnTo>
                      <a:lnTo>
                        <a:pt x="385" y="158"/>
                      </a:lnTo>
                      <a:lnTo>
                        <a:pt x="386" y="158"/>
                      </a:lnTo>
                      <a:lnTo>
                        <a:pt x="386" y="158"/>
                      </a:lnTo>
                      <a:lnTo>
                        <a:pt x="386" y="159"/>
                      </a:lnTo>
                      <a:lnTo>
                        <a:pt x="387" y="160"/>
                      </a:lnTo>
                      <a:lnTo>
                        <a:pt x="388" y="160"/>
                      </a:lnTo>
                      <a:lnTo>
                        <a:pt x="388" y="160"/>
                      </a:lnTo>
                      <a:lnTo>
                        <a:pt x="389" y="160"/>
                      </a:lnTo>
                      <a:lnTo>
                        <a:pt x="390" y="160"/>
                      </a:lnTo>
                      <a:lnTo>
                        <a:pt x="390" y="160"/>
                      </a:lnTo>
                      <a:lnTo>
                        <a:pt x="391" y="160"/>
                      </a:lnTo>
                      <a:lnTo>
                        <a:pt x="392" y="160"/>
                      </a:lnTo>
                      <a:lnTo>
                        <a:pt x="392" y="160"/>
                      </a:lnTo>
                      <a:lnTo>
                        <a:pt x="393" y="160"/>
                      </a:lnTo>
                      <a:lnTo>
                        <a:pt x="393" y="160"/>
                      </a:lnTo>
                      <a:lnTo>
                        <a:pt x="394" y="160"/>
                      </a:lnTo>
                      <a:lnTo>
                        <a:pt x="394" y="160"/>
                      </a:lnTo>
                      <a:lnTo>
                        <a:pt x="394" y="160"/>
                      </a:lnTo>
                      <a:lnTo>
                        <a:pt x="395" y="160"/>
                      </a:lnTo>
                      <a:lnTo>
                        <a:pt x="396" y="160"/>
                      </a:lnTo>
                      <a:lnTo>
                        <a:pt x="396" y="160"/>
                      </a:lnTo>
                      <a:lnTo>
                        <a:pt x="397" y="159"/>
                      </a:lnTo>
                      <a:lnTo>
                        <a:pt x="398" y="159"/>
                      </a:lnTo>
                      <a:lnTo>
                        <a:pt x="398" y="160"/>
                      </a:lnTo>
                      <a:lnTo>
                        <a:pt x="398" y="160"/>
                      </a:lnTo>
                      <a:lnTo>
                        <a:pt x="399" y="160"/>
                      </a:lnTo>
                      <a:lnTo>
                        <a:pt x="400" y="161"/>
                      </a:lnTo>
                      <a:lnTo>
                        <a:pt x="401" y="161"/>
                      </a:lnTo>
                      <a:lnTo>
                        <a:pt x="401" y="162"/>
                      </a:lnTo>
                      <a:lnTo>
                        <a:pt x="401" y="161"/>
                      </a:lnTo>
                      <a:lnTo>
                        <a:pt x="402" y="161"/>
                      </a:lnTo>
                      <a:lnTo>
                        <a:pt x="403" y="161"/>
                      </a:lnTo>
                      <a:lnTo>
                        <a:pt x="403" y="162"/>
                      </a:lnTo>
                      <a:lnTo>
                        <a:pt x="404" y="162"/>
                      </a:lnTo>
                      <a:lnTo>
                        <a:pt x="405" y="162"/>
                      </a:lnTo>
                      <a:lnTo>
                        <a:pt x="405" y="163"/>
                      </a:lnTo>
                      <a:lnTo>
                        <a:pt x="405" y="164"/>
                      </a:lnTo>
                      <a:lnTo>
                        <a:pt x="405" y="164"/>
                      </a:lnTo>
                      <a:lnTo>
                        <a:pt x="405" y="165"/>
                      </a:lnTo>
                      <a:lnTo>
                        <a:pt x="405" y="165"/>
                      </a:lnTo>
                      <a:lnTo>
                        <a:pt x="405" y="166"/>
                      </a:lnTo>
                      <a:lnTo>
                        <a:pt x="406" y="166"/>
                      </a:lnTo>
                      <a:lnTo>
                        <a:pt x="407" y="166"/>
                      </a:lnTo>
                      <a:lnTo>
                        <a:pt x="407" y="166"/>
                      </a:lnTo>
                      <a:lnTo>
                        <a:pt x="408" y="166"/>
                      </a:lnTo>
                      <a:lnTo>
                        <a:pt x="407" y="167"/>
                      </a:lnTo>
                      <a:lnTo>
                        <a:pt x="407" y="168"/>
                      </a:lnTo>
                      <a:lnTo>
                        <a:pt x="407" y="168"/>
                      </a:lnTo>
                      <a:lnTo>
                        <a:pt x="407" y="169"/>
                      </a:lnTo>
                      <a:lnTo>
                        <a:pt x="408" y="169"/>
                      </a:lnTo>
                      <a:lnTo>
                        <a:pt x="408" y="168"/>
                      </a:lnTo>
                      <a:lnTo>
                        <a:pt x="409" y="168"/>
                      </a:lnTo>
                      <a:lnTo>
                        <a:pt x="409" y="168"/>
                      </a:lnTo>
                      <a:lnTo>
                        <a:pt x="409" y="168"/>
                      </a:lnTo>
                      <a:lnTo>
                        <a:pt x="410" y="168"/>
                      </a:lnTo>
                      <a:lnTo>
                        <a:pt x="410" y="168"/>
                      </a:lnTo>
                      <a:lnTo>
                        <a:pt x="411" y="169"/>
                      </a:lnTo>
                      <a:lnTo>
                        <a:pt x="411" y="169"/>
                      </a:lnTo>
                      <a:lnTo>
                        <a:pt x="412" y="169"/>
                      </a:lnTo>
                      <a:lnTo>
                        <a:pt x="412" y="170"/>
                      </a:lnTo>
                      <a:lnTo>
                        <a:pt x="413" y="170"/>
                      </a:lnTo>
                      <a:lnTo>
                        <a:pt x="413" y="171"/>
                      </a:lnTo>
                      <a:lnTo>
                        <a:pt x="413" y="171"/>
                      </a:lnTo>
                      <a:lnTo>
                        <a:pt x="413" y="171"/>
                      </a:lnTo>
                      <a:lnTo>
                        <a:pt x="414" y="172"/>
                      </a:lnTo>
                      <a:lnTo>
                        <a:pt x="414" y="173"/>
                      </a:lnTo>
                      <a:lnTo>
                        <a:pt x="414" y="173"/>
                      </a:lnTo>
                      <a:lnTo>
                        <a:pt x="414" y="174"/>
                      </a:lnTo>
                      <a:lnTo>
                        <a:pt x="414" y="175"/>
                      </a:lnTo>
                      <a:lnTo>
                        <a:pt x="414" y="175"/>
                      </a:lnTo>
                      <a:lnTo>
                        <a:pt x="413" y="175"/>
                      </a:lnTo>
                      <a:lnTo>
                        <a:pt x="414" y="176"/>
                      </a:lnTo>
                      <a:lnTo>
                        <a:pt x="415" y="176"/>
                      </a:lnTo>
                      <a:lnTo>
                        <a:pt x="415" y="177"/>
                      </a:lnTo>
                      <a:lnTo>
                        <a:pt x="416" y="177"/>
                      </a:lnTo>
                      <a:lnTo>
                        <a:pt x="417" y="178"/>
                      </a:lnTo>
                      <a:lnTo>
                        <a:pt x="417" y="179"/>
                      </a:lnTo>
                      <a:lnTo>
                        <a:pt x="417" y="179"/>
                      </a:lnTo>
                      <a:lnTo>
                        <a:pt x="416" y="179"/>
                      </a:lnTo>
                      <a:lnTo>
                        <a:pt x="415" y="179"/>
                      </a:lnTo>
                      <a:lnTo>
                        <a:pt x="415" y="180"/>
                      </a:lnTo>
                      <a:lnTo>
                        <a:pt x="416" y="180"/>
                      </a:lnTo>
                      <a:lnTo>
                        <a:pt x="416" y="181"/>
                      </a:lnTo>
                      <a:lnTo>
                        <a:pt x="416" y="181"/>
                      </a:lnTo>
                      <a:lnTo>
                        <a:pt x="415" y="181"/>
                      </a:lnTo>
                      <a:lnTo>
                        <a:pt x="416" y="182"/>
                      </a:lnTo>
                      <a:lnTo>
                        <a:pt x="417" y="182"/>
                      </a:lnTo>
                      <a:lnTo>
                        <a:pt x="417" y="183"/>
                      </a:lnTo>
                      <a:lnTo>
                        <a:pt x="418" y="183"/>
                      </a:lnTo>
                      <a:lnTo>
                        <a:pt x="419" y="183"/>
                      </a:lnTo>
                      <a:lnTo>
                        <a:pt x="419" y="184"/>
                      </a:lnTo>
                      <a:lnTo>
                        <a:pt x="418" y="185"/>
                      </a:lnTo>
                      <a:lnTo>
                        <a:pt x="418" y="185"/>
                      </a:lnTo>
                      <a:lnTo>
                        <a:pt x="417" y="185"/>
                      </a:lnTo>
                      <a:lnTo>
                        <a:pt x="417" y="186"/>
                      </a:lnTo>
                      <a:lnTo>
                        <a:pt x="418" y="186"/>
                      </a:lnTo>
                      <a:lnTo>
                        <a:pt x="418" y="187"/>
                      </a:lnTo>
                      <a:lnTo>
                        <a:pt x="419" y="187"/>
                      </a:lnTo>
                      <a:lnTo>
                        <a:pt x="419" y="188"/>
                      </a:lnTo>
                      <a:lnTo>
                        <a:pt x="420" y="189"/>
                      </a:lnTo>
                      <a:lnTo>
                        <a:pt x="420" y="189"/>
                      </a:lnTo>
                      <a:lnTo>
                        <a:pt x="420" y="190"/>
                      </a:lnTo>
                      <a:lnTo>
                        <a:pt x="419" y="191"/>
                      </a:lnTo>
                      <a:lnTo>
                        <a:pt x="420" y="192"/>
                      </a:lnTo>
                      <a:lnTo>
                        <a:pt x="420" y="192"/>
                      </a:lnTo>
                      <a:lnTo>
                        <a:pt x="419" y="193"/>
                      </a:lnTo>
                      <a:lnTo>
                        <a:pt x="419" y="194"/>
                      </a:lnTo>
                      <a:lnTo>
                        <a:pt x="419" y="194"/>
                      </a:lnTo>
                      <a:lnTo>
                        <a:pt x="420" y="195"/>
                      </a:lnTo>
                      <a:lnTo>
                        <a:pt x="420" y="194"/>
                      </a:lnTo>
                      <a:lnTo>
                        <a:pt x="421" y="195"/>
                      </a:lnTo>
                      <a:lnTo>
                        <a:pt x="422" y="195"/>
                      </a:lnTo>
                      <a:lnTo>
                        <a:pt x="422" y="196"/>
                      </a:lnTo>
                      <a:lnTo>
                        <a:pt x="421" y="196"/>
                      </a:lnTo>
                      <a:lnTo>
                        <a:pt x="420" y="196"/>
                      </a:lnTo>
                      <a:lnTo>
                        <a:pt x="420" y="196"/>
                      </a:lnTo>
                      <a:lnTo>
                        <a:pt x="420" y="197"/>
                      </a:lnTo>
                      <a:lnTo>
                        <a:pt x="421" y="197"/>
                      </a:lnTo>
                      <a:lnTo>
                        <a:pt x="422" y="198"/>
                      </a:lnTo>
                      <a:lnTo>
                        <a:pt x="422" y="198"/>
                      </a:lnTo>
                      <a:lnTo>
                        <a:pt x="422" y="198"/>
                      </a:lnTo>
                      <a:lnTo>
                        <a:pt x="422" y="199"/>
                      </a:lnTo>
                      <a:lnTo>
                        <a:pt x="421" y="200"/>
                      </a:lnTo>
                      <a:lnTo>
                        <a:pt x="420" y="199"/>
                      </a:lnTo>
                      <a:lnTo>
                        <a:pt x="420" y="200"/>
                      </a:lnTo>
                      <a:lnTo>
                        <a:pt x="420" y="200"/>
                      </a:lnTo>
                      <a:lnTo>
                        <a:pt x="420" y="200"/>
                      </a:lnTo>
                      <a:lnTo>
                        <a:pt x="420" y="200"/>
                      </a:lnTo>
                      <a:lnTo>
                        <a:pt x="420" y="201"/>
                      </a:lnTo>
                      <a:lnTo>
                        <a:pt x="420" y="202"/>
                      </a:lnTo>
                      <a:lnTo>
                        <a:pt x="420" y="202"/>
                      </a:lnTo>
                      <a:lnTo>
                        <a:pt x="420" y="202"/>
                      </a:lnTo>
                      <a:lnTo>
                        <a:pt x="420" y="202"/>
                      </a:lnTo>
                      <a:lnTo>
                        <a:pt x="420" y="203"/>
                      </a:lnTo>
                      <a:lnTo>
                        <a:pt x="421" y="203"/>
                      </a:lnTo>
                      <a:lnTo>
                        <a:pt x="422" y="203"/>
                      </a:lnTo>
                      <a:lnTo>
                        <a:pt x="422" y="204"/>
                      </a:lnTo>
                      <a:lnTo>
                        <a:pt x="422" y="204"/>
                      </a:lnTo>
                      <a:lnTo>
                        <a:pt x="422" y="205"/>
                      </a:lnTo>
                      <a:lnTo>
                        <a:pt x="422" y="206"/>
                      </a:lnTo>
                      <a:lnTo>
                        <a:pt x="422" y="206"/>
                      </a:lnTo>
                      <a:lnTo>
                        <a:pt x="423" y="206"/>
                      </a:lnTo>
                      <a:lnTo>
                        <a:pt x="423" y="207"/>
                      </a:lnTo>
                      <a:lnTo>
                        <a:pt x="423" y="208"/>
                      </a:lnTo>
                      <a:lnTo>
                        <a:pt x="424" y="208"/>
                      </a:lnTo>
                      <a:lnTo>
                        <a:pt x="424" y="208"/>
                      </a:lnTo>
                      <a:lnTo>
                        <a:pt x="425" y="208"/>
                      </a:lnTo>
                      <a:lnTo>
                        <a:pt x="425" y="209"/>
                      </a:lnTo>
                      <a:lnTo>
                        <a:pt x="425" y="210"/>
                      </a:lnTo>
                      <a:lnTo>
                        <a:pt x="425" y="211"/>
                      </a:lnTo>
                      <a:lnTo>
                        <a:pt x="425" y="211"/>
                      </a:lnTo>
                      <a:lnTo>
                        <a:pt x="424" y="212"/>
                      </a:lnTo>
                      <a:lnTo>
                        <a:pt x="425" y="213"/>
                      </a:lnTo>
                      <a:lnTo>
                        <a:pt x="426" y="213"/>
                      </a:lnTo>
                      <a:lnTo>
                        <a:pt x="426" y="213"/>
                      </a:lnTo>
                      <a:lnTo>
                        <a:pt x="426" y="214"/>
                      </a:lnTo>
                      <a:lnTo>
                        <a:pt x="426" y="215"/>
                      </a:lnTo>
                      <a:lnTo>
                        <a:pt x="427" y="215"/>
                      </a:lnTo>
                      <a:lnTo>
                        <a:pt x="428" y="216"/>
                      </a:lnTo>
                      <a:lnTo>
                        <a:pt x="428" y="216"/>
                      </a:lnTo>
                      <a:lnTo>
                        <a:pt x="428" y="215"/>
                      </a:lnTo>
                      <a:lnTo>
                        <a:pt x="429" y="215"/>
                      </a:lnTo>
                      <a:lnTo>
                        <a:pt x="429" y="216"/>
                      </a:lnTo>
                      <a:lnTo>
                        <a:pt x="430" y="216"/>
                      </a:lnTo>
                      <a:lnTo>
                        <a:pt x="430" y="216"/>
                      </a:lnTo>
                      <a:lnTo>
                        <a:pt x="431" y="216"/>
                      </a:lnTo>
                      <a:lnTo>
                        <a:pt x="432" y="217"/>
                      </a:lnTo>
                      <a:lnTo>
                        <a:pt x="432" y="217"/>
                      </a:lnTo>
                      <a:lnTo>
                        <a:pt x="433" y="217"/>
                      </a:lnTo>
                      <a:lnTo>
                        <a:pt x="434" y="216"/>
                      </a:lnTo>
                      <a:lnTo>
                        <a:pt x="434" y="216"/>
                      </a:lnTo>
                      <a:lnTo>
                        <a:pt x="435" y="216"/>
                      </a:lnTo>
                      <a:lnTo>
                        <a:pt x="436" y="216"/>
                      </a:lnTo>
                      <a:lnTo>
                        <a:pt x="437" y="216"/>
                      </a:lnTo>
                      <a:lnTo>
                        <a:pt x="437" y="216"/>
                      </a:lnTo>
                      <a:lnTo>
                        <a:pt x="438" y="216"/>
                      </a:lnTo>
                      <a:lnTo>
                        <a:pt x="439" y="216"/>
                      </a:lnTo>
                      <a:lnTo>
                        <a:pt x="439" y="215"/>
                      </a:lnTo>
                      <a:lnTo>
                        <a:pt x="440" y="215"/>
                      </a:lnTo>
                      <a:lnTo>
                        <a:pt x="441" y="215"/>
                      </a:lnTo>
                      <a:lnTo>
                        <a:pt x="441" y="215"/>
                      </a:lnTo>
                      <a:lnTo>
                        <a:pt x="441" y="215"/>
                      </a:lnTo>
                      <a:lnTo>
                        <a:pt x="442" y="215"/>
                      </a:lnTo>
                      <a:lnTo>
                        <a:pt x="442" y="215"/>
                      </a:lnTo>
                      <a:lnTo>
                        <a:pt x="443" y="215"/>
                      </a:lnTo>
                      <a:lnTo>
                        <a:pt x="443" y="215"/>
                      </a:lnTo>
                      <a:lnTo>
                        <a:pt x="443" y="215"/>
                      </a:lnTo>
                      <a:lnTo>
                        <a:pt x="443" y="216"/>
                      </a:lnTo>
                      <a:lnTo>
                        <a:pt x="444" y="216"/>
                      </a:lnTo>
                      <a:lnTo>
                        <a:pt x="444" y="217"/>
                      </a:lnTo>
                      <a:lnTo>
                        <a:pt x="445" y="217"/>
                      </a:lnTo>
                      <a:lnTo>
                        <a:pt x="445" y="216"/>
                      </a:lnTo>
                      <a:lnTo>
                        <a:pt x="445" y="215"/>
                      </a:lnTo>
                      <a:lnTo>
                        <a:pt x="446" y="216"/>
                      </a:lnTo>
                      <a:lnTo>
                        <a:pt x="446" y="215"/>
                      </a:lnTo>
                      <a:lnTo>
                        <a:pt x="447" y="215"/>
                      </a:lnTo>
                      <a:lnTo>
                        <a:pt x="447" y="215"/>
                      </a:lnTo>
                      <a:lnTo>
                        <a:pt x="448" y="215"/>
                      </a:lnTo>
                      <a:lnTo>
                        <a:pt x="448" y="216"/>
                      </a:lnTo>
                      <a:lnTo>
                        <a:pt x="448" y="217"/>
                      </a:lnTo>
                      <a:lnTo>
                        <a:pt x="449" y="217"/>
                      </a:lnTo>
                      <a:lnTo>
                        <a:pt x="449" y="217"/>
                      </a:lnTo>
                      <a:lnTo>
                        <a:pt x="450" y="217"/>
                      </a:lnTo>
                      <a:lnTo>
                        <a:pt x="451" y="217"/>
                      </a:lnTo>
                      <a:lnTo>
                        <a:pt x="451" y="217"/>
                      </a:lnTo>
                      <a:lnTo>
                        <a:pt x="451" y="216"/>
                      </a:lnTo>
                      <a:lnTo>
                        <a:pt x="451" y="215"/>
                      </a:lnTo>
                      <a:lnTo>
                        <a:pt x="450" y="215"/>
                      </a:lnTo>
                      <a:lnTo>
                        <a:pt x="449" y="215"/>
                      </a:lnTo>
                      <a:lnTo>
                        <a:pt x="449" y="215"/>
                      </a:lnTo>
                      <a:lnTo>
                        <a:pt x="450" y="215"/>
                      </a:lnTo>
                      <a:lnTo>
                        <a:pt x="450" y="214"/>
                      </a:lnTo>
                      <a:lnTo>
                        <a:pt x="450" y="213"/>
                      </a:lnTo>
                      <a:lnTo>
                        <a:pt x="451" y="213"/>
                      </a:lnTo>
                      <a:lnTo>
                        <a:pt x="451" y="213"/>
                      </a:lnTo>
                      <a:lnTo>
                        <a:pt x="452" y="212"/>
                      </a:lnTo>
                      <a:lnTo>
                        <a:pt x="453" y="212"/>
                      </a:lnTo>
                      <a:lnTo>
                        <a:pt x="453" y="211"/>
                      </a:lnTo>
                      <a:lnTo>
                        <a:pt x="453" y="211"/>
                      </a:lnTo>
                      <a:lnTo>
                        <a:pt x="453" y="211"/>
                      </a:lnTo>
                      <a:lnTo>
                        <a:pt x="453" y="210"/>
                      </a:lnTo>
                      <a:lnTo>
                        <a:pt x="453" y="209"/>
                      </a:lnTo>
                      <a:lnTo>
                        <a:pt x="453" y="209"/>
                      </a:lnTo>
                      <a:lnTo>
                        <a:pt x="452" y="208"/>
                      </a:lnTo>
                      <a:lnTo>
                        <a:pt x="452" y="208"/>
                      </a:lnTo>
                      <a:lnTo>
                        <a:pt x="453" y="208"/>
                      </a:lnTo>
                      <a:lnTo>
                        <a:pt x="453" y="207"/>
                      </a:lnTo>
                      <a:lnTo>
                        <a:pt x="453" y="206"/>
                      </a:lnTo>
                      <a:lnTo>
                        <a:pt x="453" y="206"/>
                      </a:lnTo>
                      <a:lnTo>
                        <a:pt x="453" y="205"/>
                      </a:lnTo>
                      <a:lnTo>
                        <a:pt x="453" y="204"/>
                      </a:lnTo>
                      <a:lnTo>
                        <a:pt x="453" y="204"/>
                      </a:lnTo>
                      <a:lnTo>
                        <a:pt x="453" y="204"/>
                      </a:lnTo>
                      <a:lnTo>
                        <a:pt x="453" y="203"/>
                      </a:lnTo>
                      <a:lnTo>
                        <a:pt x="452" y="203"/>
                      </a:lnTo>
                      <a:lnTo>
                        <a:pt x="452" y="202"/>
                      </a:lnTo>
                      <a:lnTo>
                        <a:pt x="453" y="202"/>
                      </a:lnTo>
                      <a:lnTo>
                        <a:pt x="453" y="202"/>
                      </a:lnTo>
                      <a:lnTo>
                        <a:pt x="453" y="201"/>
                      </a:lnTo>
                      <a:lnTo>
                        <a:pt x="453" y="200"/>
                      </a:lnTo>
                      <a:lnTo>
                        <a:pt x="453" y="200"/>
                      </a:lnTo>
                      <a:lnTo>
                        <a:pt x="453" y="199"/>
                      </a:lnTo>
                      <a:lnTo>
                        <a:pt x="453" y="198"/>
                      </a:lnTo>
                      <a:lnTo>
                        <a:pt x="454" y="198"/>
                      </a:lnTo>
                      <a:lnTo>
                        <a:pt x="454" y="198"/>
                      </a:lnTo>
                      <a:lnTo>
                        <a:pt x="454" y="197"/>
                      </a:lnTo>
                      <a:lnTo>
                        <a:pt x="454" y="196"/>
                      </a:lnTo>
                      <a:lnTo>
                        <a:pt x="453" y="196"/>
                      </a:lnTo>
                      <a:lnTo>
                        <a:pt x="453" y="196"/>
                      </a:lnTo>
                      <a:lnTo>
                        <a:pt x="453" y="196"/>
                      </a:lnTo>
                      <a:lnTo>
                        <a:pt x="453" y="195"/>
                      </a:lnTo>
                      <a:lnTo>
                        <a:pt x="453" y="194"/>
                      </a:lnTo>
                      <a:lnTo>
                        <a:pt x="454" y="194"/>
                      </a:lnTo>
                      <a:lnTo>
                        <a:pt x="454" y="194"/>
                      </a:lnTo>
                      <a:lnTo>
                        <a:pt x="454" y="193"/>
                      </a:lnTo>
                      <a:lnTo>
                        <a:pt x="453" y="193"/>
                      </a:lnTo>
                      <a:lnTo>
                        <a:pt x="453" y="192"/>
                      </a:lnTo>
                      <a:lnTo>
                        <a:pt x="453" y="192"/>
                      </a:lnTo>
                      <a:lnTo>
                        <a:pt x="453" y="191"/>
                      </a:lnTo>
                      <a:lnTo>
                        <a:pt x="453" y="190"/>
                      </a:lnTo>
                      <a:lnTo>
                        <a:pt x="453" y="189"/>
                      </a:lnTo>
                      <a:lnTo>
                        <a:pt x="453" y="189"/>
                      </a:lnTo>
                      <a:lnTo>
                        <a:pt x="453" y="188"/>
                      </a:lnTo>
                      <a:lnTo>
                        <a:pt x="453" y="187"/>
                      </a:lnTo>
                      <a:lnTo>
                        <a:pt x="453" y="186"/>
                      </a:lnTo>
                      <a:lnTo>
                        <a:pt x="453" y="185"/>
                      </a:lnTo>
                      <a:lnTo>
                        <a:pt x="453" y="184"/>
                      </a:lnTo>
                      <a:lnTo>
                        <a:pt x="453" y="183"/>
                      </a:lnTo>
                      <a:lnTo>
                        <a:pt x="453" y="183"/>
                      </a:lnTo>
                      <a:lnTo>
                        <a:pt x="453" y="181"/>
                      </a:lnTo>
                      <a:lnTo>
                        <a:pt x="454" y="181"/>
                      </a:lnTo>
                      <a:lnTo>
                        <a:pt x="455" y="181"/>
                      </a:lnTo>
                      <a:lnTo>
                        <a:pt x="456" y="181"/>
                      </a:lnTo>
                      <a:lnTo>
                        <a:pt x="456" y="181"/>
                      </a:lnTo>
                      <a:lnTo>
                        <a:pt x="456" y="180"/>
                      </a:lnTo>
                      <a:lnTo>
                        <a:pt x="456" y="179"/>
                      </a:lnTo>
                      <a:lnTo>
                        <a:pt x="456" y="179"/>
                      </a:lnTo>
                      <a:lnTo>
                        <a:pt x="455" y="179"/>
                      </a:lnTo>
                      <a:lnTo>
                        <a:pt x="455" y="178"/>
                      </a:lnTo>
                      <a:lnTo>
                        <a:pt x="454" y="178"/>
                      </a:lnTo>
                      <a:lnTo>
                        <a:pt x="455" y="177"/>
                      </a:lnTo>
                      <a:lnTo>
                        <a:pt x="455" y="177"/>
                      </a:lnTo>
                      <a:lnTo>
                        <a:pt x="456" y="177"/>
                      </a:lnTo>
                      <a:lnTo>
                        <a:pt x="456" y="177"/>
                      </a:lnTo>
                      <a:lnTo>
                        <a:pt x="456" y="177"/>
                      </a:lnTo>
                      <a:lnTo>
                        <a:pt x="456" y="178"/>
                      </a:lnTo>
                      <a:lnTo>
                        <a:pt x="457" y="178"/>
                      </a:lnTo>
                      <a:lnTo>
                        <a:pt x="457" y="177"/>
                      </a:lnTo>
                      <a:lnTo>
                        <a:pt x="458" y="177"/>
                      </a:lnTo>
                      <a:lnTo>
                        <a:pt x="458" y="177"/>
                      </a:lnTo>
                      <a:lnTo>
                        <a:pt x="458" y="176"/>
                      </a:lnTo>
                      <a:lnTo>
                        <a:pt x="459" y="176"/>
                      </a:lnTo>
                      <a:lnTo>
                        <a:pt x="460" y="176"/>
                      </a:lnTo>
                      <a:lnTo>
                        <a:pt x="460" y="177"/>
                      </a:lnTo>
                      <a:lnTo>
                        <a:pt x="461" y="177"/>
                      </a:lnTo>
                      <a:lnTo>
                        <a:pt x="462" y="177"/>
                      </a:lnTo>
                      <a:lnTo>
                        <a:pt x="462" y="178"/>
                      </a:lnTo>
                      <a:lnTo>
                        <a:pt x="463" y="178"/>
                      </a:lnTo>
                      <a:lnTo>
                        <a:pt x="464" y="179"/>
                      </a:lnTo>
                      <a:lnTo>
                        <a:pt x="464" y="178"/>
                      </a:lnTo>
                      <a:lnTo>
                        <a:pt x="465" y="178"/>
                      </a:lnTo>
                      <a:lnTo>
                        <a:pt x="466" y="178"/>
                      </a:lnTo>
                      <a:lnTo>
                        <a:pt x="466" y="178"/>
                      </a:lnTo>
                      <a:lnTo>
                        <a:pt x="467" y="178"/>
                      </a:lnTo>
                      <a:lnTo>
                        <a:pt x="468" y="178"/>
                      </a:lnTo>
                      <a:lnTo>
                        <a:pt x="468" y="178"/>
                      </a:lnTo>
                      <a:lnTo>
                        <a:pt x="469" y="178"/>
                      </a:lnTo>
                      <a:lnTo>
                        <a:pt x="469" y="179"/>
                      </a:lnTo>
                      <a:lnTo>
                        <a:pt x="470" y="179"/>
                      </a:lnTo>
                      <a:lnTo>
                        <a:pt x="470" y="179"/>
                      </a:lnTo>
                      <a:lnTo>
                        <a:pt x="470" y="179"/>
                      </a:lnTo>
                      <a:lnTo>
                        <a:pt x="470" y="179"/>
                      </a:lnTo>
                      <a:lnTo>
                        <a:pt x="470" y="180"/>
                      </a:lnTo>
                      <a:lnTo>
                        <a:pt x="470" y="181"/>
                      </a:lnTo>
                      <a:lnTo>
                        <a:pt x="470" y="181"/>
                      </a:lnTo>
                      <a:lnTo>
                        <a:pt x="471" y="181"/>
                      </a:lnTo>
                      <a:lnTo>
                        <a:pt x="472" y="181"/>
                      </a:lnTo>
                      <a:lnTo>
                        <a:pt x="472" y="182"/>
                      </a:lnTo>
                      <a:lnTo>
                        <a:pt x="472" y="182"/>
                      </a:lnTo>
                      <a:lnTo>
                        <a:pt x="472" y="181"/>
                      </a:lnTo>
                      <a:lnTo>
                        <a:pt x="473" y="181"/>
                      </a:lnTo>
                      <a:lnTo>
                        <a:pt x="474" y="181"/>
                      </a:lnTo>
                      <a:lnTo>
                        <a:pt x="475" y="181"/>
                      </a:lnTo>
                      <a:lnTo>
                        <a:pt x="475" y="181"/>
                      </a:lnTo>
                      <a:lnTo>
                        <a:pt x="476" y="181"/>
                      </a:lnTo>
                      <a:lnTo>
                        <a:pt x="477" y="181"/>
                      </a:lnTo>
                      <a:lnTo>
                        <a:pt x="477" y="181"/>
                      </a:lnTo>
                      <a:lnTo>
                        <a:pt x="477" y="181"/>
                      </a:lnTo>
                      <a:lnTo>
                        <a:pt x="478" y="182"/>
                      </a:lnTo>
                      <a:lnTo>
                        <a:pt x="478" y="183"/>
                      </a:lnTo>
                      <a:lnTo>
                        <a:pt x="479" y="183"/>
                      </a:lnTo>
                      <a:lnTo>
                        <a:pt x="479" y="182"/>
                      </a:lnTo>
                      <a:lnTo>
                        <a:pt x="480" y="181"/>
                      </a:lnTo>
                      <a:lnTo>
                        <a:pt x="480" y="181"/>
                      </a:lnTo>
                      <a:lnTo>
                        <a:pt x="481" y="181"/>
                      </a:lnTo>
                      <a:lnTo>
                        <a:pt x="481" y="180"/>
                      </a:lnTo>
                      <a:lnTo>
                        <a:pt x="482" y="180"/>
                      </a:lnTo>
                      <a:lnTo>
                        <a:pt x="482" y="179"/>
                      </a:lnTo>
                      <a:lnTo>
                        <a:pt x="483" y="180"/>
                      </a:lnTo>
                      <a:lnTo>
                        <a:pt x="483" y="180"/>
                      </a:lnTo>
                      <a:lnTo>
                        <a:pt x="484" y="181"/>
                      </a:lnTo>
                      <a:lnTo>
                        <a:pt x="485" y="181"/>
                      </a:lnTo>
                      <a:lnTo>
                        <a:pt x="485" y="181"/>
                      </a:lnTo>
                      <a:lnTo>
                        <a:pt x="485" y="181"/>
                      </a:lnTo>
                      <a:lnTo>
                        <a:pt x="486" y="181"/>
                      </a:lnTo>
                      <a:lnTo>
                        <a:pt x="486" y="181"/>
                      </a:lnTo>
                      <a:lnTo>
                        <a:pt x="486" y="180"/>
                      </a:lnTo>
                      <a:lnTo>
                        <a:pt x="486" y="179"/>
                      </a:lnTo>
                      <a:lnTo>
                        <a:pt x="485" y="179"/>
                      </a:lnTo>
                      <a:lnTo>
                        <a:pt x="485" y="179"/>
                      </a:lnTo>
                      <a:lnTo>
                        <a:pt x="485" y="178"/>
                      </a:lnTo>
                      <a:lnTo>
                        <a:pt x="486" y="178"/>
                      </a:lnTo>
                      <a:lnTo>
                        <a:pt x="486" y="177"/>
                      </a:lnTo>
                      <a:lnTo>
                        <a:pt x="487" y="177"/>
                      </a:lnTo>
                      <a:lnTo>
                        <a:pt x="487" y="177"/>
                      </a:lnTo>
                      <a:lnTo>
                        <a:pt x="487" y="177"/>
                      </a:lnTo>
                      <a:lnTo>
                        <a:pt x="488" y="177"/>
                      </a:lnTo>
                      <a:lnTo>
                        <a:pt x="489" y="177"/>
                      </a:lnTo>
                      <a:lnTo>
                        <a:pt x="489" y="177"/>
                      </a:lnTo>
                      <a:lnTo>
                        <a:pt x="489" y="177"/>
                      </a:lnTo>
                      <a:lnTo>
                        <a:pt x="490" y="177"/>
                      </a:lnTo>
                      <a:lnTo>
                        <a:pt x="490" y="178"/>
                      </a:lnTo>
                      <a:lnTo>
                        <a:pt x="491" y="178"/>
                      </a:lnTo>
                      <a:lnTo>
                        <a:pt x="491" y="178"/>
                      </a:lnTo>
                      <a:lnTo>
                        <a:pt x="492" y="178"/>
                      </a:lnTo>
                      <a:lnTo>
                        <a:pt x="493" y="178"/>
                      </a:lnTo>
                      <a:lnTo>
                        <a:pt x="493" y="179"/>
                      </a:lnTo>
                      <a:lnTo>
                        <a:pt x="494" y="179"/>
                      </a:lnTo>
                      <a:lnTo>
                        <a:pt x="494" y="179"/>
                      </a:lnTo>
                      <a:lnTo>
                        <a:pt x="495" y="179"/>
                      </a:lnTo>
                      <a:lnTo>
                        <a:pt x="496" y="179"/>
                      </a:lnTo>
                      <a:lnTo>
                        <a:pt x="496" y="179"/>
                      </a:lnTo>
                      <a:lnTo>
                        <a:pt x="497" y="179"/>
                      </a:lnTo>
                      <a:lnTo>
                        <a:pt x="497" y="178"/>
                      </a:lnTo>
                      <a:lnTo>
                        <a:pt x="497" y="177"/>
                      </a:lnTo>
                      <a:lnTo>
                        <a:pt x="497" y="177"/>
                      </a:lnTo>
                      <a:lnTo>
                        <a:pt x="496" y="177"/>
                      </a:lnTo>
                      <a:lnTo>
                        <a:pt x="497" y="177"/>
                      </a:lnTo>
                      <a:lnTo>
                        <a:pt x="498" y="176"/>
                      </a:lnTo>
                      <a:lnTo>
                        <a:pt x="498" y="176"/>
                      </a:lnTo>
                      <a:lnTo>
                        <a:pt x="498" y="177"/>
                      </a:lnTo>
                      <a:lnTo>
                        <a:pt x="499" y="177"/>
                      </a:lnTo>
                      <a:lnTo>
                        <a:pt x="500" y="177"/>
                      </a:lnTo>
                      <a:lnTo>
                        <a:pt x="500" y="178"/>
                      </a:lnTo>
                      <a:lnTo>
                        <a:pt x="500" y="179"/>
                      </a:lnTo>
                      <a:lnTo>
                        <a:pt x="500" y="179"/>
                      </a:lnTo>
                      <a:lnTo>
                        <a:pt x="500" y="180"/>
                      </a:lnTo>
                      <a:lnTo>
                        <a:pt x="500" y="181"/>
                      </a:lnTo>
                      <a:lnTo>
                        <a:pt x="501" y="181"/>
                      </a:lnTo>
                      <a:lnTo>
                        <a:pt x="501" y="180"/>
                      </a:lnTo>
                      <a:lnTo>
                        <a:pt x="502" y="180"/>
                      </a:lnTo>
                      <a:lnTo>
                        <a:pt x="502" y="180"/>
                      </a:lnTo>
                      <a:lnTo>
                        <a:pt x="503" y="180"/>
                      </a:lnTo>
                      <a:lnTo>
                        <a:pt x="504" y="180"/>
                      </a:lnTo>
                      <a:lnTo>
                        <a:pt x="504" y="179"/>
                      </a:lnTo>
                      <a:lnTo>
                        <a:pt x="504" y="179"/>
                      </a:lnTo>
                      <a:lnTo>
                        <a:pt x="504" y="180"/>
                      </a:lnTo>
                      <a:lnTo>
                        <a:pt x="504" y="181"/>
                      </a:lnTo>
                      <a:lnTo>
                        <a:pt x="504" y="181"/>
                      </a:lnTo>
                      <a:lnTo>
                        <a:pt x="504" y="181"/>
                      </a:lnTo>
                      <a:lnTo>
                        <a:pt x="504" y="181"/>
                      </a:lnTo>
                      <a:lnTo>
                        <a:pt x="504" y="182"/>
                      </a:lnTo>
                      <a:lnTo>
                        <a:pt x="504" y="183"/>
                      </a:lnTo>
                      <a:lnTo>
                        <a:pt x="504" y="183"/>
                      </a:lnTo>
                      <a:lnTo>
                        <a:pt x="504" y="184"/>
                      </a:lnTo>
                      <a:lnTo>
                        <a:pt x="504" y="185"/>
                      </a:lnTo>
                      <a:lnTo>
                        <a:pt x="504" y="185"/>
                      </a:lnTo>
                      <a:lnTo>
                        <a:pt x="503" y="185"/>
                      </a:lnTo>
                      <a:lnTo>
                        <a:pt x="503" y="186"/>
                      </a:lnTo>
                      <a:lnTo>
                        <a:pt x="503" y="187"/>
                      </a:lnTo>
                      <a:lnTo>
                        <a:pt x="502" y="187"/>
                      </a:lnTo>
                      <a:lnTo>
                        <a:pt x="503" y="187"/>
                      </a:lnTo>
                      <a:lnTo>
                        <a:pt x="503" y="188"/>
                      </a:lnTo>
                      <a:lnTo>
                        <a:pt x="503" y="189"/>
                      </a:lnTo>
                      <a:lnTo>
                        <a:pt x="503" y="189"/>
                      </a:lnTo>
                      <a:lnTo>
                        <a:pt x="502" y="189"/>
                      </a:lnTo>
                      <a:lnTo>
                        <a:pt x="502" y="190"/>
                      </a:lnTo>
                      <a:lnTo>
                        <a:pt x="502" y="191"/>
                      </a:lnTo>
                      <a:lnTo>
                        <a:pt x="502" y="191"/>
                      </a:lnTo>
                      <a:lnTo>
                        <a:pt x="502" y="192"/>
                      </a:lnTo>
                      <a:lnTo>
                        <a:pt x="502" y="192"/>
                      </a:lnTo>
                      <a:lnTo>
                        <a:pt x="502" y="192"/>
                      </a:lnTo>
                      <a:lnTo>
                        <a:pt x="502" y="192"/>
                      </a:lnTo>
                      <a:lnTo>
                        <a:pt x="502" y="192"/>
                      </a:lnTo>
                      <a:lnTo>
                        <a:pt x="502" y="193"/>
                      </a:lnTo>
                      <a:lnTo>
                        <a:pt x="502" y="194"/>
                      </a:lnTo>
                      <a:lnTo>
                        <a:pt x="502" y="194"/>
                      </a:lnTo>
                      <a:lnTo>
                        <a:pt x="501" y="194"/>
                      </a:lnTo>
                      <a:lnTo>
                        <a:pt x="501" y="194"/>
                      </a:lnTo>
                      <a:lnTo>
                        <a:pt x="501" y="195"/>
                      </a:lnTo>
                      <a:lnTo>
                        <a:pt x="501" y="196"/>
                      </a:lnTo>
                      <a:lnTo>
                        <a:pt x="501" y="196"/>
                      </a:lnTo>
                      <a:lnTo>
                        <a:pt x="501" y="197"/>
                      </a:lnTo>
                      <a:lnTo>
                        <a:pt x="501" y="198"/>
                      </a:lnTo>
                      <a:lnTo>
                        <a:pt x="501" y="198"/>
                      </a:lnTo>
                      <a:lnTo>
                        <a:pt x="501" y="199"/>
                      </a:lnTo>
                      <a:lnTo>
                        <a:pt x="500" y="199"/>
                      </a:lnTo>
                      <a:lnTo>
                        <a:pt x="500" y="200"/>
                      </a:lnTo>
                      <a:lnTo>
                        <a:pt x="500" y="200"/>
                      </a:lnTo>
                      <a:lnTo>
                        <a:pt x="500" y="200"/>
                      </a:lnTo>
                      <a:lnTo>
                        <a:pt x="499" y="200"/>
                      </a:lnTo>
                      <a:lnTo>
                        <a:pt x="499" y="201"/>
                      </a:lnTo>
                      <a:lnTo>
                        <a:pt x="498" y="201"/>
                      </a:lnTo>
                      <a:lnTo>
                        <a:pt x="498" y="202"/>
                      </a:lnTo>
                      <a:lnTo>
                        <a:pt x="498" y="202"/>
                      </a:lnTo>
                      <a:lnTo>
                        <a:pt x="497" y="203"/>
                      </a:lnTo>
                      <a:lnTo>
                        <a:pt x="497" y="204"/>
                      </a:lnTo>
                      <a:lnTo>
                        <a:pt x="497" y="206"/>
                      </a:lnTo>
                      <a:lnTo>
                        <a:pt x="497" y="207"/>
                      </a:lnTo>
                      <a:lnTo>
                        <a:pt x="496" y="207"/>
                      </a:lnTo>
                      <a:lnTo>
                        <a:pt x="496" y="209"/>
                      </a:lnTo>
                      <a:lnTo>
                        <a:pt x="495" y="211"/>
                      </a:lnTo>
                      <a:lnTo>
                        <a:pt x="495" y="212"/>
                      </a:lnTo>
                      <a:lnTo>
                        <a:pt x="495" y="213"/>
                      </a:lnTo>
                      <a:lnTo>
                        <a:pt x="495" y="213"/>
                      </a:lnTo>
                      <a:lnTo>
                        <a:pt x="494" y="215"/>
                      </a:lnTo>
                      <a:lnTo>
                        <a:pt x="495" y="216"/>
                      </a:lnTo>
                      <a:lnTo>
                        <a:pt x="495" y="217"/>
                      </a:lnTo>
                      <a:lnTo>
                        <a:pt x="495" y="217"/>
                      </a:lnTo>
                      <a:lnTo>
                        <a:pt x="496" y="218"/>
                      </a:lnTo>
                      <a:lnTo>
                        <a:pt x="496" y="219"/>
                      </a:lnTo>
                      <a:lnTo>
                        <a:pt x="496" y="220"/>
                      </a:lnTo>
                      <a:lnTo>
                        <a:pt x="496" y="221"/>
                      </a:lnTo>
                      <a:lnTo>
                        <a:pt x="497" y="222"/>
                      </a:lnTo>
                      <a:lnTo>
                        <a:pt x="497" y="223"/>
                      </a:lnTo>
                      <a:lnTo>
                        <a:pt x="496" y="223"/>
                      </a:lnTo>
                      <a:lnTo>
                        <a:pt x="496" y="223"/>
                      </a:lnTo>
                      <a:lnTo>
                        <a:pt x="496" y="225"/>
                      </a:lnTo>
                      <a:lnTo>
                        <a:pt x="497" y="226"/>
                      </a:lnTo>
                      <a:lnTo>
                        <a:pt x="499" y="228"/>
                      </a:lnTo>
                      <a:lnTo>
                        <a:pt x="500" y="230"/>
                      </a:lnTo>
                      <a:lnTo>
                        <a:pt x="500" y="232"/>
                      </a:lnTo>
                      <a:lnTo>
                        <a:pt x="500" y="235"/>
                      </a:lnTo>
                      <a:lnTo>
                        <a:pt x="502" y="237"/>
                      </a:lnTo>
                      <a:lnTo>
                        <a:pt x="502" y="240"/>
                      </a:lnTo>
                      <a:lnTo>
                        <a:pt x="501" y="242"/>
                      </a:lnTo>
                      <a:lnTo>
                        <a:pt x="501" y="251"/>
                      </a:lnTo>
                      <a:lnTo>
                        <a:pt x="502" y="252"/>
                      </a:lnTo>
                      <a:lnTo>
                        <a:pt x="501" y="253"/>
                      </a:lnTo>
                      <a:lnTo>
                        <a:pt x="501" y="257"/>
                      </a:lnTo>
                      <a:lnTo>
                        <a:pt x="501" y="257"/>
                      </a:lnTo>
                      <a:lnTo>
                        <a:pt x="500" y="257"/>
                      </a:lnTo>
                      <a:lnTo>
                        <a:pt x="500" y="258"/>
                      </a:lnTo>
                      <a:lnTo>
                        <a:pt x="500" y="258"/>
                      </a:lnTo>
                      <a:lnTo>
                        <a:pt x="500" y="259"/>
                      </a:lnTo>
                      <a:lnTo>
                        <a:pt x="500" y="259"/>
                      </a:lnTo>
                      <a:lnTo>
                        <a:pt x="500" y="259"/>
                      </a:lnTo>
                      <a:lnTo>
                        <a:pt x="500" y="259"/>
                      </a:lnTo>
                      <a:lnTo>
                        <a:pt x="500" y="260"/>
                      </a:lnTo>
                      <a:lnTo>
                        <a:pt x="499" y="260"/>
                      </a:lnTo>
                      <a:lnTo>
                        <a:pt x="499" y="261"/>
                      </a:lnTo>
                      <a:lnTo>
                        <a:pt x="499" y="261"/>
                      </a:lnTo>
                      <a:lnTo>
                        <a:pt x="500" y="262"/>
                      </a:lnTo>
                      <a:lnTo>
                        <a:pt x="500" y="263"/>
                      </a:lnTo>
                      <a:lnTo>
                        <a:pt x="500" y="263"/>
                      </a:lnTo>
                      <a:lnTo>
                        <a:pt x="500" y="264"/>
                      </a:lnTo>
                      <a:lnTo>
                        <a:pt x="500" y="265"/>
                      </a:lnTo>
                      <a:lnTo>
                        <a:pt x="500" y="265"/>
                      </a:lnTo>
                      <a:lnTo>
                        <a:pt x="501" y="265"/>
                      </a:lnTo>
                      <a:lnTo>
                        <a:pt x="501" y="265"/>
                      </a:lnTo>
                      <a:lnTo>
                        <a:pt x="502" y="265"/>
                      </a:lnTo>
                      <a:lnTo>
                        <a:pt x="502" y="266"/>
                      </a:lnTo>
                      <a:lnTo>
                        <a:pt x="502" y="266"/>
                      </a:lnTo>
                      <a:lnTo>
                        <a:pt x="502" y="267"/>
                      </a:lnTo>
                      <a:lnTo>
                        <a:pt x="502" y="267"/>
                      </a:lnTo>
                      <a:lnTo>
                        <a:pt x="503" y="267"/>
                      </a:lnTo>
                      <a:lnTo>
                        <a:pt x="503" y="268"/>
                      </a:lnTo>
                      <a:lnTo>
                        <a:pt x="502" y="268"/>
                      </a:lnTo>
                      <a:lnTo>
                        <a:pt x="502" y="269"/>
                      </a:lnTo>
                      <a:lnTo>
                        <a:pt x="502" y="269"/>
                      </a:lnTo>
                      <a:lnTo>
                        <a:pt x="502" y="270"/>
                      </a:lnTo>
                      <a:lnTo>
                        <a:pt x="501" y="270"/>
                      </a:lnTo>
                      <a:lnTo>
                        <a:pt x="501" y="270"/>
                      </a:lnTo>
                      <a:lnTo>
                        <a:pt x="501" y="271"/>
                      </a:lnTo>
                      <a:lnTo>
                        <a:pt x="500" y="271"/>
                      </a:lnTo>
                      <a:lnTo>
                        <a:pt x="500" y="272"/>
                      </a:lnTo>
                      <a:lnTo>
                        <a:pt x="500" y="272"/>
                      </a:lnTo>
                      <a:lnTo>
                        <a:pt x="501" y="273"/>
                      </a:lnTo>
                      <a:lnTo>
                        <a:pt x="502" y="274"/>
                      </a:lnTo>
                      <a:lnTo>
                        <a:pt x="502" y="274"/>
                      </a:lnTo>
                      <a:lnTo>
                        <a:pt x="502" y="275"/>
                      </a:lnTo>
                      <a:lnTo>
                        <a:pt x="502" y="276"/>
                      </a:lnTo>
                      <a:lnTo>
                        <a:pt x="502" y="277"/>
                      </a:lnTo>
                      <a:lnTo>
                        <a:pt x="502" y="278"/>
                      </a:lnTo>
                      <a:lnTo>
                        <a:pt x="501" y="278"/>
                      </a:lnTo>
                      <a:lnTo>
                        <a:pt x="501" y="279"/>
                      </a:lnTo>
                      <a:lnTo>
                        <a:pt x="502" y="280"/>
                      </a:lnTo>
                      <a:lnTo>
                        <a:pt x="502" y="280"/>
                      </a:lnTo>
                      <a:lnTo>
                        <a:pt x="502" y="281"/>
                      </a:lnTo>
                      <a:lnTo>
                        <a:pt x="502" y="282"/>
                      </a:lnTo>
                      <a:lnTo>
                        <a:pt x="502" y="284"/>
                      </a:lnTo>
                      <a:lnTo>
                        <a:pt x="502" y="284"/>
                      </a:lnTo>
                      <a:lnTo>
                        <a:pt x="502" y="286"/>
                      </a:lnTo>
                      <a:lnTo>
                        <a:pt x="503" y="287"/>
                      </a:lnTo>
                      <a:lnTo>
                        <a:pt x="505" y="293"/>
                      </a:lnTo>
                      <a:lnTo>
                        <a:pt x="504" y="293"/>
                      </a:lnTo>
                      <a:lnTo>
                        <a:pt x="504" y="294"/>
                      </a:lnTo>
                      <a:lnTo>
                        <a:pt x="506" y="296"/>
                      </a:lnTo>
                      <a:lnTo>
                        <a:pt x="506" y="297"/>
                      </a:lnTo>
                      <a:lnTo>
                        <a:pt x="505" y="298"/>
                      </a:lnTo>
                      <a:lnTo>
                        <a:pt x="505" y="299"/>
                      </a:lnTo>
                      <a:lnTo>
                        <a:pt x="505" y="300"/>
                      </a:lnTo>
                      <a:lnTo>
                        <a:pt x="505" y="301"/>
                      </a:lnTo>
                      <a:lnTo>
                        <a:pt x="505" y="301"/>
                      </a:lnTo>
                      <a:lnTo>
                        <a:pt x="506" y="302"/>
                      </a:lnTo>
                      <a:lnTo>
                        <a:pt x="505" y="302"/>
                      </a:lnTo>
                      <a:lnTo>
                        <a:pt x="504" y="303"/>
                      </a:lnTo>
                      <a:lnTo>
                        <a:pt x="504" y="303"/>
                      </a:lnTo>
                      <a:lnTo>
                        <a:pt x="504" y="303"/>
                      </a:lnTo>
                      <a:lnTo>
                        <a:pt x="504" y="304"/>
                      </a:lnTo>
                      <a:lnTo>
                        <a:pt x="504" y="305"/>
                      </a:lnTo>
                      <a:lnTo>
                        <a:pt x="504" y="305"/>
                      </a:lnTo>
                      <a:lnTo>
                        <a:pt x="504" y="305"/>
                      </a:lnTo>
                      <a:lnTo>
                        <a:pt x="504" y="306"/>
                      </a:lnTo>
                      <a:lnTo>
                        <a:pt x="504" y="307"/>
                      </a:lnTo>
                      <a:lnTo>
                        <a:pt x="504" y="307"/>
                      </a:lnTo>
                      <a:lnTo>
                        <a:pt x="504" y="308"/>
                      </a:lnTo>
                      <a:lnTo>
                        <a:pt x="504" y="309"/>
                      </a:lnTo>
                      <a:lnTo>
                        <a:pt x="504" y="310"/>
                      </a:lnTo>
                      <a:lnTo>
                        <a:pt x="504" y="310"/>
                      </a:lnTo>
                      <a:lnTo>
                        <a:pt x="504" y="310"/>
                      </a:lnTo>
                      <a:lnTo>
                        <a:pt x="504" y="311"/>
                      </a:lnTo>
                      <a:lnTo>
                        <a:pt x="504" y="311"/>
                      </a:lnTo>
                      <a:lnTo>
                        <a:pt x="504" y="312"/>
                      </a:lnTo>
                      <a:lnTo>
                        <a:pt x="504" y="312"/>
                      </a:lnTo>
                      <a:lnTo>
                        <a:pt x="504" y="313"/>
                      </a:lnTo>
                      <a:lnTo>
                        <a:pt x="504" y="312"/>
                      </a:lnTo>
                      <a:lnTo>
                        <a:pt x="504" y="313"/>
                      </a:lnTo>
                      <a:lnTo>
                        <a:pt x="503" y="313"/>
                      </a:lnTo>
                      <a:lnTo>
                        <a:pt x="503" y="314"/>
                      </a:lnTo>
                      <a:lnTo>
                        <a:pt x="503" y="314"/>
                      </a:lnTo>
                      <a:lnTo>
                        <a:pt x="504" y="314"/>
                      </a:lnTo>
                      <a:lnTo>
                        <a:pt x="504" y="315"/>
                      </a:lnTo>
                      <a:lnTo>
                        <a:pt x="503" y="315"/>
                      </a:lnTo>
                      <a:lnTo>
                        <a:pt x="504" y="316"/>
                      </a:lnTo>
                      <a:lnTo>
                        <a:pt x="504" y="316"/>
                      </a:lnTo>
                      <a:lnTo>
                        <a:pt x="504" y="317"/>
                      </a:lnTo>
                      <a:lnTo>
                        <a:pt x="504" y="318"/>
                      </a:lnTo>
                      <a:lnTo>
                        <a:pt x="504" y="318"/>
                      </a:lnTo>
                      <a:lnTo>
                        <a:pt x="504" y="319"/>
                      </a:lnTo>
                      <a:lnTo>
                        <a:pt x="504" y="320"/>
                      </a:lnTo>
                      <a:lnTo>
                        <a:pt x="504" y="320"/>
                      </a:lnTo>
                      <a:lnTo>
                        <a:pt x="504" y="320"/>
                      </a:lnTo>
                      <a:lnTo>
                        <a:pt x="505" y="320"/>
                      </a:lnTo>
                      <a:lnTo>
                        <a:pt x="505" y="321"/>
                      </a:lnTo>
                      <a:lnTo>
                        <a:pt x="505" y="322"/>
                      </a:lnTo>
                      <a:lnTo>
                        <a:pt x="506" y="322"/>
                      </a:lnTo>
                      <a:lnTo>
                        <a:pt x="506" y="322"/>
                      </a:lnTo>
                      <a:lnTo>
                        <a:pt x="506" y="323"/>
                      </a:lnTo>
                      <a:lnTo>
                        <a:pt x="506" y="324"/>
                      </a:lnTo>
                      <a:lnTo>
                        <a:pt x="507" y="324"/>
                      </a:lnTo>
                      <a:lnTo>
                        <a:pt x="507" y="324"/>
                      </a:lnTo>
                      <a:lnTo>
                        <a:pt x="508" y="324"/>
                      </a:lnTo>
                      <a:lnTo>
                        <a:pt x="508" y="325"/>
                      </a:lnTo>
                      <a:lnTo>
                        <a:pt x="508" y="325"/>
                      </a:lnTo>
                      <a:lnTo>
                        <a:pt x="508" y="326"/>
                      </a:lnTo>
                      <a:lnTo>
                        <a:pt x="508" y="326"/>
                      </a:lnTo>
                      <a:lnTo>
                        <a:pt x="508" y="326"/>
                      </a:lnTo>
                      <a:lnTo>
                        <a:pt x="508" y="327"/>
                      </a:lnTo>
                      <a:lnTo>
                        <a:pt x="508" y="328"/>
                      </a:lnTo>
                      <a:lnTo>
                        <a:pt x="507" y="328"/>
                      </a:lnTo>
                      <a:lnTo>
                        <a:pt x="507" y="327"/>
                      </a:lnTo>
                      <a:lnTo>
                        <a:pt x="507" y="328"/>
                      </a:lnTo>
                      <a:lnTo>
                        <a:pt x="506" y="328"/>
                      </a:lnTo>
                      <a:lnTo>
                        <a:pt x="506" y="329"/>
                      </a:lnTo>
                      <a:lnTo>
                        <a:pt x="506" y="329"/>
                      </a:lnTo>
                      <a:lnTo>
                        <a:pt x="506" y="330"/>
                      </a:lnTo>
                      <a:lnTo>
                        <a:pt x="505" y="330"/>
                      </a:lnTo>
                      <a:lnTo>
                        <a:pt x="505" y="331"/>
                      </a:lnTo>
                      <a:lnTo>
                        <a:pt x="505" y="331"/>
                      </a:lnTo>
                      <a:lnTo>
                        <a:pt x="505" y="332"/>
                      </a:lnTo>
                      <a:lnTo>
                        <a:pt x="505" y="333"/>
                      </a:lnTo>
                      <a:lnTo>
                        <a:pt x="505" y="333"/>
                      </a:lnTo>
                      <a:lnTo>
                        <a:pt x="505" y="334"/>
                      </a:lnTo>
                      <a:lnTo>
                        <a:pt x="505" y="335"/>
                      </a:lnTo>
                      <a:lnTo>
                        <a:pt x="505" y="335"/>
                      </a:lnTo>
                      <a:lnTo>
                        <a:pt x="505" y="336"/>
                      </a:lnTo>
                      <a:lnTo>
                        <a:pt x="505" y="337"/>
                      </a:lnTo>
                      <a:lnTo>
                        <a:pt x="504" y="337"/>
                      </a:lnTo>
                      <a:lnTo>
                        <a:pt x="505" y="337"/>
                      </a:lnTo>
                      <a:lnTo>
                        <a:pt x="505" y="337"/>
                      </a:lnTo>
                      <a:lnTo>
                        <a:pt x="505" y="338"/>
                      </a:lnTo>
                      <a:lnTo>
                        <a:pt x="506" y="338"/>
                      </a:lnTo>
                      <a:lnTo>
                        <a:pt x="506" y="339"/>
                      </a:lnTo>
                      <a:lnTo>
                        <a:pt x="506" y="339"/>
                      </a:lnTo>
                      <a:lnTo>
                        <a:pt x="506" y="339"/>
                      </a:lnTo>
                      <a:lnTo>
                        <a:pt x="506" y="340"/>
                      </a:lnTo>
                      <a:lnTo>
                        <a:pt x="506" y="341"/>
                      </a:lnTo>
                      <a:lnTo>
                        <a:pt x="506" y="341"/>
                      </a:lnTo>
                      <a:lnTo>
                        <a:pt x="506" y="342"/>
                      </a:lnTo>
                      <a:lnTo>
                        <a:pt x="506" y="343"/>
                      </a:lnTo>
                      <a:lnTo>
                        <a:pt x="505" y="343"/>
                      </a:lnTo>
                      <a:lnTo>
                        <a:pt x="505" y="343"/>
                      </a:lnTo>
                      <a:lnTo>
                        <a:pt x="505" y="344"/>
                      </a:lnTo>
                      <a:lnTo>
                        <a:pt x="505" y="345"/>
                      </a:lnTo>
                      <a:lnTo>
                        <a:pt x="504" y="345"/>
                      </a:lnTo>
                      <a:lnTo>
                        <a:pt x="504" y="345"/>
                      </a:lnTo>
                      <a:lnTo>
                        <a:pt x="504" y="345"/>
                      </a:lnTo>
                      <a:lnTo>
                        <a:pt x="504" y="346"/>
                      </a:lnTo>
                      <a:lnTo>
                        <a:pt x="504" y="347"/>
                      </a:lnTo>
                      <a:lnTo>
                        <a:pt x="504" y="347"/>
                      </a:lnTo>
                      <a:lnTo>
                        <a:pt x="504" y="348"/>
                      </a:lnTo>
                      <a:lnTo>
                        <a:pt x="503" y="348"/>
                      </a:lnTo>
                      <a:lnTo>
                        <a:pt x="503" y="349"/>
                      </a:lnTo>
                      <a:lnTo>
                        <a:pt x="503" y="350"/>
                      </a:lnTo>
                      <a:lnTo>
                        <a:pt x="503" y="350"/>
                      </a:lnTo>
                      <a:lnTo>
                        <a:pt x="503" y="351"/>
                      </a:lnTo>
                      <a:lnTo>
                        <a:pt x="503" y="352"/>
                      </a:lnTo>
                      <a:lnTo>
                        <a:pt x="503" y="352"/>
                      </a:lnTo>
                      <a:lnTo>
                        <a:pt x="502" y="352"/>
                      </a:lnTo>
                      <a:lnTo>
                        <a:pt x="502" y="353"/>
                      </a:lnTo>
                      <a:lnTo>
                        <a:pt x="502" y="354"/>
                      </a:lnTo>
                      <a:lnTo>
                        <a:pt x="502" y="354"/>
                      </a:lnTo>
                      <a:lnTo>
                        <a:pt x="502" y="355"/>
                      </a:lnTo>
                      <a:lnTo>
                        <a:pt x="502" y="356"/>
                      </a:lnTo>
                      <a:lnTo>
                        <a:pt x="502" y="356"/>
                      </a:lnTo>
                      <a:lnTo>
                        <a:pt x="502" y="356"/>
                      </a:lnTo>
                      <a:lnTo>
                        <a:pt x="502" y="357"/>
                      </a:lnTo>
                      <a:lnTo>
                        <a:pt x="502" y="358"/>
                      </a:lnTo>
                      <a:lnTo>
                        <a:pt x="502" y="358"/>
                      </a:lnTo>
                      <a:lnTo>
                        <a:pt x="502" y="358"/>
                      </a:lnTo>
                      <a:lnTo>
                        <a:pt x="502" y="359"/>
                      </a:lnTo>
                      <a:lnTo>
                        <a:pt x="502" y="360"/>
                      </a:lnTo>
                      <a:lnTo>
                        <a:pt x="502" y="360"/>
                      </a:lnTo>
                      <a:lnTo>
                        <a:pt x="502" y="360"/>
                      </a:lnTo>
                      <a:lnTo>
                        <a:pt x="502" y="361"/>
                      </a:lnTo>
                      <a:lnTo>
                        <a:pt x="502" y="362"/>
                      </a:lnTo>
                      <a:lnTo>
                        <a:pt x="502" y="362"/>
                      </a:lnTo>
                      <a:lnTo>
                        <a:pt x="502" y="363"/>
                      </a:lnTo>
                      <a:lnTo>
                        <a:pt x="502" y="364"/>
                      </a:lnTo>
                      <a:lnTo>
                        <a:pt x="502" y="364"/>
                      </a:lnTo>
                      <a:lnTo>
                        <a:pt x="502" y="365"/>
                      </a:lnTo>
                      <a:lnTo>
                        <a:pt x="502" y="366"/>
                      </a:lnTo>
                      <a:lnTo>
                        <a:pt x="502" y="366"/>
                      </a:lnTo>
                      <a:lnTo>
                        <a:pt x="501" y="366"/>
                      </a:lnTo>
                      <a:lnTo>
                        <a:pt x="501" y="367"/>
                      </a:lnTo>
                      <a:lnTo>
                        <a:pt x="501" y="368"/>
                      </a:lnTo>
                      <a:lnTo>
                        <a:pt x="502" y="369"/>
                      </a:lnTo>
                      <a:lnTo>
                        <a:pt x="502" y="369"/>
                      </a:lnTo>
                      <a:lnTo>
                        <a:pt x="502" y="370"/>
                      </a:lnTo>
                      <a:lnTo>
                        <a:pt x="502" y="371"/>
                      </a:lnTo>
                      <a:lnTo>
                        <a:pt x="502" y="371"/>
                      </a:lnTo>
                      <a:lnTo>
                        <a:pt x="502" y="372"/>
                      </a:lnTo>
                      <a:lnTo>
                        <a:pt x="502" y="373"/>
                      </a:lnTo>
                      <a:lnTo>
                        <a:pt x="502" y="373"/>
                      </a:lnTo>
                      <a:lnTo>
                        <a:pt x="502" y="374"/>
                      </a:lnTo>
                      <a:lnTo>
                        <a:pt x="502" y="375"/>
                      </a:lnTo>
                      <a:lnTo>
                        <a:pt x="502" y="375"/>
                      </a:lnTo>
                      <a:lnTo>
                        <a:pt x="502" y="376"/>
                      </a:lnTo>
                      <a:lnTo>
                        <a:pt x="502" y="377"/>
                      </a:lnTo>
                      <a:lnTo>
                        <a:pt x="502" y="377"/>
                      </a:lnTo>
                      <a:lnTo>
                        <a:pt x="502" y="378"/>
                      </a:lnTo>
                      <a:lnTo>
                        <a:pt x="502" y="379"/>
                      </a:lnTo>
                      <a:lnTo>
                        <a:pt x="502" y="379"/>
                      </a:lnTo>
                      <a:lnTo>
                        <a:pt x="502" y="379"/>
                      </a:lnTo>
                      <a:lnTo>
                        <a:pt x="502" y="380"/>
                      </a:lnTo>
                      <a:lnTo>
                        <a:pt x="502" y="381"/>
                      </a:lnTo>
                      <a:lnTo>
                        <a:pt x="502" y="381"/>
                      </a:lnTo>
                      <a:lnTo>
                        <a:pt x="502" y="382"/>
                      </a:lnTo>
                      <a:lnTo>
                        <a:pt x="502" y="383"/>
                      </a:lnTo>
                      <a:lnTo>
                        <a:pt x="502" y="383"/>
                      </a:lnTo>
                      <a:lnTo>
                        <a:pt x="502" y="384"/>
                      </a:lnTo>
                      <a:lnTo>
                        <a:pt x="502" y="384"/>
                      </a:lnTo>
                      <a:lnTo>
                        <a:pt x="502" y="385"/>
                      </a:lnTo>
                      <a:lnTo>
                        <a:pt x="502" y="385"/>
                      </a:lnTo>
                      <a:lnTo>
                        <a:pt x="502" y="386"/>
                      </a:lnTo>
                      <a:lnTo>
                        <a:pt x="502" y="387"/>
                      </a:lnTo>
                      <a:lnTo>
                        <a:pt x="503" y="387"/>
                      </a:lnTo>
                      <a:lnTo>
                        <a:pt x="503" y="388"/>
                      </a:lnTo>
                      <a:lnTo>
                        <a:pt x="503" y="388"/>
                      </a:lnTo>
                      <a:lnTo>
                        <a:pt x="504" y="388"/>
                      </a:lnTo>
                      <a:lnTo>
                        <a:pt x="504" y="389"/>
                      </a:lnTo>
                      <a:lnTo>
                        <a:pt x="504" y="390"/>
                      </a:lnTo>
                      <a:lnTo>
                        <a:pt x="504" y="390"/>
                      </a:lnTo>
                      <a:lnTo>
                        <a:pt x="504" y="391"/>
                      </a:lnTo>
                      <a:lnTo>
                        <a:pt x="504" y="392"/>
                      </a:lnTo>
                      <a:lnTo>
                        <a:pt x="504" y="392"/>
                      </a:lnTo>
                      <a:lnTo>
                        <a:pt x="504" y="393"/>
                      </a:lnTo>
                      <a:lnTo>
                        <a:pt x="504" y="393"/>
                      </a:lnTo>
                      <a:lnTo>
                        <a:pt x="504" y="394"/>
                      </a:lnTo>
                      <a:lnTo>
                        <a:pt x="504" y="394"/>
                      </a:lnTo>
                      <a:lnTo>
                        <a:pt x="504" y="395"/>
                      </a:lnTo>
                      <a:lnTo>
                        <a:pt x="504" y="396"/>
                      </a:lnTo>
                      <a:lnTo>
                        <a:pt x="504" y="396"/>
                      </a:lnTo>
                      <a:lnTo>
                        <a:pt x="504" y="397"/>
                      </a:lnTo>
                      <a:lnTo>
                        <a:pt x="504" y="398"/>
                      </a:lnTo>
                      <a:lnTo>
                        <a:pt x="504" y="398"/>
                      </a:lnTo>
                      <a:lnTo>
                        <a:pt x="504" y="398"/>
                      </a:lnTo>
                      <a:lnTo>
                        <a:pt x="504" y="399"/>
                      </a:lnTo>
                      <a:lnTo>
                        <a:pt x="504" y="400"/>
                      </a:lnTo>
                      <a:lnTo>
                        <a:pt x="504" y="400"/>
                      </a:lnTo>
                      <a:lnTo>
                        <a:pt x="503" y="401"/>
                      </a:lnTo>
                      <a:lnTo>
                        <a:pt x="503" y="402"/>
                      </a:lnTo>
                      <a:lnTo>
                        <a:pt x="502" y="402"/>
                      </a:lnTo>
                      <a:lnTo>
                        <a:pt x="502" y="402"/>
                      </a:lnTo>
                      <a:lnTo>
                        <a:pt x="502" y="403"/>
                      </a:lnTo>
                      <a:lnTo>
                        <a:pt x="502" y="404"/>
                      </a:lnTo>
                      <a:lnTo>
                        <a:pt x="502" y="404"/>
                      </a:lnTo>
                      <a:lnTo>
                        <a:pt x="502" y="405"/>
                      </a:lnTo>
                      <a:lnTo>
                        <a:pt x="502" y="406"/>
                      </a:lnTo>
                      <a:lnTo>
                        <a:pt x="502" y="406"/>
                      </a:lnTo>
                      <a:lnTo>
                        <a:pt x="502" y="407"/>
                      </a:lnTo>
                      <a:lnTo>
                        <a:pt x="502" y="407"/>
                      </a:lnTo>
                      <a:lnTo>
                        <a:pt x="502" y="408"/>
                      </a:lnTo>
                      <a:lnTo>
                        <a:pt x="502" y="409"/>
                      </a:lnTo>
                      <a:lnTo>
                        <a:pt x="502" y="409"/>
                      </a:lnTo>
                      <a:lnTo>
                        <a:pt x="502" y="410"/>
                      </a:lnTo>
                      <a:lnTo>
                        <a:pt x="503" y="410"/>
                      </a:lnTo>
                      <a:lnTo>
                        <a:pt x="503" y="411"/>
                      </a:lnTo>
                      <a:lnTo>
                        <a:pt x="502" y="411"/>
                      </a:lnTo>
                      <a:lnTo>
                        <a:pt x="502" y="411"/>
                      </a:lnTo>
                      <a:lnTo>
                        <a:pt x="502" y="412"/>
                      </a:lnTo>
                      <a:lnTo>
                        <a:pt x="502" y="413"/>
                      </a:lnTo>
                      <a:lnTo>
                        <a:pt x="502" y="413"/>
                      </a:lnTo>
                      <a:lnTo>
                        <a:pt x="503" y="413"/>
                      </a:lnTo>
                      <a:lnTo>
                        <a:pt x="503" y="414"/>
                      </a:lnTo>
                      <a:lnTo>
                        <a:pt x="503" y="415"/>
                      </a:lnTo>
                      <a:lnTo>
                        <a:pt x="503" y="415"/>
                      </a:lnTo>
                      <a:lnTo>
                        <a:pt x="503" y="416"/>
                      </a:lnTo>
                      <a:lnTo>
                        <a:pt x="503" y="417"/>
                      </a:lnTo>
                      <a:lnTo>
                        <a:pt x="503" y="417"/>
                      </a:lnTo>
                      <a:lnTo>
                        <a:pt x="503" y="418"/>
                      </a:lnTo>
                      <a:lnTo>
                        <a:pt x="503" y="419"/>
                      </a:lnTo>
                      <a:lnTo>
                        <a:pt x="502" y="419"/>
                      </a:lnTo>
                      <a:lnTo>
                        <a:pt x="502" y="419"/>
                      </a:lnTo>
                      <a:lnTo>
                        <a:pt x="503" y="420"/>
                      </a:lnTo>
                      <a:lnTo>
                        <a:pt x="502" y="420"/>
                      </a:lnTo>
                      <a:lnTo>
                        <a:pt x="502" y="421"/>
                      </a:lnTo>
                      <a:lnTo>
                        <a:pt x="502" y="421"/>
                      </a:lnTo>
                      <a:lnTo>
                        <a:pt x="502" y="421"/>
                      </a:lnTo>
                      <a:lnTo>
                        <a:pt x="502" y="422"/>
                      </a:lnTo>
                      <a:lnTo>
                        <a:pt x="501" y="423"/>
                      </a:lnTo>
                      <a:lnTo>
                        <a:pt x="501" y="423"/>
                      </a:lnTo>
                      <a:lnTo>
                        <a:pt x="502" y="424"/>
                      </a:lnTo>
                      <a:lnTo>
                        <a:pt x="502" y="425"/>
                      </a:lnTo>
                      <a:lnTo>
                        <a:pt x="501" y="425"/>
                      </a:lnTo>
                      <a:lnTo>
                        <a:pt x="501" y="425"/>
                      </a:lnTo>
                      <a:lnTo>
                        <a:pt x="501" y="426"/>
                      </a:lnTo>
                      <a:lnTo>
                        <a:pt x="501" y="427"/>
                      </a:lnTo>
                      <a:lnTo>
                        <a:pt x="500" y="427"/>
                      </a:lnTo>
                      <a:lnTo>
                        <a:pt x="500" y="428"/>
                      </a:lnTo>
                      <a:lnTo>
                        <a:pt x="500" y="428"/>
                      </a:lnTo>
                      <a:lnTo>
                        <a:pt x="500" y="429"/>
                      </a:lnTo>
                      <a:lnTo>
                        <a:pt x="500" y="430"/>
                      </a:lnTo>
                      <a:lnTo>
                        <a:pt x="500" y="430"/>
                      </a:lnTo>
                      <a:lnTo>
                        <a:pt x="500" y="430"/>
                      </a:lnTo>
                      <a:lnTo>
                        <a:pt x="500" y="430"/>
                      </a:lnTo>
                      <a:lnTo>
                        <a:pt x="500" y="431"/>
                      </a:lnTo>
                      <a:lnTo>
                        <a:pt x="500" y="432"/>
                      </a:lnTo>
                      <a:lnTo>
                        <a:pt x="500" y="432"/>
                      </a:lnTo>
                      <a:lnTo>
                        <a:pt x="500" y="433"/>
                      </a:lnTo>
                      <a:lnTo>
                        <a:pt x="500" y="433"/>
                      </a:lnTo>
                      <a:lnTo>
                        <a:pt x="500" y="434"/>
                      </a:lnTo>
                      <a:lnTo>
                        <a:pt x="500" y="434"/>
                      </a:lnTo>
                      <a:lnTo>
                        <a:pt x="500" y="435"/>
                      </a:lnTo>
                      <a:lnTo>
                        <a:pt x="500" y="436"/>
                      </a:lnTo>
                      <a:lnTo>
                        <a:pt x="499" y="436"/>
                      </a:lnTo>
                      <a:lnTo>
                        <a:pt x="499" y="436"/>
                      </a:lnTo>
                      <a:lnTo>
                        <a:pt x="500" y="437"/>
                      </a:lnTo>
                      <a:lnTo>
                        <a:pt x="500" y="438"/>
                      </a:lnTo>
                      <a:lnTo>
                        <a:pt x="500" y="438"/>
                      </a:lnTo>
                      <a:lnTo>
                        <a:pt x="500" y="439"/>
                      </a:lnTo>
                      <a:lnTo>
                        <a:pt x="499" y="439"/>
                      </a:lnTo>
                      <a:lnTo>
                        <a:pt x="499" y="440"/>
                      </a:lnTo>
                      <a:lnTo>
                        <a:pt x="499" y="440"/>
                      </a:lnTo>
                      <a:lnTo>
                        <a:pt x="499" y="441"/>
                      </a:lnTo>
                      <a:lnTo>
                        <a:pt x="499" y="442"/>
                      </a:lnTo>
                      <a:lnTo>
                        <a:pt x="499" y="442"/>
                      </a:lnTo>
                      <a:lnTo>
                        <a:pt x="499" y="443"/>
                      </a:lnTo>
                      <a:lnTo>
                        <a:pt x="500" y="443"/>
                      </a:lnTo>
                      <a:lnTo>
                        <a:pt x="500" y="444"/>
                      </a:lnTo>
                      <a:lnTo>
                        <a:pt x="500" y="444"/>
                      </a:lnTo>
                      <a:lnTo>
                        <a:pt x="500" y="445"/>
                      </a:lnTo>
                      <a:lnTo>
                        <a:pt x="500" y="446"/>
                      </a:lnTo>
                      <a:lnTo>
                        <a:pt x="500" y="447"/>
                      </a:lnTo>
                      <a:lnTo>
                        <a:pt x="500" y="447"/>
                      </a:lnTo>
                      <a:lnTo>
                        <a:pt x="500" y="448"/>
                      </a:lnTo>
                      <a:lnTo>
                        <a:pt x="500" y="449"/>
                      </a:lnTo>
                      <a:lnTo>
                        <a:pt x="500" y="449"/>
                      </a:lnTo>
                      <a:lnTo>
                        <a:pt x="500" y="449"/>
                      </a:lnTo>
                      <a:lnTo>
                        <a:pt x="500" y="450"/>
                      </a:lnTo>
                      <a:lnTo>
                        <a:pt x="500" y="451"/>
                      </a:lnTo>
                      <a:lnTo>
                        <a:pt x="500" y="451"/>
                      </a:lnTo>
                      <a:lnTo>
                        <a:pt x="500" y="451"/>
                      </a:lnTo>
                      <a:lnTo>
                        <a:pt x="500" y="452"/>
                      </a:lnTo>
                      <a:lnTo>
                        <a:pt x="500" y="453"/>
                      </a:lnTo>
                      <a:lnTo>
                        <a:pt x="500" y="453"/>
                      </a:lnTo>
                      <a:lnTo>
                        <a:pt x="500" y="453"/>
                      </a:lnTo>
                      <a:lnTo>
                        <a:pt x="500" y="454"/>
                      </a:lnTo>
                      <a:lnTo>
                        <a:pt x="500" y="455"/>
                      </a:lnTo>
                      <a:lnTo>
                        <a:pt x="500" y="455"/>
                      </a:lnTo>
                      <a:lnTo>
                        <a:pt x="500" y="456"/>
                      </a:lnTo>
                      <a:lnTo>
                        <a:pt x="500" y="457"/>
                      </a:lnTo>
                      <a:lnTo>
                        <a:pt x="500" y="457"/>
                      </a:lnTo>
                      <a:lnTo>
                        <a:pt x="500" y="458"/>
                      </a:lnTo>
                      <a:lnTo>
                        <a:pt x="500" y="459"/>
                      </a:lnTo>
                      <a:lnTo>
                        <a:pt x="500" y="459"/>
                      </a:lnTo>
                      <a:lnTo>
                        <a:pt x="500" y="460"/>
                      </a:lnTo>
                      <a:lnTo>
                        <a:pt x="500" y="461"/>
                      </a:lnTo>
                      <a:lnTo>
                        <a:pt x="501" y="461"/>
                      </a:lnTo>
                      <a:lnTo>
                        <a:pt x="501" y="462"/>
                      </a:lnTo>
                      <a:lnTo>
                        <a:pt x="501" y="463"/>
                      </a:lnTo>
                      <a:lnTo>
                        <a:pt x="500" y="463"/>
                      </a:lnTo>
                      <a:lnTo>
                        <a:pt x="501" y="463"/>
                      </a:lnTo>
                      <a:lnTo>
                        <a:pt x="501" y="464"/>
                      </a:lnTo>
                      <a:lnTo>
                        <a:pt x="502" y="465"/>
                      </a:lnTo>
                      <a:lnTo>
                        <a:pt x="502" y="465"/>
                      </a:lnTo>
                      <a:lnTo>
                        <a:pt x="503" y="465"/>
                      </a:lnTo>
                      <a:lnTo>
                        <a:pt x="504" y="465"/>
                      </a:lnTo>
                      <a:lnTo>
                        <a:pt x="504" y="466"/>
                      </a:lnTo>
                      <a:lnTo>
                        <a:pt x="505" y="466"/>
                      </a:lnTo>
                      <a:lnTo>
                        <a:pt x="506" y="466"/>
                      </a:lnTo>
                      <a:lnTo>
                        <a:pt x="506" y="467"/>
                      </a:lnTo>
                      <a:lnTo>
                        <a:pt x="506" y="468"/>
                      </a:lnTo>
                      <a:lnTo>
                        <a:pt x="506" y="468"/>
                      </a:lnTo>
                      <a:lnTo>
                        <a:pt x="507" y="470"/>
                      </a:lnTo>
                      <a:lnTo>
                        <a:pt x="507" y="470"/>
                      </a:lnTo>
                      <a:lnTo>
                        <a:pt x="507" y="472"/>
                      </a:lnTo>
                      <a:lnTo>
                        <a:pt x="509" y="472"/>
                      </a:lnTo>
                      <a:lnTo>
                        <a:pt x="509" y="474"/>
                      </a:lnTo>
                      <a:lnTo>
                        <a:pt x="508" y="476"/>
                      </a:lnTo>
                      <a:lnTo>
                        <a:pt x="508" y="478"/>
                      </a:lnTo>
                      <a:lnTo>
                        <a:pt x="508" y="480"/>
                      </a:lnTo>
                      <a:lnTo>
                        <a:pt x="508" y="480"/>
                      </a:lnTo>
                      <a:lnTo>
                        <a:pt x="508" y="482"/>
                      </a:lnTo>
                      <a:lnTo>
                        <a:pt x="508" y="482"/>
                      </a:lnTo>
                      <a:lnTo>
                        <a:pt x="509" y="483"/>
                      </a:lnTo>
                      <a:lnTo>
                        <a:pt x="510" y="483"/>
                      </a:lnTo>
                      <a:lnTo>
                        <a:pt x="510" y="482"/>
                      </a:lnTo>
                      <a:lnTo>
                        <a:pt x="510" y="483"/>
                      </a:lnTo>
                      <a:lnTo>
                        <a:pt x="510" y="484"/>
                      </a:lnTo>
                      <a:lnTo>
                        <a:pt x="509" y="484"/>
                      </a:lnTo>
                      <a:lnTo>
                        <a:pt x="509" y="484"/>
                      </a:lnTo>
                      <a:lnTo>
                        <a:pt x="509" y="485"/>
                      </a:lnTo>
                      <a:lnTo>
                        <a:pt x="510" y="485"/>
                      </a:lnTo>
                      <a:lnTo>
                        <a:pt x="510" y="485"/>
                      </a:lnTo>
                      <a:lnTo>
                        <a:pt x="511" y="485"/>
                      </a:lnTo>
                      <a:lnTo>
                        <a:pt x="511" y="486"/>
                      </a:lnTo>
                      <a:lnTo>
                        <a:pt x="511" y="487"/>
                      </a:lnTo>
                      <a:lnTo>
                        <a:pt x="511" y="487"/>
                      </a:lnTo>
                      <a:lnTo>
                        <a:pt x="512" y="487"/>
                      </a:lnTo>
                      <a:lnTo>
                        <a:pt x="512" y="488"/>
                      </a:lnTo>
                      <a:lnTo>
                        <a:pt x="512" y="489"/>
                      </a:lnTo>
                      <a:lnTo>
                        <a:pt x="511" y="489"/>
                      </a:lnTo>
                      <a:lnTo>
                        <a:pt x="511" y="490"/>
                      </a:lnTo>
                      <a:lnTo>
                        <a:pt x="510" y="491"/>
                      </a:lnTo>
                      <a:lnTo>
                        <a:pt x="510" y="491"/>
                      </a:lnTo>
                      <a:lnTo>
                        <a:pt x="510" y="491"/>
                      </a:lnTo>
                      <a:lnTo>
                        <a:pt x="510" y="492"/>
                      </a:lnTo>
                      <a:lnTo>
                        <a:pt x="510" y="492"/>
                      </a:lnTo>
                      <a:lnTo>
                        <a:pt x="510" y="492"/>
                      </a:lnTo>
                      <a:lnTo>
                        <a:pt x="510" y="493"/>
                      </a:lnTo>
                      <a:lnTo>
                        <a:pt x="510" y="493"/>
                      </a:lnTo>
                      <a:lnTo>
                        <a:pt x="509" y="493"/>
                      </a:lnTo>
                      <a:lnTo>
                        <a:pt x="509" y="494"/>
                      </a:lnTo>
                      <a:lnTo>
                        <a:pt x="508" y="494"/>
                      </a:lnTo>
                      <a:lnTo>
                        <a:pt x="508" y="495"/>
                      </a:lnTo>
                      <a:lnTo>
                        <a:pt x="508" y="495"/>
                      </a:lnTo>
                      <a:lnTo>
                        <a:pt x="508" y="496"/>
                      </a:lnTo>
                      <a:lnTo>
                        <a:pt x="508" y="497"/>
                      </a:lnTo>
                      <a:lnTo>
                        <a:pt x="508" y="496"/>
                      </a:lnTo>
                      <a:lnTo>
                        <a:pt x="507" y="496"/>
                      </a:lnTo>
                      <a:lnTo>
                        <a:pt x="508" y="497"/>
                      </a:lnTo>
                      <a:lnTo>
                        <a:pt x="508" y="497"/>
                      </a:lnTo>
                      <a:lnTo>
                        <a:pt x="507" y="497"/>
                      </a:lnTo>
                      <a:lnTo>
                        <a:pt x="506" y="498"/>
                      </a:lnTo>
                      <a:lnTo>
                        <a:pt x="506" y="499"/>
                      </a:lnTo>
                      <a:lnTo>
                        <a:pt x="506" y="499"/>
                      </a:lnTo>
                      <a:lnTo>
                        <a:pt x="506" y="499"/>
                      </a:lnTo>
                      <a:lnTo>
                        <a:pt x="505" y="499"/>
                      </a:lnTo>
                      <a:lnTo>
                        <a:pt x="505" y="500"/>
                      </a:lnTo>
                      <a:lnTo>
                        <a:pt x="505" y="501"/>
                      </a:lnTo>
                      <a:lnTo>
                        <a:pt x="506" y="501"/>
                      </a:lnTo>
                      <a:lnTo>
                        <a:pt x="506" y="501"/>
                      </a:lnTo>
                      <a:lnTo>
                        <a:pt x="506" y="501"/>
                      </a:lnTo>
                      <a:lnTo>
                        <a:pt x="506" y="501"/>
                      </a:lnTo>
                      <a:lnTo>
                        <a:pt x="506" y="501"/>
                      </a:lnTo>
                      <a:lnTo>
                        <a:pt x="506" y="502"/>
                      </a:lnTo>
                      <a:lnTo>
                        <a:pt x="507" y="502"/>
                      </a:lnTo>
                      <a:lnTo>
                        <a:pt x="507" y="503"/>
                      </a:lnTo>
                      <a:lnTo>
                        <a:pt x="507" y="503"/>
                      </a:lnTo>
                      <a:lnTo>
                        <a:pt x="506" y="503"/>
                      </a:lnTo>
                      <a:lnTo>
                        <a:pt x="507" y="504"/>
                      </a:lnTo>
                      <a:lnTo>
                        <a:pt x="507" y="505"/>
                      </a:lnTo>
                      <a:lnTo>
                        <a:pt x="508" y="505"/>
                      </a:lnTo>
                      <a:lnTo>
                        <a:pt x="508" y="505"/>
                      </a:lnTo>
                      <a:lnTo>
                        <a:pt x="508" y="506"/>
                      </a:lnTo>
                      <a:lnTo>
                        <a:pt x="508" y="506"/>
                      </a:lnTo>
                      <a:lnTo>
                        <a:pt x="508" y="506"/>
                      </a:lnTo>
                      <a:lnTo>
                        <a:pt x="508" y="507"/>
                      </a:lnTo>
                      <a:lnTo>
                        <a:pt x="507" y="507"/>
                      </a:lnTo>
                      <a:lnTo>
                        <a:pt x="507" y="508"/>
                      </a:lnTo>
                      <a:lnTo>
                        <a:pt x="507" y="508"/>
                      </a:lnTo>
                      <a:lnTo>
                        <a:pt x="507" y="509"/>
                      </a:lnTo>
                      <a:lnTo>
                        <a:pt x="507" y="510"/>
                      </a:lnTo>
                      <a:lnTo>
                        <a:pt x="508" y="510"/>
                      </a:lnTo>
                      <a:lnTo>
                        <a:pt x="508" y="511"/>
                      </a:lnTo>
                      <a:lnTo>
                        <a:pt x="508" y="512"/>
                      </a:lnTo>
                      <a:lnTo>
                        <a:pt x="508" y="512"/>
                      </a:lnTo>
                      <a:lnTo>
                        <a:pt x="508" y="513"/>
                      </a:lnTo>
                      <a:lnTo>
                        <a:pt x="508" y="514"/>
                      </a:lnTo>
                      <a:lnTo>
                        <a:pt x="508" y="514"/>
                      </a:lnTo>
                      <a:lnTo>
                        <a:pt x="508" y="515"/>
                      </a:lnTo>
                      <a:lnTo>
                        <a:pt x="508" y="516"/>
                      </a:lnTo>
                      <a:lnTo>
                        <a:pt x="508" y="518"/>
                      </a:lnTo>
                      <a:lnTo>
                        <a:pt x="508" y="518"/>
                      </a:lnTo>
                      <a:lnTo>
                        <a:pt x="508" y="518"/>
                      </a:lnTo>
                      <a:lnTo>
                        <a:pt x="508" y="519"/>
                      </a:lnTo>
                      <a:lnTo>
                        <a:pt x="508" y="519"/>
                      </a:lnTo>
                      <a:lnTo>
                        <a:pt x="508" y="519"/>
                      </a:lnTo>
                      <a:lnTo>
                        <a:pt x="508" y="520"/>
                      </a:lnTo>
                      <a:lnTo>
                        <a:pt x="508" y="520"/>
                      </a:lnTo>
                      <a:lnTo>
                        <a:pt x="508" y="520"/>
                      </a:lnTo>
                      <a:lnTo>
                        <a:pt x="508" y="521"/>
                      </a:lnTo>
                      <a:lnTo>
                        <a:pt x="508" y="522"/>
                      </a:lnTo>
                      <a:lnTo>
                        <a:pt x="509" y="523"/>
                      </a:lnTo>
                      <a:lnTo>
                        <a:pt x="509" y="524"/>
                      </a:lnTo>
                      <a:lnTo>
                        <a:pt x="509" y="524"/>
                      </a:lnTo>
                      <a:lnTo>
                        <a:pt x="509" y="525"/>
                      </a:lnTo>
                      <a:lnTo>
                        <a:pt x="509" y="527"/>
                      </a:lnTo>
                      <a:lnTo>
                        <a:pt x="509" y="529"/>
                      </a:lnTo>
                      <a:lnTo>
                        <a:pt x="509" y="530"/>
                      </a:lnTo>
                      <a:lnTo>
                        <a:pt x="509" y="531"/>
                      </a:lnTo>
                      <a:lnTo>
                        <a:pt x="508" y="531"/>
                      </a:lnTo>
                      <a:lnTo>
                        <a:pt x="509" y="531"/>
                      </a:lnTo>
                      <a:lnTo>
                        <a:pt x="508" y="531"/>
                      </a:lnTo>
                      <a:lnTo>
                        <a:pt x="508" y="531"/>
                      </a:lnTo>
                      <a:lnTo>
                        <a:pt x="509" y="531"/>
                      </a:lnTo>
                      <a:lnTo>
                        <a:pt x="509" y="532"/>
                      </a:lnTo>
                      <a:lnTo>
                        <a:pt x="509" y="533"/>
                      </a:lnTo>
                      <a:lnTo>
                        <a:pt x="509" y="533"/>
                      </a:lnTo>
                      <a:lnTo>
                        <a:pt x="509" y="534"/>
                      </a:lnTo>
                      <a:lnTo>
                        <a:pt x="509" y="535"/>
                      </a:lnTo>
                      <a:lnTo>
                        <a:pt x="509" y="535"/>
                      </a:lnTo>
                      <a:lnTo>
                        <a:pt x="509" y="536"/>
                      </a:lnTo>
                      <a:lnTo>
                        <a:pt x="508" y="537"/>
                      </a:lnTo>
                      <a:lnTo>
                        <a:pt x="508" y="537"/>
                      </a:lnTo>
                      <a:lnTo>
                        <a:pt x="508" y="538"/>
                      </a:lnTo>
                      <a:lnTo>
                        <a:pt x="508" y="539"/>
                      </a:lnTo>
                      <a:lnTo>
                        <a:pt x="508" y="539"/>
                      </a:lnTo>
                      <a:lnTo>
                        <a:pt x="508" y="540"/>
                      </a:lnTo>
                      <a:lnTo>
                        <a:pt x="508" y="541"/>
                      </a:lnTo>
                      <a:lnTo>
                        <a:pt x="509" y="541"/>
                      </a:lnTo>
                      <a:lnTo>
                        <a:pt x="508" y="541"/>
                      </a:lnTo>
                      <a:lnTo>
                        <a:pt x="509" y="541"/>
                      </a:lnTo>
                      <a:lnTo>
                        <a:pt x="509" y="542"/>
                      </a:lnTo>
                      <a:lnTo>
                        <a:pt x="508" y="542"/>
                      </a:lnTo>
                      <a:lnTo>
                        <a:pt x="508" y="543"/>
                      </a:lnTo>
                      <a:lnTo>
                        <a:pt x="509" y="543"/>
                      </a:lnTo>
                      <a:lnTo>
                        <a:pt x="509" y="543"/>
                      </a:lnTo>
                      <a:lnTo>
                        <a:pt x="509" y="544"/>
                      </a:lnTo>
                      <a:lnTo>
                        <a:pt x="509" y="545"/>
                      </a:lnTo>
                      <a:lnTo>
                        <a:pt x="509" y="546"/>
                      </a:lnTo>
                      <a:lnTo>
                        <a:pt x="510" y="546"/>
                      </a:lnTo>
                      <a:lnTo>
                        <a:pt x="510" y="546"/>
                      </a:lnTo>
                      <a:lnTo>
                        <a:pt x="509" y="548"/>
                      </a:lnTo>
                      <a:lnTo>
                        <a:pt x="510" y="551"/>
                      </a:lnTo>
                      <a:lnTo>
                        <a:pt x="511" y="556"/>
                      </a:lnTo>
                      <a:lnTo>
                        <a:pt x="513" y="556"/>
                      </a:lnTo>
                      <a:lnTo>
                        <a:pt x="515" y="558"/>
                      </a:lnTo>
                      <a:lnTo>
                        <a:pt x="516" y="558"/>
                      </a:lnTo>
                      <a:lnTo>
                        <a:pt x="519" y="558"/>
                      </a:lnTo>
                      <a:lnTo>
                        <a:pt x="520" y="556"/>
                      </a:lnTo>
                      <a:lnTo>
                        <a:pt x="522" y="556"/>
                      </a:lnTo>
                      <a:lnTo>
                        <a:pt x="523" y="555"/>
                      </a:lnTo>
                      <a:lnTo>
                        <a:pt x="525" y="556"/>
                      </a:lnTo>
                      <a:lnTo>
                        <a:pt x="526" y="556"/>
                      </a:lnTo>
                      <a:lnTo>
                        <a:pt x="527" y="556"/>
                      </a:lnTo>
                      <a:lnTo>
                        <a:pt x="527" y="556"/>
                      </a:lnTo>
                      <a:lnTo>
                        <a:pt x="527" y="555"/>
                      </a:lnTo>
                      <a:lnTo>
                        <a:pt x="528" y="555"/>
                      </a:lnTo>
                      <a:lnTo>
                        <a:pt x="529" y="555"/>
                      </a:lnTo>
                      <a:lnTo>
                        <a:pt x="529" y="555"/>
                      </a:lnTo>
                      <a:lnTo>
                        <a:pt x="529" y="554"/>
                      </a:lnTo>
                      <a:lnTo>
                        <a:pt x="530" y="554"/>
                      </a:lnTo>
                      <a:lnTo>
                        <a:pt x="530" y="554"/>
                      </a:lnTo>
                      <a:lnTo>
                        <a:pt x="531" y="554"/>
                      </a:lnTo>
                      <a:lnTo>
                        <a:pt x="532" y="554"/>
                      </a:lnTo>
                      <a:lnTo>
                        <a:pt x="532" y="553"/>
                      </a:lnTo>
                      <a:lnTo>
                        <a:pt x="532" y="553"/>
                      </a:lnTo>
                      <a:lnTo>
                        <a:pt x="532" y="552"/>
                      </a:lnTo>
                      <a:lnTo>
                        <a:pt x="533" y="552"/>
                      </a:lnTo>
                      <a:lnTo>
                        <a:pt x="533" y="553"/>
                      </a:lnTo>
                      <a:lnTo>
                        <a:pt x="533" y="552"/>
                      </a:lnTo>
                      <a:lnTo>
                        <a:pt x="534" y="552"/>
                      </a:lnTo>
                      <a:lnTo>
                        <a:pt x="534" y="552"/>
                      </a:lnTo>
                      <a:lnTo>
                        <a:pt x="534" y="551"/>
                      </a:lnTo>
                      <a:lnTo>
                        <a:pt x="534" y="551"/>
                      </a:lnTo>
                      <a:lnTo>
                        <a:pt x="535" y="550"/>
                      </a:lnTo>
                      <a:lnTo>
                        <a:pt x="535" y="551"/>
                      </a:lnTo>
                      <a:lnTo>
                        <a:pt x="535" y="550"/>
                      </a:lnTo>
                      <a:lnTo>
                        <a:pt x="536" y="550"/>
                      </a:lnTo>
                      <a:lnTo>
                        <a:pt x="536" y="550"/>
                      </a:lnTo>
                      <a:lnTo>
                        <a:pt x="536" y="550"/>
                      </a:lnTo>
                      <a:lnTo>
                        <a:pt x="536" y="550"/>
                      </a:lnTo>
                      <a:lnTo>
                        <a:pt x="537" y="550"/>
                      </a:lnTo>
                      <a:lnTo>
                        <a:pt x="537" y="551"/>
                      </a:lnTo>
                      <a:lnTo>
                        <a:pt x="538" y="551"/>
                      </a:lnTo>
                      <a:lnTo>
                        <a:pt x="538" y="551"/>
                      </a:lnTo>
                      <a:lnTo>
                        <a:pt x="539" y="551"/>
                      </a:lnTo>
                      <a:lnTo>
                        <a:pt x="540" y="552"/>
                      </a:lnTo>
                      <a:lnTo>
                        <a:pt x="540" y="552"/>
                      </a:lnTo>
                      <a:lnTo>
                        <a:pt x="541" y="552"/>
                      </a:lnTo>
                      <a:lnTo>
                        <a:pt x="542" y="552"/>
                      </a:lnTo>
                      <a:lnTo>
                        <a:pt x="542" y="552"/>
                      </a:lnTo>
                      <a:lnTo>
                        <a:pt x="542" y="552"/>
                      </a:lnTo>
                      <a:lnTo>
                        <a:pt x="543" y="552"/>
                      </a:lnTo>
                      <a:lnTo>
                        <a:pt x="544" y="552"/>
                      </a:lnTo>
                      <a:lnTo>
                        <a:pt x="544" y="552"/>
                      </a:lnTo>
                      <a:lnTo>
                        <a:pt x="544" y="552"/>
                      </a:lnTo>
                      <a:lnTo>
                        <a:pt x="545" y="552"/>
                      </a:lnTo>
                      <a:lnTo>
                        <a:pt x="546" y="552"/>
                      </a:lnTo>
                      <a:lnTo>
                        <a:pt x="546" y="552"/>
                      </a:lnTo>
                      <a:lnTo>
                        <a:pt x="546" y="552"/>
                      </a:lnTo>
                      <a:lnTo>
                        <a:pt x="547" y="553"/>
                      </a:lnTo>
                      <a:lnTo>
                        <a:pt x="547" y="552"/>
                      </a:lnTo>
                      <a:lnTo>
                        <a:pt x="548" y="552"/>
                      </a:lnTo>
                      <a:lnTo>
                        <a:pt x="548" y="553"/>
                      </a:lnTo>
                      <a:lnTo>
                        <a:pt x="549" y="554"/>
                      </a:lnTo>
                      <a:lnTo>
                        <a:pt x="549" y="553"/>
                      </a:lnTo>
                      <a:lnTo>
                        <a:pt x="550" y="553"/>
                      </a:lnTo>
                      <a:lnTo>
                        <a:pt x="551" y="554"/>
                      </a:lnTo>
                      <a:lnTo>
                        <a:pt x="551" y="554"/>
                      </a:lnTo>
                      <a:lnTo>
                        <a:pt x="551" y="554"/>
                      </a:lnTo>
                      <a:lnTo>
                        <a:pt x="552" y="554"/>
                      </a:lnTo>
                      <a:lnTo>
                        <a:pt x="553" y="554"/>
                      </a:lnTo>
                      <a:lnTo>
                        <a:pt x="553" y="554"/>
                      </a:lnTo>
                      <a:lnTo>
                        <a:pt x="553" y="555"/>
                      </a:lnTo>
                      <a:lnTo>
                        <a:pt x="554" y="555"/>
                      </a:lnTo>
                      <a:lnTo>
                        <a:pt x="554" y="554"/>
                      </a:lnTo>
                      <a:lnTo>
                        <a:pt x="554" y="554"/>
                      </a:lnTo>
                      <a:lnTo>
                        <a:pt x="555" y="554"/>
                      </a:lnTo>
                      <a:lnTo>
                        <a:pt x="555" y="553"/>
                      </a:lnTo>
                      <a:lnTo>
                        <a:pt x="555" y="553"/>
                      </a:lnTo>
                      <a:lnTo>
                        <a:pt x="556" y="554"/>
                      </a:lnTo>
                      <a:lnTo>
                        <a:pt x="556" y="553"/>
                      </a:lnTo>
                      <a:lnTo>
                        <a:pt x="557" y="553"/>
                      </a:lnTo>
                      <a:lnTo>
                        <a:pt x="557" y="554"/>
                      </a:lnTo>
                      <a:lnTo>
                        <a:pt x="558" y="554"/>
                      </a:lnTo>
                      <a:lnTo>
                        <a:pt x="559" y="554"/>
                      </a:lnTo>
                      <a:lnTo>
                        <a:pt x="559" y="554"/>
                      </a:lnTo>
                      <a:lnTo>
                        <a:pt x="559" y="553"/>
                      </a:lnTo>
                      <a:lnTo>
                        <a:pt x="560" y="553"/>
                      </a:lnTo>
                      <a:lnTo>
                        <a:pt x="561" y="553"/>
                      </a:lnTo>
                      <a:lnTo>
                        <a:pt x="561" y="554"/>
                      </a:lnTo>
                      <a:lnTo>
                        <a:pt x="561" y="554"/>
                      </a:lnTo>
                      <a:lnTo>
                        <a:pt x="562" y="553"/>
                      </a:lnTo>
                      <a:lnTo>
                        <a:pt x="563" y="553"/>
                      </a:lnTo>
                      <a:lnTo>
                        <a:pt x="563" y="553"/>
                      </a:lnTo>
                      <a:lnTo>
                        <a:pt x="564" y="552"/>
                      </a:lnTo>
                      <a:lnTo>
                        <a:pt x="565" y="552"/>
                      </a:lnTo>
                      <a:lnTo>
                        <a:pt x="565" y="552"/>
                      </a:lnTo>
                      <a:lnTo>
                        <a:pt x="566" y="552"/>
                      </a:lnTo>
                      <a:lnTo>
                        <a:pt x="567" y="552"/>
                      </a:lnTo>
                      <a:lnTo>
                        <a:pt x="567" y="551"/>
                      </a:lnTo>
                      <a:lnTo>
                        <a:pt x="567" y="551"/>
                      </a:lnTo>
                      <a:lnTo>
                        <a:pt x="568" y="551"/>
                      </a:lnTo>
                      <a:lnTo>
                        <a:pt x="569" y="551"/>
                      </a:lnTo>
                      <a:lnTo>
                        <a:pt x="569" y="550"/>
                      </a:lnTo>
                      <a:lnTo>
                        <a:pt x="570" y="550"/>
                      </a:lnTo>
                      <a:lnTo>
                        <a:pt x="570" y="550"/>
                      </a:lnTo>
                      <a:lnTo>
                        <a:pt x="572" y="550"/>
                      </a:lnTo>
                      <a:lnTo>
                        <a:pt x="572" y="549"/>
                      </a:lnTo>
                      <a:lnTo>
                        <a:pt x="572" y="549"/>
                      </a:lnTo>
                      <a:lnTo>
                        <a:pt x="572" y="548"/>
                      </a:lnTo>
                      <a:lnTo>
                        <a:pt x="573" y="548"/>
                      </a:lnTo>
                      <a:lnTo>
                        <a:pt x="574" y="548"/>
                      </a:lnTo>
                      <a:lnTo>
                        <a:pt x="574" y="548"/>
                      </a:lnTo>
                      <a:lnTo>
                        <a:pt x="575" y="548"/>
                      </a:lnTo>
                      <a:lnTo>
                        <a:pt x="576" y="549"/>
                      </a:lnTo>
                      <a:lnTo>
                        <a:pt x="577" y="549"/>
                      </a:lnTo>
                      <a:lnTo>
                        <a:pt x="578" y="549"/>
                      </a:lnTo>
                      <a:lnTo>
                        <a:pt x="578" y="549"/>
                      </a:lnTo>
                      <a:lnTo>
                        <a:pt x="578" y="548"/>
                      </a:lnTo>
                      <a:lnTo>
                        <a:pt x="579" y="548"/>
                      </a:lnTo>
                      <a:lnTo>
                        <a:pt x="579" y="547"/>
                      </a:lnTo>
                      <a:lnTo>
                        <a:pt x="579" y="546"/>
                      </a:lnTo>
                      <a:lnTo>
                        <a:pt x="579" y="546"/>
                      </a:lnTo>
                      <a:lnTo>
                        <a:pt x="580" y="546"/>
                      </a:lnTo>
                      <a:lnTo>
                        <a:pt x="580" y="545"/>
                      </a:lnTo>
                      <a:lnTo>
                        <a:pt x="580" y="545"/>
                      </a:lnTo>
                      <a:lnTo>
                        <a:pt x="580" y="544"/>
                      </a:lnTo>
                      <a:lnTo>
                        <a:pt x="580" y="544"/>
                      </a:lnTo>
                      <a:lnTo>
                        <a:pt x="580" y="543"/>
                      </a:lnTo>
                      <a:lnTo>
                        <a:pt x="580" y="543"/>
                      </a:lnTo>
                      <a:lnTo>
                        <a:pt x="581" y="543"/>
                      </a:lnTo>
                      <a:lnTo>
                        <a:pt x="581" y="543"/>
                      </a:lnTo>
                      <a:lnTo>
                        <a:pt x="581" y="542"/>
                      </a:lnTo>
                      <a:lnTo>
                        <a:pt x="581" y="541"/>
                      </a:lnTo>
                      <a:lnTo>
                        <a:pt x="582" y="541"/>
                      </a:lnTo>
                      <a:lnTo>
                        <a:pt x="582" y="541"/>
                      </a:lnTo>
                      <a:lnTo>
                        <a:pt x="581" y="541"/>
                      </a:lnTo>
                      <a:lnTo>
                        <a:pt x="581" y="540"/>
                      </a:lnTo>
                      <a:lnTo>
                        <a:pt x="582" y="539"/>
                      </a:lnTo>
                      <a:lnTo>
                        <a:pt x="582" y="539"/>
                      </a:lnTo>
                      <a:lnTo>
                        <a:pt x="582" y="539"/>
                      </a:lnTo>
                      <a:lnTo>
                        <a:pt x="582" y="538"/>
                      </a:lnTo>
                      <a:lnTo>
                        <a:pt x="584" y="538"/>
                      </a:lnTo>
                      <a:lnTo>
                        <a:pt x="585" y="538"/>
                      </a:lnTo>
                      <a:lnTo>
                        <a:pt x="586" y="538"/>
                      </a:lnTo>
                      <a:lnTo>
                        <a:pt x="586" y="537"/>
                      </a:lnTo>
                      <a:lnTo>
                        <a:pt x="586" y="537"/>
                      </a:lnTo>
                      <a:lnTo>
                        <a:pt x="587" y="537"/>
                      </a:lnTo>
                      <a:lnTo>
                        <a:pt x="588" y="537"/>
                      </a:lnTo>
                      <a:lnTo>
                        <a:pt x="589" y="537"/>
                      </a:lnTo>
                      <a:lnTo>
                        <a:pt x="589" y="537"/>
                      </a:lnTo>
                      <a:lnTo>
                        <a:pt x="589" y="537"/>
                      </a:lnTo>
                      <a:lnTo>
                        <a:pt x="590" y="537"/>
                      </a:lnTo>
                      <a:lnTo>
                        <a:pt x="590" y="537"/>
                      </a:lnTo>
                      <a:lnTo>
                        <a:pt x="590" y="537"/>
                      </a:lnTo>
                      <a:lnTo>
                        <a:pt x="591" y="537"/>
                      </a:lnTo>
                      <a:lnTo>
                        <a:pt x="591" y="537"/>
                      </a:lnTo>
                      <a:lnTo>
                        <a:pt x="592" y="537"/>
                      </a:lnTo>
                      <a:lnTo>
                        <a:pt x="593" y="536"/>
                      </a:lnTo>
                      <a:lnTo>
                        <a:pt x="593" y="536"/>
                      </a:lnTo>
                      <a:lnTo>
                        <a:pt x="593" y="537"/>
                      </a:lnTo>
                      <a:lnTo>
                        <a:pt x="593" y="537"/>
                      </a:lnTo>
                      <a:lnTo>
                        <a:pt x="593" y="537"/>
                      </a:lnTo>
                      <a:lnTo>
                        <a:pt x="593" y="538"/>
                      </a:lnTo>
                      <a:lnTo>
                        <a:pt x="593" y="539"/>
                      </a:lnTo>
                      <a:lnTo>
                        <a:pt x="593" y="539"/>
                      </a:lnTo>
                      <a:lnTo>
                        <a:pt x="593" y="540"/>
                      </a:lnTo>
                      <a:lnTo>
                        <a:pt x="593" y="542"/>
                      </a:lnTo>
                      <a:lnTo>
                        <a:pt x="594" y="543"/>
                      </a:lnTo>
                      <a:lnTo>
                        <a:pt x="594" y="543"/>
                      </a:lnTo>
                      <a:lnTo>
                        <a:pt x="594" y="544"/>
                      </a:lnTo>
                      <a:lnTo>
                        <a:pt x="594" y="545"/>
                      </a:lnTo>
                      <a:lnTo>
                        <a:pt x="593" y="545"/>
                      </a:lnTo>
                      <a:lnTo>
                        <a:pt x="593" y="546"/>
                      </a:lnTo>
                      <a:lnTo>
                        <a:pt x="593" y="546"/>
                      </a:lnTo>
                      <a:lnTo>
                        <a:pt x="593" y="547"/>
                      </a:lnTo>
                      <a:lnTo>
                        <a:pt x="593" y="548"/>
                      </a:lnTo>
                      <a:lnTo>
                        <a:pt x="592" y="548"/>
                      </a:lnTo>
                      <a:lnTo>
                        <a:pt x="592" y="548"/>
                      </a:lnTo>
                      <a:lnTo>
                        <a:pt x="592" y="549"/>
                      </a:lnTo>
                      <a:lnTo>
                        <a:pt x="593" y="549"/>
                      </a:lnTo>
                      <a:lnTo>
                        <a:pt x="593" y="550"/>
                      </a:lnTo>
                      <a:lnTo>
                        <a:pt x="593" y="550"/>
                      </a:lnTo>
                      <a:lnTo>
                        <a:pt x="592" y="551"/>
                      </a:lnTo>
                      <a:lnTo>
                        <a:pt x="593" y="551"/>
                      </a:lnTo>
                      <a:lnTo>
                        <a:pt x="593" y="552"/>
                      </a:lnTo>
                      <a:lnTo>
                        <a:pt x="593" y="553"/>
                      </a:lnTo>
                      <a:lnTo>
                        <a:pt x="593" y="554"/>
                      </a:lnTo>
                      <a:lnTo>
                        <a:pt x="593" y="554"/>
                      </a:lnTo>
                      <a:lnTo>
                        <a:pt x="600" y="554"/>
                      </a:lnTo>
                      <a:lnTo>
                        <a:pt x="605" y="554"/>
                      </a:lnTo>
                      <a:lnTo>
                        <a:pt x="610" y="554"/>
                      </a:lnTo>
                      <a:lnTo>
                        <a:pt x="619" y="554"/>
                      </a:lnTo>
                      <a:lnTo>
                        <a:pt x="620" y="554"/>
                      </a:lnTo>
                      <a:lnTo>
                        <a:pt x="671" y="550"/>
                      </a:lnTo>
                      <a:lnTo>
                        <a:pt x="677" y="550"/>
                      </a:lnTo>
                      <a:lnTo>
                        <a:pt x="759" y="550"/>
                      </a:lnTo>
                      <a:lnTo>
                        <a:pt x="887" y="550"/>
                      </a:lnTo>
                      <a:lnTo>
                        <a:pt x="884" y="555"/>
                      </a:lnTo>
                      <a:lnTo>
                        <a:pt x="880" y="560"/>
                      </a:lnTo>
                      <a:lnTo>
                        <a:pt x="876" y="566"/>
                      </a:lnTo>
                      <a:lnTo>
                        <a:pt x="874" y="568"/>
                      </a:lnTo>
                      <a:lnTo>
                        <a:pt x="872" y="572"/>
                      </a:lnTo>
                      <a:lnTo>
                        <a:pt x="870" y="574"/>
                      </a:lnTo>
                      <a:lnTo>
                        <a:pt x="868" y="577"/>
                      </a:lnTo>
                      <a:lnTo>
                        <a:pt x="866" y="580"/>
                      </a:lnTo>
                      <a:lnTo>
                        <a:pt x="865" y="581"/>
                      </a:lnTo>
                      <a:lnTo>
                        <a:pt x="865" y="581"/>
                      </a:lnTo>
                      <a:lnTo>
                        <a:pt x="865" y="582"/>
                      </a:lnTo>
                      <a:lnTo>
                        <a:pt x="865" y="586"/>
                      </a:lnTo>
                      <a:lnTo>
                        <a:pt x="865" y="587"/>
                      </a:lnTo>
                      <a:lnTo>
                        <a:pt x="865" y="592"/>
                      </a:lnTo>
                      <a:lnTo>
                        <a:pt x="865" y="593"/>
                      </a:lnTo>
                      <a:lnTo>
                        <a:pt x="865" y="594"/>
                      </a:lnTo>
                      <a:lnTo>
                        <a:pt x="865" y="600"/>
                      </a:lnTo>
                      <a:lnTo>
                        <a:pt x="865" y="605"/>
                      </a:lnTo>
                      <a:lnTo>
                        <a:pt x="865" y="609"/>
                      </a:lnTo>
                      <a:lnTo>
                        <a:pt x="865" y="610"/>
                      </a:lnTo>
                      <a:lnTo>
                        <a:pt x="865" y="628"/>
                      </a:lnTo>
                      <a:lnTo>
                        <a:pt x="865" y="654"/>
                      </a:lnTo>
                      <a:lnTo>
                        <a:pt x="865" y="695"/>
                      </a:lnTo>
                      <a:lnTo>
                        <a:pt x="682" y="698"/>
                      </a:lnTo>
                      <a:lnTo>
                        <a:pt x="620" y="698"/>
                      </a:lnTo>
                      <a:lnTo>
                        <a:pt x="618" y="698"/>
                      </a:lnTo>
                      <a:lnTo>
                        <a:pt x="557" y="698"/>
                      </a:lnTo>
                      <a:lnTo>
                        <a:pt x="556" y="698"/>
                      </a:lnTo>
                      <a:lnTo>
                        <a:pt x="550" y="698"/>
                      </a:lnTo>
                      <a:lnTo>
                        <a:pt x="534" y="698"/>
                      </a:lnTo>
                      <a:lnTo>
                        <a:pt x="529" y="698"/>
                      </a:lnTo>
                      <a:lnTo>
                        <a:pt x="504" y="698"/>
                      </a:lnTo>
                      <a:lnTo>
                        <a:pt x="502" y="698"/>
                      </a:lnTo>
                      <a:lnTo>
                        <a:pt x="495" y="698"/>
                      </a:lnTo>
                      <a:lnTo>
                        <a:pt x="494" y="698"/>
                      </a:lnTo>
                      <a:lnTo>
                        <a:pt x="466" y="699"/>
                      </a:lnTo>
                      <a:lnTo>
                        <a:pt x="437" y="699"/>
                      </a:lnTo>
                      <a:lnTo>
                        <a:pt x="436" y="699"/>
                      </a:lnTo>
                      <a:lnTo>
                        <a:pt x="435" y="699"/>
                      </a:lnTo>
                      <a:lnTo>
                        <a:pt x="434" y="699"/>
                      </a:lnTo>
                      <a:lnTo>
                        <a:pt x="434" y="699"/>
                      </a:lnTo>
                      <a:lnTo>
                        <a:pt x="434" y="699"/>
                      </a:lnTo>
                      <a:lnTo>
                        <a:pt x="433" y="699"/>
                      </a:lnTo>
                      <a:lnTo>
                        <a:pt x="432" y="699"/>
                      </a:lnTo>
                      <a:lnTo>
                        <a:pt x="432" y="698"/>
                      </a:lnTo>
                      <a:lnTo>
                        <a:pt x="432" y="697"/>
                      </a:lnTo>
                      <a:lnTo>
                        <a:pt x="431" y="697"/>
                      </a:lnTo>
                      <a:lnTo>
                        <a:pt x="431" y="697"/>
                      </a:lnTo>
                      <a:lnTo>
                        <a:pt x="431" y="696"/>
                      </a:lnTo>
                      <a:lnTo>
                        <a:pt x="431" y="695"/>
                      </a:lnTo>
                      <a:lnTo>
                        <a:pt x="432" y="695"/>
                      </a:lnTo>
                      <a:lnTo>
                        <a:pt x="432" y="694"/>
                      </a:lnTo>
                      <a:lnTo>
                        <a:pt x="432" y="693"/>
                      </a:lnTo>
                      <a:lnTo>
                        <a:pt x="432" y="693"/>
                      </a:lnTo>
                      <a:lnTo>
                        <a:pt x="432" y="692"/>
                      </a:lnTo>
                      <a:lnTo>
                        <a:pt x="432" y="691"/>
                      </a:lnTo>
                      <a:lnTo>
                        <a:pt x="431" y="691"/>
                      </a:lnTo>
                      <a:lnTo>
                        <a:pt x="431" y="690"/>
                      </a:lnTo>
                      <a:lnTo>
                        <a:pt x="430" y="689"/>
                      </a:lnTo>
                      <a:lnTo>
                        <a:pt x="430" y="689"/>
                      </a:lnTo>
                      <a:lnTo>
                        <a:pt x="430" y="688"/>
                      </a:lnTo>
                      <a:lnTo>
                        <a:pt x="431" y="688"/>
                      </a:lnTo>
                      <a:lnTo>
                        <a:pt x="431" y="687"/>
                      </a:lnTo>
                      <a:lnTo>
                        <a:pt x="431" y="687"/>
                      </a:lnTo>
                      <a:lnTo>
                        <a:pt x="432" y="687"/>
                      </a:lnTo>
                      <a:lnTo>
                        <a:pt x="431" y="686"/>
                      </a:lnTo>
                      <a:lnTo>
                        <a:pt x="432" y="685"/>
                      </a:lnTo>
                      <a:lnTo>
                        <a:pt x="432" y="685"/>
                      </a:lnTo>
                      <a:lnTo>
                        <a:pt x="432" y="684"/>
                      </a:lnTo>
                      <a:lnTo>
                        <a:pt x="431" y="683"/>
                      </a:lnTo>
                      <a:lnTo>
                        <a:pt x="430" y="683"/>
                      </a:lnTo>
                      <a:lnTo>
                        <a:pt x="430" y="684"/>
                      </a:lnTo>
                      <a:lnTo>
                        <a:pt x="430" y="685"/>
                      </a:lnTo>
                      <a:lnTo>
                        <a:pt x="430" y="685"/>
                      </a:lnTo>
                      <a:lnTo>
                        <a:pt x="430" y="686"/>
                      </a:lnTo>
                      <a:lnTo>
                        <a:pt x="430" y="686"/>
                      </a:lnTo>
                      <a:lnTo>
                        <a:pt x="429" y="686"/>
                      </a:lnTo>
                      <a:lnTo>
                        <a:pt x="428" y="686"/>
                      </a:lnTo>
                      <a:lnTo>
                        <a:pt x="428" y="687"/>
                      </a:lnTo>
                      <a:lnTo>
                        <a:pt x="428" y="687"/>
                      </a:lnTo>
                      <a:lnTo>
                        <a:pt x="428" y="688"/>
                      </a:lnTo>
                      <a:lnTo>
                        <a:pt x="427" y="688"/>
                      </a:lnTo>
                      <a:lnTo>
                        <a:pt x="426" y="687"/>
                      </a:lnTo>
                      <a:lnTo>
                        <a:pt x="424" y="687"/>
                      </a:lnTo>
                      <a:lnTo>
                        <a:pt x="424" y="687"/>
                      </a:lnTo>
                      <a:lnTo>
                        <a:pt x="423" y="687"/>
                      </a:lnTo>
                      <a:lnTo>
                        <a:pt x="422" y="687"/>
                      </a:lnTo>
                      <a:lnTo>
                        <a:pt x="422" y="687"/>
                      </a:lnTo>
                      <a:lnTo>
                        <a:pt x="422" y="686"/>
                      </a:lnTo>
                      <a:lnTo>
                        <a:pt x="421" y="686"/>
                      </a:lnTo>
                      <a:lnTo>
                        <a:pt x="420" y="686"/>
                      </a:lnTo>
                      <a:lnTo>
                        <a:pt x="420" y="686"/>
                      </a:lnTo>
                      <a:lnTo>
                        <a:pt x="420" y="685"/>
                      </a:lnTo>
                      <a:lnTo>
                        <a:pt x="420" y="686"/>
                      </a:lnTo>
                      <a:lnTo>
                        <a:pt x="419" y="686"/>
                      </a:lnTo>
                      <a:lnTo>
                        <a:pt x="418" y="686"/>
                      </a:lnTo>
                      <a:lnTo>
                        <a:pt x="418" y="685"/>
                      </a:lnTo>
                      <a:lnTo>
                        <a:pt x="417" y="685"/>
                      </a:lnTo>
                      <a:lnTo>
                        <a:pt x="417" y="685"/>
                      </a:lnTo>
                      <a:lnTo>
                        <a:pt x="417" y="684"/>
                      </a:lnTo>
                      <a:lnTo>
                        <a:pt x="417" y="683"/>
                      </a:lnTo>
                      <a:lnTo>
                        <a:pt x="417" y="682"/>
                      </a:lnTo>
                      <a:lnTo>
                        <a:pt x="417" y="682"/>
                      </a:lnTo>
                      <a:lnTo>
                        <a:pt x="417" y="682"/>
                      </a:lnTo>
                      <a:lnTo>
                        <a:pt x="417" y="681"/>
                      </a:lnTo>
                      <a:lnTo>
                        <a:pt x="417" y="680"/>
                      </a:lnTo>
                      <a:lnTo>
                        <a:pt x="417" y="680"/>
                      </a:lnTo>
                      <a:lnTo>
                        <a:pt x="416" y="680"/>
                      </a:lnTo>
                      <a:lnTo>
                        <a:pt x="415" y="680"/>
                      </a:lnTo>
                      <a:lnTo>
                        <a:pt x="415" y="680"/>
                      </a:lnTo>
                      <a:lnTo>
                        <a:pt x="415" y="679"/>
                      </a:lnTo>
                      <a:lnTo>
                        <a:pt x="415" y="678"/>
                      </a:lnTo>
                      <a:lnTo>
                        <a:pt x="414" y="678"/>
                      </a:lnTo>
                      <a:lnTo>
                        <a:pt x="414" y="678"/>
                      </a:lnTo>
                      <a:lnTo>
                        <a:pt x="413" y="677"/>
                      </a:lnTo>
                      <a:lnTo>
                        <a:pt x="413" y="677"/>
                      </a:lnTo>
                      <a:lnTo>
                        <a:pt x="412" y="676"/>
                      </a:lnTo>
                      <a:lnTo>
                        <a:pt x="411" y="676"/>
                      </a:lnTo>
                      <a:lnTo>
                        <a:pt x="410" y="676"/>
                      </a:lnTo>
                      <a:lnTo>
                        <a:pt x="409" y="676"/>
                      </a:lnTo>
                      <a:lnTo>
                        <a:pt x="409" y="676"/>
                      </a:lnTo>
                      <a:lnTo>
                        <a:pt x="408" y="676"/>
                      </a:lnTo>
                      <a:lnTo>
                        <a:pt x="407" y="676"/>
                      </a:lnTo>
                      <a:lnTo>
                        <a:pt x="407" y="676"/>
                      </a:lnTo>
                      <a:lnTo>
                        <a:pt x="407" y="676"/>
                      </a:lnTo>
                      <a:lnTo>
                        <a:pt x="406" y="675"/>
                      </a:lnTo>
                      <a:lnTo>
                        <a:pt x="405" y="674"/>
                      </a:lnTo>
                      <a:lnTo>
                        <a:pt x="405" y="674"/>
                      </a:lnTo>
                      <a:lnTo>
                        <a:pt x="404" y="675"/>
                      </a:lnTo>
                      <a:lnTo>
                        <a:pt x="403" y="675"/>
                      </a:lnTo>
                      <a:lnTo>
                        <a:pt x="403" y="676"/>
                      </a:lnTo>
                      <a:lnTo>
                        <a:pt x="403" y="676"/>
                      </a:lnTo>
                      <a:lnTo>
                        <a:pt x="403" y="676"/>
                      </a:lnTo>
                      <a:lnTo>
                        <a:pt x="403" y="677"/>
                      </a:lnTo>
                      <a:lnTo>
                        <a:pt x="403" y="678"/>
                      </a:lnTo>
                      <a:lnTo>
                        <a:pt x="403" y="678"/>
                      </a:lnTo>
                      <a:lnTo>
                        <a:pt x="402" y="678"/>
                      </a:lnTo>
                      <a:lnTo>
                        <a:pt x="401" y="678"/>
                      </a:lnTo>
                      <a:lnTo>
                        <a:pt x="401" y="678"/>
                      </a:lnTo>
                      <a:lnTo>
                        <a:pt x="401" y="677"/>
                      </a:lnTo>
                      <a:lnTo>
                        <a:pt x="400" y="677"/>
                      </a:lnTo>
                      <a:lnTo>
                        <a:pt x="399" y="676"/>
                      </a:lnTo>
                      <a:lnTo>
                        <a:pt x="398" y="676"/>
                      </a:lnTo>
                      <a:lnTo>
                        <a:pt x="398" y="677"/>
                      </a:lnTo>
                      <a:lnTo>
                        <a:pt x="397" y="678"/>
                      </a:lnTo>
                      <a:lnTo>
                        <a:pt x="396" y="677"/>
                      </a:lnTo>
                      <a:lnTo>
                        <a:pt x="396" y="676"/>
                      </a:lnTo>
                      <a:lnTo>
                        <a:pt x="396" y="676"/>
                      </a:lnTo>
                      <a:lnTo>
                        <a:pt x="396" y="675"/>
                      </a:lnTo>
                      <a:lnTo>
                        <a:pt x="395" y="674"/>
                      </a:lnTo>
                      <a:lnTo>
                        <a:pt x="395" y="674"/>
                      </a:lnTo>
                      <a:lnTo>
                        <a:pt x="394" y="673"/>
                      </a:lnTo>
                      <a:lnTo>
                        <a:pt x="394" y="673"/>
                      </a:lnTo>
                      <a:lnTo>
                        <a:pt x="394" y="672"/>
                      </a:lnTo>
                      <a:lnTo>
                        <a:pt x="393" y="672"/>
                      </a:lnTo>
                      <a:lnTo>
                        <a:pt x="393" y="672"/>
                      </a:lnTo>
                      <a:lnTo>
                        <a:pt x="394" y="672"/>
                      </a:lnTo>
                      <a:lnTo>
                        <a:pt x="394" y="671"/>
                      </a:lnTo>
                      <a:lnTo>
                        <a:pt x="394" y="670"/>
                      </a:lnTo>
                      <a:lnTo>
                        <a:pt x="394" y="670"/>
                      </a:lnTo>
                      <a:lnTo>
                        <a:pt x="394" y="669"/>
                      </a:lnTo>
                      <a:lnTo>
                        <a:pt x="394" y="668"/>
                      </a:lnTo>
                      <a:lnTo>
                        <a:pt x="393" y="668"/>
                      </a:lnTo>
                      <a:lnTo>
                        <a:pt x="392" y="668"/>
                      </a:lnTo>
                      <a:lnTo>
                        <a:pt x="392" y="668"/>
                      </a:lnTo>
                      <a:lnTo>
                        <a:pt x="391" y="668"/>
                      </a:lnTo>
                      <a:lnTo>
                        <a:pt x="390" y="668"/>
                      </a:lnTo>
                      <a:lnTo>
                        <a:pt x="390" y="668"/>
                      </a:lnTo>
                      <a:lnTo>
                        <a:pt x="389" y="668"/>
                      </a:lnTo>
                      <a:lnTo>
                        <a:pt x="389" y="668"/>
                      </a:lnTo>
                      <a:lnTo>
                        <a:pt x="388" y="668"/>
                      </a:lnTo>
                      <a:lnTo>
                        <a:pt x="388" y="669"/>
                      </a:lnTo>
                      <a:lnTo>
                        <a:pt x="388" y="670"/>
                      </a:lnTo>
                      <a:lnTo>
                        <a:pt x="389" y="670"/>
                      </a:lnTo>
                      <a:lnTo>
                        <a:pt x="390" y="671"/>
                      </a:lnTo>
                      <a:lnTo>
                        <a:pt x="390" y="672"/>
                      </a:lnTo>
                      <a:lnTo>
                        <a:pt x="389" y="672"/>
                      </a:lnTo>
                      <a:lnTo>
                        <a:pt x="388" y="673"/>
                      </a:lnTo>
                      <a:lnTo>
                        <a:pt x="388" y="674"/>
                      </a:lnTo>
                      <a:lnTo>
                        <a:pt x="388" y="674"/>
                      </a:lnTo>
                      <a:lnTo>
                        <a:pt x="388" y="675"/>
                      </a:lnTo>
                      <a:lnTo>
                        <a:pt x="388" y="676"/>
                      </a:lnTo>
                      <a:lnTo>
                        <a:pt x="388" y="676"/>
                      </a:lnTo>
                      <a:lnTo>
                        <a:pt x="388" y="677"/>
                      </a:lnTo>
                      <a:lnTo>
                        <a:pt x="388" y="677"/>
                      </a:lnTo>
                      <a:lnTo>
                        <a:pt x="388" y="678"/>
                      </a:lnTo>
                      <a:lnTo>
                        <a:pt x="388" y="678"/>
                      </a:lnTo>
                      <a:lnTo>
                        <a:pt x="387" y="678"/>
                      </a:lnTo>
                      <a:lnTo>
                        <a:pt x="387" y="679"/>
                      </a:lnTo>
                      <a:lnTo>
                        <a:pt x="387" y="680"/>
                      </a:lnTo>
                      <a:lnTo>
                        <a:pt x="386" y="680"/>
                      </a:lnTo>
                      <a:lnTo>
                        <a:pt x="386" y="680"/>
                      </a:lnTo>
                      <a:lnTo>
                        <a:pt x="387" y="680"/>
                      </a:lnTo>
                      <a:lnTo>
                        <a:pt x="387" y="681"/>
                      </a:lnTo>
                      <a:lnTo>
                        <a:pt x="388" y="681"/>
                      </a:lnTo>
                      <a:lnTo>
                        <a:pt x="388" y="682"/>
                      </a:lnTo>
                      <a:lnTo>
                        <a:pt x="388" y="682"/>
                      </a:lnTo>
                      <a:lnTo>
                        <a:pt x="387" y="682"/>
                      </a:lnTo>
                      <a:lnTo>
                        <a:pt x="387" y="683"/>
                      </a:lnTo>
                      <a:lnTo>
                        <a:pt x="386" y="683"/>
                      </a:lnTo>
                      <a:lnTo>
                        <a:pt x="387" y="684"/>
                      </a:lnTo>
                      <a:lnTo>
                        <a:pt x="387" y="685"/>
                      </a:lnTo>
                      <a:lnTo>
                        <a:pt x="386" y="685"/>
                      </a:lnTo>
                      <a:lnTo>
                        <a:pt x="386" y="686"/>
                      </a:lnTo>
                      <a:lnTo>
                        <a:pt x="386" y="686"/>
                      </a:lnTo>
                      <a:lnTo>
                        <a:pt x="385" y="687"/>
                      </a:lnTo>
                      <a:lnTo>
                        <a:pt x="384" y="687"/>
                      </a:lnTo>
                      <a:lnTo>
                        <a:pt x="384" y="687"/>
                      </a:lnTo>
                      <a:lnTo>
                        <a:pt x="385" y="687"/>
                      </a:lnTo>
                      <a:lnTo>
                        <a:pt x="386" y="687"/>
                      </a:lnTo>
                      <a:lnTo>
                        <a:pt x="386" y="687"/>
                      </a:lnTo>
                      <a:lnTo>
                        <a:pt x="386" y="687"/>
                      </a:lnTo>
                      <a:lnTo>
                        <a:pt x="387" y="687"/>
                      </a:lnTo>
                      <a:lnTo>
                        <a:pt x="388" y="687"/>
                      </a:lnTo>
                      <a:lnTo>
                        <a:pt x="388" y="687"/>
                      </a:lnTo>
                      <a:lnTo>
                        <a:pt x="388" y="687"/>
                      </a:lnTo>
                      <a:lnTo>
                        <a:pt x="388" y="688"/>
                      </a:lnTo>
                      <a:lnTo>
                        <a:pt x="388" y="689"/>
                      </a:lnTo>
                      <a:lnTo>
                        <a:pt x="388" y="689"/>
                      </a:lnTo>
                      <a:lnTo>
                        <a:pt x="387" y="689"/>
                      </a:lnTo>
                      <a:lnTo>
                        <a:pt x="386" y="689"/>
                      </a:lnTo>
                      <a:lnTo>
                        <a:pt x="386" y="689"/>
                      </a:lnTo>
                      <a:lnTo>
                        <a:pt x="386" y="690"/>
                      </a:lnTo>
                      <a:lnTo>
                        <a:pt x="386" y="691"/>
                      </a:lnTo>
                      <a:lnTo>
                        <a:pt x="386" y="691"/>
                      </a:lnTo>
                      <a:lnTo>
                        <a:pt x="386" y="692"/>
                      </a:lnTo>
                      <a:lnTo>
                        <a:pt x="386" y="693"/>
                      </a:lnTo>
                      <a:lnTo>
                        <a:pt x="386" y="693"/>
                      </a:lnTo>
                      <a:lnTo>
                        <a:pt x="386" y="693"/>
                      </a:lnTo>
                      <a:lnTo>
                        <a:pt x="386" y="694"/>
                      </a:lnTo>
                      <a:lnTo>
                        <a:pt x="386" y="695"/>
                      </a:lnTo>
                      <a:lnTo>
                        <a:pt x="387" y="695"/>
                      </a:lnTo>
                      <a:lnTo>
                        <a:pt x="387" y="695"/>
                      </a:lnTo>
                      <a:lnTo>
                        <a:pt x="388" y="695"/>
                      </a:lnTo>
                      <a:lnTo>
                        <a:pt x="388" y="696"/>
                      </a:lnTo>
                      <a:lnTo>
                        <a:pt x="388" y="697"/>
                      </a:lnTo>
                      <a:lnTo>
                        <a:pt x="387" y="697"/>
                      </a:lnTo>
                      <a:lnTo>
                        <a:pt x="387" y="698"/>
                      </a:lnTo>
                      <a:lnTo>
                        <a:pt x="387" y="699"/>
                      </a:lnTo>
                      <a:lnTo>
                        <a:pt x="386" y="699"/>
                      </a:lnTo>
                      <a:lnTo>
                        <a:pt x="386" y="699"/>
                      </a:lnTo>
                      <a:lnTo>
                        <a:pt x="385" y="699"/>
                      </a:lnTo>
                      <a:lnTo>
                        <a:pt x="385" y="700"/>
                      </a:lnTo>
                      <a:lnTo>
                        <a:pt x="385" y="701"/>
                      </a:lnTo>
                      <a:lnTo>
                        <a:pt x="386" y="701"/>
                      </a:lnTo>
                      <a:lnTo>
                        <a:pt x="386" y="701"/>
                      </a:lnTo>
                      <a:lnTo>
                        <a:pt x="387" y="701"/>
                      </a:lnTo>
                      <a:lnTo>
                        <a:pt x="387" y="701"/>
                      </a:lnTo>
                      <a:lnTo>
                        <a:pt x="388" y="702"/>
                      </a:lnTo>
                      <a:lnTo>
                        <a:pt x="388" y="703"/>
                      </a:lnTo>
                      <a:lnTo>
                        <a:pt x="388" y="703"/>
                      </a:lnTo>
                      <a:lnTo>
                        <a:pt x="388" y="704"/>
                      </a:lnTo>
                      <a:lnTo>
                        <a:pt x="388" y="704"/>
                      </a:lnTo>
                      <a:lnTo>
                        <a:pt x="388" y="704"/>
                      </a:lnTo>
                      <a:lnTo>
                        <a:pt x="388" y="705"/>
                      </a:lnTo>
                      <a:lnTo>
                        <a:pt x="389" y="705"/>
                      </a:lnTo>
                      <a:lnTo>
                        <a:pt x="389" y="706"/>
                      </a:lnTo>
                      <a:lnTo>
                        <a:pt x="388" y="706"/>
                      </a:lnTo>
                      <a:lnTo>
                        <a:pt x="388" y="706"/>
                      </a:lnTo>
                      <a:lnTo>
                        <a:pt x="388" y="706"/>
                      </a:lnTo>
                      <a:lnTo>
                        <a:pt x="387" y="706"/>
                      </a:lnTo>
                      <a:lnTo>
                        <a:pt x="387" y="707"/>
                      </a:lnTo>
                      <a:lnTo>
                        <a:pt x="386" y="707"/>
                      </a:lnTo>
                      <a:lnTo>
                        <a:pt x="386" y="707"/>
                      </a:lnTo>
                      <a:lnTo>
                        <a:pt x="385" y="707"/>
                      </a:lnTo>
                      <a:lnTo>
                        <a:pt x="384" y="707"/>
                      </a:lnTo>
                      <a:lnTo>
                        <a:pt x="384" y="707"/>
                      </a:lnTo>
                      <a:lnTo>
                        <a:pt x="384" y="708"/>
                      </a:lnTo>
                      <a:lnTo>
                        <a:pt x="384" y="708"/>
                      </a:lnTo>
                      <a:lnTo>
                        <a:pt x="384" y="709"/>
                      </a:lnTo>
                      <a:lnTo>
                        <a:pt x="384" y="709"/>
                      </a:lnTo>
                      <a:lnTo>
                        <a:pt x="384" y="710"/>
                      </a:lnTo>
                      <a:lnTo>
                        <a:pt x="385" y="710"/>
                      </a:lnTo>
                      <a:lnTo>
                        <a:pt x="385" y="710"/>
                      </a:lnTo>
                      <a:lnTo>
                        <a:pt x="385" y="711"/>
                      </a:lnTo>
                      <a:lnTo>
                        <a:pt x="385" y="712"/>
                      </a:lnTo>
                      <a:lnTo>
                        <a:pt x="385" y="712"/>
                      </a:lnTo>
                      <a:lnTo>
                        <a:pt x="385" y="713"/>
                      </a:lnTo>
                      <a:lnTo>
                        <a:pt x="385" y="714"/>
                      </a:lnTo>
                      <a:lnTo>
                        <a:pt x="384" y="714"/>
                      </a:lnTo>
                      <a:lnTo>
                        <a:pt x="384" y="714"/>
                      </a:lnTo>
                      <a:lnTo>
                        <a:pt x="384" y="714"/>
                      </a:lnTo>
                      <a:lnTo>
                        <a:pt x="384" y="715"/>
                      </a:lnTo>
                      <a:lnTo>
                        <a:pt x="384" y="716"/>
                      </a:lnTo>
                      <a:lnTo>
                        <a:pt x="384" y="716"/>
                      </a:lnTo>
                      <a:lnTo>
                        <a:pt x="384" y="716"/>
                      </a:lnTo>
                      <a:lnTo>
                        <a:pt x="385" y="716"/>
                      </a:lnTo>
                      <a:lnTo>
                        <a:pt x="385" y="717"/>
                      </a:lnTo>
                      <a:lnTo>
                        <a:pt x="385" y="718"/>
                      </a:lnTo>
                      <a:lnTo>
                        <a:pt x="386" y="718"/>
                      </a:lnTo>
                      <a:lnTo>
                        <a:pt x="386" y="719"/>
                      </a:lnTo>
                      <a:lnTo>
                        <a:pt x="386" y="720"/>
                      </a:lnTo>
                      <a:lnTo>
                        <a:pt x="386" y="720"/>
                      </a:lnTo>
                      <a:lnTo>
                        <a:pt x="386" y="721"/>
                      </a:lnTo>
                      <a:lnTo>
                        <a:pt x="386" y="721"/>
                      </a:lnTo>
                      <a:lnTo>
                        <a:pt x="386" y="722"/>
                      </a:lnTo>
                      <a:lnTo>
                        <a:pt x="386" y="722"/>
                      </a:lnTo>
                      <a:lnTo>
                        <a:pt x="386" y="723"/>
                      </a:lnTo>
                      <a:lnTo>
                        <a:pt x="386" y="724"/>
                      </a:lnTo>
                      <a:lnTo>
                        <a:pt x="386" y="725"/>
                      </a:lnTo>
                      <a:lnTo>
                        <a:pt x="386" y="725"/>
                      </a:lnTo>
                      <a:lnTo>
                        <a:pt x="385" y="725"/>
                      </a:lnTo>
                      <a:lnTo>
                        <a:pt x="385" y="726"/>
                      </a:lnTo>
                      <a:lnTo>
                        <a:pt x="385" y="727"/>
                      </a:lnTo>
                      <a:lnTo>
                        <a:pt x="385" y="727"/>
                      </a:lnTo>
                      <a:lnTo>
                        <a:pt x="384" y="727"/>
                      </a:lnTo>
                      <a:lnTo>
                        <a:pt x="384" y="728"/>
                      </a:lnTo>
                      <a:lnTo>
                        <a:pt x="384" y="729"/>
                      </a:lnTo>
                      <a:lnTo>
                        <a:pt x="384" y="729"/>
                      </a:lnTo>
                      <a:lnTo>
                        <a:pt x="384" y="730"/>
                      </a:lnTo>
                      <a:lnTo>
                        <a:pt x="384" y="730"/>
                      </a:lnTo>
                      <a:lnTo>
                        <a:pt x="384" y="731"/>
                      </a:lnTo>
                      <a:lnTo>
                        <a:pt x="384" y="731"/>
                      </a:lnTo>
                      <a:lnTo>
                        <a:pt x="384" y="732"/>
                      </a:lnTo>
                      <a:lnTo>
                        <a:pt x="384" y="733"/>
                      </a:lnTo>
                      <a:lnTo>
                        <a:pt x="384" y="733"/>
                      </a:lnTo>
                      <a:lnTo>
                        <a:pt x="383" y="733"/>
                      </a:lnTo>
                      <a:lnTo>
                        <a:pt x="383" y="734"/>
                      </a:lnTo>
                      <a:lnTo>
                        <a:pt x="384" y="735"/>
                      </a:lnTo>
                      <a:lnTo>
                        <a:pt x="383" y="735"/>
                      </a:lnTo>
                      <a:lnTo>
                        <a:pt x="382" y="735"/>
                      </a:lnTo>
                      <a:lnTo>
                        <a:pt x="382" y="735"/>
                      </a:lnTo>
                      <a:lnTo>
                        <a:pt x="381" y="735"/>
                      </a:lnTo>
                      <a:lnTo>
                        <a:pt x="380" y="735"/>
                      </a:lnTo>
                      <a:lnTo>
                        <a:pt x="380" y="736"/>
                      </a:lnTo>
                      <a:lnTo>
                        <a:pt x="379" y="736"/>
                      </a:lnTo>
                      <a:lnTo>
                        <a:pt x="379" y="736"/>
                      </a:lnTo>
                      <a:lnTo>
                        <a:pt x="379" y="737"/>
                      </a:lnTo>
                      <a:lnTo>
                        <a:pt x="379" y="737"/>
                      </a:lnTo>
                      <a:lnTo>
                        <a:pt x="378" y="737"/>
                      </a:lnTo>
                      <a:lnTo>
                        <a:pt x="377" y="738"/>
                      </a:lnTo>
                      <a:lnTo>
                        <a:pt x="377" y="738"/>
                      </a:lnTo>
                      <a:lnTo>
                        <a:pt x="376" y="738"/>
                      </a:lnTo>
                      <a:lnTo>
                        <a:pt x="375" y="738"/>
                      </a:lnTo>
                      <a:lnTo>
                        <a:pt x="375" y="738"/>
                      </a:lnTo>
                      <a:lnTo>
                        <a:pt x="374" y="738"/>
                      </a:lnTo>
                      <a:lnTo>
                        <a:pt x="373" y="738"/>
                      </a:lnTo>
                      <a:lnTo>
                        <a:pt x="373" y="737"/>
                      </a:lnTo>
                      <a:lnTo>
                        <a:pt x="373" y="737"/>
                      </a:lnTo>
                      <a:lnTo>
                        <a:pt x="373" y="737"/>
                      </a:lnTo>
                      <a:lnTo>
                        <a:pt x="372" y="737"/>
                      </a:lnTo>
                      <a:lnTo>
                        <a:pt x="372" y="736"/>
                      </a:lnTo>
                      <a:lnTo>
                        <a:pt x="371" y="736"/>
                      </a:lnTo>
                      <a:lnTo>
                        <a:pt x="371" y="736"/>
                      </a:lnTo>
                      <a:lnTo>
                        <a:pt x="370" y="736"/>
                      </a:lnTo>
                      <a:lnTo>
                        <a:pt x="369" y="735"/>
                      </a:lnTo>
                      <a:lnTo>
                        <a:pt x="369" y="735"/>
                      </a:lnTo>
                      <a:lnTo>
                        <a:pt x="369" y="735"/>
                      </a:lnTo>
                      <a:lnTo>
                        <a:pt x="368" y="735"/>
                      </a:lnTo>
                      <a:lnTo>
                        <a:pt x="367" y="735"/>
                      </a:lnTo>
                      <a:lnTo>
                        <a:pt x="367" y="735"/>
                      </a:lnTo>
                      <a:lnTo>
                        <a:pt x="367" y="734"/>
                      </a:lnTo>
                      <a:lnTo>
                        <a:pt x="366" y="735"/>
                      </a:lnTo>
                      <a:lnTo>
                        <a:pt x="365" y="735"/>
                      </a:lnTo>
                      <a:lnTo>
                        <a:pt x="365" y="734"/>
                      </a:lnTo>
                      <a:lnTo>
                        <a:pt x="365" y="734"/>
                      </a:lnTo>
                      <a:lnTo>
                        <a:pt x="365" y="733"/>
                      </a:lnTo>
                      <a:lnTo>
                        <a:pt x="364" y="733"/>
                      </a:lnTo>
                      <a:lnTo>
                        <a:pt x="363" y="733"/>
                      </a:lnTo>
                      <a:lnTo>
                        <a:pt x="363" y="733"/>
                      </a:lnTo>
                      <a:lnTo>
                        <a:pt x="362" y="733"/>
                      </a:lnTo>
                      <a:lnTo>
                        <a:pt x="361" y="733"/>
                      </a:lnTo>
                      <a:lnTo>
                        <a:pt x="360" y="734"/>
                      </a:lnTo>
                      <a:lnTo>
                        <a:pt x="360" y="734"/>
                      </a:lnTo>
                      <a:lnTo>
                        <a:pt x="359" y="734"/>
                      </a:lnTo>
                      <a:lnTo>
                        <a:pt x="358" y="734"/>
                      </a:lnTo>
                      <a:lnTo>
                        <a:pt x="358" y="734"/>
                      </a:lnTo>
                      <a:lnTo>
                        <a:pt x="358" y="733"/>
                      </a:lnTo>
                      <a:lnTo>
                        <a:pt x="358" y="734"/>
                      </a:lnTo>
                      <a:lnTo>
                        <a:pt x="357" y="734"/>
                      </a:lnTo>
                      <a:lnTo>
                        <a:pt x="356" y="734"/>
                      </a:lnTo>
                      <a:lnTo>
                        <a:pt x="356" y="735"/>
                      </a:lnTo>
                      <a:lnTo>
                        <a:pt x="356" y="734"/>
                      </a:lnTo>
                      <a:lnTo>
                        <a:pt x="355" y="734"/>
                      </a:lnTo>
                      <a:lnTo>
                        <a:pt x="354" y="734"/>
                      </a:lnTo>
                      <a:lnTo>
                        <a:pt x="354" y="734"/>
                      </a:lnTo>
                      <a:lnTo>
                        <a:pt x="353" y="734"/>
                      </a:lnTo>
                      <a:lnTo>
                        <a:pt x="353" y="735"/>
                      </a:lnTo>
                      <a:lnTo>
                        <a:pt x="352" y="735"/>
                      </a:lnTo>
                      <a:lnTo>
                        <a:pt x="352" y="735"/>
                      </a:lnTo>
                      <a:lnTo>
                        <a:pt x="352" y="735"/>
                      </a:lnTo>
                      <a:lnTo>
                        <a:pt x="351" y="736"/>
                      </a:lnTo>
                      <a:lnTo>
                        <a:pt x="351" y="735"/>
                      </a:lnTo>
                      <a:lnTo>
                        <a:pt x="350" y="735"/>
                      </a:lnTo>
                      <a:lnTo>
                        <a:pt x="350" y="735"/>
                      </a:lnTo>
                      <a:lnTo>
                        <a:pt x="350" y="736"/>
                      </a:lnTo>
                      <a:lnTo>
                        <a:pt x="349" y="736"/>
                      </a:lnTo>
                      <a:lnTo>
                        <a:pt x="349" y="737"/>
                      </a:lnTo>
                      <a:lnTo>
                        <a:pt x="348" y="737"/>
                      </a:lnTo>
                      <a:lnTo>
                        <a:pt x="348" y="737"/>
                      </a:lnTo>
                      <a:lnTo>
                        <a:pt x="347" y="737"/>
                      </a:lnTo>
                      <a:lnTo>
                        <a:pt x="346" y="737"/>
                      </a:lnTo>
                      <a:lnTo>
                        <a:pt x="346" y="736"/>
                      </a:lnTo>
                      <a:lnTo>
                        <a:pt x="346" y="737"/>
                      </a:lnTo>
                      <a:lnTo>
                        <a:pt x="345" y="737"/>
                      </a:lnTo>
                      <a:lnTo>
                        <a:pt x="345" y="736"/>
                      </a:lnTo>
                      <a:lnTo>
                        <a:pt x="344" y="736"/>
                      </a:lnTo>
                      <a:lnTo>
                        <a:pt x="344" y="736"/>
                      </a:lnTo>
                      <a:lnTo>
                        <a:pt x="343" y="736"/>
                      </a:lnTo>
                      <a:lnTo>
                        <a:pt x="342" y="736"/>
                      </a:lnTo>
                      <a:lnTo>
                        <a:pt x="342" y="735"/>
                      </a:lnTo>
                      <a:lnTo>
                        <a:pt x="341" y="735"/>
                      </a:lnTo>
                      <a:lnTo>
                        <a:pt x="341" y="735"/>
                      </a:lnTo>
                      <a:lnTo>
                        <a:pt x="341" y="735"/>
                      </a:lnTo>
                      <a:lnTo>
                        <a:pt x="340" y="735"/>
                      </a:lnTo>
                      <a:lnTo>
                        <a:pt x="340" y="734"/>
                      </a:lnTo>
                      <a:lnTo>
                        <a:pt x="339" y="734"/>
                      </a:lnTo>
                      <a:lnTo>
                        <a:pt x="339" y="735"/>
                      </a:lnTo>
                      <a:lnTo>
                        <a:pt x="339" y="735"/>
                      </a:lnTo>
                      <a:lnTo>
                        <a:pt x="339" y="734"/>
                      </a:lnTo>
                      <a:lnTo>
                        <a:pt x="339" y="733"/>
                      </a:lnTo>
                      <a:lnTo>
                        <a:pt x="339" y="733"/>
                      </a:lnTo>
                      <a:lnTo>
                        <a:pt x="339" y="732"/>
                      </a:lnTo>
                      <a:lnTo>
                        <a:pt x="338" y="732"/>
                      </a:lnTo>
                      <a:lnTo>
                        <a:pt x="337" y="731"/>
                      </a:lnTo>
                      <a:lnTo>
                        <a:pt x="337" y="731"/>
                      </a:lnTo>
                      <a:lnTo>
                        <a:pt x="336" y="731"/>
                      </a:lnTo>
                      <a:lnTo>
                        <a:pt x="336" y="731"/>
                      </a:lnTo>
                      <a:lnTo>
                        <a:pt x="335" y="730"/>
                      </a:lnTo>
                      <a:lnTo>
                        <a:pt x="335" y="730"/>
                      </a:lnTo>
                      <a:lnTo>
                        <a:pt x="334" y="729"/>
                      </a:lnTo>
                      <a:lnTo>
                        <a:pt x="334" y="729"/>
                      </a:lnTo>
                      <a:lnTo>
                        <a:pt x="333" y="729"/>
                      </a:lnTo>
                      <a:lnTo>
                        <a:pt x="333" y="728"/>
                      </a:lnTo>
                      <a:lnTo>
                        <a:pt x="333" y="728"/>
                      </a:lnTo>
                      <a:lnTo>
                        <a:pt x="333" y="727"/>
                      </a:lnTo>
                      <a:lnTo>
                        <a:pt x="332" y="727"/>
                      </a:lnTo>
                      <a:lnTo>
                        <a:pt x="331" y="727"/>
                      </a:lnTo>
                      <a:lnTo>
                        <a:pt x="331" y="727"/>
                      </a:lnTo>
                      <a:lnTo>
                        <a:pt x="331" y="727"/>
                      </a:lnTo>
                      <a:lnTo>
                        <a:pt x="331" y="726"/>
                      </a:lnTo>
                      <a:lnTo>
                        <a:pt x="331" y="725"/>
                      </a:lnTo>
                      <a:lnTo>
                        <a:pt x="331" y="725"/>
                      </a:lnTo>
                      <a:lnTo>
                        <a:pt x="330" y="725"/>
                      </a:lnTo>
                      <a:lnTo>
                        <a:pt x="329" y="725"/>
                      </a:lnTo>
                      <a:lnTo>
                        <a:pt x="329" y="725"/>
                      </a:lnTo>
                      <a:lnTo>
                        <a:pt x="329" y="725"/>
                      </a:lnTo>
                      <a:lnTo>
                        <a:pt x="328" y="725"/>
                      </a:lnTo>
                      <a:lnTo>
                        <a:pt x="327" y="725"/>
                      </a:lnTo>
                      <a:lnTo>
                        <a:pt x="327" y="726"/>
                      </a:lnTo>
                      <a:lnTo>
                        <a:pt x="327" y="726"/>
                      </a:lnTo>
                      <a:lnTo>
                        <a:pt x="327" y="725"/>
                      </a:lnTo>
                      <a:lnTo>
                        <a:pt x="326" y="725"/>
                      </a:lnTo>
                      <a:lnTo>
                        <a:pt x="326" y="725"/>
                      </a:lnTo>
                      <a:lnTo>
                        <a:pt x="325" y="725"/>
                      </a:lnTo>
                      <a:lnTo>
                        <a:pt x="325" y="724"/>
                      </a:lnTo>
                      <a:lnTo>
                        <a:pt x="325" y="724"/>
                      </a:lnTo>
                      <a:lnTo>
                        <a:pt x="324" y="723"/>
                      </a:lnTo>
                      <a:lnTo>
                        <a:pt x="323" y="722"/>
                      </a:lnTo>
                      <a:lnTo>
                        <a:pt x="323" y="722"/>
                      </a:lnTo>
                      <a:lnTo>
                        <a:pt x="322" y="722"/>
                      </a:lnTo>
                      <a:lnTo>
                        <a:pt x="322" y="721"/>
                      </a:lnTo>
                      <a:lnTo>
                        <a:pt x="321" y="721"/>
                      </a:lnTo>
                      <a:lnTo>
                        <a:pt x="320" y="721"/>
                      </a:lnTo>
                      <a:lnTo>
                        <a:pt x="320" y="720"/>
                      </a:lnTo>
                      <a:lnTo>
                        <a:pt x="320" y="720"/>
                      </a:lnTo>
                      <a:lnTo>
                        <a:pt x="319" y="720"/>
                      </a:lnTo>
                      <a:lnTo>
                        <a:pt x="319" y="721"/>
                      </a:lnTo>
                      <a:lnTo>
                        <a:pt x="318" y="721"/>
                      </a:lnTo>
                      <a:lnTo>
                        <a:pt x="318" y="721"/>
                      </a:lnTo>
                      <a:lnTo>
                        <a:pt x="317" y="721"/>
                      </a:lnTo>
                      <a:lnTo>
                        <a:pt x="317" y="722"/>
                      </a:lnTo>
                      <a:lnTo>
                        <a:pt x="316" y="721"/>
                      </a:lnTo>
                      <a:lnTo>
                        <a:pt x="316" y="721"/>
                      </a:lnTo>
                      <a:lnTo>
                        <a:pt x="315" y="721"/>
                      </a:lnTo>
                      <a:lnTo>
                        <a:pt x="314" y="721"/>
                      </a:lnTo>
                      <a:lnTo>
                        <a:pt x="314" y="722"/>
                      </a:lnTo>
                      <a:lnTo>
                        <a:pt x="314" y="722"/>
                      </a:lnTo>
                      <a:lnTo>
                        <a:pt x="314" y="723"/>
                      </a:lnTo>
                      <a:lnTo>
                        <a:pt x="313" y="723"/>
                      </a:lnTo>
                      <a:lnTo>
                        <a:pt x="312" y="723"/>
                      </a:lnTo>
                      <a:lnTo>
                        <a:pt x="312" y="723"/>
                      </a:lnTo>
                      <a:lnTo>
                        <a:pt x="311" y="723"/>
                      </a:lnTo>
                      <a:lnTo>
                        <a:pt x="310" y="724"/>
                      </a:lnTo>
                      <a:lnTo>
                        <a:pt x="310" y="724"/>
                      </a:lnTo>
                      <a:lnTo>
                        <a:pt x="309" y="724"/>
                      </a:lnTo>
                      <a:lnTo>
                        <a:pt x="308" y="724"/>
                      </a:lnTo>
                      <a:lnTo>
                        <a:pt x="308" y="724"/>
                      </a:lnTo>
                      <a:lnTo>
                        <a:pt x="308" y="725"/>
                      </a:lnTo>
                      <a:lnTo>
                        <a:pt x="307" y="725"/>
                      </a:lnTo>
                      <a:lnTo>
                        <a:pt x="306" y="725"/>
                      </a:lnTo>
                      <a:lnTo>
                        <a:pt x="306" y="725"/>
                      </a:lnTo>
                      <a:lnTo>
                        <a:pt x="305" y="725"/>
                      </a:lnTo>
                      <a:lnTo>
                        <a:pt x="305" y="725"/>
                      </a:lnTo>
                      <a:lnTo>
                        <a:pt x="304" y="725"/>
                      </a:lnTo>
                      <a:lnTo>
                        <a:pt x="303" y="725"/>
                      </a:lnTo>
                      <a:lnTo>
                        <a:pt x="303" y="725"/>
                      </a:lnTo>
                      <a:lnTo>
                        <a:pt x="302" y="725"/>
                      </a:lnTo>
                      <a:lnTo>
                        <a:pt x="302" y="724"/>
                      </a:lnTo>
                      <a:lnTo>
                        <a:pt x="301" y="723"/>
                      </a:lnTo>
                      <a:lnTo>
                        <a:pt x="301" y="722"/>
                      </a:lnTo>
                      <a:lnTo>
                        <a:pt x="300" y="722"/>
                      </a:lnTo>
                      <a:lnTo>
                        <a:pt x="300" y="722"/>
                      </a:lnTo>
                      <a:lnTo>
                        <a:pt x="300" y="721"/>
                      </a:lnTo>
                      <a:lnTo>
                        <a:pt x="300" y="720"/>
                      </a:lnTo>
                      <a:lnTo>
                        <a:pt x="299" y="720"/>
                      </a:lnTo>
                      <a:lnTo>
                        <a:pt x="299" y="720"/>
                      </a:lnTo>
                      <a:lnTo>
                        <a:pt x="298" y="720"/>
                      </a:lnTo>
                      <a:lnTo>
                        <a:pt x="297" y="720"/>
                      </a:lnTo>
                      <a:lnTo>
                        <a:pt x="297" y="720"/>
                      </a:lnTo>
                      <a:lnTo>
                        <a:pt x="297" y="719"/>
                      </a:lnTo>
                      <a:lnTo>
                        <a:pt x="297" y="718"/>
                      </a:lnTo>
                      <a:lnTo>
                        <a:pt x="297" y="718"/>
                      </a:lnTo>
                      <a:lnTo>
                        <a:pt x="297" y="717"/>
                      </a:lnTo>
                      <a:lnTo>
                        <a:pt x="297" y="716"/>
                      </a:lnTo>
                      <a:lnTo>
                        <a:pt x="296" y="716"/>
                      </a:lnTo>
                      <a:lnTo>
                        <a:pt x="296" y="716"/>
                      </a:lnTo>
                      <a:lnTo>
                        <a:pt x="295" y="716"/>
                      </a:lnTo>
                      <a:lnTo>
                        <a:pt x="295" y="715"/>
                      </a:lnTo>
                      <a:lnTo>
                        <a:pt x="295" y="714"/>
                      </a:lnTo>
                      <a:lnTo>
                        <a:pt x="295" y="714"/>
                      </a:lnTo>
                      <a:lnTo>
                        <a:pt x="295" y="714"/>
                      </a:lnTo>
                      <a:lnTo>
                        <a:pt x="295" y="713"/>
                      </a:lnTo>
                      <a:lnTo>
                        <a:pt x="294" y="713"/>
                      </a:lnTo>
                      <a:lnTo>
                        <a:pt x="293" y="713"/>
                      </a:lnTo>
                      <a:lnTo>
                        <a:pt x="293" y="712"/>
                      </a:lnTo>
                      <a:lnTo>
                        <a:pt x="293" y="712"/>
                      </a:lnTo>
                      <a:lnTo>
                        <a:pt x="293" y="711"/>
                      </a:lnTo>
                      <a:lnTo>
                        <a:pt x="293" y="711"/>
                      </a:lnTo>
                      <a:lnTo>
                        <a:pt x="293" y="710"/>
                      </a:lnTo>
                      <a:lnTo>
                        <a:pt x="292" y="710"/>
                      </a:lnTo>
                      <a:lnTo>
                        <a:pt x="292" y="710"/>
                      </a:lnTo>
                      <a:lnTo>
                        <a:pt x="293" y="709"/>
                      </a:lnTo>
                      <a:lnTo>
                        <a:pt x="293" y="708"/>
                      </a:lnTo>
                      <a:lnTo>
                        <a:pt x="292" y="708"/>
                      </a:lnTo>
                      <a:lnTo>
                        <a:pt x="291" y="708"/>
                      </a:lnTo>
                      <a:lnTo>
                        <a:pt x="291" y="707"/>
                      </a:lnTo>
                      <a:lnTo>
                        <a:pt x="291" y="708"/>
                      </a:lnTo>
                      <a:lnTo>
                        <a:pt x="290" y="708"/>
                      </a:lnTo>
                      <a:lnTo>
                        <a:pt x="290" y="707"/>
                      </a:lnTo>
                      <a:lnTo>
                        <a:pt x="289" y="707"/>
                      </a:lnTo>
                      <a:lnTo>
                        <a:pt x="289" y="706"/>
                      </a:lnTo>
                      <a:lnTo>
                        <a:pt x="289" y="706"/>
                      </a:lnTo>
                      <a:lnTo>
                        <a:pt x="289" y="705"/>
                      </a:lnTo>
                      <a:lnTo>
                        <a:pt x="289" y="704"/>
                      </a:lnTo>
                      <a:lnTo>
                        <a:pt x="289" y="704"/>
                      </a:lnTo>
                      <a:lnTo>
                        <a:pt x="289" y="704"/>
                      </a:lnTo>
                      <a:lnTo>
                        <a:pt x="288" y="704"/>
                      </a:lnTo>
                      <a:lnTo>
                        <a:pt x="288" y="703"/>
                      </a:lnTo>
                      <a:lnTo>
                        <a:pt x="288" y="702"/>
                      </a:lnTo>
                      <a:lnTo>
                        <a:pt x="288" y="701"/>
                      </a:lnTo>
                      <a:lnTo>
                        <a:pt x="288" y="701"/>
                      </a:lnTo>
                      <a:lnTo>
                        <a:pt x="287" y="700"/>
                      </a:lnTo>
                      <a:lnTo>
                        <a:pt x="287" y="700"/>
                      </a:lnTo>
                      <a:lnTo>
                        <a:pt x="287" y="701"/>
                      </a:lnTo>
                      <a:lnTo>
                        <a:pt x="286" y="701"/>
                      </a:lnTo>
                      <a:lnTo>
                        <a:pt x="285" y="700"/>
                      </a:lnTo>
                      <a:lnTo>
                        <a:pt x="284" y="699"/>
                      </a:lnTo>
                      <a:lnTo>
                        <a:pt x="284" y="699"/>
                      </a:lnTo>
                      <a:lnTo>
                        <a:pt x="284" y="699"/>
                      </a:lnTo>
                      <a:lnTo>
                        <a:pt x="284" y="698"/>
                      </a:lnTo>
                      <a:lnTo>
                        <a:pt x="284" y="697"/>
                      </a:lnTo>
                      <a:lnTo>
                        <a:pt x="284" y="697"/>
                      </a:lnTo>
                      <a:lnTo>
                        <a:pt x="284" y="696"/>
                      </a:lnTo>
                      <a:lnTo>
                        <a:pt x="284" y="695"/>
                      </a:lnTo>
                      <a:lnTo>
                        <a:pt x="283" y="695"/>
                      </a:lnTo>
                      <a:lnTo>
                        <a:pt x="283" y="695"/>
                      </a:lnTo>
                      <a:lnTo>
                        <a:pt x="283" y="694"/>
                      </a:lnTo>
                      <a:lnTo>
                        <a:pt x="282" y="694"/>
                      </a:lnTo>
                      <a:lnTo>
                        <a:pt x="282" y="693"/>
                      </a:lnTo>
                      <a:lnTo>
                        <a:pt x="281" y="693"/>
                      </a:lnTo>
                      <a:lnTo>
                        <a:pt x="280" y="693"/>
                      </a:lnTo>
                      <a:lnTo>
                        <a:pt x="280" y="693"/>
                      </a:lnTo>
                      <a:lnTo>
                        <a:pt x="280" y="694"/>
                      </a:lnTo>
                      <a:lnTo>
                        <a:pt x="279" y="694"/>
                      </a:lnTo>
                      <a:lnTo>
                        <a:pt x="278" y="694"/>
                      </a:lnTo>
                      <a:lnTo>
                        <a:pt x="278" y="693"/>
                      </a:lnTo>
                      <a:lnTo>
                        <a:pt x="278" y="693"/>
                      </a:lnTo>
                      <a:lnTo>
                        <a:pt x="278" y="693"/>
                      </a:lnTo>
                      <a:lnTo>
                        <a:pt x="277" y="693"/>
                      </a:lnTo>
                      <a:lnTo>
                        <a:pt x="277" y="692"/>
                      </a:lnTo>
                      <a:lnTo>
                        <a:pt x="276" y="692"/>
                      </a:lnTo>
                      <a:lnTo>
                        <a:pt x="276" y="692"/>
                      </a:lnTo>
                      <a:lnTo>
                        <a:pt x="275" y="691"/>
                      </a:lnTo>
                      <a:lnTo>
                        <a:pt x="274" y="691"/>
                      </a:lnTo>
                      <a:lnTo>
                        <a:pt x="274" y="691"/>
                      </a:lnTo>
                      <a:lnTo>
                        <a:pt x="274" y="691"/>
                      </a:lnTo>
                      <a:lnTo>
                        <a:pt x="273" y="690"/>
                      </a:lnTo>
                      <a:lnTo>
                        <a:pt x="273" y="689"/>
                      </a:lnTo>
                      <a:lnTo>
                        <a:pt x="273" y="689"/>
                      </a:lnTo>
                      <a:lnTo>
                        <a:pt x="273" y="688"/>
                      </a:lnTo>
                      <a:lnTo>
                        <a:pt x="273" y="687"/>
                      </a:lnTo>
                      <a:lnTo>
                        <a:pt x="272" y="687"/>
                      </a:lnTo>
                      <a:lnTo>
                        <a:pt x="272" y="687"/>
                      </a:lnTo>
                      <a:lnTo>
                        <a:pt x="271" y="687"/>
                      </a:lnTo>
                      <a:lnTo>
                        <a:pt x="270" y="687"/>
                      </a:lnTo>
                      <a:lnTo>
                        <a:pt x="270" y="686"/>
                      </a:lnTo>
                      <a:lnTo>
                        <a:pt x="270" y="685"/>
                      </a:lnTo>
                      <a:lnTo>
                        <a:pt x="270" y="685"/>
                      </a:lnTo>
                      <a:lnTo>
                        <a:pt x="270" y="685"/>
                      </a:lnTo>
                      <a:lnTo>
                        <a:pt x="269" y="685"/>
                      </a:lnTo>
                      <a:lnTo>
                        <a:pt x="269" y="684"/>
                      </a:lnTo>
                      <a:lnTo>
                        <a:pt x="268" y="684"/>
                      </a:lnTo>
                      <a:lnTo>
                        <a:pt x="268" y="683"/>
                      </a:lnTo>
                      <a:lnTo>
                        <a:pt x="267" y="683"/>
                      </a:lnTo>
                      <a:lnTo>
                        <a:pt x="266" y="684"/>
                      </a:lnTo>
                      <a:lnTo>
                        <a:pt x="265" y="684"/>
                      </a:lnTo>
                      <a:lnTo>
                        <a:pt x="265" y="684"/>
                      </a:lnTo>
                      <a:lnTo>
                        <a:pt x="264" y="684"/>
                      </a:lnTo>
                      <a:lnTo>
                        <a:pt x="263" y="684"/>
                      </a:lnTo>
                      <a:lnTo>
                        <a:pt x="263" y="684"/>
                      </a:lnTo>
                      <a:lnTo>
                        <a:pt x="262" y="683"/>
                      </a:lnTo>
                      <a:lnTo>
                        <a:pt x="261" y="683"/>
                      </a:lnTo>
                      <a:lnTo>
                        <a:pt x="261" y="682"/>
                      </a:lnTo>
                      <a:lnTo>
                        <a:pt x="261" y="682"/>
                      </a:lnTo>
                      <a:lnTo>
                        <a:pt x="261" y="682"/>
                      </a:lnTo>
                      <a:lnTo>
                        <a:pt x="260" y="682"/>
                      </a:lnTo>
                      <a:lnTo>
                        <a:pt x="260" y="681"/>
                      </a:lnTo>
                      <a:lnTo>
                        <a:pt x="259" y="681"/>
                      </a:lnTo>
                      <a:lnTo>
                        <a:pt x="259" y="681"/>
                      </a:lnTo>
                      <a:lnTo>
                        <a:pt x="258" y="681"/>
                      </a:lnTo>
                      <a:lnTo>
                        <a:pt x="257" y="682"/>
                      </a:lnTo>
                      <a:lnTo>
                        <a:pt x="257" y="682"/>
                      </a:lnTo>
                      <a:lnTo>
                        <a:pt x="256" y="682"/>
                      </a:lnTo>
                      <a:lnTo>
                        <a:pt x="256" y="682"/>
                      </a:lnTo>
                      <a:lnTo>
                        <a:pt x="255" y="682"/>
                      </a:lnTo>
                      <a:lnTo>
                        <a:pt x="255" y="682"/>
                      </a:lnTo>
                      <a:lnTo>
                        <a:pt x="254" y="682"/>
                      </a:lnTo>
                      <a:lnTo>
                        <a:pt x="253" y="683"/>
                      </a:lnTo>
                      <a:lnTo>
                        <a:pt x="253" y="684"/>
                      </a:lnTo>
                      <a:lnTo>
                        <a:pt x="252" y="684"/>
                      </a:lnTo>
                      <a:lnTo>
                        <a:pt x="252" y="685"/>
                      </a:lnTo>
                      <a:lnTo>
                        <a:pt x="251" y="685"/>
                      </a:lnTo>
                      <a:lnTo>
                        <a:pt x="251" y="685"/>
                      </a:lnTo>
                      <a:lnTo>
                        <a:pt x="251" y="686"/>
                      </a:lnTo>
                      <a:lnTo>
                        <a:pt x="251" y="687"/>
                      </a:lnTo>
                      <a:lnTo>
                        <a:pt x="251" y="687"/>
                      </a:lnTo>
                      <a:lnTo>
                        <a:pt x="251" y="687"/>
                      </a:lnTo>
                      <a:lnTo>
                        <a:pt x="251" y="688"/>
                      </a:lnTo>
                      <a:lnTo>
                        <a:pt x="251" y="689"/>
                      </a:lnTo>
                      <a:lnTo>
                        <a:pt x="251" y="689"/>
                      </a:lnTo>
                      <a:lnTo>
                        <a:pt x="251" y="690"/>
                      </a:lnTo>
                      <a:lnTo>
                        <a:pt x="251" y="691"/>
                      </a:lnTo>
                      <a:lnTo>
                        <a:pt x="250" y="691"/>
                      </a:lnTo>
                      <a:lnTo>
                        <a:pt x="249" y="692"/>
                      </a:lnTo>
                      <a:lnTo>
                        <a:pt x="249" y="693"/>
                      </a:lnTo>
                      <a:lnTo>
                        <a:pt x="248" y="693"/>
                      </a:lnTo>
                      <a:lnTo>
                        <a:pt x="247" y="693"/>
                      </a:lnTo>
                      <a:lnTo>
                        <a:pt x="246" y="693"/>
                      </a:lnTo>
                      <a:lnTo>
                        <a:pt x="245" y="693"/>
                      </a:lnTo>
                      <a:lnTo>
                        <a:pt x="244" y="694"/>
                      </a:lnTo>
                      <a:lnTo>
                        <a:pt x="244" y="694"/>
                      </a:lnTo>
                      <a:lnTo>
                        <a:pt x="244" y="695"/>
                      </a:lnTo>
                      <a:lnTo>
                        <a:pt x="244" y="695"/>
                      </a:lnTo>
                      <a:lnTo>
                        <a:pt x="244" y="695"/>
                      </a:lnTo>
                      <a:lnTo>
                        <a:pt x="245" y="695"/>
                      </a:lnTo>
                      <a:lnTo>
                        <a:pt x="245" y="696"/>
                      </a:lnTo>
                      <a:lnTo>
                        <a:pt x="245" y="697"/>
                      </a:lnTo>
                      <a:lnTo>
                        <a:pt x="245" y="697"/>
                      </a:lnTo>
                      <a:lnTo>
                        <a:pt x="245" y="698"/>
                      </a:lnTo>
                      <a:lnTo>
                        <a:pt x="244" y="698"/>
                      </a:lnTo>
                      <a:lnTo>
                        <a:pt x="244" y="699"/>
                      </a:lnTo>
                      <a:lnTo>
                        <a:pt x="244" y="699"/>
                      </a:lnTo>
                      <a:lnTo>
                        <a:pt x="244" y="700"/>
                      </a:lnTo>
                      <a:lnTo>
                        <a:pt x="243" y="701"/>
                      </a:lnTo>
                      <a:lnTo>
                        <a:pt x="243" y="701"/>
                      </a:lnTo>
                      <a:lnTo>
                        <a:pt x="242" y="701"/>
                      </a:lnTo>
                      <a:lnTo>
                        <a:pt x="242" y="702"/>
                      </a:lnTo>
                      <a:lnTo>
                        <a:pt x="242" y="703"/>
                      </a:lnTo>
                      <a:lnTo>
                        <a:pt x="242" y="704"/>
                      </a:lnTo>
                      <a:lnTo>
                        <a:pt x="242" y="704"/>
                      </a:lnTo>
                      <a:lnTo>
                        <a:pt x="242" y="705"/>
                      </a:lnTo>
                      <a:lnTo>
                        <a:pt x="242" y="706"/>
                      </a:lnTo>
                      <a:lnTo>
                        <a:pt x="242" y="706"/>
                      </a:lnTo>
                      <a:lnTo>
                        <a:pt x="242" y="707"/>
                      </a:lnTo>
                      <a:lnTo>
                        <a:pt x="241" y="707"/>
                      </a:lnTo>
                      <a:lnTo>
                        <a:pt x="240" y="707"/>
                      </a:lnTo>
                      <a:lnTo>
                        <a:pt x="240" y="707"/>
                      </a:lnTo>
                      <a:lnTo>
                        <a:pt x="240" y="708"/>
                      </a:lnTo>
                      <a:lnTo>
                        <a:pt x="240" y="708"/>
                      </a:lnTo>
                      <a:lnTo>
                        <a:pt x="239" y="708"/>
                      </a:lnTo>
                      <a:lnTo>
                        <a:pt x="239" y="709"/>
                      </a:lnTo>
                      <a:lnTo>
                        <a:pt x="239" y="710"/>
                      </a:lnTo>
                      <a:lnTo>
                        <a:pt x="239" y="710"/>
                      </a:lnTo>
                      <a:lnTo>
                        <a:pt x="239" y="711"/>
                      </a:lnTo>
                      <a:lnTo>
                        <a:pt x="240" y="711"/>
                      </a:lnTo>
                      <a:lnTo>
                        <a:pt x="240" y="712"/>
                      </a:lnTo>
                      <a:lnTo>
                        <a:pt x="240" y="712"/>
                      </a:lnTo>
                      <a:lnTo>
                        <a:pt x="240" y="713"/>
                      </a:lnTo>
                      <a:lnTo>
                        <a:pt x="241" y="713"/>
                      </a:lnTo>
                      <a:lnTo>
                        <a:pt x="241" y="714"/>
                      </a:lnTo>
                      <a:lnTo>
                        <a:pt x="241" y="714"/>
                      </a:lnTo>
                      <a:lnTo>
                        <a:pt x="240" y="714"/>
                      </a:lnTo>
                      <a:lnTo>
                        <a:pt x="240" y="715"/>
                      </a:lnTo>
                      <a:lnTo>
                        <a:pt x="240" y="715"/>
                      </a:lnTo>
                      <a:lnTo>
                        <a:pt x="240" y="716"/>
                      </a:lnTo>
                      <a:lnTo>
                        <a:pt x="239" y="716"/>
                      </a:lnTo>
                      <a:lnTo>
                        <a:pt x="238" y="716"/>
                      </a:lnTo>
                      <a:lnTo>
                        <a:pt x="238" y="716"/>
                      </a:lnTo>
                      <a:lnTo>
                        <a:pt x="237" y="716"/>
                      </a:lnTo>
                      <a:lnTo>
                        <a:pt x="237" y="717"/>
                      </a:lnTo>
                      <a:lnTo>
                        <a:pt x="236" y="717"/>
                      </a:lnTo>
                      <a:lnTo>
                        <a:pt x="236" y="718"/>
                      </a:lnTo>
                      <a:lnTo>
                        <a:pt x="237" y="718"/>
                      </a:lnTo>
                      <a:lnTo>
                        <a:pt x="237" y="718"/>
                      </a:lnTo>
                      <a:lnTo>
                        <a:pt x="237" y="719"/>
                      </a:lnTo>
                      <a:lnTo>
                        <a:pt x="237" y="720"/>
                      </a:lnTo>
                      <a:lnTo>
                        <a:pt x="236" y="720"/>
                      </a:lnTo>
                      <a:lnTo>
                        <a:pt x="236" y="721"/>
                      </a:lnTo>
                      <a:lnTo>
                        <a:pt x="236" y="722"/>
                      </a:lnTo>
                      <a:lnTo>
                        <a:pt x="236" y="722"/>
                      </a:lnTo>
                      <a:lnTo>
                        <a:pt x="236" y="723"/>
                      </a:lnTo>
                      <a:lnTo>
                        <a:pt x="236" y="724"/>
                      </a:lnTo>
                      <a:lnTo>
                        <a:pt x="235" y="725"/>
                      </a:lnTo>
                      <a:lnTo>
                        <a:pt x="234" y="725"/>
                      </a:lnTo>
                      <a:lnTo>
                        <a:pt x="234" y="725"/>
                      </a:lnTo>
                      <a:lnTo>
                        <a:pt x="234" y="725"/>
                      </a:lnTo>
                      <a:lnTo>
                        <a:pt x="233" y="725"/>
                      </a:lnTo>
                      <a:lnTo>
                        <a:pt x="232" y="725"/>
                      </a:lnTo>
                      <a:lnTo>
                        <a:pt x="232" y="725"/>
                      </a:lnTo>
                      <a:lnTo>
                        <a:pt x="231" y="725"/>
                      </a:lnTo>
                      <a:lnTo>
                        <a:pt x="230" y="724"/>
                      </a:lnTo>
                      <a:lnTo>
                        <a:pt x="230" y="724"/>
                      </a:lnTo>
                      <a:lnTo>
                        <a:pt x="229" y="725"/>
                      </a:lnTo>
                      <a:lnTo>
                        <a:pt x="229" y="724"/>
                      </a:lnTo>
                      <a:lnTo>
                        <a:pt x="228" y="724"/>
                      </a:lnTo>
                      <a:lnTo>
                        <a:pt x="227" y="725"/>
                      </a:lnTo>
                      <a:lnTo>
                        <a:pt x="227" y="725"/>
                      </a:lnTo>
                      <a:lnTo>
                        <a:pt x="227" y="724"/>
                      </a:lnTo>
                      <a:lnTo>
                        <a:pt x="226" y="724"/>
                      </a:lnTo>
                      <a:lnTo>
                        <a:pt x="225" y="724"/>
                      </a:lnTo>
                      <a:lnTo>
                        <a:pt x="225" y="725"/>
                      </a:lnTo>
                      <a:lnTo>
                        <a:pt x="225" y="725"/>
                      </a:lnTo>
                      <a:lnTo>
                        <a:pt x="225" y="725"/>
                      </a:lnTo>
                      <a:lnTo>
                        <a:pt x="225" y="726"/>
                      </a:lnTo>
                      <a:lnTo>
                        <a:pt x="225" y="726"/>
                      </a:lnTo>
                      <a:lnTo>
                        <a:pt x="225" y="727"/>
                      </a:lnTo>
                      <a:lnTo>
                        <a:pt x="226" y="727"/>
                      </a:lnTo>
                      <a:lnTo>
                        <a:pt x="225" y="727"/>
                      </a:lnTo>
                      <a:lnTo>
                        <a:pt x="225" y="727"/>
                      </a:lnTo>
                      <a:lnTo>
                        <a:pt x="224" y="727"/>
                      </a:lnTo>
                      <a:lnTo>
                        <a:pt x="223" y="727"/>
                      </a:lnTo>
                      <a:lnTo>
                        <a:pt x="223" y="727"/>
                      </a:lnTo>
                      <a:lnTo>
                        <a:pt x="222" y="727"/>
                      </a:lnTo>
                      <a:lnTo>
                        <a:pt x="221" y="728"/>
                      </a:lnTo>
                      <a:lnTo>
                        <a:pt x="221" y="728"/>
                      </a:lnTo>
                      <a:lnTo>
                        <a:pt x="221" y="727"/>
                      </a:lnTo>
                      <a:lnTo>
                        <a:pt x="221" y="727"/>
                      </a:lnTo>
                      <a:lnTo>
                        <a:pt x="221" y="726"/>
                      </a:lnTo>
                      <a:lnTo>
                        <a:pt x="221" y="725"/>
                      </a:lnTo>
                      <a:lnTo>
                        <a:pt x="221" y="725"/>
                      </a:lnTo>
                      <a:lnTo>
                        <a:pt x="221" y="725"/>
                      </a:lnTo>
                      <a:lnTo>
                        <a:pt x="222" y="725"/>
                      </a:lnTo>
                      <a:lnTo>
                        <a:pt x="222" y="724"/>
                      </a:lnTo>
                      <a:lnTo>
                        <a:pt x="222" y="723"/>
                      </a:lnTo>
                      <a:lnTo>
                        <a:pt x="221" y="723"/>
                      </a:lnTo>
                      <a:lnTo>
                        <a:pt x="221" y="723"/>
                      </a:lnTo>
                      <a:lnTo>
                        <a:pt x="221" y="722"/>
                      </a:lnTo>
                      <a:lnTo>
                        <a:pt x="220" y="722"/>
                      </a:lnTo>
                      <a:lnTo>
                        <a:pt x="220" y="722"/>
                      </a:lnTo>
                      <a:lnTo>
                        <a:pt x="219" y="722"/>
                      </a:lnTo>
                      <a:lnTo>
                        <a:pt x="219" y="721"/>
                      </a:lnTo>
                      <a:lnTo>
                        <a:pt x="218" y="721"/>
                      </a:lnTo>
                      <a:lnTo>
                        <a:pt x="218" y="720"/>
                      </a:lnTo>
                      <a:lnTo>
                        <a:pt x="217" y="720"/>
                      </a:lnTo>
                      <a:lnTo>
                        <a:pt x="217" y="720"/>
                      </a:lnTo>
                      <a:lnTo>
                        <a:pt x="216" y="720"/>
                      </a:lnTo>
                      <a:lnTo>
                        <a:pt x="215" y="720"/>
                      </a:lnTo>
                      <a:lnTo>
                        <a:pt x="215" y="720"/>
                      </a:lnTo>
                      <a:lnTo>
                        <a:pt x="214" y="720"/>
                      </a:lnTo>
                      <a:lnTo>
                        <a:pt x="213" y="720"/>
                      </a:lnTo>
                      <a:lnTo>
                        <a:pt x="213" y="720"/>
                      </a:lnTo>
                      <a:lnTo>
                        <a:pt x="212" y="720"/>
                      </a:lnTo>
                      <a:lnTo>
                        <a:pt x="212" y="719"/>
                      </a:lnTo>
                      <a:lnTo>
                        <a:pt x="211" y="719"/>
                      </a:lnTo>
                      <a:lnTo>
                        <a:pt x="211" y="719"/>
                      </a:lnTo>
                      <a:lnTo>
                        <a:pt x="211" y="718"/>
                      </a:lnTo>
                      <a:lnTo>
                        <a:pt x="211" y="718"/>
                      </a:lnTo>
                      <a:lnTo>
                        <a:pt x="211" y="718"/>
                      </a:lnTo>
                      <a:lnTo>
                        <a:pt x="212" y="718"/>
                      </a:lnTo>
                      <a:lnTo>
                        <a:pt x="213" y="718"/>
                      </a:lnTo>
                      <a:lnTo>
                        <a:pt x="213" y="717"/>
                      </a:lnTo>
                      <a:lnTo>
                        <a:pt x="213" y="717"/>
                      </a:lnTo>
                      <a:lnTo>
                        <a:pt x="214" y="716"/>
                      </a:lnTo>
                      <a:lnTo>
                        <a:pt x="213" y="716"/>
                      </a:lnTo>
                      <a:lnTo>
                        <a:pt x="213" y="716"/>
                      </a:lnTo>
                      <a:lnTo>
                        <a:pt x="213" y="716"/>
                      </a:lnTo>
                      <a:lnTo>
                        <a:pt x="213" y="715"/>
                      </a:lnTo>
                      <a:lnTo>
                        <a:pt x="212" y="714"/>
                      </a:lnTo>
                      <a:lnTo>
                        <a:pt x="211" y="714"/>
                      </a:lnTo>
                      <a:lnTo>
                        <a:pt x="211" y="714"/>
                      </a:lnTo>
                      <a:lnTo>
                        <a:pt x="210" y="714"/>
                      </a:lnTo>
                      <a:lnTo>
                        <a:pt x="209" y="714"/>
                      </a:lnTo>
                      <a:lnTo>
                        <a:pt x="208" y="714"/>
                      </a:lnTo>
                      <a:lnTo>
                        <a:pt x="208" y="714"/>
                      </a:lnTo>
                      <a:lnTo>
                        <a:pt x="208" y="715"/>
                      </a:lnTo>
                      <a:lnTo>
                        <a:pt x="207" y="715"/>
                      </a:lnTo>
                      <a:lnTo>
                        <a:pt x="206" y="715"/>
                      </a:lnTo>
                      <a:lnTo>
                        <a:pt x="206" y="716"/>
                      </a:lnTo>
                      <a:lnTo>
                        <a:pt x="205" y="716"/>
                      </a:lnTo>
                      <a:lnTo>
                        <a:pt x="205" y="715"/>
                      </a:lnTo>
                      <a:lnTo>
                        <a:pt x="204" y="715"/>
                      </a:lnTo>
                      <a:lnTo>
                        <a:pt x="204" y="714"/>
                      </a:lnTo>
                      <a:lnTo>
                        <a:pt x="204" y="714"/>
                      </a:lnTo>
                      <a:lnTo>
                        <a:pt x="204" y="714"/>
                      </a:lnTo>
                      <a:lnTo>
                        <a:pt x="203" y="714"/>
                      </a:lnTo>
                      <a:lnTo>
                        <a:pt x="203" y="713"/>
                      </a:lnTo>
                      <a:lnTo>
                        <a:pt x="204" y="713"/>
                      </a:lnTo>
                      <a:lnTo>
                        <a:pt x="204" y="712"/>
                      </a:lnTo>
                      <a:lnTo>
                        <a:pt x="204" y="712"/>
                      </a:lnTo>
                      <a:lnTo>
                        <a:pt x="204" y="711"/>
                      </a:lnTo>
                      <a:lnTo>
                        <a:pt x="203" y="711"/>
                      </a:lnTo>
                      <a:lnTo>
                        <a:pt x="203" y="710"/>
                      </a:lnTo>
                      <a:lnTo>
                        <a:pt x="203" y="710"/>
                      </a:lnTo>
                      <a:lnTo>
                        <a:pt x="203" y="709"/>
                      </a:lnTo>
                      <a:lnTo>
                        <a:pt x="203" y="708"/>
                      </a:lnTo>
                      <a:lnTo>
                        <a:pt x="202" y="708"/>
                      </a:lnTo>
                      <a:lnTo>
                        <a:pt x="202" y="708"/>
                      </a:lnTo>
                      <a:lnTo>
                        <a:pt x="202" y="708"/>
                      </a:lnTo>
                      <a:lnTo>
                        <a:pt x="202" y="707"/>
                      </a:lnTo>
                      <a:lnTo>
                        <a:pt x="201" y="707"/>
                      </a:lnTo>
                      <a:lnTo>
                        <a:pt x="200" y="707"/>
                      </a:lnTo>
                      <a:lnTo>
                        <a:pt x="200" y="707"/>
                      </a:lnTo>
                      <a:lnTo>
                        <a:pt x="199" y="706"/>
                      </a:lnTo>
                      <a:lnTo>
                        <a:pt x="198" y="706"/>
                      </a:lnTo>
                      <a:lnTo>
                        <a:pt x="198" y="707"/>
                      </a:lnTo>
                      <a:lnTo>
                        <a:pt x="199" y="707"/>
                      </a:lnTo>
                      <a:lnTo>
                        <a:pt x="199" y="708"/>
                      </a:lnTo>
                      <a:lnTo>
                        <a:pt x="198" y="708"/>
                      </a:lnTo>
                      <a:lnTo>
                        <a:pt x="198" y="708"/>
                      </a:lnTo>
                      <a:lnTo>
                        <a:pt x="199" y="708"/>
                      </a:lnTo>
                      <a:lnTo>
                        <a:pt x="199" y="709"/>
                      </a:lnTo>
                      <a:lnTo>
                        <a:pt x="200" y="710"/>
                      </a:lnTo>
                      <a:lnTo>
                        <a:pt x="199" y="710"/>
                      </a:lnTo>
                      <a:lnTo>
                        <a:pt x="199" y="710"/>
                      </a:lnTo>
                      <a:lnTo>
                        <a:pt x="199" y="710"/>
                      </a:lnTo>
                      <a:lnTo>
                        <a:pt x="198" y="710"/>
                      </a:lnTo>
                      <a:lnTo>
                        <a:pt x="198" y="710"/>
                      </a:lnTo>
                      <a:lnTo>
                        <a:pt x="198" y="710"/>
                      </a:lnTo>
                      <a:lnTo>
                        <a:pt x="198" y="711"/>
                      </a:lnTo>
                      <a:lnTo>
                        <a:pt x="197" y="711"/>
                      </a:lnTo>
                      <a:lnTo>
                        <a:pt x="197" y="710"/>
                      </a:lnTo>
                      <a:lnTo>
                        <a:pt x="198" y="710"/>
                      </a:lnTo>
                      <a:lnTo>
                        <a:pt x="198" y="710"/>
                      </a:lnTo>
                      <a:lnTo>
                        <a:pt x="198" y="709"/>
                      </a:lnTo>
                      <a:lnTo>
                        <a:pt x="198" y="708"/>
                      </a:lnTo>
                      <a:lnTo>
                        <a:pt x="197" y="708"/>
                      </a:lnTo>
                      <a:lnTo>
                        <a:pt x="196" y="708"/>
                      </a:lnTo>
                      <a:lnTo>
                        <a:pt x="196" y="709"/>
                      </a:lnTo>
                      <a:lnTo>
                        <a:pt x="196" y="708"/>
                      </a:lnTo>
                      <a:lnTo>
                        <a:pt x="196" y="708"/>
                      </a:lnTo>
                      <a:lnTo>
                        <a:pt x="196" y="707"/>
                      </a:lnTo>
                      <a:lnTo>
                        <a:pt x="196" y="707"/>
                      </a:lnTo>
                      <a:lnTo>
                        <a:pt x="196" y="706"/>
                      </a:lnTo>
                      <a:lnTo>
                        <a:pt x="195" y="706"/>
                      </a:lnTo>
                      <a:lnTo>
                        <a:pt x="194" y="706"/>
                      </a:lnTo>
                      <a:lnTo>
                        <a:pt x="194" y="707"/>
                      </a:lnTo>
                      <a:lnTo>
                        <a:pt x="195" y="708"/>
                      </a:lnTo>
                      <a:lnTo>
                        <a:pt x="194" y="708"/>
                      </a:lnTo>
                      <a:lnTo>
                        <a:pt x="194" y="708"/>
                      </a:lnTo>
                      <a:lnTo>
                        <a:pt x="194" y="708"/>
                      </a:lnTo>
                      <a:lnTo>
                        <a:pt x="194" y="708"/>
                      </a:lnTo>
                      <a:lnTo>
                        <a:pt x="194" y="707"/>
                      </a:lnTo>
                      <a:lnTo>
                        <a:pt x="193" y="707"/>
                      </a:lnTo>
                      <a:lnTo>
                        <a:pt x="192" y="707"/>
                      </a:lnTo>
                      <a:lnTo>
                        <a:pt x="192" y="707"/>
                      </a:lnTo>
                      <a:lnTo>
                        <a:pt x="191" y="707"/>
                      </a:lnTo>
                      <a:lnTo>
                        <a:pt x="190" y="707"/>
                      </a:lnTo>
                      <a:lnTo>
                        <a:pt x="190" y="706"/>
                      </a:lnTo>
                      <a:lnTo>
                        <a:pt x="191" y="706"/>
                      </a:lnTo>
                      <a:lnTo>
                        <a:pt x="192" y="706"/>
                      </a:lnTo>
                      <a:lnTo>
                        <a:pt x="192" y="706"/>
                      </a:lnTo>
                      <a:lnTo>
                        <a:pt x="192" y="706"/>
                      </a:lnTo>
                      <a:lnTo>
                        <a:pt x="192" y="705"/>
                      </a:lnTo>
                      <a:lnTo>
                        <a:pt x="192" y="705"/>
                      </a:lnTo>
                      <a:lnTo>
                        <a:pt x="192" y="704"/>
                      </a:lnTo>
                      <a:lnTo>
                        <a:pt x="191" y="704"/>
                      </a:lnTo>
                      <a:lnTo>
                        <a:pt x="190" y="705"/>
                      </a:lnTo>
                      <a:lnTo>
                        <a:pt x="190" y="704"/>
                      </a:lnTo>
                      <a:lnTo>
                        <a:pt x="189" y="704"/>
                      </a:lnTo>
                      <a:lnTo>
                        <a:pt x="189" y="704"/>
                      </a:lnTo>
                      <a:lnTo>
                        <a:pt x="188" y="704"/>
                      </a:lnTo>
                      <a:lnTo>
                        <a:pt x="188" y="704"/>
                      </a:lnTo>
                      <a:lnTo>
                        <a:pt x="188" y="703"/>
                      </a:lnTo>
                      <a:lnTo>
                        <a:pt x="188" y="702"/>
                      </a:lnTo>
                      <a:lnTo>
                        <a:pt x="187" y="702"/>
                      </a:lnTo>
                      <a:lnTo>
                        <a:pt x="187" y="702"/>
                      </a:lnTo>
                      <a:lnTo>
                        <a:pt x="187" y="703"/>
                      </a:lnTo>
                      <a:lnTo>
                        <a:pt x="187" y="704"/>
                      </a:lnTo>
                      <a:lnTo>
                        <a:pt x="187" y="704"/>
                      </a:lnTo>
                      <a:lnTo>
                        <a:pt x="187" y="705"/>
                      </a:lnTo>
                      <a:lnTo>
                        <a:pt x="187" y="706"/>
                      </a:lnTo>
                      <a:lnTo>
                        <a:pt x="186" y="706"/>
                      </a:lnTo>
                      <a:lnTo>
                        <a:pt x="185" y="706"/>
                      </a:lnTo>
                      <a:lnTo>
                        <a:pt x="185" y="706"/>
                      </a:lnTo>
                      <a:lnTo>
                        <a:pt x="185" y="705"/>
                      </a:lnTo>
                      <a:lnTo>
                        <a:pt x="185" y="704"/>
                      </a:lnTo>
                      <a:lnTo>
                        <a:pt x="185" y="704"/>
                      </a:lnTo>
                      <a:lnTo>
                        <a:pt x="184" y="704"/>
                      </a:lnTo>
                      <a:lnTo>
                        <a:pt x="184" y="704"/>
                      </a:lnTo>
                      <a:lnTo>
                        <a:pt x="183" y="704"/>
                      </a:lnTo>
                      <a:lnTo>
                        <a:pt x="183" y="705"/>
                      </a:lnTo>
                      <a:lnTo>
                        <a:pt x="183" y="706"/>
                      </a:lnTo>
                      <a:lnTo>
                        <a:pt x="184" y="706"/>
                      </a:lnTo>
                      <a:lnTo>
                        <a:pt x="184" y="706"/>
                      </a:lnTo>
                      <a:lnTo>
                        <a:pt x="185" y="706"/>
                      </a:lnTo>
                      <a:lnTo>
                        <a:pt x="185" y="707"/>
                      </a:lnTo>
                      <a:lnTo>
                        <a:pt x="184" y="707"/>
                      </a:lnTo>
                      <a:lnTo>
                        <a:pt x="183" y="708"/>
                      </a:lnTo>
                      <a:lnTo>
                        <a:pt x="183" y="708"/>
                      </a:lnTo>
                      <a:lnTo>
                        <a:pt x="182" y="708"/>
                      </a:lnTo>
                      <a:lnTo>
                        <a:pt x="181" y="708"/>
                      </a:lnTo>
                      <a:lnTo>
                        <a:pt x="181" y="707"/>
                      </a:lnTo>
                      <a:lnTo>
                        <a:pt x="181" y="706"/>
                      </a:lnTo>
                      <a:lnTo>
                        <a:pt x="181" y="706"/>
                      </a:lnTo>
                      <a:lnTo>
                        <a:pt x="181" y="706"/>
                      </a:lnTo>
                      <a:lnTo>
                        <a:pt x="180" y="706"/>
                      </a:lnTo>
                      <a:lnTo>
                        <a:pt x="180" y="706"/>
                      </a:lnTo>
                      <a:lnTo>
                        <a:pt x="179" y="706"/>
                      </a:lnTo>
                      <a:lnTo>
                        <a:pt x="179" y="707"/>
                      </a:lnTo>
                      <a:lnTo>
                        <a:pt x="179" y="707"/>
                      </a:lnTo>
                      <a:lnTo>
                        <a:pt x="179" y="708"/>
                      </a:lnTo>
                      <a:lnTo>
                        <a:pt x="178" y="708"/>
                      </a:lnTo>
                      <a:lnTo>
                        <a:pt x="178" y="707"/>
                      </a:lnTo>
                      <a:lnTo>
                        <a:pt x="178" y="706"/>
                      </a:lnTo>
                      <a:lnTo>
                        <a:pt x="179" y="706"/>
                      </a:lnTo>
                      <a:lnTo>
                        <a:pt x="179" y="706"/>
                      </a:lnTo>
                      <a:lnTo>
                        <a:pt x="179" y="706"/>
                      </a:lnTo>
                      <a:lnTo>
                        <a:pt x="179" y="705"/>
                      </a:lnTo>
                      <a:lnTo>
                        <a:pt x="179" y="704"/>
                      </a:lnTo>
                      <a:lnTo>
                        <a:pt x="179" y="704"/>
                      </a:lnTo>
                      <a:lnTo>
                        <a:pt x="179" y="703"/>
                      </a:lnTo>
                      <a:lnTo>
                        <a:pt x="178" y="702"/>
                      </a:lnTo>
                      <a:lnTo>
                        <a:pt x="177" y="702"/>
                      </a:lnTo>
                      <a:lnTo>
                        <a:pt x="177" y="701"/>
                      </a:lnTo>
                      <a:lnTo>
                        <a:pt x="177" y="702"/>
                      </a:lnTo>
                      <a:lnTo>
                        <a:pt x="177" y="703"/>
                      </a:lnTo>
                      <a:lnTo>
                        <a:pt x="177" y="703"/>
                      </a:lnTo>
                      <a:lnTo>
                        <a:pt x="177" y="704"/>
                      </a:lnTo>
                      <a:lnTo>
                        <a:pt x="178" y="704"/>
                      </a:lnTo>
                      <a:lnTo>
                        <a:pt x="178" y="704"/>
                      </a:lnTo>
                      <a:lnTo>
                        <a:pt x="178" y="705"/>
                      </a:lnTo>
                      <a:lnTo>
                        <a:pt x="177" y="705"/>
                      </a:lnTo>
                      <a:lnTo>
                        <a:pt x="177" y="704"/>
                      </a:lnTo>
                      <a:lnTo>
                        <a:pt x="177" y="704"/>
                      </a:lnTo>
                      <a:lnTo>
                        <a:pt x="176" y="704"/>
                      </a:lnTo>
                      <a:lnTo>
                        <a:pt x="175" y="704"/>
                      </a:lnTo>
                      <a:lnTo>
                        <a:pt x="175" y="704"/>
                      </a:lnTo>
                      <a:lnTo>
                        <a:pt x="175" y="704"/>
                      </a:lnTo>
                      <a:lnTo>
                        <a:pt x="175" y="704"/>
                      </a:lnTo>
                      <a:lnTo>
                        <a:pt x="175" y="703"/>
                      </a:lnTo>
                      <a:lnTo>
                        <a:pt x="174" y="703"/>
                      </a:lnTo>
                      <a:lnTo>
                        <a:pt x="174" y="702"/>
                      </a:lnTo>
                      <a:lnTo>
                        <a:pt x="173" y="702"/>
                      </a:lnTo>
                      <a:lnTo>
                        <a:pt x="173" y="703"/>
                      </a:lnTo>
                      <a:lnTo>
                        <a:pt x="173" y="703"/>
                      </a:lnTo>
                      <a:lnTo>
                        <a:pt x="172" y="703"/>
                      </a:lnTo>
                      <a:lnTo>
                        <a:pt x="172" y="702"/>
                      </a:lnTo>
                      <a:lnTo>
                        <a:pt x="172" y="701"/>
                      </a:lnTo>
                      <a:lnTo>
                        <a:pt x="173" y="701"/>
                      </a:lnTo>
                      <a:lnTo>
                        <a:pt x="173" y="701"/>
                      </a:lnTo>
                      <a:lnTo>
                        <a:pt x="173" y="701"/>
                      </a:lnTo>
                      <a:lnTo>
                        <a:pt x="174" y="701"/>
                      </a:lnTo>
                      <a:lnTo>
                        <a:pt x="174" y="701"/>
                      </a:lnTo>
                      <a:lnTo>
                        <a:pt x="174" y="700"/>
                      </a:lnTo>
                      <a:lnTo>
                        <a:pt x="173" y="700"/>
                      </a:lnTo>
                      <a:lnTo>
                        <a:pt x="173" y="700"/>
                      </a:lnTo>
                      <a:lnTo>
                        <a:pt x="173" y="699"/>
                      </a:lnTo>
                      <a:lnTo>
                        <a:pt x="172" y="699"/>
                      </a:lnTo>
                      <a:lnTo>
                        <a:pt x="171" y="699"/>
                      </a:lnTo>
                      <a:lnTo>
                        <a:pt x="171" y="699"/>
                      </a:lnTo>
                      <a:lnTo>
                        <a:pt x="171" y="698"/>
                      </a:lnTo>
                      <a:lnTo>
                        <a:pt x="170" y="697"/>
                      </a:lnTo>
                      <a:lnTo>
                        <a:pt x="170" y="697"/>
                      </a:lnTo>
                      <a:lnTo>
                        <a:pt x="170" y="697"/>
                      </a:lnTo>
                      <a:lnTo>
                        <a:pt x="170" y="696"/>
                      </a:lnTo>
                      <a:lnTo>
                        <a:pt x="170" y="695"/>
                      </a:lnTo>
                      <a:lnTo>
                        <a:pt x="170" y="695"/>
                      </a:lnTo>
                      <a:lnTo>
                        <a:pt x="170" y="695"/>
                      </a:lnTo>
                      <a:lnTo>
                        <a:pt x="169" y="695"/>
                      </a:lnTo>
                      <a:lnTo>
                        <a:pt x="169" y="695"/>
                      </a:lnTo>
                      <a:lnTo>
                        <a:pt x="169" y="694"/>
                      </a:lnTo>
                      <a:lnTo>
                        <a:pt x="169" y="693"/>
                      </a:lnTo>
                      <a:lnTo>
                        <a:pt x="169" y="693"/>
                      </a:lnTo>
                      <a:lnTo>
                        <a:pt x="168" y="693"/>
                      </a:lnTo>
                      <a:lnTo>
                        <a:pt x="168" y="693"/>
                      </a:lnTo>
                      <a:lnTo>
                        <a:pt x="167" y="693"/>
                      </a:lnTo>
                      <a:lnTo>
                        <a:pt x="167" y="692"/>
                      </a:lnTo>
                      <a:lnTo>
                        <a:pt x="167" y="691"/>
                      </a:lnTo>
                      <a:lnTo>
                        <a:pt x="167" y="691"/>
                      </a:lnTo>
                      <a:lnTo>
                        <a:pt x="167" y="690"/>
                      </a:lnTo>
                      <a:lnTo>
                        <a:pt x="167" y="689"/>
                      </a:lnTo>
                      <a:lnTo>
                        <a:pt x="166" y="689"/>
                      </a:lnTo>
                      <a:lnTo>
                        <a:pt x="166" y="690"/>
                      </a:lnTo>
                      <a:lnTo>
                        <a:pt x="166" y="691"/>
                      </a:lnTo>
                      <a:lnTo>
                        <a:pt x="166" y="691"/>
                      </a:lnTo>
                      <a:lnTo>
                        <a:pt x="165" y="691"/>
                      </a:lnTo>
                      <a:lnTo>
                        <a:pt x="164" y="691"/>
                      </a:lnTo>
                      <a:lnTo>
                        <a:pt x="164" y="690"/>
                      </a:lnTo>
                      <a:lnTo>
                        <a:pt x="164" y="690"/>
                      </a:lnTo>
                      <a:lnTo>
                        <a:pt x="163" y="690"/>
                      </a:lnTo>
                      <a:lnTo>
                        <a:pt x="163" y="691"/>
                      </a:lnTo>
                      <a:lnTo>
                        <a:pt x="162" y="691"/>
                      </a:lnTo>
                      <a:lnTo>
                        <a:pt x="162" y="691"/>
                      </a:lnTo>
                      <a:lnTo>
                        <a:pt x="162" y="692"/>
                      </a:lnTo>
                      <a:lnTo>
                        <a:pt x="163" y="692"/>
                      </a:lnTo>
                      <a:lnTo>
                        <a:pt x="163" y="693"/>
                      </a:lnTo>
                      <a:lnTo>
                        <a:pt x="163" y="693"/>
                      </a:lnTo>
                      <a:lnTo>
                        <a:pt x="163" y="694"/>
                      </a:lnTo>
                      <a:lnTo>
                        <a:pt x="162" y="694"/>
                      </a:lnTo>
                      <a:lnTo>
                        <a:pt x="162" y="694"/>
                      </a:lnTo>
                      <a:lnTo>
                        <a:pt x="161" y="694"/>
                      </a:lnTo>
                      <a:lnTo>
                        <a:pt x="161" y="693"/>
                      </a:lnTo>
                      <a:lnTo>
                        <a:pt x="161" y="693"/>
                      </a:lnTo>
                      <a:lnTo>
                        <a:pt x="160" y="693"/>
                      </a:lnTo>
                      <a:lnTo>
                        <a:pt x="160" y="692"/>
                      </a:lnTo>
                      <a:lnTo>
                        <a:pt x="160" y="692"/>
                      </a:lnTo>
                      <a:lnTo>
                        <a:pt x="159" y="692"/>
                      </a:lnTo>
                      <a:lnTo>
                        <a:pt x="159" y="693"/>
                      </a:lnTo>
                      <a:lnTo>
                        <a:pt x="158" y="693"/>
                      </a:lnTo>
                      <a:lnTo>
                        <a:pt x="158" y="693"/>
                      </a:lnTo>
                      <a:lnTo>
                        <a:pt x="159" y="693"/>
                      </a:lnTo>
                      <a:lnTo>
                        <a:pt x="160" y="693"/>
                      </a:lnTo>
                      <a:lnTo>
                        <a:pt x="160" y="694"/>
                      </a:lnTo>
                      <a:lnTo>
                        <a:pt x="159" y="695"/>
                      </a:lnTo>
                      <a:lnTo>
                        <a:pt x="158" y="695"/>
                      </a:lnTo>
                      <a:lnTo>
                        <a:pt x="158" y="695"/>
                      </a:lnTo>
                      <a:lnTo>
                        <a:pt x="157" y="695"/>
                      </a:lnTo>
                      <a:lnTo>
                        <a:pt x="156" y="695"/>
                      </a:lnTo>
                      <a:lnTo>
                        <a:pt x="156" y="695"/>
                      </a:lnTo>
                      <a:lnTo>
                        <a:pt x="156" y="694"/>
                      </a:lnTo>
                      <a:lnTo>
                        <a:pt x="156" y="693"/>
                      </a:lnTo>
                      <a:lnTo>
                        <a:pt x="157" y="693"/>
                      </a:lnTo>
                      <a:lnTo>
                        <a:pt x="158" y="693"/>
                      </a:lnTo>
                      <a:lnTo>
                        <a:pt x="158" y="693"/>
                      </a:lnTo>
                      <a:lnTo>
                        <a:pt x="157" y="692"/>
                      </a:lnTo>
                      <a:lnTo>
                        <a:pt x="156" y="692"/>
                      </a:lnTo>
                      <a:lnTo>
                        <a:pt x="156" y="693"/>
                      </a:lnTo>
                      <a:lnTo>
                        <a:pt x="156" y="693"/>
                      </a:lnTo>
                      <a:lnTo>
                        <a:pt x="156" y="692"/>
                      </a:lnTo>
                      <a:lnTo>
                        <a:pt x="155" y="692"/>
                      </a:lnTo>
                      <a:lnTo>
                        <a:pt x="154" y="692"/>
                      </a:lnTo>
                      <a:lnTo>
                        <a:pt x="153" y="692"/>
                      </a:lnTo>
                      <a:lnTo>
                        <a:pt x="153" y="691"/>
                      </a:lnTo>
                      <a:lnTo>
                        <a:pt x="153" y="691"/>
                      </a:lnTo>
                      <a:lnTo>
                        <a:pt x="153" y="690"/>
                      </a:lnTo>
                      <a:lnTo>
                        <a:pt x="153" y="690"/>
                      </a:lnTo>
                      <a:lnTo>
                        <a:pt x="153" y="689"/>
                      </a:lnTo>
                      <a:lnTo>
                        <a:pt x="152" y="689"/>
                      </a:lnTo>
                      <a:lnTo>
                        <a:pt x="151" y="690"/>
                      </a:lnTo>
                      <a:lnTo>
                        <a:pt x="151" y="691"/>
                      </a:lnTo>
                      <a:lnTo>
                        <a:pt x="151" y="691"/>
                      </a:lnTo>
                      <a:lnTo>
                        <a:pt x="151" y="691"/>
                      </a:lnTo>
                      <a:lnTo>
                        <a:pt x="150" y="691"/>
                      </a:lnTo>
                      <a:lnTo>
                        <a:pt x="149" y="691"/>
                      </a:lnTo>
                      <a:lnTo>
                        <a:pt x="149" y="691"/>
                      </a:lnTo>
                      <a:lnTo>
                        <a:pt x="149" y="690"/>
                      </a:lnTo>
                      <a:lnTo>
                        <a:pt x="149" y="690"/>
                      </a:lnTo>
                      <a:lnTo>
                        <a:pt x="149" y="689"/>
                      </a:lnTo>
                      <a:lnTo>
                        <a:pt x="149" y="689"/>
                      </a:lnTo>
                      <a:lnTo>
                        <a:pt x="148" y="689"/>
                      </a:lnTo>
                      <a:lnTo>
                        <a:pt x="148" y="688"/>
                      </a:lnTo>
                      <a:lnTo>
                        <a:pt x="147" y="688"/>
                      </a:lnTo>
                      <a:lnTo>
                        <a:pt x="147" y="689"/>
                      </a:lnTo>
                      <a:lnTo>
                        <a:pt x="147" y="689"/>
                      </a:lnTo>
                      <a:lnTo>
                        <a:pt x="147" y="689"/>
                      </a:lnTo>
                      <a:lnTo>
                        <a:pt x="147" y="690"/>
                      </a:lnTo>
                      <a:lnTo>
                        <a:pt x="147" y="691"/>
                      </a:lnTo>
                      <a:lnTo>
                        <a:pt x="147" y="691"/>
                      </a:lnTo>
                      <a:lnTo>
                        <a:pt x="146" y="691"/>
                      </a:lnTo>
                      <a:lnTo>
                        <a:pt x="146" y="690"/>
                      </a:lnTo>
                      <a:lnTo>
                        <a:pt x="145" y="690"/>
                      </a:lnTo>
                      <a:lnTo>
                        <a:pt x="145" y="689"/>
                      </a:lnTo>
                      <a:lnTo>
                        <a:pt x="145" y="689"/>
                      </a:lnTo>
                      <a:lnTo>
                        <a:pt x="145" y="688"/>
                      </a:lnTo>
                      <a:lnTo>
                        <a:pt x="145" y="687"/>
                      </a:lnTo>
                      <a:lnTo>
                        <a:pt x="145" y="687"/>
                      </a:lnTo>
                      <a:lnTo>
                        <a:pt x="145" y="687"/>
                      </a:lnTo>
                      <a:lnTo>
                        <a:pt x="145" y="687"/>
                      </a:lnTo>
                      <a:lnTo>
                        <a:pt x="145" y="686"/>
                      </a:lnTo>
                      <a:lnTo>
                        <a:pt x="145" y="686"/>
                      </a:lnTo>
                      <a:lnTo>
                        <a:pt x="144" y="686"/>
                      </a:lnTo>
                      <a:lnTo>
                        <a:pt x="143" y="686"/>
                      </a:lnTo>
                      <a:lnTo>
                        <a:pt x="143" y="687"/>
                      </a:lnTo>
                      <a:lnTo>
                        <a:pt x="143" y="687"/>
                      </a:lnTo>
                      <a:lnTo>
                        <a:pt x="143" y="687"/>
                      </a:lnTo>
                      <a:lnTo>
                        <a:pt x="142" y="687"/>
                      </a:lnTo>
                      <a:lnTo>
                        <a:pt x="142" y="687"/>
                      </a:lnTo>
                      <a:lnTo>
                        <a:pt x="141" y="687"/>
                      </a:lnTo>
                      <a:lnTo>
                        <a:pt x="141" y="687"/>
                      </a:lnTo>
                      <a:lnTo>
                        <a:pt x="141" y="687"/>
                      </a:lnTo>
                      <a:lnTo>
                        <a:pt x="141" y="688"/>
                      </a:lnTo>
                      <a:lnTo>
                        <a:pt x="141" y="689"/>
                      </a:lnTo>
                      <a:lnTo>
                        <a:pt x="141" y="689"/>
                      </a:lnTo>
                      <a:lnTo>
                        <a:pt x="141" y="689"/>
                      </a:lnTo>
                      <a:lnTo>
                        <a:pt x="141" y="689"/>
                      </a:lnTo>
                      <a:lnTo>
                        <a:pt x="140" y="689"/>
                      </a:lnTo>
                      <a:lnTo>
                        <a:pt x="139" y="689"/>
                      </a:lnTo>
                      <a:lnTo>
                        <a:pt x="139" y="689"/>
                      </a:lnTo>
                      <a:lnTo>
                        <a:pt x="139" y="690"/>
                      </a:lnTo>
                      <a:lnTo>
                        <a:pt x="139" y="690"/>
                      </a:lnTo>
                      <a:lnTo>
                        <a:pt x="139" y="691"/>
                      </a:lnTo>
                      <a:lnTo>
                        <a:pt x="138" y="691"/>
                      </a:lnTo>
                      <a:lnTo>
                        <a:pt x="139" y="691"/>
                      </a:lnTo>
                      <a:lnTo>
                        <a:pt x="139" y="691"/>
                      </a:lnTo>
                      <a:lnTo>
                        <a:pt x="139" y="692"/>
                      </a:lnTo>
                      <a:lnTo>
                        <a:pt x="138" y="692"/>
                      </a:lnTo>
                      <a:lnTo>
                        <a:pt x="138" y="693"/>
                      </a:lnTo>
                      <a:lnTo>
                        <a:pt x="138" y="693"/>
                      </a:lnTo>
                      <a:lnTo>
                        <a:pt x="138" y="694"/>
                      </a:lnTo>
                      <a:lnTo>
                        <a:pt x="137" y="694"/>
                      </a:lnTo>
                      <a:lnTo>
                        <a:pt x="138" y="695"/>
                      </a:lnTo>
                      <a:lnTo>
                        <a:pt x="138" y="695"/>
                      </a:lnTo>
                      <a:lnTo>
                        <a:pt x="137" y="695"/>
                      </a:lnTo>
                      <a:lnTo>
                        <a:pt x="137" y="696"/>
                      </a:lnTo>
                      <a:lnTo>
                        <a:pt x="137" y="696"/>
                      </a:lnTo>
                      <a:lnTo>
                        <a:pt x="137" y="697"/>
                      </a:lnTo>
                      <a:lnTo>
                        <a:pt x="137" y="697"/>
                      </a:lnTo>
                      <a:lnTo>
                        <a:pt x="137" y="697"/>
                      </a:lnTo>
                      <a:lnTo>
                        <a:pt x="137" y="698"/>
                      </a:lnTo>
                      <a:lnTo>
                        <a:pt x="137" y="699"/>
                      </a:lnTo>
                      <a:lnTo>
                        <a:pt x="137" y="699"/>
                      </a:lnTo>
                      <a:lnTo>
                        <a:pt x="137" y="699"/>
                      </a:lnTo>
                      <a:lnTo>
                        <a:pt x="137" y="699"/>
                      </a:lnTo>
                      <a:lnTo>
                        <a:pt x="137" y="700"/>
                      </a:lnTo>
                      <a:lnTo>
                        <a:pt x="137" y="700"/>
                      </a:lnTo>
                      <a:lnTo>
                        <a:pt x="137" y="700"/>
                      </a:lnTo>
                      <a:lnTo>
                        <a:pt x="137" y="701"/>
                      </a:lnTo>
                      <a:lnTo>
                        <a:pt x="137" y="701"/>
                      </a:lnTo>
                      <a:lnTo>
                        <a:pt x="137" y="702"/>
                      </a:lnTo>
                      <a:lnTo>
                        <a:pt x="137" y="703"/>
                      </a:lnTo>
                      <a:lnTo>
                        <a:pt x="137" y="704"/>
                      </a:lnTo>
                      <a:lnTo>
                        <a:pt x="138" y="704"/>
                      </a:lnTo>
                      <a:lnTo>
                        <a:pt x="138" y="704"/>
                      </a:lnTo>
                      <a:lnTo>
                        <a:pt x="137" y="705"/>
                      </a:lnTo>
                      <a:lnTo>
                        <a:pt x="137" y="706"/>
                      </a:lnTo>
                      <a:lnTo>
                        <a:pt x="137" y="706"/>
                      </a:lnTo>
                      <a:lnTo>
                        <a:pt x="137" y="706"/>
                      </a:lnTo>
                      <a:lnTo>
                        <a:pt x="137" y="707"/>
                      </a:lnTo>
                      <a:lnTo>
                        <a:pt x="137" y="708"/>
                      </a:lnTo>
                      <a:lnTo>
                        <a:pt x="136" y="708"/>
                      </a:lnTo>
                      <a:lnTo>
                        <a:pt x="136" y="708"/>
                      </a:lnTo>
                      <a:lnTo>
                        <a:pt x="136" y="709"/>
                      </a:lnTo>
                      <a:lnTo>
                        <a:pt x="136" y="710"/>
                      </a:lnTo>
                      <a:lnTo>
                        <a:pt x="136" y="710"/>
                      </a:lnTo>
                      <a:lnTo>
                        <a:pt x="135" y="710"/>
                      </a:lnTo>
                      <a:lnTo>
                        <a:pt x="136" y="710"/>
                      </a:lnTo>
                      <a:lnTo>
                        <a:pt x="136" y="711"/>
                      </a:lnTo>
                      <a:lnTo>
                        <a:pt x="135" y="711"/>
                      </a:lnTo>
                      <a:lnTo>
                        <a:pt x="135" y="712"/>
                      </a:lnTo>
                      <a:lnTo>
                        <a:pt x="136" y="712"/>
                      </a:lnTo>
                      <a:lnTo>
                        <a:pt x="136" y="712"/>
                      </a:lnTo>
                      <a:lnTo>
                        <a:pt x="136" y="713"/>
                      </a:lnTo>
                      <a:lnTo>
                        <a:pt x="136" y="714"/>
                      </a:lnTo>
                      <a:lnTo>
                        <a:pt x="136" y="714"/>
                      </a:lnTo>
                      <a:lnTo>
                        <a:pt x="136" y="715"/>
                      </a:lnTo>
                      <a:lnTo>
                        <a:pt x="136" y="716"/>
                      </a:lnTo>
                      <a:lnTo>
                        <a:pt x="135" y="716"/>
                      </a:lnTo>
                      <a:lnTo>
                        <a:pt x="135" y="716"/>
                      </a:lnTo>
                      <a:lnTo>
                        <a:pt x="135" y="717"/>
                      </a:lnTo>
                      <a:lnTo>
                        <a:pt x="135" y="718"/>
                      </a:lnTo>
                      <a:lnTo>
                        <a:pt x="135" y="718"/>
                      </a:lnTo>
                      <a:lnTo>
                        <a:pt x="135" y="719"/>
                      </a:lnTo>
                      <a:lnTo>
                        <a:pt x="134" y="719"/>
                      </a:lnTo>
                      <a:lnTo>
                        <a:pt x="134" y="720"/>
                      </a:lnTo>
                      <a:lnTo>
                        <a:pt x="134" y="720"/>
                      </a:lnTo>
                      <a:lnTo>
                        <a:pt x="134" y="721"/>
                      </a:lnTo>
                      <a:lnTo>
                        <a:pt x="134" y="722"/>
                      </a:lnTo>
                      <a:lnTo>
                        <a:pt x="134" y="722"/>
                      </a:lnTo>
                      <a:lnTo>
                        <a:pt x="134" y="723"/>
                      </a:lnTo>
                      <a:lnTo>
                        <a:pt x="134" y="724"/>
                      </a:lnTo>
                      <a:lnTo>
                        <a:pt x="135" y="724"/>
                      </a:lnTo>
                      <a:lnTo>
                        <a:pt x="135" y="725"/>
                      </a:lnTo>
                      <a:lnTo>
                        <a:pt x="136" y="725"/>
                      </a:lnTo>
                      <a:lnTo>
                        <a:pt x="135" y="725"/>
                      </a:lnTo>
                      <a:lnTo>
                        <a:pt x="135" y="726"/>
                      </a:lnTo>
                      <a:lnTo>
                        <a:pt x="134" y="727"/>
                      </a:lnTo>
                      <a:lnTo>
                        <a:pt x="135" y="727"/>
                      </a:lnTo>
                      <a:lnTo>
                        <a:pt x="136" y="727"/>
                      </a:lnTo>
                      <a:lnTo>
                        <a:pt x="136" y="728"/>
                      </a:lnTo>
                      <a:lnTo>
                        <a:pt x="136" y="729"/>
                      </a:lnTo>
                      <a:lnTo>
                        <a:pt x="136" y="729"/>
                      </a:lnTo>
                      <a:lnTo>
                        <a:pt x="135" y="729"/>
                      </a:lnTo>
                      <a:lnTo>
                        <a:pt x="135" y="730"/>
                      </a:lnTo>
                      <a:lnTo>
                        <a:pt x="136" y="730"/>
                      </a:lnTo>
                      <a:lnTo>
                        <a:pt x="136" y="731"/>
                      </a:lnTo>
                      <a:lnTo>
                        <a:pt x="136" y="731"/>
                      </a:lnTo>
                      <a:lnTo>
                        <a:pt x="136" y="732"/>
                      </a:lnTo>
                      <a:lnTo>
                        <a:pt x="135" y="732"/>
                      </a:lnTo>
                      <a:lnTo>
                        <a:pt x="135" y="733"/>
                      </a:lnTo>
                      <a:lnTo>
                        <a:pt x="135" y="733"/>
                      </a:lnTo>
                      <a:lnTo>
                        <a:pt x="135" y="734"/>
                      </a:lnTo>
                      <a:lnTo>
                        <a:pt x="136" y="735"/>
                      </a:lnTo>
                      <a:lnTo>
                        <a:pt x="135" y="735"/>
                      </a:lnTo>
                      <a:lnTo>
                        <a:pt x="135" y="735"/>
                      </a:lnTo>
                      <a:lnTo>
                        <a:pt x="136" y="735"/>
                      </a:lnTo>
                      <a:lnTo>
                        <a:pt x="136" y="736"/>
                      </a:lnTo>
                      <a:lnTo>
                        <a:pt x="135" y="736"/>
                      </a:lnTo>
                      <a:lnTo>
                        <a:pt x="135" y="737"/>
                      </a:lnTo>
                      <a:lnTo>
                        <a:pt x="135" y="737"/>
                      </a:lnTo>
                      <a:lnTo>
                        <a:pt x="136" y="738"/>
                      </a:lnTo>
                      <a:lnTo>
                        <a:pt x="137" y="738"/>
                      </a:lnTo>
                      <a:lnTo>
                        <a:pt x="137" y="737"/>
                      </a:lnTo>
                      <a:lnTo>
                        <a:pt x="137" y="737"/>
                      </a:lnTo>
                      <a:lnTo>
                        <a:pt x="138" y="737"/>
                      </a:lnTo>
                      <a:lnTo>
                        <a:pt x="138" y="738"/>
                      </a:lnTo>
                      <a:lnTo>
                        <a:pt x="138" y="739"/>
                      </a:lnTo>
                      <a:lnTo>
                        <a:pt x="137" y="739"/>
                      </a:lnTo>
                      <a:lnTo>
                        <a:pt x="137" y="739"/>
                      </a:lnTo>
                      <a:lnTo>
                        <a:pt x="137" y="739"/>
                      </a:lnTo>
                      <a:lnTo>
                        <a:pt x="137" y="740"/>
                      </a:lnTo>
                      <a:lnTo>
                        <a:pt x="137" y="740"/>
                      </a:lnTo>
                      <a:lnTo>
                        <a:pt x="137" y="741"/>
                      </a:lnTo>
                      <a:lnTo>
                        <a:pt x="138" y="741"/>
                      </a:lnTo>
                      <a:lnTo>
                        <a:pt x="138" y="741"/>
                      </a:lnTo>
                      <a:lnTo>
                        <a:pt x="138" y="742"/>
                      </a:lnTo>
                      <a:lnTo>
                        <a:pt x="138" y="743"/>
                      </a:lnTo>
                      <a:lnTo>
                        <a:pt x="139" y="743"/>
                      </a:lnTo>
                      <a:lnTo>
                        <a:pt x="139" y="744"/>
                      </a:lnTo>
                      <a:lnTo>
                        <a:pt x="138" y="744"/>
                      </a:lnTo>
                      <a:lnTo>
                        <a:pt x="138" y="744"/>
                      </a:lnTo>
                      <a:lnTo>
                        <a:pt x="137" y="745"/>
                      </a:lnTo>
                      <a:lnTo>
                        <a:pt x="137" y="746"/>
                      </a:lnTo>
                      <a:lnTo>
                        <a:pt x="137" y="746"/>
                      </a:lnTo>
                      <a:lnTo>
                        <a:pt x="136" y="746"/>
                      </a:lnTo>
                      <a:lnTo>
                        <a:pt x="135" y="746"/>
                      </a:lnTo>
                      <a:lnTo>
                        <a:pt x="135" y="747"/>
                      </a:lnTo>
                      <a:lnTo>
                        <a:pt x="134" y="747"/>
                      </a:lnTo>
                      <a:lnTo>
                        <a:pt x="134" y="748"/>
                      </a:lnTo>
                      <a:lnTo>
                        <a:pt x="134" y="748"/>
                      </a:lnTo>
                      <a:lnTo>
                        <a:pt x="134" y="748"/>
                      </a:lnTo>
                      <a:lnTo>
                        <a:pt x="134" y="748"/>
                      </a:lnTo>
                      <a:lnTo>
                        <a:pt x="134" y="749"/>
                      </a:lnTo>
                      <a:lnTo>
                        <a:pt x="134" y="750"/>
                      </a:lnTo>
                      <a:lnTo>
                        <a:pt x="134" y="750"/>
                      </a:lnTo>
                      <a:lnTo>
                        <a:pt x="134" y="750"/>
                      </a:lnTo>
                      <a:lnTo>
                        <a:pt x="133" y="750"/>
                      </a:lnTo>
                      <a:lnTo>
                        <a:pt x="133" y="751"/>
                      </a:lnTo>
                      <a:lnTo>
                        <a:pt x="132" y="751"/>
                      </a:lnTo>
                      <a:lnTo>
                        <a:pt x="132" y="752"/>
                      </a:lnTo>
                      <a:lnTo>
                        <a:pt x="132" y="752"/>
                      </a:lnTo>
                      <a:lnTo>
                        <a:pt x="133" y="752"/>
                      </a:lnTo>
                      <a:lnTo>
                        <a:pt x="134" y="752"/>
                      </a:lnTo>
                      <a:lnTo>
                        <a:pt x="134" y="753"/>
                      </a:lnTo>
                      <a:lnTo>
                        <a:pt x="135" y="754"/>
                      </a:lnTo>
                      <a:lnTo>
                        <a:pt x="135" y="754"/>
                      </a:lnTo>
                      <a:lnTo>
                        <a:pt x="136" y="754"/>
                      </a:lnTo>
                      <a:lnTo>
                        <a:pt x="136" y="755"/>
                      </a:lnTo>
                      <a:lnTo>
                        <a:pt x="135" y="755"/>
                      </a:lnTo>
                      <a:lnTo>
                        <a:pt x="134" y="755"/>
                      </a:lnTo>
                      <a:lnTo>
                        <a:pt x="134" y="756"/>
                      </a:lnTo>
                      <a:lnTo>
                        <a:pt x="134" y="756"/>
                      </a:lnTo>
                      <a:lnTo>
                        <a:pt x="134" y="756"/>
                      </a:lnTo>
                      <a:lnTo>
                        <a:pt x="134" y="756"/>
                      </a:lnTo>
                      <a:lnTo>
                        <a:pt x="134" y="757"/>
                      </a:lnTo>
                      <a:lnTo>
                        <a:pt x="135" y="757"/>
                      </a:lnTo>
                      <a:lnTo>
                        <a:pt x="135" y="758"/>
                      </a:lnTo>
                      <a:lnTo>
                        <a:pt x="136" y="758"/>
                      </a:lnTo>
                      <a:lnTo>
                        <a:pt x="136" y="758"/>
                      </a:lnTo>
                      <a:lnTo>
                        <a:pt x="136" y="759"/>
                      </a:lnTo>
                      <a:lnTo>
                        <a:pt x="135" y="759"/>
                      </a:lnTo>
                      <a:lnTo>
                        <a:pt x="134" y="759"/>
                      </a:lnTo>
                      <a:lnTo>
                        <a:pt x="134" y="760"/>
                      </a:lnTo>
                      <a:lnTo>
                        <a:pt x="134" y="760"/>
                      </a:lnTo>
                      <a:lnTo>
                        <a:pt x="134" y="760"/>
                      </a:lnTo>
                      <a:lnTo>
                        <a:pt x="134" y="761"/>
                      </a:lnTo>
                      <a:lnTo>
                        <a:pt x="133" y="761"/>
                      </a:lnTo>
                      <a:lnTo>
                        <a:pt x="133" y="762"/>
                      </a:lnTo>
                      <a:lnTo>
                        <a:pt x="133" y="763"/>
                      </a:lnTo>
                      <a:lnTo>
                        <a:pt x="132" y="763"/>
                      </a:lnTo>
                      <a:lnTo>
                        <a:pt x="132" y="763"/>
                      </a:lnTo>
                      <a:lnTo>
                        <a:pt x="133" y="764"/>
                      </a:lnTo>
                      <a:lnTo>
                        <a:pt x="134" y="764"/>
                      </a:lnTo>
                      <a:lnTo>
                        <a:pt x="134" y="765"/>
                      </a:lnTo>
                      <a:lnTo>
                        <a:pt x="133" y="765"/>
                      </a:lnTo>
                      <a:lnTo>
                        <a:pt x="132" y="765"/>
                      </a:lnTo>
                      <a:lnTo>
                        <a:pt x="132" y="766"/>
                      </a:lnTo>
                      <a:lnTo>
                        <a:pt x="132" y="767"/>
                      </a:lnTo>
                      <a:lnTo>
                        <a:pt x="132" y="767"/>
                      </a:lnTo>
                      <a:lnTo>
                        <a:pt x="133" y="768"/>
                      </a:lnTo>
                      <a:lnTo>
                        <a:pt x="133" y="769"/>
                      </a:lnTo>
                      <a:lnTo>
                        <a:pt x="132" y="769"/>
                      </a:lnTo>
                      <a:lnTo>
                        <a:pt x="132" y="769"/>
                      </a:lnTo>
                      <a:lnTo>
                        <a:pt x="132" y="769"/>
                      </a:lnTo>
                      <a:lnTo>
                        <a:pt x="132" y="769"/>
                      </a:lnTo>
                      <a:lnTo>
                        <a:pt x="132" y="768"/>
                      </a:lnTo>
                      <a:lnTo>
                        <a:pt x="131" y="767"/>
                      </a:lnTo>
                      <a:lnTo>
                        <a:pt x="130" y="767"/>
                      </a:lnTo>
                      <a:lnTo>
                        <a:pt x="130" y="768"/>
                      </a:lnTo>
                      <a:lnTo>
                        <a:pt x="130" y="768"/>
                      </a:lnTo>
                      <a:lnTo>
                        <a:pt x="130" y="769"/>
                      </a:lnTo>
                      <a:lnTo>
                        <a:pt x="130" y="769"/>
                      </a:lnTo>
                      <a:lnTo>
                        <a:pt x="130" y="769"/>
                      </a:lnTo>
                      <a:lnTo>
                        <a:pt x="131" y="769"/>
                      </a:lnTo>
                      <a:lnTo>
                        <a:pt x="132" y="769"/>
                      </a:lnTo>
                      <a:lnTo>
                        <a:pt x="132" y="770"/>
                      </a:lnTo>
                      <a:lnTo>
                        <a:pt x="132" y="771"/>
                      </a:lnTo>
                      <a:lnTo>
                        <a:pt x="131" y="771"/>
                      </a:lnTo>
                      <a:lnTo>
                        <a:pt x="131" y="770"/>
                      </a:lnTo>
                      <a:lnTo>
                        <a:pt x="131" y="771"/>
                      </a:lnTo>
                      <a:lnTo>
                        <a:pt x="131" y="771"/>
                      </a:lnTo>
                      <a:lnTo>
                        <a:pt x="131" y="772"/>
                      </a:lnTo>
                      <a:lnTo>
                        <a:pt x="131" y="773"/>
                      </a:lnTo>
                      <a:lnTo>
                        <a:pt x="132" y="773"/>
                      </a:lnTo>
                      <a:lnTo>
                        <a:pt x="132" y="773"/>
                      </a:lnTo>
                      <a:lnTo>
                        <a:pt x="132" y="773"/>
                      </a:lnTo>
                      <a:lnTo>
                        <a:pt x="132" y="774"/>
                      </a:lnTo>
                      <a:lnTo>
                        <a:pt x="132" y="775"/>
                      </a:lnTo>
                      <a:lnTo>
                        <a:pt x="132" y="775"/>
                      </a:lnTo>
                      <a:lnTo>
                        <a:pt x="132" y="775"/>
                      </a:lnTo>
                      <a:lnTo>
                        <a:pt x="132" y="776"/>
                      </a:lnTo>
                      <a:lnTo>
                        <a:pt x="132" y="777"/>
                      </a:lnTo>
                      <a:lnTo>
                        <a:pt x="132" y="777"/>
                      </a:lnTo>
                      <a:lnTo>
                        <a:pt x="132" y="777"/>
                      </a:lnTo>
                      <a:lnTo>
                        <a:pt x="133" y="777"/>
                      </a:lnTo>
                      <a:lnTo>
                        <a:pt x="133" y="778"/>
                      </a:lnTo>
                      <a:lnTo>
                        <a:pt x="132" y="778"/>
                      </a:lnTo>
                      <a:lnTo>
                        <a:pt x="132" y="779"/>
                      </a:lnTo>
                      <a:lnTo>
                        <a:pt x="132" y="779"/>
                      </a:lnTo>
                      <a:lnTo>
                        <a:pt x="132" y="779"/>
                      </a:lnTo>
                      <a:lnTo>
                        <a:pt x="132" y="780"/>
                      </a:lnTo>
                      <a:lnTo>
                        <a:pt x="131" y="780"/>
                      </a:lnTo>
                      <a:lnTo>
                        <a:pt x="131" y="781"/>
                      </a:lnTo>
                      <a:lnTo>
                        <a:pt x="132" y="781"/>
                      </a:lnTo>
                      <a:lnTo>
                        <a:pt x="132" y="781"/>
                      </a:lnTo>
                      <a:lnTo>
                        <a:pt x="132" y="782"/>
                      </a:lnTo>
                      <a:lnTo>
                        <a:pt x="131" y="782"/>
                      </a:lnTo>
                      <a:lnTo>
                        <a:pt x="132" y="782"/>
                      </a:lnTo>
                      <a:lnTo>
                        <a:pt x="132" y="783"/>
                      </a:lnTo>
                      <a:lnTo>
                        <a:pt x="132" y="784"/>
                      </a:lnTo>
                      <a:lnTo>
                        <a:pt x="131" y="784"/>
                      </a:lnTo>
                      <a:lnTo>
                        <a:pt x="131" y="784"/>
                      </a:lnTo>
                      <a:lnTo>
                        <a:pt x="131" y="785"/>
                      </a:lnTo>
                      <a:lnTo>
                        <a:pt x="132" y="785"/>
                      </a:lnTo>
                      <a:lnTo>
                        <a:pt x="132" y="786"/>
                      </a:lnTo>
                      <a:lnTo>
                        <a:pt x="131" y="786"/>
                      </a:lnTo>
                      <a:lnTo>
                        <a:pt x="131" y="786"/>
                      </a:lnTo>
                      <a:lnTo>
                        <a:pt x="130" y="786"/>
                      </a:lnTo>
                      <a:lnTo>
                        <a:pt x="130" y="787"/>
                      </a:lnTo>
                      <a:lnTo>
                        <a:pt x="130" y="788"/>
                      </a:lnTo>
                      <a:lnTo>
                        <a:pt x="130" y="788"/>
                      </a:lnTo>
                      <a:lnTo>
                        <a:pt x="131" y="788"/>
                      </a:lnTo>
                      <a:lnTo>
                        <a:pt x="131" y="788"/>
                      </a:lnTo>
                      <a:lnTo>
                        <a:pt x="131" y="789"/>
                      </a:lnTo>
                      <a:lnTo>
                        <a:pt x="131" y="790"/>
                      </a:lnTo>
                      <a:lnTo>
                        <a:pt x="130" y="790"/>
                      </a:lnTo>
                      <a:lnTo>
                        <a:pt x="130" y="790"/>
                      </a:lnTo>
                      <a:lnTo>
                        <a:pt x="129" y="790"/>
                      </a:lnTo>
                      <a:lnTo>
                        <a:pt x="129" y="790"/>
                      </a:lnTo>
                      <a:lnTo>
                        <a:pt x="130" y="790"/>
                      </a:lnTo>
                      <a:lnTo>
                        <a:pt x="130" y="791"/>
                      </a:lnTo>
                      <a:lnTo>
                        <a:pt x="129" y="791"/>
                      </a:lnTo>
                      <a:lnTo>
                        <a:pt x="129" y="792"/>
                      </a:lnTo>
                      <a:lnTo>
                        <a:pt x="129" y="792"/>
                      </a:lnTo>
                      <a:lnTo>
                        <a:pt x="130" y="793"/>
                      </a:lnTo>
                      <a:lnTo>
                        <a:pt x="130" y="794"/>
                      </a:lnTo>
                      <a:lnTo>
                        <a:pt x="130" y="794"/>
                      </a:lnTo>
                      <a:lnTo>
                        <a:pt x="130" y="794"/>
                      </a:lnTo>
                      <a:lnTo>
                        <a:pt x="130" y="795"/>
                      </a:lnTo>
                      <a:lnTo>
                        <a:pt x="130" y="795"/>
                      </a:lnTo>
                      <a:lnTo>
                        <a:pt x="129" y="796"/>
                      </a:lnTo>
                      <a:lnTo>
                        <a:pt x="130" y="796"/>
                      </a:lnTo>
                      <a:lnTo>
                        <a:pt x="129" y="796"/>
                      </a:lnTo>
                      <a:lnTo>
                        <a:pt x="129" y="797"/>
                      </a:lnTo>
                      <a:lnTo>
                        <a:pt x="129" y="798"/>
                      </a:lnTo>
                      <a:lnTo>
                        <a:pt x="128" y="798"/>
                      </a:lnTo>
                      <a:lnTo>
                        <a:pt x="128" y="798"/>
                      </a:lnTo>
                      <a:lnTo>
                        <a:pt x="128" y="799"/>
                      </a:lnTo>
                      <a:lnTo>
                        <a:pt x="128" y="800"/>
                      </a:lnTo>
                      <a:lnTo>
                        <a:pt x="128" y="800"/>
                      </a:lnTo>
                      <a:lnTo>
                        <a:pt x="128" y="801"/>
                      </a:lnTo>
                      <a:lnTo>
                        <a:pt x="128" y="802"/>
                      </a:lnTo>
                      <a:lnTo>
                        <a:pt x="128" y="803"/>
                      </a:lnTo>
                      <a:lnTo>
                        <a:pt x="129" y="803"/>
                      </a:lnTo>
                      <a:lnTo>
                        <a:pt x="129" y="803"/>
                      </a:lnTo>
                      <a:lnTo>
                        <a:pt x="128" y="803"/>
                      </a:lnTo>
                      <a:lnTo>
                        <a:pt x="128" y="804"/>
                      </a:lnTo>
                      <a:lnTo>
                        <a:pt x="128" y="804"/>
                      </a:lnTo>
                      <a:lnTo>
                        <a:pt x="128" y="805"/>
                      </a:lnTo>
                      <a:lnTo>
                        <a:pt x="128" y="805"/>
                      </a:lnTo>
                      <a:lnTo>
                        <a:pt x="128" y="805"/>
                      </a:lnTo>
                      <a:lnTo>
                        <a:pt x="128" y="806"/>
                      </a:lnTo>
                      <a:lnTo>
                        <a:pt x="129" y="806"/>
                      </a:lnTo>
                      <a:lnTo>
                        <a:pt x="128" y="807"/>
                      </a:lnTo>
                      <a:lnTo>
                        <a:pt x="129" y="807"/>
                      </a:lnTo>
                      <a:lnTo>
                        <a:pt x="128" y="807"/>
                      </a:lnTo>
                      <a:lnTo>
                        <a:pt x="128" y="808"/>
                      </a:lnTo>
                      <a:lnTo>
                        <a:pt x="127" y="808"/>
                      </a:lnTo>
                      <a:lnTo>
                        <a:pt x="127" y="809"/>
                      </a:lnTo>
                      <a:lnTo>
                        <a:pt x="128" y="809"/>
                      </a:lnTo>
                      <a:lnTo>
                        <a:pt x="128" y="809"/>
                      </a:lnTo>
                      <a:lnTo>
                        <a:pt x="128" y="810"/>
                      </a:lnTo>
                      <a:lnTo>
                        <a:pt x="127" y="810"/>
                      </a:lnTo>
                      <a:lnTo>
                        <a:pt x="127" y="811"/>
                      </a:lnTo>
                      <a:lnTo>
                        <a:pt x="127" y="811"/>
                      </a:lnTo>
                      <a:lnTo>
                        <a:pt x="128" y="811"/>
                      </a:lnTo>
                      <a:lnTo>
                        <a:pt x="127" y="812"/>
                      </a:lnTo>
                      <a:lnTo>
                        <a:pt x="128" y="812"/>
                      </a:lnTo>
                      <a:lnTo>
                        <a:pt x="128" y="813"/>
                      </a:lnTo>
                      <a:lnTo>
                        <a:pt x="128" y="813"/>
                      </a:lnTo>
                      <a:lnTo>
                        <a:pt x="128" y="814"/>
                      </a:lnTo>
                      <a:lnTo>
                        <a:pt x="127" y="814"/>
                      </a:lnTo>
                      <a:lnTo>
                        <a:pt x="126" y="815"/>
                      </a:lnTo>
                      <a:lnTo>
                        <a:pt x="126" y="815"/>
                      </a:lnTo>
                      <a:lnTo>
                        <a:pt x="126" y="815"/>
                      </a:lnTo>
                      <a:lnTo>
                        <a:pt x="126" y="816"/>
                      </a:lnTo>
                      <a:lnTo>
                        <a:pt x="126" y="817"/>
                      </a:lnTo>
                      <a:lnTo>
                        <a:pt x="126" y="817"/>
                      </a:lnTo>
                      <a:lnTo>
                        <a:pt x="126" y="818"/>
                      </a:lnTo>
                      <a:lnTo>
                        <a:pt x="126" y="818"/>
                      </a:lnTo>
                      <a:lnTo>
                        <a:pt x="126" y="819"/>
                      </a:lnTo>
                      <a:lnTo>
                        <a:pt x="126" y="819"/>
                      </a:lnTo>
                      <a:lnTo>
                        <a:pt x="126" y="820"/>
                      </a:lnTo>
                      <a:lnTo>
                        <a:pt x="126" y="821"/>
                      </a:lnTo>
                      <a:lnTo>
                        <a:pt x="126" y="821"/>
                      </a:lnTo>
                      <a:lnTo>
                        <a:pt x="126" y="822"/>
                      </a:lnTo>
                      <a:lnTo>
                        <a:pt x="126" y="822"/>
                      </a:lnTo>
                      <a:lnTo>
                        <a:pt x="126" y="823"/>
                      </a:lnTo>
                      <a:lnTo>
                        <a:pt x="126" y="824"/>
                      </a:lnTo>
                      <a:lnTo>
                        <a:pt x="126" y="824"/>
                      </a:lnTo>
                      <a:lnTo>
                        <a:pt x="125" y="824"/>
                      </a:lnTo>
                      <a:lnTo>
                        <a:pt x="124" y="824"/>
                      </a:lnTo>
                      <a:lnTo>
                        <a:pt x="124" y="825"/>
                      </a:lnTo>
                      <a:lnTo>
                        <a:pt x="124" y="826"/>
                      </a:lnTo>
                      <a:lnTo>
                        <a:pt x="124" y="826"/>
                      </a:lnTo>
                      <a:lnTo>
                        <a:pt x="125" y="826"/>
                      </a:lnTo>
                      <a:lnTo>
                        <a:pt x="125" y="827"/>
                      </a:lnTo>
                      <a:lnTo>
                        <a:pt x="125" y="828"/>
                      </a:lnTo>
                      <a:lnTo>
                        <a:pt x="125" y="828"/>
                      </a:lnTo>
                      <a:lnTo>
                        <a:pt x="124" y="828"/>
                      </a:lnTo>
                      <a:lnTo>
                        <a:pt x="124" y="828"/>
                      </a:lnTo>
                      <a:lnTo>
                        <a:pt x="123" y="828"/>
                      </a:lnTo>
                      <a:lnTo>
                        <a:pt x="122" y="828"/>
                      </a:lnTo>
                      <a:lnTo>
                        <a:pt x="122" y="828"/>
                      </a:lnTo>
                      <a:lnTo>
                        <a:pt x="122" y="829"/>
                      </a:lnTo>
                      <a:lnTo>
                        <a:pt x="121" y="829"/>
                      </a:lnTo>
                      <a:lnTo>
                        <a:pt x="121" y="830"/>
                      </a:lnTo>
                      <a:lnTo>
                        <a:pt x="121" y="830"/>
                      </a:lnTo>
                      <a:lnTo>
                        <a:pt x="120" y="830"/>
                      </a:lnTo>
                      <a:lnTo>
                        <a:pt x="120" y="830"/>
                      </a:lnTo>
                      <a:lnTo>
                        <a:pt x="119" y="830"/>
                      </a:lnTo>
                      <a:lnTo>
                        <a:pt x="119" y="831"/>
                      </a:lnTo>
                      <a:lnTo>
                        <a:pt x="118" y="831"/>
                      </a:lnTo>
                      <a:lnTo>
                        <a:pt x="118" y="832"/>
                      </a:lnTo>
                      <a:lnTo>
                        <a:pt x="118" y="832"/>
                      </a:lnTo>
                      <a:lnTo>
                        <a:pt x="118" y="831"/>
                      </a:lnTo>
                      <a:lnTo>
                        <a:pt x="117" y="831"/>
                      </a:lnTo>
                      <a:lnTo>
                        <a:pt x="116" y="831"/>
                      </a:lnTo>
                      <a:lnTo>
                        <a:pt x="116" y="832"/>
                      </a:lnTo>
                      <a:lnTo>
                        <a:pt x="115" y="832"/>
                      </a:lnTo>
                      <a:lnTo>
                        <a:pt x="115" y="832"/>
                      </a:lnTo>
                      <a:lnTo>
                        <a:pt x="115" y="831"/>
                      </a:lnTo>
                      <a:lnTo>
                        <a:pt x="115" y="832"/>
                      </a:lnTo>
                      <a:lnTo>
                        <a:pt x="115" y="831"/>
                      </a:lnTo>
                      <a:lnTo>
                        <a:pt x="114" y="831"/>
                      </a:lnTo>
                      <a:lnTo>
                        <a:pt x="113" y="831"/>
                      </a:lnTo>
                      <a:lnTo>
                        <a:pt x="113" y="830"/>
                      </a:lnTo>
                      <a:lnTo>
                        <a:pt x="113" y="830"/>
                      </a:lnTo>
                      <a:lnTo>
                        <a:pt x="113" y="831"/>
                      </a:lnTo>
                      <a:lnTo>
                        <a:pt x="113" y="830"/>
                      </a:lnTo>
                      <a:lnTo>
                        <a:pt x="112" y="830"/>
                      </a:lnTo>
                      <a:lnTo>
                        <a:pt x="112" y="830"/>
                      </a:lnTo>
                      <a:lnTo>
                        <a:pt x="111" y="830"/>
                      </a:lnTo>
                      <a:lnTo>
                        <a:pt x="111" y="830"/>
                      </a:lnTo>
                      <a:lnTo>
                        <a:pt x="111" y="829"/>
                      </a:lnTo>
                      <a:lnTo>
                        <a:pt x="110" y="829"/>
                      </a:lnTo>
                      <a:lnTo>
                        <a:pt x="109" y="830"/>
                      </a:lnTo>
                      <a:lnTo>
                        <a:pt x="109" y="830"/>
                      </a:lnTo>
                      <a:lnTo>
                        <a:pt x="109" y="830"/>
                      </a:lnTo>
                      <a:lnTo>
                        <a:pt x="109" y="831"/>
                      </a:lnTo>
                      <a:lnTo>
                        <a:pt x="109" y="832"/>
                      </a:lnTo>
                      <a:lnTo>
                        <a:pt x="108" y="832"/>
                      </a:lnTo>
                      <a:lnTo>
                        <a:pt x="109" y="832"/>
                      </a:lnTo>
                      <a:lnTo>
                        <a:pt x="107" y="838"/>
                      </a:lnTo>
                      <a:lnTo>
                        <a:pt x="105" y="836"/>
                      </a:lnTo>
                      <a:lnTo>
                        <a:pt x="99" y="834"/>
                      </a:lnTo>
                      <a:lnTo>
                        <a:pt x="90" y="838"/>
                      </a:lnTo>
                      <a:lnTo>
                        <a:pt x="90" y="838"/>
                      </a:lnTo>
                      <a:lnTo>
                        <a:pt x="89" y="837"/>
                      </a:lnTo>
                      <a:lnTo>
                        <a:pt x="88" y="836"/>
                      </a:lnTo>
                      <a:lnTo>
                        <a:pt x="87" y="835"/>
                      </a:lnTo>
                      <a:lnTo>
                        <a:pt x="86" y="834"/>
                      </a:lnTo>
                      <a:lnTo>
                        <a:pt x="86" y="833"/>
                      </a:lnTo>
                      <a:lnTo>
                        <a:pt x="87" y="832"/>
                      </a:lnTo>
                      <a:lnTo>
                        <a:pt x="87" y="831"/>
                      </a:lnTo>
                      <a:lnTo>
                        <a:pt x="86" y="830"/>
                      </a:lnTo>
                      <a:lnTo>
                        <a:pt x="86" y="830"/>
                      </a:lnTo>
                      <a:lnTo>
                        <a:pt x="87" y="830"/>
                      </a:lnTo>
                      <a:lnTo>
                        <a:pt x="87" y="829"/>
                      </a:lnTo>
                      <a:lnTo>
                        <a:pt x="88" y="828"/>
                      </a:lnTo>
                      <a:lnTo>
                        <a:pt x="87" y="828"/>
                      </a:lnTo>
                      <a:lnTo>
                        <a:pt x="87" y="827"/>
                      </a:lnTo>
                      <a:lnTo>
                        <a:pt x="87" y="825"/>
                      </a:lnTo>
                      <a:lnTo>
                        <a:pt x="87" y="824"/>
                      </a:lnTo>
                      <a:lnTo>
                        <a:pt x="87" y="824"/>
                      </a:lnTo>
                      <a:lnTo>
                        <a:pt x="87" y="823"/>
                      </a:lnTo>
                      <a:lnTo>
                        <a:pt x="87" y="822"/>
                      </a:lnTo>
                      <a:lnTo>
                        <a:pt x="87" y="821"/>
                      </a:lnTo>
                      <a:lnTo>
                        <a:pt x="86" y="821"/>
                      </a:lnTo>
                      <a:lnTo>
                        <a:pt x="86" y="821"/>
                      </a:lnTo>
                      <a:lnTo>
                        <a:pt x="86" y="820"/>
                      </a:lnTo>
                      <a:lnTo>
                        <a:pt x="86" y="819"/>
                      </a:lnTo>
                      <a:lnTo>
                        <a:pt x="85" y="819"/>
                      </a:lnTo>
                      <a:lnTo>
                        <a:pt x="85" y="818"/>
                      </a:lnTo>
                      <a:lnTo>
                        <a:pt x="85" y="817"/>
                      </a:lnTo>
                      <a:lnTo>
                        <a:pt x="84" y="817"/>
                      </a:lnTo>
                      <a:lnTo>
                        <a:pt x="84" y="817"/>
                      </a:lnTo>
                      <a:lnTo>
                        <a:pt x="85" y="816"/>
                      </a:lnTo>
                      <a:lnTo>
                        <a:pt x="83" y="815"/>
                      </a:lnTo>
                      <a:lnTo>
                        <a:pt x="77" y="815"/>
                      </a:lnTo>
                      <a:lnTo>
                        <a:pt x="77" y="814"/>
                      </a:lnTo>
                      <a:lnTo>
                        <a:pt x="77" y="813"/>
                      </a:lnTo>
                      <a:lnTo>
                        <a:pt x="77" y="813"/>
                      </a:lnTo>
                      <a:lnTo>
                        <a:pt x="78" y="813"/>
                      </a:lnTo>
                      <a:lnTo>
                        <a:pt x="78" y="812"/>
                      </a:lnTo>
                      <a:lnTo>
                        <a:pt x="78" y="811"/>
                      </a:lnTo>
                      <a:lnTo>
                        <a:pt x="78" y="811"/>
                      </a:lnTo>
                      <a:lnTo>
                        <a:pt x="77" y="810"/>
                      </a:lnTo>
                      <a:lnTo>
                        <a:pt x="78" y="810"/>
                      </a:lnTo>
                      <a:lnTo>
                        <a:pt x="78" y="809"/>
                      </a:lnTo>
                      <a:lnTo>
                        <a:pt x="78" y="809"/>
                      </a:lnTo>
                      <a:lnTo>
                        <a:pt x="78" y="808"/>
                      </a:lnTo>
                      <a:lnTo>
                        <a:pt x="78" y="807"/>
                      </a:lnTo>
                      <a:lnTo>
                        <a:pt x="78" y="807"/>
                      </a:lnTo>
                      <a:lnTo>
                        <a:pt x="77" y="807"/>
                      </a:lnTo>
                      <a:lnTo>
                        <a:pt x="77" y="806"/>
                      </a:lnTo>
                      <a:lnTo>
                        <a:pt x="77" y="805"/>
                      </a:lnTo>
                      <a:lnTo>
                        <a:pt x="78" y="805"/>
                      </a:lnTo>
                      <a:lnTo>
                        <a:pt x="78" y="804"/>
                      </a:lnTo>
                      <a:lnTo>
                        <a:pt x="78" y="803"/>
                      </a:lnTo>
                      <a:lnTo>
                        <a:pt x="78" y="803"/>
                      </a:lnTo>
                      <a:lnTo>
                        <a:pt x="78" y="802"/>
                      </a:lnTo>
                      <a:lnTo>
                        <a:pt x="78" y="801"/>
                      </a:lnTo>
                      <a:lnTo>
                        <a:pt x="78" y="800"/>
                      </a:lnTo>
                      <a:lnTo>
                        <a:pt x="78" y="799"/>
                      </a:lnTo>
                      <a:lnTo>
                        <a:pt x="79" y="799"/>
                      </a:lnTo>
                      <a:lnTo>
                        <a:pt x="79" y="798"/>
                      </a:lnTo>
                      <a:lnTo>
                        <a:pt x="79" y="798"/>
                      </a:lnTo>
                      <a:lnTo>
                        <a:pt x="79" y="797"/>
                      </a:lnTo>
                      <a:lnTo>
                        <a:pt x="80" y="797"/>
                      </a:lnTo>
                      <a:lnTo>
                        <a:pt x="79" y="797"/>
                      </a:lnTo>
                      <a:lnTo>
                        <a:pt x="79" y="796"/>
                      </a:lnTo>
                      <a:lnTo>
                        <a:pt x="78" y="796"/>
                      </a:lnTo>
                      <a:lnTo>
                        <a:pt x="79" y="796"/>
                      </a:lnTo>
                      <a:lnTo>
                        <a:pt x="79" y="796"/>
                      </a:lnTo>
                      <a:lnTo>
                        <a:pt x="78" y="796"/>
                      </a:lnTo>
                      <a:lnTo>
                        <a:pt x="78" y="795"/>
                      </a:lnTo>
                      <a:lnTo>
                        <a:pt x="77" y="795"/>
                      </a:lnTo>
                      <a:lnTo>
                        <a:pt x="77" y="794"/>
                      </a:lnTo>
                      <a:lnTo>
                        <a:pt x="77" y="794"/>
                      </a:lnTo>
                      <a:lnTo>
                        <a:pt x="77" y="792"/>
                      </a:lnTo>
                      <a:lnTo>
                        <a:pt x="77" y="792"/>
                      </a:lnTo>
                      <a:lnTo>
                        <a:pt x="77" y="791"/>
                      </a:lnTo>
                      <a:lnTo>
                        <a:pt x="78" y="791"/>
                      </a:lnTo>
                      <a:lnTo>
                        <a:pt x="78" y="790"/>
                      </a:lnTo>
                      <a:lnTo>
                        <a:pt x="78" y="790"/>
                      </a:lnTo>
                      <a:lnTo>
                        <a:pt x="78" y="789"/>
                      </a:lnTo>
                      <a:lnTo>
                        <a:pt x="78" y="788"/>
                      </a:lnTo>
                      <a:lnTo>
                        <a:pt x="78" y="788"/>
                      </a:lnTo>
                      <a:lnTo>
                        <a:pt x="78" y="787"/>
                      </a:lnTo>
                      <a:lnTo>
                        <a:pt x="79" y="787"/>
                      </a:lnTo>
                      <a:lnTo>
                        <a:pt x="79" y="786"/>
                      </a:lnTo>
                      <a:lnTo>
                        <a:pt x="79" y="786"/>
                      </a:lnTo>
                      <a:lnTo>
                        <a:pt x="79" y="785"/>
                      </a:lnTo>
                      <a:lnTo>
                        <a:pt x="79" y="784"/>
                      </a:lnTo>
                      <a:lnTo>
                        <a:pt x="79" y="784"/>
                      </a:lnTo>
                      <a:lnTo>
                        <a:pt x="79" y="783"/>
                      </a:lnTo>
                      <a:lnTo>
                        <a:pt x="78" y="783"/>
                      </a:lnTo>
                      <a:lnTo>
                        <a:pt x="78" y="782"/>
                      </a:lnTo>
                      <a:lnTo>
                        <a:pt x="78" y="781"/>
                      </a:lnTo>
                      <a:lnTo>
                        <a:pt x="78" y="781"/>
                      </a:lnTo>
                      <a:lnTo>
                        <a:pt x="78" y="780"/>
                      </a:lnTo>
                      <a:lnTo>
                        <a:pt x="78" y="779"/>
                      </a:lnTo>
                      <a:lnTo>
                        <a:pt x="78" y="779"/>
                      </a:lnTo>
                      <a:lnTo>
                        <a:pt x="78" y="778"/>
                      </a:lnTo>
                      <a:lnTo>
                        <a:pt x="78" y="777"/>
                      </a:lnTo>
                      <a:lnTo>
                        <a:pt x="78" y="777"/>
                      </a:lnTo>
                      <a:lnTo>
                        <a:pt x="77" y="777"/>
                      </a:lnTo>
                      <a:lnTo>
                        <a:pt x="77" y="776"/>
                      </a:lnTo>
                      <a:lnTo>
                        <a:pt x="77" y="775"/>
                      </a:lnTo>
                      <a:lnTo>
                        <a:pt x="77" y="775"/>
                      </a:lnTo>
                      <a:lnTo>
                        <a:pt x="77" y="775"/>
                      </a:lnTo>
                      <a:lnTo>
                        <a:pt x="77" y="775"/>
                      </a:lnTo>
                      <a:lnTo>
                        <a:pt x="77" y="774"/>
                      </a:lnTo>
                      <a:lnTo>
                        <a:pt x="77" y="773"/>
                      </a:lnTo>
                      <a:lnTo>
                        <a:pt x="77" y="773"/>
                      </a:lnTo>
                      <a:lnTo>
                        <a:pt x="77" y="772"/>
                      </a:lnTo>
                      <a:lnTo>
                        <a:pt x="77" y="770"/>
                      </a:lnTo>
                      <a:lnTo>
                        <a:pt x="75" y="758"/>
                      </a:lnTo>
                      <a:lnTo>
                        <a:pt x="75" y="757"/>
                      </a:lnTo>
                      <a:lnTo>
                        <a:pt x="75" y="756"/>
                      </a:lnTo>
                      <a:lnTo>
                        <a:pt x="76" y="756"/>
                      </a:lnTo>
                      <a:lnTo>
                        <a:pt x="76" y="756"/>
                      </a:lnTo>
                      <a:lnTo>
                        <a:pt x="75" y="756"/>
                      </a:lnTo>
                      <a:lnTo>
                        <a:pt x="75" y="755"/>
                      </a:lnTo>
                      <a:lnTo>
                        <a:pt x="75" y="754"/>
                      </a:lnTo>
                      <a:lnTo>
                        <a:pt x="76" y="754"/>
                      </a:lnTo>
                      <a:lnTo>
                        <a:pt x="76" y="754"/>
                      </a:lnTo>
                      <a:lnTo>
                        <a:pt x="75" y="754"/>
                      </a:lnTo>
                      <a:lnTo>
                        <a:pt x="75" y="753"/>
                      </a:lnTo>
                      <a:lnTo>
                        <a:pt x="75" y="752"/>
                      </a:lnTo>
                      <a:lnTo>
                        <a:pt x="75" y="752"/>
                      </a:lnTo>
                      <a:lnTo>
                        <a:pt x="75" y="751"/>
                      </a:lnTo>
                      <a:lnTo>
                        <a:pt x="75" y="750"/>
                      </a:lnTo>
                      <a:lnTo>
                        <a:pt x="76" y="750"/>
                      </a:lnTo>
                      <a:lnTo>
                        <a:pt x="77" y="750"/>
                      </a:lnTo>
                      <a:lnTo>
                        <a:pt x="77" y="749"/>
                      </a:lnTo>
                      <a:lnTo>
                        <a:pt x="77" y="748"/>
                      </a:lnTo>
                      <a:lnTo>
                        <a:pt x="78" y="748"/>
                      </a:lnTo>
                      <a:lnTo>
                        <a:pt x="79" y="748"/>
                      </a:lnTo>
                      <a:lnTo>
                        <a:pt x="80" y="748"/>
                      </a:lnTo>
                      <a:lnTo>
                        <a:pt x="80" y="748"/>
                      </a:lnTo>
                      <a:lnTo>
                        <a:pt x="81" y="747"/>
                      </a:lnTo>
                      <a:lnTo>
                        <a:pt x="82" y="747"/>
                      </a:lnTo>
                      <a:lnTo>
                        <a:pt x="82" y="746"/>
                      </a:lnTo>
                      <a:lnTo>
                        <a:pt x="82" y="746"/>
                      </a:lnTo>
                      <a:lnTo>
                        <a:pt x="82" y="747"/>
                      </a:lnTo>
                      <a:lnTo>
                        <a:pt x="83" y="747"/>
                      </a:lnTo>
                      <a:lnTo>
                        <a:pt x="84" y="747"/>
                      </a:lnTo>
                      <a:lnTo>
                        <a:pt x="84" y="746"/>
                      </a:lnTo>
                      <a:lnTo>
                        <a:pt x="84" y="746"/>
                      </a:lnTo>
                      <a:lnTo>
                        <a:pt x="84" y="746"/>
                      </a:lnTo>
                      <a:lnTo>
                        <a:pt x="84" y="745"/>
                      </a:lnTo>
                      <a:lnTo>
                        <a:pt x="85" y="745"/>
                      </a:lnTo>
                      <a:lnTo>
                        <a:pt x="85" y="744"/>
                      </a:lnTo>
                      <a:lnTo>
                        <a:pt x="85" y="744"/>
                      </a:lnTo>
                      <a:lnTo>
                        <a:pt x="84" y="739"/>
                      </a:lnTo>
                      <a:lnTo>
                        <a:pt x="84" y="734"/>
                      </a:lnTo>
                      <a:lnTo>
                        <a:pt x="81" y="727"/>
                      </a:lnTo>
                      <a:lnTo>
                        <a:pt x="81" y="722"/>
                      </a:lnTo>
                      <a:lnTo>
                        <a:pt x="80" y="718"/>
                      </a:lnTo>
                      <a:lnTo>
                        <a:pt x="83" y="708"/>
                      </a:lnTo>
                      <a:lnTo>
                        <a:pt x="85" y="704"/>
                      </a:lnTo>
                      <a:lnTo>
                        <a:pt x="86" y="693"/>
                      </a:lnTo>
                      <a:lnTo>
                        <a:pt x="84" y="687"/>
                      </a:lnTo>
                      <a:lnTo>
                        <a:pt x="87" y="674"/>
                      </a:lnTo>
                      <a:lnTo>
                        <a:pt x="86" y="673"/>
                      </a:lnTo>
                      <a:lnTo>
                        <a:pt x="86" y="673"/>
                      </a:lnTo>
                      <a:lnTo>
                        <a:pt x="86" y="672"/>
                      </a:lnTo>
                      <a:lnTo>
                        <a:pt x="87" y="672"/>
                      </a:lnTo>
                      <a:lnTo>
                        <a:pt x="87" y="672"/>
                      </a:lnTo>
                      <a:lnTo>
                        <a:pt x="88" y="672"/>
                      </a:lnTo>
                      <a:lnTo>
                        <a:pt x="88" y="671"/>
                      </a:lnTo>
                      <a:lnTo>
                        <a:pt x="88" y="671"/>
                      </a:lnTo>
                      <a:lnTo>
                        <a:pt x="88" y="670"/>
                      </a:lnTo>
                      <a:lnTo>
                        <a:pt x="89" y="670"/>
                      </a:lnTo>
                      <a:lnTo>
                        <a:pt x="89" y="670"/>
                      </a:lnTo>
                      <a:lnTo>
                        <a:pt x="90" y="670"/>
                      </a:lnTo>
                      <a:lnTo>
                        <a:pt x="90" y="669"/>
                      </a:lnTo>
                      <a:lnTo>
                        <a:pt x="90" y="668"/>
                      </a:lnTo>
                      <a:lnTo>
                        <a:pt x="90" y="668"/>
                      </a:lnTo>
                      <a:lnTo>
                        <a:pt x="90" y="668"/>
                      </a:lnTo>
                      <a:lnTo>
                        <a:pt x="90" y="667"/>
                      </a:lnTo>
                      <a:lnTo>
                        <a:pt x="91" y="666"/>
                      </a:lnTo>
                      <a:lnTo>
                        <a:pt x="92" y="666"/>
                      </a:lnTo>
                      <a:lnTo>
                        <a:pt x="92" y="667"/>
                      </a:lnTo>
                      <a:lnTo>
                        <a:pt x="92" y="666"/>
                      </a:lnTo>
                      <a:lnTo>
                        <a:pt x="92" y="666"/>
                      </a:lnTo>
                      <a:lnTo>
                        <a:pt x="93" y="667"/>
                      </a:lnTo>
                      <a:lnTo>
                        <a:pt x="94" y="667"/>
                      </a:lnTo>
                      <a:lnTo>
                        <a:pt x="94" y="668"/>
                      </a:lnTo>
                      <a:lnTo>
                        <a:pt x="94" y="668"/>
                      </a:lnTo>
                      <a:lnTo>
                        <a:pt x="94" y="667"/>
                      </a:lnTo>
                      <a:lnTo>
                        <a:pt x="94" y="668"/>
                      </a:lnTo>
                      <a:lnTo>
                        <a:pt x="95" y="668"/>
                      </a:lnTo>
                      <a:lnTo>
                        <a:pt x="96" y="668"/>
                      </a:lnTo>
                      <a:lnTo>
                        <a:pt x="96" y="668"/>
                      </a:lnTo>
                      <a:lnTo>
                        <a:pt x="96" y="667"/>
                      </a:lnTo>
                      <a:lnTo>
                        <a:pt x="96" y="666"/>
                      </a:lnTo>
                      <a:lnTo>
                        <a:pt x="96" y="666"/>
                      </a:lnTo>
                      <a:lnTo>
                        <a:pt x="97" y="666"/>
                      </a:lnTo>
                      <a:lnTo>
                        <a:pt x="98" y="666"/>
                      </a:lnTo>
                      <a:lnTo>
                        <a:pt x="98" y="665"/>
                      </a:lnTo>
                      <a:lnTo>
                        <a:pt x="98" y="664"/>
                      </a:lnTo>
                      <a:lnTo>
                        <a:pt x="98" y="663"/>
                      </a:lnTo>
                      <a:lnTo>
                        <a:pt x="97" y="663"/>
                      </a:lnTo>
                      <a:lnTo>
                        <a:pt x="97" y="663"/>
                      </a:lnTo>
                      <a:lnTo>
                        <a:pt x="98" y="663"/>
                      </a:lnTo>
                      <a:lnTo>
                        <a:pt x="97" y="663"/>
                      </a:lnTo>
                      <a:lnTo>
                        <a:pt x="97" y="662"/>
                      </a:lnTo>
                      <a:lnTo>
                        <a:pt x="96" y="662"/>
                      </a:lnTo>
                      <a:lnTo>
                        <a:pt x="97" y="662"/>
                      </a:lnTo>
                      <a:lnTo>
                        <a:pt x="97" y="661"/>
                      </a:lnTo>
                      <a:lnTo>
                        <a:pt x="97" y="661"/>
                      </a:lnTo>
                      <a:lnTo>
                        <a:pt x="96" y="661"/>
                      </a:lnTo>
                      <a:lnTo>
                        <a:pt x="96" y="660"/>
                      </a:lnTo>
                      <a:lnTo>
                        <a:pt x="97" y="660"/>
                      </a:lnTo>
                      <a:lnTo>
                        <a:pt x="96" y="660"/>
                      </a:lnTo>
                      <a:lnTo>
                        <a:pt x="96" y="659"/>
                      </a:lnTo>
                      <a:lnTo>
                        <a:pt x="97" y="659"/>
                      </a:lnTo>
                      <a:lnTo>
                        <a:pt x="97" y="659"/>
                      </a:lnTo>
                      <a:lnTo>
                        <a:pt x="97" y="658"/>
                      </a:lnTo>
                      <a:lnTo>
                        <a:pt x="97" y="657"/>
                      </a:lnTo>
                      <a:lnTo>
                        <a:pt x="97" y="657"/>
                      </a:lnTo>
                      <a:lnTo>
                        <a:pt x="98" y="657"/>
                      </a:lnTo>
                      <a:lnTo>
                        <a:pt x="98" y="656"/>
                      </a:lnTo>
                      <a:lnTo>
                        <a:pt x="97" y="656"/>
                      </a:lnTo>
                      <a:lnTo>
                        <a:pt x="97" y="655"/>
                      </a:lnTo>
                      <a:lnTo>
                        <a:pt x="97" y="655"/>
                      </a:lnTo>
                      <a:lnTo>
                        <a:pt x="97" y="654"/>
                      </a:lnTo>
                      <a:lnTo>
                        <a:pt x="97" y="653"/>
                      </a:lnTo>
                      <a:lnTo>
                        <a:pt x="96" y="653"/>
                      </a:lnTo>
                      <a:lnTo>
                        <a:pt x="96" y="653"/>
                      </a:lnTo>
                      <a:lnTo>
                        <a:pt x="96" y="652"/>
                      </a:lnTo>
                      <a:lnTo>
                        <a:pt x="96" y="652"/>
                      </a:lnTo>
                      <a:lnTo>
                        <a:pt x="96" y="652"/>
                      </a:lnTo>
                      <a:lnTo>
                        <a:pt x="96" y="651"/>
                      </a:lnTo>
                      <a:lnTo>
                        <a:pt x="96" y="651"/>
                      </a:lnTo>
                      <a:lnTo>
                        <a:pt x="96" y="651"/>
                      </a:lnTo>
                      <a:lnTo>
                        <a:pt x="95" y="651"/>
                      </a:lnTo>
                      <a:lnTo>
                        <a:pt x="95" y="650"/>
                      </a:lnTo>
                      <a:lnTo>
                        <a:pt x="94" y="650"/>
                      </a:lnTo>
                      <a:lnTo>
                        <a:pt x="94" y="649"/>
                      </a:lnTo>
                      <a:lnTo>
                        <a:pt x="95" y="649"/>
                      </a:lnTo>
                      <a:lnTo>
                        <a:pt x="95" y="649"/>
                      </a:lnTo>
                      <a:lnTo>
                        <a:pt x="94" y="648"/>
                      </a:lnTo>
                      <a:lnTo>
                        <a:pt x="94" y="648"/>
                      </a:lnTo>
                      <a:lnTo>
                        <a:pt x="94" y="647"/>
                      </a:lnTo>
                      <a:lnTo>
                        <a:pt x="94" y="647"/>
                      </a:lnTo>
                      <a:lnTo>
                        <a:pt x="93" y="647"/>
                      </a:lnTo>
                      <a:lnTo>
                        <a:pt x="93" y="646"/>
                      </a:lnTo>
                      <a:lnTo>
                        <a:pt x="93" y="645"/>
                      </a:lnTo>
                      <a:lnTo>
                        <a:pt x="93" y="645"/>
                      </a:lnTo>
                      <a:lnTo>
                        <a:pt x="92" y="645"/>
                      </a:lnTo>
                      <a:lnTo>
                        <a:pt x="92" y="644"/>
                      </a:lnTo>
                      <a:lnTo>
                        <a:pt x="92" y="643"/>
                      </a:lnTo>
                      <a:lnTo>
                        <a:pt x="92" y="642"/>
                      </a:lnTo>
                      <a:lnTo>
                        <a:pt x="92" y="642"/>
                      </a:lnTo>
                      <a:lnTo>
                        <a:pt x="92" y="642"/>
                      </a:lnTo>
                      <a:lnTo>
                        <a:pt x="92" y="641"/>
                      </a:lnTo>
                      <a:lnTo>
                        <a:pt x="91" y="641"/>
                      </a:lnTo>
                      <a:lnTo>
                        <a:pt x="91" y="640"/>
                      </a:lnTo>
                      <a:lnTo>
                        <a:pt x="92" y="640"/>
                      </a:lnTo>
                      <a:lnTo>
                        <a:pt x="92" y="640"/>
                      </a:lnTo>
                      <a:lnTo>
                        <a:pt x="92" y="639"/>
                      </a:lnTo>
                      <a:lnTo>
                        <a:pt x="92" y="638"/>
                      </a:lnTo>
                      <a:lnTo>
                        <a:pt x="91" y="638"/>
                      </a:lnTo>
                      <a:lnTo>
                        <a:pt x="91" y="638"/>
                      </a:lnTo>
                      <a:lnTo>
                        <a:pt x="91" y="637"/>
                      </a:lnTo>
                      <a:lnTo>
                        <a:pt x="91" y="636"/>
                      </a:lnTo>
                      <a:lnTo>
                        <a:pt x="91" y="636"/>
                      </a:lnTo>
                      <a:lnTo>
                        <a:pt x="90" y="636"/>
                      </a:lnTo>
                      <a:lnTo>
                        <a:pt x="90" y="636"/>
                      </a:lnTo>
                      <a:lnTo>
                        <a:pt x="90" y="635"/>
                      </a:lnTo>
                      <a:lnTo>
                        <a:pt x="90" y="635"/>
                      </a:lnTo>
                      <a:lnTo>
                        <a:pt x="90" y="634"/>
                      </a:lnTo>
                      <a:lnTo>
                        <a:pt x="90" y="634"/>
                      </a:lnTo>
                      <a:lnTo>
                        <a:pt x="91" y="634"/>
                      </a:lnTo>
                      <a:lnTo>
                        <a:pt x="91" y="633"/>
                      </a:lnTo>
                      <a:lnTo>
                        <a:pt x="92" y="632"/>
                      </a:lnTo>
                      <a:lnTo>
                        <a:pt x="92" y="632"/>
                      </a:lnTo>
                      <a:lnTo>
                        <a:pt x="92" y="632"/>
                      </a:lnTo>
                      <a:lnTo>
                        <a:pt x="92" y="631"/>
                      </a:lnTo>
                      <a:lnTo>
                        <a:pt x="93" y="631"/>
                      </a:lnTo>
                      <a:lnTo>
                        <a:pt x="93" y="630"/>
                      </a:lnTo>
                      <a:lnTo>
                        <a:pt x="94" y="630"/>
                      </a:lnTo>
                      <a:lnTo>
                        <a:pt x="94" y="630"/>
                      </a:lnTo>
                      <a:lnTo>
                        <a:pt x="94" y="630"/>
                      </a:lnTo>
                      <a:lnTo>
                        <a:pt x="94" y="629"/>
                      </a:lnTo>
                      <a:lnTo>
                        <a:pt x="94" y="628"/>
                      </a:lnTo>
                      <a:lnTo>
                        <a:pt x="94" y="628"/>
                      </a:lnTo>
                      <a:lnTo>
                        <a:pt x="94" y="627"/>
                      </a:lnTo>
                      <a:lnTo>
                        <a:pt x="94" y="626"/>
                      </a:lnTo>
                      <a:lnTo>
                        <a:pt x="94" y="626"/>
                      </a:lnTo>
                      <a:lnTo>
                        <a:pt x="94" y="626"/>
                      </a:lnTo>
                      <a:lnTo>
                        <a:pt x="94" y="625"/>
                      </a:lnTo>
                      <a:lnTo>
                        <a:pt x="93" y="625"/>
                      </a:lnTo>
                      <a:lnTo>
                        <a:pt x="93" y="624"/>
                      </a:lnTo>
                      <a:lnTo>
                        <a:pt x="93" y="623"/>
                      </a:lnTo>
                      <a:lnTo>
                        <a:pt x="93" y="623"/>
                      </a:lnTo>
                      <a:lnTo>
                        <a:pt x="93" y="622"/>
                      </a:lnTo>
                      <a:lnTo>
                        <a:pt x="93" y="621"/>
                      </a:lnTo>
                      <a:lnTo>
                        <a:pt x="93" y="621"/>
                      </a:lnTo>
                      <a:lnTo>
                        <a:pt x="93" y="620"/>
                      </a:lnTo>
                      <a:lnTo>
                        <a:pt x="93" y="619"/>
                      </a:lnTo>
                      <a:lnTo>
                        <a:pt x="93" y="619"/>
                      </a:lnTo>
                      <a:lnTo>
                        <a:pt x="92" y="619"/>
                      </a:lnTo>
                      <a:lnTo>
                        <a:pt x="92" y="618"/>
                      </a:lnTo>
                      <a:lnTo>
                        <a:pt x="93" y="618"/>
                      </a:lnTo>
                      <a:lnTo>
                        <a:pt x="93" y="617"/>
                      </a:lnTo>
                      <a:lnTo>
                        <a:pt x="93" y="617"/>
                      </a:lnTo>
                      <a:lnTo>
                        <a:pt x="92" y="617"/>
                      </a:lnTo>
                      <a:lnTo>
                        <a:pt x="93" y="617"/>
                      </a:lnTo>
                      <a:lnTo>
                        <a:pt x="93" y="616"/>
                      </a:lnTo>
                      <a:lnTo>
                        <a:pt x="92" y="616"/>
                      </a:lnTo>
                      <a:lnTo>
                        <a:pt x="93" y="615"/>
                      </a:lnTo>
                      <a:lnTo>
                        <a:pt x="93" y="615"/>
                      </a:lnTo>
                      <a:lnTo>
                        <a:pt x="93" y="614"/>
                      </a:lnTo>
                      <a:lnTo>
                        <a:pt x="93" y="613"/>
                      </a:lnTo>
                      <a:lnTo>
                        <a:pt x="94" y="613"/>
                      </a:lnTo>
                      <a:lnTo>
                        <a:pt x="94" y="613"/>
                      </a:lnTo>
                      <a:lnTo>
                        <a:pt x="94" y="613"/>
                      </a:lnTo>
                      <a:lnTo>
                        <a:pt x="94" y="612"/>
                      </a:lnTo>
                      <a:lnTo>
                        <a:pt x="94" y="611"/>
                      </a:lnTo>
                      <a:lnTo>
                        <a:pt x="94" y="611"/>
                      </a:lnTo>
                      <a:lnTo>
                        <a:pt x="94" y="610"/>
                      </a:lnTo>
                      <a:lnTo>
                        <a:pt x="94" y="609"/>
                      </a:lnTo>
                      <a:lnTo>
                        <a:pt x="94" y="609"/>
                      </a:lnTo>
                      <a:lnTo>
                        <a:pt x="94" y="608"/>
                      </a:lnTo>
                      <a:lnTo>
                        <a:pt x="94" y="607"/>
                      </a:lnTo>
                      <a:lnTo>
                        <a:pt x="94" y="607"/>
                      </a:lnTo>
                      <a:lnTo>
                        <a:pt x="94" y="606"/>
                      </a:lnTo>
                      <a:lnTo>
                        <a:pt x="95" y="605"/>
                      </a:lnTo>
                      <a:lnTo>
                        <a:pt x="95" y="605"/>
                      </a:lnTo>
                      <a:lnTo>
                        <a:pt x="95" y="604"/>
                      </a:lnTo>
                      <a:lnTo>
                        <a:pt x="96" y="604"/>
                      </a:lnTo>
                      <a:lnTo>
                        <a:pt x="96" y="603"/>
                      </a:lnTo>
                      <a:lnTo>
                        <a:pt x="96" y="602"/>
                      </a:lnTo>
                      <a:lnTo>
                        <a:pt x="96" y="602"/>
                      </a:lnTo>
                      <a:lnTo>
                        <a:pt x="96" y="601"/>
                      </a:lnTo>
                      <a:lnTo>
                        <a:pt x="96" y="600"/>
                      </a:lnTo>
                      <a:lnTo>
                        <a:pt x="96" y="600"/>
                      </a:lnTo>
                      <a:lnTo>
                        <a:pt x="96" y="600"/>
                      </a:lnTo>
                      <a:lnTo>
                        <a:pt x="96" y="599"/>
                      </a:lnTo>
                      <a:lnTo>
                        <a:pt x="96" y="598"/>
                      </a:lnTo>
                      <a:lnTo>
                        <a:pt x="95" y="598"/>
                      </a:lnTo>
                      <a:lnTo>
                        <a:pt x="95" y="598"/>
                      </a:lnTo>
                      <a:lnTo>
                        <a:pt x="95" y="597"/>
                      </a:lnTo>
                      <a:lnTo>
                        <a:pt x="94" y="597"/>
                      </a:lnTo>
                      <a:lnTo>
                        <a:pt x="94" y="596"/>
                      </a:lnTo>
                      <a:lnTo>
                        <a:pt x="95" y="596"/>
                      </a:lnTo>
                      <a:lnTo>
                        <a:pt x="95" y="596"/>
                      </a:lnTo>
                      <a:lnTo>
                        <a:pt x="94" y="596"/>
                      </a:lnTo>
                      <a:lnTo>
                        <a:pt x="94" y="595"/>
                      </a:lnTo>
                      <a:lnTo>
                        <a:pt x="93" y="595"/>
                      </a:lnTo>
                      <a:lnTo>
                        <a:pt x="92" y="595"/>
                      </a:lnTo>
                      <a:lnTo>
                        <a:pt x="92" y="595"/>
                      </a:lnTo>
                      <a:lnTo>
                        <a:pt x="91" y="594"/>
                      </a:lnTo>
                      <a:lnTo>
                        <a:pt x="90" y="593"/>
                      </a:lnTo>
                      <a:lnTo>
                        <a:pt x="90" y="592"/>
                      </a:lnTo>
                      <a:lnTo>
                        <a:pt x="89" y="592"/>
                      </a:lnTo>
                      <a:lnTo>
                        <a:pt x="88" y="591"/>
                      </a:lnTo>
                      <a:lnTo>
                        <a:pt x="88" y="590"/>
                      </a:lnTo>
                      <a:lnTo>
                        <a:pt x="88" y="590"/>
                      </a:lnTo>
                      <a:lnTo>
                        <a:pt x="88" y="589"/>
                      </a:lnTo>
                      <a:lnTo>
                        <a:pt x="88" y="588"/>
                      </a:lnTo>
                      <a:lnTo>
                        <a:pt x="88" y="588"/>
                      </a:lnTo>
                      <a:lnTo>
                        <a:pt x="86" y="584"/>
                      </a:lnTo>
                      <a:lnTo>
                        <a:pt x="88" y="584"/>
                      </a:lnTo>
                      <a:lnTo>
                        <a:pt x="91" y="583"/>
                      </a:lnTo>
                      <a:lnTo>
                        <a:pt x="96" y="581"/>
                      </a:lnTo>
                      <a:lnTo>
                        <a:pt x="101" y="572"/>
                      </a:lnTo>
                      <a:lnTo>
                        <a:pt x="116" y="570"/>
                      </a:lnTo>
                      <a:lnTo>
                        <a:pt x="116" y="569"/>
                      </a:lnTo>
                      <a:lnTo>
                        <a:pt x="116" y="568"/>
                      </a:lnTo>
                      <a:lnTo>
                        <a:pt x="116" y="567"/>
                      </a:lnTo>
                      <a:lnTo>
                        <a:pt x="116" y="567"/>
                      </a:lnTo>
                      <a:lnTo>
                        <a:pt x="115" y="566"/>
                      </a:lnTo>
                      <a:lnTo>
                        <a:pt x="116" y="563"/>
                      </a:lnTo>
                      <a:lnTo>
                        <a:pt x="115" y="562"/>
                      </a:lnTo>
                      <a:lnTo>
                        <a:pt x="115" y="562"/>
                      </a:lnTo>
                      <a:lnTo>
                        <a:pt x="115" y="561"/>
                      </a:lnTo>
                      <a:lnTo>
                        <a:pt x="115" y="560"/>
                      </a:lnTo>
                      <a:lnTo>
                        <a:pt x="115" y="560"/>
                      </a:lnTo>
                      <a:lnTo>
                        <a:pt x="115" y="559"/>
                      </a:lnTo>
                      <a:lnTo>
                        <a:pt x="115" y="558"/>
                      </a:lnTo>
                      <a:lnTo>
                        <a:pt x="115" y="558"/>
                      </a:lnTo>
                      <a:lnTo>
                        <a:pt x="115" y="558"/>
                      </a:lnTo>
                      <a:lnTo>
                        <a:pt x="115" y="557"/>
                      </a:lnTo>
                      <a:lnTo>
                        <a:pt x="115" y="557"/>
                      </a:lnTo>
                      <a:lnTo>
                        <a:pt x="115" y="556"/>
                      </a:lnTo>
                      <a:lnTo>
                        <a:pt x="116" y="556"/>
                      </a:lnTo>
                      <a:lnTo>
                        <a:pt x="116" y="556"/>
                      </a:lnTo>
                      <a:lnTo>
                        <a:pt x="117" y="556"/>
                      </a:lnTo>
                      <a:lnTo>
                        <a:pt x="118" y="556"/>
                      </a:lnTo>
                      <a:lnTo>
                        <a:pt x="118" y="555"/>
                      </a:lnTo>
                      <a:lnTo>
                        <a:pt x="118" y="555"/>
                      </a:lnTo>
                      <a:lnTo>
                        <a:pt x="118" y="556"/>
                      </a:lnTo>
                      <a:lnTo>
                        <a:pt x="118" y="555"/>
                      </a:lnTo>
                      <a:lnTo>
                        <a:pt x="118" y="554"/>
                      </a:lnTo>
                      <a:lnTo>
                        <a:pt x="119" y="554"/>
                      </a:lnTo>
                      <a:lnTo>
                        <a:pt x="118" y="554"/>
                      </a:lnTo>
                      <a:lnTo>
                        <a:pt x="118" y="554"/>
                      </a:lnTo>
                      <a:lnTo>
                        <a:pt x="119" y="554"/>
                      </a:lnTo>
                      <a:lnTo>
                        <a:pt x="119" y="553"/>
                      </a:lnTo>
                      <a:lnTo>
                        <a:pt x="118" y="553"/>
                      </a:lnTo>
                      <a:lnTo>
                        <a:pt x="118" y="552"/>
                      </a:lnTo>
                      <a:lnTo>
                        <a:pt x="118" y="552"/>
                      </a:lnTo>
                      <a:lnTo>
                        <a:pt x="118" y="551"/>
                      </a:lnTo>
                      <a:lnTo>
                        <a:pt x="118" y="550"/>
                      </a:lnTo>
                      <a:lnTo>
                        <a:pt x="117" y="550"/>
                      </a:lnTo>
                      <a:lnTo>
                        <a:pt x="117" y="550"/>
                      </a:lnTo>
                      <a:lnTo>
                        <a:pt x="117" y="549"/>
                      </a:lnTo>
                      <a:lnTo>
                        <a:pt x="117" y="548"/>
                      </a:lnTo>
                      <a:lnTo>
                        <a:pt x="118" y="548"/>
                      </a:lnTo>
                      <a:lnTo>
                        <a:pt x="118" y="548"/>
                      </a:lnTo>
                      <a:lnTo>
                        <a:pt x="119" y="548"/>
                      </a:lnTo>
                      <a:lnTo>
                        <a:pt x="120" y="548"/>
                      </a:lnTo>
                      <a:lnTo>
                        <a:pt x="120" y="548"/>
                      </a:lnTo>
                      <a:lnTo>
                        <a:pt x="120" y="547"/>
                      </a:lnTo>
                      <a:lnTo>
                        <a:pt x="121" y="547"/>
                      </a:lnTo>
                      <a:lnTo>
                        <a:pt x="122" y="547"/>
                      </a:lnTo>
                      <a:lnTo>
                        <a:pt x="122" y="546"/>
                      </a:lnTo>
                      <a:lnTo>
                        <a:pt x="122" y="546"/>
                      </a:lnTo>
                      <a:lnTo>
                        <a:pt x="122" y="545"/>
                      </a:lnTo>
                      <a:lnTo>
                        <a:pt x="121" y="545"/>
                      </a:lnTo>
                      <a:lnTo>
                        <a:pt x="121" y="544"/>
                      </a:lnTo>
                      <a:lnTo>
                        <a:pt x="122" y="544"/>
                      </a:lnTo>
                      <a:lnTo>
                        <a:pt x="121" y="543"/>
                      </a:lnTo>
                      <a:lnTo>
                        <a:pt x="121" y="543"/>
                      </a:lnTo>
                      <a:lnTo>
                        <a:pt x="121" y="542"/>
                      </a:lnTo>
                      <a:lnTo>
                        <a:pt x="121" y="541"/>
                      </a:lnTo>
                      <a:lnTo>
                        <a:pt x="121" y="541"/>
                      </a:lnTo>
                      <a:lnTo>
                        <a:pt x="120" y="541"/>
                      </a:lnTo>
                      <a:lnTo>
                        <a:pt x="120" y="540"/>
                      </a:lnTo>
                      <a:lnTo>
                        <a:pt x="120" y="539"/>
                      </a:lnTo>
                      <a:lnTo>
                        <a:pt x="120" y="539"/>
                      </a:lnTo>
                      <a:lnTo>
                        <a:pt x="120" y="539"/>
                      </a:lnTo>
                      <a:lnTo>
                        <a:pt x="120" y="538"/>
                      </a:lnTo>
                      <a:lnTo>
                        <a:pt x="120" y="538"/>
                      </a:lnTo>
                      <a:lnTo>
                        <a:pt x="120" y="537"/>
                      </a:lnTo>
                      <a:lnTo>
                        <a:pt x="120" y="537"/>
                      </a:lnTo>
                      <a:lnTo>
                        <a:pt x="120" y="537"/>
                      </a:lnTo>
                      <a:lnTo>
                        <a:pt x="120" y="537"/>
                      </a:lnTo>
                      <a:lnTo>
                        <a:pt x="120" y="536"/>
                      </a:lnTo>
                      <a:lnTo>
                        <a:pt x="121" y="536"/>
                      </a:lnTo>
                      <a:lnTo>
                        <a:pt x="121" y="535"/>
                      </a:lnTo>
                      <a:lnTo>
                        <a:pt x="121" y="535"/>
                      </a:lnTo>
                      <a:lnTo>
                        <a:pt x="121" y="534"/>
                      </a:lnTo>
                      <a:lnTo>
                        <a:pt x="122" y="534"/>
                      </a:lnTo>
                      <a:lnTo>
                        <a:pt x="122" y="533"/>
                      </a:lnTo>
                      <a:lnTo>
                        <a:pt x="122" y="533"/>
                      </a:lnTo>
                      <a:lnTo>
                        <a:pt x="123" y="533"/>
                      </a:lnTo>
                      <a:lnTo>
                        <a:pt x="122" y="533"/>
                      </a:lnTo>
                      <a:lnTo>
                        <a:pt x="122" y="532"/>
                      </a:lnTo>
                      <a:lnTo>
                        <a:pt x="123" y="532"/>
                      </a:lnTo>
                      <a:lnTo>
                        <a:pt x="123" y="531"/>
                      </a:lnTo>
                      <a:lnTo>
                        <a:pt x="123" y="531"/>
                      </a:lnTo>
                      <a:lnTo>
                        <a:pt x="124" y="531"/>
                      </a:lnTo>
                      <a:lnTo>
                        <a:pt x="124" y="530"/>
                      </a:lnTo>
                      <a:lnTo>
                        <a:pt x="125" y="530"/>
                      </a:lnTo>
                      <a:lnTo>
                        <a:pt x="125" y="529"/>
                      </a:lnTo>
                      <a:lnTo>
                        <a:pt x="126" y="529"/>
                      </a:lnTo>
                      <a:lnTo>
                        <a:pt x="125" y="529"/>
                      </a:lnTo>
                      <a:lnTo>
                        <a:pt x="125" y="529"/>
                      </a:lnTo>
                      <a:lnTo>
                        <a:pt x="125" y="528"/>
                      </a:lnTo>
                      <a:lnTo>
                        <a:pt x="124" y="528"/>
                      </a:lnTo>
                      <a:lnTo>
                        <a:pt x="124" y="527"/>
                      </a:lnTo>
                      <a:lnTo>
                        <a:pt x="124" y="527"/>
                      </a:lnTo>
                      <a:lnTo>
                        <a:pt x="124" y="526"/>
                      </a:lnTo>
                      <a:lnTo>
                        <a:pt x="124" y="525"/>
                      </a:lnTo>
                      <a:lnTo>
                        <a:pt x="125" y="525"/>
                      </a:lnTo>
                      <a:lnTo>
                        <a:pt x="125" y="524"/>
                      </a:lnTo>
                      <a:lnTo>
                        <a:pt x="124" y="524"/>
                      </a:lnTo>
                      <a:lnTo>
                        <a:pt x="124" y="524"/>
                      </a:lnTo>
                      <a:lnTo>
                        <a:pt x="125" y="524"/>
                      </a:lnTo>
                      <a:lnTo>
                        <a:pt x="125" y="523"/>
                      </a:lnTo>
                      <a:lnTo>
                        <a:pt x="126" y="523"/>
                      </a:lnTo>
                      <a:lnTo>
                        <a:pt x="126" y="522"/>
                      </a:lnTo>
                      <a:lnTo>
                        <a:pt x="126" y="522"/>
                      </a:lnTo>
                      <a:lnTo>
                        <a:pt x="126" y="522"/>
                      </a:lnTo>
                      <a:lnTo>
                        <a:pt x="127" y="521"/>
                      </a:lnTo>
                      <a:lnTo>
                        <a:pt x="127" y="520"/>
                      </a:lnTo>
                      <a:lnTo>
                        <a:pt x="127" y="520"/>
                      </a:lnTo>
                      <a:lnTo>
                        <a:pt x="127" y="519"/>
                      </a:lnTo>
                      <a:lnTo>
                        <a:pt x="123" y="512"/>
                      </a:lnTo>
                      <a:lnTo>
                        <a:pt x="121" y="509"/>
                      </a:lnTo>
                      <a:lnTo>
                        <a:pt x="116" y="504"/>
                      </a:lnTo>
                      <a:lnTo>
                        <a:pt x="115" y="504"/>
                      </a:lnTo>
                      <a:lnTo>
                        <a:pt x="115" y="503"/>
                      </a:lnTo>
                      <a:lnTo>
                        <a:pt x="115" y="503"/>
                      </a:lnTo>
                      <a:lnTo>
                        <a:pt x="114" y="503"/>
                      </a:lnTo>
                      <a:lnTo>
                        <a:pt x="114" y="502"/>
                      </a:lnTo>
                      <a:lnTo>
                        <a:pt x="113" y="502"/>
                      </a:lnTo>
                      <a:lnTo>
                        <a:pt x="113" y="501"/>
                      </a:lnTo>
                      <a:lnTo>
                        <a:pt x="113" y="501"/>
                      </a:lnTo>
                      <a:lnTo>
                        <a:pt x="113" y="500"/>
                      </a:lnTo>
                      <a:lnTo>
                        <a:pt x="112" y="500"/>
                      </a:lnTo>
                      <a:lnTo>
                        <a:pt x="112" y="499"/>
                      </a:lnTo>
                      <a:lnTo>
                        <a:pt x="112" y="499"/>
                      </a:lnTo>
                      <a:lnTo>
                        <a:pt x="111" y="499"/>
                      </a:lnTo>
                      <a:lnTo>
                        <a:pt x="111" y="498"/>
                      </a:lnTo>
                      <a:lnTo>
                        <a:pt x="111" y="497"/>
                      </a:lnTo>
                      <a:lnTo>
                        <a:pt x="111" y="497"/>
                      </a:lnTo>
                      <a:lnTo>
                        <a:pt x="109" y="497"/>
                      </a:lnTo>
                      <a:lnTo>
                        <a:pt x="106" y="497"/>
                      </a:lnTo>
                      <a:lnTo>
                        <a:pt x="104" y="497"/>
                      </a:lnTo>
                      <a:lnTo>
                        <a:pt x="103" y="496"/>
                      </a:lnTo>
                      <a:lnTo>
                        <a:pt x="103" y="493"/>
                      </a:lnTo>
                      <a:lnTo>
                        <a:pt x="104" y="491"/>
                      </a:lnTo>
                      <a:lnTo>
                        <a:pt x="104" y="491"/>
                      </a:lnTo>
                      <a:lnTo>
                        <a:pt x="103" y="491"/>
                      </a:lnTo>
                      <a:lnTo>
                        <a:pt x="103" y="490"/>
                      </a:lnTo>
                      <a:lnTo>
                        <a:pt x="103" y="489"/>
                      </a:lnTo>
                      <a:lnTo>
                        <a:pt x="103" y="488"/>
                      </a:lnTo>
                      <a:lnTo>
                        <a:pt x="103" y="487"/>
                      </a:lnTo>
                      <a:lnTo>
                        <a:pt x="105" y="486"/>
                      </a:lnTo>
                      <a:lnTo>
                        <a:pt x="107" y="483"/>
                      </a:lnTo>
                      <a:lnTo>
                        <a:pt x="108" y="482"/>
                      </a:lnTo>
                      <a:lnTo>
                        <a:pt x="109" y="482"/>
                      </a:lnTo>
                      <a:lnTo>
                        <a:pt x="109" y="481"/>
                      </a:lnTo>
                      <a:lnTo>
                        <a:pt x="110" y="481"/>
                      </a:lnTo>
                      <a:lnTo>
                        <a:pt x="111" y="481"/>
                      </a:lnTo>
                      <a:lnTo>
                        <a:pt x="111" y="480"/>
                      </a:lnTo>
                      <a:lnTo>
                        <a:pt x="111" y="480"/>
                      </a:lnTo>
                      <a:lnTo>
                        <a:pt x="111" y="480"/>
                      </a:lnTo>
                      <a:lnTo>
                        <a:pt x="112" y="480"/>
                      </a:lnTo>
                      <a:lnTo>
                        <a:pt x="112" y="479"/>
                      </a:lnTo>
                      <a:lnTo>
                        <a:pt x="114" y="476"/>
                      </a:lnTo>
                      <a:lnTo>
                        <a:pt x="115" y="477"/>
                      </a:lnTo>
                      <a:lnTo>
                        <a:pt x="115" y="478"/>
                      </a:lnTo>
                      <a:lnTo>
                        <a:pt x="118" y="478"/>
                      </a:lnTo>
                      <a:lnTo>
                        <a:pt x="119" y="478"/>
                      </a:lnTo>
                      <a:lnTo>
                        <a:pt x="123" y="475"/>
                      </a:lnTo>
                      <a:lnTo>
                        <a:pt x="123" y="474"/>
                      </a:lnTo>
                      <a:lnTo>
                        <a:pt x="124" y="474"/>
                      </a:lnTo>
                      <a:lnTo>
                        <a:pt x="124" y="473"/>
                      </a:lnTo>
                      <a:lnTo>
                        <a:pt x="124" y="471"/>
                      </a:lnTo>
                      <a:lnTo>
                        <a:pt x="122" y="469"/>
                      </a:lnTo>
                      <a:lnTo>
                        <a:pt x="122" y="468"/>
                      </a:lnTo>
                      <a:lnTo>
                        <a:pt x="122" y="468"/>
                      </a:lnTo>
                      <a:lnTo>
                        <a:pt x="122" y="467"/>
                      </a:lnTo>
                      <a:lnTo>
                        <a:pt x="122" y="466"/>
                      </a:lnTo>
                      <a:lnTo>
                        <a:pt x="121" y="466"/>
                      </a:lnTo>
                      <a:lnTo>
                        <a:pt x="120" y="465"/>
                      </a:lnTo>
                      <a:lnTo>
                        <a:pt x="120" y="465"/>
                      </a:lnTo>
                      <a:lnTo>
                        <a:pt x="120" y="464"/>
                      </a:lnTo>
                      <a:lnTo>
                        <a:pt x="120" y="463"/>
                      </a:lnTo>
                      <a:lnTo>
                        <a:pt x="118" y="463"/>
                      </a:lnTo>
                      <a:lnTo>
                        <a:pt x="117" y="463"/>
                      </a:lnTo>
                      <a:lnTo>
                        <a:pt x="117" y="462"/>
                      </a:lnTo>
                      <a:lnTo>
                        <a:pt x="116" y="462"/>
                      </a:lnTo>
                      <a:lnTo>
                        <a:pt x="115" y="461"/>
                      </a:lnTo>
                      <a:lnTo>
                        <a:pt x="114" y="461"/>
                      </a:lnTo>
                      <a:lnTo>
                        <a:pt x="114" y="460"/>
                      </a:lnTo>
                      <a:lnTo>
                        <a:pt x="114" y="459"/>
                      </a:lnTo>
                      <a:lnTo>
                        <a:pt x="114" y="459"/>
                      </a:lnTo>
                      <a:lnTo>
                        <a:pt x="113" y="459"/>
                      </a:lnTo>
                      <a:lnTo>
                        <a:pt x="113" y="458"/>
                      </a:lnTo>
                      <a:lnTo>
                        <a:pt x="113" y="457"/>
                      </a:lnTo>
                      <a:lnTo>
                        <a:pt x="113" y="457"/>
                      </a:lnTo>
                      <a:lnTo>
                        <a:pt x="113" y="457"/>
                      </a:lnTo>
                      <a:lnTo>
                        <a:pt x="113" y="456"/>
                      </a:lnTo>
                      <a:lnTo>
                        <a:pt x="111" y="455"/>
                      </a:lnTo>
                      <a:lnTo>
                        <a:pt x="111" y="453"/>
                      </a:lnTo>
                      <a:lnTo>
                        <a:pt x="111" y="452"/>
                      </a:lnTo>
                      <a:lnTo>
                        <a:pt x="111" y="451"/>
                      </a:lnTo>
                      <a:lnTo>
                        <a:pt x="111" y="451"/>
                      </a:lnTo>
                      <a:lnTo>
                        <a:pt x="111" y="450"/>
                      </a:lnTo>
                      <a:lnTo>
                        <a:pt x="109" y="451"/>
                      </a:lnTo>
                      <a:lnTo>
                        <a:pt x="108" y="449"/>
                      </a:lnTo>
                      <a:lnTo>
                        <a:pt x="107" y="448"/>
                      </a:lnTo>
                      <a:lnTo>
                        <a:pt x="107" y="446"/>
                      </a:lnTo>
                      <a:lnTo>
                        <a:pt x="106" y="445"/>
                      </a:lnTo>
                      <a:lnTo>
                        <a:pt x="105" y="443"/>
                      </a:lnTo>
                      <a:lnTo>
                        <a:pt x="105" y="442"/>
                      </a:lnTo>
                      <a:lnTo>
                        <a:pt x="105" y="442"/>
                      </a:lnTo>
                      <a:lnTo>
                        <a:pt x="105" y="439"/>
                      </a:lnTo>
                      <a:lnTo>
                        <a:pt x="105" y="438"/>
                      </a:lnTo>
                      <a:lnTo>
                        <a:pt x="106" y="439"/>
                      </a:lnTo>
                      <a:lnTo>
                        <a:pt x="107" y="439"/>
                      </a:lnTo>
                      <a:lnTo>
                        <a:pt x="107" y="438"/>
                      </a:lnTo>
                      <a:lnTo>
                        <a:pt x="108" y="438"/>
                      </a:lnTo>
                      <a:lnTo>
                        <a:pt x="108" y="438"/>
                      </a:lnTo>
                      <a:lnTo>
                        <a:pt x="109" y="438"/>
                      </a:lnTo>
                      <a:lnTo>
                        <a:pt x="109" y="438"/>
                      </a:lnTo>
                      <a:lnTo>
                        <a:pt x="109" y="437"/>
                      </a:lnTo>
                      <a:lnTo>
                        <a:pt x="110" y="437"/>
                      </a:lnTo>
                      <a:lnTo>
                        <a:pt x="111" y="437"/>
                      </a:lnTo>
                      <a:lnTo>
                        <a:pt x="111" y="438"/>
                      </a:lnTo>
                      <a:lnTo>
                        <a:pt x="111" y="438"/>
                      </a:lnTo>
                      <a:lnTo>
                        <a:pt x="112" y="438"/>
                      </a:lnTo>
                      <a:lnTo>
                        <a:pt x="113" y="438"/>
                      </a:lnTo>
                      <a:lnTo>
                        <a:pt x="113" y="437"/>
                      </a:lnTo>
                      <a:lnTo>
                        <a:pt x="113" y="436"/>
                      </a:lnTo>
                      <a:lnTo>
                        <a:pt x="113" y="435"/>
                      </a:lnTo>
                      <a:lnTo>
                        <a:pt x="113" y="434"/>
                      </a:lnTo>
                      <a:lnTo>
                        <a:pt x="114" y="434"/>
                      </a:lnTo>
                      <a:lnTo>
                        <a:pt x="114" y="434"/>
                      </a:lnTo>
                      <a:lnTo>
                        <a:pt x="115" y="433"/>
                      </a:lnTo>
                      <a:lnTo>
                        <a:pt x="115" y="432"/>
                      </a:lnTo>
                      <a:lnTo>
                        <a:pt x="116" y="432"/>
                      </a:lnTo>
                      <a:lnTo>
                        <a:pt x="118" y="430"/>
                      </a:lnTo>
                      <a:lnTo>
                        <a:pt x="118" y="430"/>
                      </a:lnTo>
                      <a:lnTo>
                        <a:pt x="119" y="430"/>
                      </a:lnTo>
                      <a:lnTo>
                        <a:pt x="119" y="429"/>
                      </a:lnTo>
                      <a:lnTo>
                        <a:pt x="120" y="429"/>
                      </a:lnTo>
                      <a:lnTo>
                        <a:pt x="120" y="428"/>
                      </a:lnTo>
                      <a:lnTo>
                        <a:pt x="120" y="428"/>
                      </a:lnTo>
                      <a:lnTo>
                        <a:pt x="120" y="427"/>
                      </a:lnTo>
                      <a:lnTo>
                        <a:pt x="121" y="427"/>
                      </a:lnTo>
                      <a:lnTo>
                        <a:pt x="121" y="426"/>
                      </a:lnTo>
                      <a:lnTo>
                        <a:pt x="122" y="425"/>
                      </a:lnTo>
                      <a:lnTo>
                        <a:pt x="122" y="425"/>
                      </a:lnTo>
                      <a:lnTo>
                        <a:pt x="122" y="425"/>
                      </a:lnTo>
                      <a:lnTo>
                        <a:pt x="123" y="424"/>
                      </a:lnTo>
                      <a:lnTo>
                        <a:pt x="123" y="423"/>
                      </a:lnTo>
                      <a:lnTo>
                        <a:pt x="123" y="423"/>
                      </a:lnTo>
                      <a:lnTo>
                        <a:pt x="124" y="423"/>
                      </a:lnTo>
                      <a:lnTo>
                        <a:pt x="124" y="422"/>
                      </a:lnTo>
                      <a:lnTo>
                        <a:pt x="124" y="422"/>
                      </a:lnTo>
                      <a:lnTo>
                        <a:pt x="124" y="421"/>
                      </a:lnTo>
                      <a:lnTo>
                        <a:pt x="125" y="421"/>
                      </a:lnTo>
                      <a:lnTo>
                        <a:pt x="125" y="421"/>
                      </a:lnTo>
                      <a:lnTo>
                        <a:pt x="126" y="420"/>
                      </a:lnTo>
                      <a:lnTo>
                        <a:pt x="125" y="420"/>
                      </a:lnTo>
                      <a:lnTo>
                        <a:pt x="126" y="420"/>
                      </a:lnTo>
                      <a:lnTo>
                        <a:pt x="126" y="419"/>
                      </a:lnTo>
                      <a:lnTo>
                        <a:pt x="126" y="419"/>
                      </a:lnTo>
                      <a:lnTo>
                        <a:pt x="128" y="420"/>
                      </a:lnTo>
                      <a:lnTo>
                        <a:pt x="129" y="420"/>
                      </a:lnTo>
                      <a:lnTo>
                        <a:pt x="130" y="419"/>
                      </a:lnTo>
                      <a:lnTo>
                        <a:pt x="131" y="421"/>
                      </a:lnTo>
                      <a:lnTo>
                        <a:pt x="133" y="425"/>
                      </a:lnTo>
                      <a:lnTo>
                        <a:pt x="139" y="435"/>
                      </a:lnTo>
                      <a:lnTo>
                        <a:pt x="141" y="437"/>
                      </a:lnTo>
                      <a:lnTo>
                        <a:pt x="143" y="438"/>
                      </a:lnTo>
                      <a:lnTo>
                        <a:pt x="143" y="439"/>
                      </a:lnTo>
                      <a:lnTo>
                        <a:pt x="145" y="438"/>
                      </a:lnTo>
                      <a:lnTo>
                        <a:pt x="149" y="440"/>
                      </a:lnTo>
                      <a:lnTo>
                        <a:pt x="155" y="440"/>
                      </a:lnTo>
                      <a:lnTo>
                        <a:pt x="156" y="440"/>
                      </a:lnTo>
                      <a:lnTo>
                        <a:pt x="156" y="440"/>
                      </a:lnTo>
                      <a:lnTo>
                        <a:pt x="156" y="439"/>
                      </a:lnTo>
                      <a:lnTo>
                        <a:pt x="157" y="439"/>
                      </a:lnTo>
                      <a:lnTo>
                        <a:pt x="157" y="438"/>
                      </a:lnTo>
                      <a:lnTo>
                        <a:pt x="158" y="438"/>
                      </a:lnTo>
                      <a:lnTo>
                        <a:pt x="158" y="438"/>
                      </a:lnTo>
                      <a:lnTo>
                        <a:pt x="159" y="438"/>
                      </a:lnTo>
                      <a:lnTo>
                        <a:pt x="160" y="434"/>
                      </a:lnTo>
                      <a:lnTo>
                        <a:pt x="160" y="434"/>
                      </a:lnTo>
                      <a:lnTo>
                        <a:pt x="161" y="434"/>
                      </a:lnTo>
                      <a:lnTo>
                        <a:pt x="162" y="433"/>
                      </a:lnTo>
                      <a:lnTo>
                        <a:pt x="162" y="432"/>
                      </a:lnTo>
                      <a:lnTo>
                        <a:pt x="162" y="432"/>
                      </a:lnTo>
                      <a:lnTo>
                        <a:pt x="162" y="432"/>
                      </a:lnTo>
                      <a:lnTo>
                        <a:pt x="162" y="431"/>
                      </a:lnTo>
                      <a:lnTo>
                        <a:pt x="162" y="430"/>
                      </a:lnTo>
                      <a:lnTo>
                        <a:pt x="162" y="430"/>
                      </a:lnTo>
                      <a:lnTo>
                        <a:pt x="162" y="430"/>
                      </a:lnTo>
                      <a:lnTo>
                        <a:pt x="162" y="429"/>
                      </a:lnTo>
                      <a:lnTo>
                        <a:pt x="162" y="428"/>
                      </a:lnTo>
                      <a:lnTo>
                        <a:pt x="163" y="428"/>
                      </a:lnTo>
                      <a:lnTo>
                        <a:pt x="163" y="428"/>
                      </a:lnTo>
                      <a:lnTo>
                        <a:pt x="164" y="428"/>
                      </a:lnTo>
                      <a:lnTo>
                        <a:pt x="164" y="427"/>
                      </a:lnTo>
                      <a:lnTo>
                        <a:pt x="164" y="426"/>
                      </a:lnTo>
                      <a:lnTo>
                        <a:pt x="164" y="426"/>
                      </a:lnTo>
                      <a:lnTo>
                        <a:pt x="165" y="426"/>
                      </a:lnTo>
                      <a:lnTo>
                        <a:pt x="165" y="425"/>
                      </a:lnTo>
                      <a:lnTo>
                        <a:pt x="165" y="425"/>
                      </a:lnTo>
                      <a:lnTo>
                        <a:pt x="165" y="424"/>
                      </a:lnTo>
                      <a:lnTo>
                        <a:pt x="166" y="424"/>
                      </a:lnTo>
                      <a:lnTo>
                        <a:pt x="166" y="423"/>
                      </a:lnTo>
                      <a:lnTo>
                        <a:pt x="166" y="423"/>
                      </a:lnTo>
                      <a:lnTo>
                        <a:pt x="166" y="423"/>
                      </a:lnTo>
                      <a:lnTo>
                        <a:pt x="166" y="422"/>
                      </a:lnTo>
                      <a:lnTo>
                        <a:pt x="166" y="422"/>
                      </a:lnTo>
                      <a:lnTo>
                        <a:pt x="165" y="422"/>
                      </a:lnTo>
                      <a:lnTo>
                        <a:pt x="166" y="421"/>
                      </a:lnTo>
                      <a:lnTo>
                        <a:pt x="165" y="421"/>
                      </a:lnTo>
                      <a:lnTo>
                        <a:pt x="165" y="421"/>
                      </a:lnTo>
                      <a:lnTo>
                        <a:pt x="164" y="421"/>
                      </a:lnTo>
                      <a:lnTo>
                        <a:pt x="164" y="420"/>
                      </a:lnTo>
                      <a:lnTo>
                        <a:pt x="164" y="419"/>
                      </a:lnTo>
                      <a:lnTo>
                        <a:pt x="163" y="419"/>
                      </a:lnTo>
                      <a:lnTo>
                        <a:pt x="162" y="419"/>
                      </a:lnTo>
                      <a:lnTo>
                        <a:pt x="162" y="419"/>
                      </a:lnTo>
                      <a:lnTo>
                        <a:pt x="162" y="419"/>
                      </a:lnTo>
                      <a:lnTo>
                        <a:pt x="161" y="419"/>
                      </a:lnTo>
                      <a:lnTo>
                        <a:pt x="161" y="418"/>
                      </a:lnTo>
                      <a:lnTo>
                        <a:pt x="160" y="418"/>
                      </a:lnTo>
                      <a:lnTo>
                        <a:pt x="160" y="417"/>
                      </a:lnTo>
                      <a:lnTo>
                        <a:pt x="160" y="417"/>
                      </a:lnTo>
                      <a:lnTo>
                        <a:pt x="161" y="417"/>
                      </a:lnTo>
                      <a:lnTo>
                        <a:pt x="161" y="416"/>
                      </a:lnTo>
                      <a:lnTo>
                        <a:pt x="161" y="415"/>
                      </a:lnTo>
                      <a:lnTo>
                        <a:pt x="162" y="415"/>
                      </a:lnTo>
                      <a:lnTo>
                        <a:pt x="162" y="415"/>
                      </a:lnTo>
                      <a:lnTo>
                        <a:pt x="162" y="414"/>
                      </a:lnTo>
                      <a:lnTo>
                        <a:pt x="162" y="413"/>
                      </a:lnTo>
                      <a:lnTo>
                        <a:pt x="162" y="413"/>
                      </a:lnTo>
                      <a:lnTo>
                        <a:pt x="162" y="412"/>
                      </a:lnTo>
                      <a:lnTo>
                        <a:pt x="162" y="411"/>
                      </a:lnTo>
                      <a:lnTo>
                        <a:pt x="162" y="411"/>
                      </a:lnTo>
                      <a:lnTo>
                        <a:pt x="162" y="410"/>
                      </a:lnTo>
                      <a:lnTo>
                        <a:pt x="162" y="409"/>
                      </a:lnTo>
                      <a:lnTo>
                        <a:pt x="162" y="409"/>
                      </a:lnTo>
                      <a:lnTo>
                        <a:pt x="162" y="408"/>
                      </a:lnTo>
                      <a:lnTo>
                        <a:pt x="162" y="407"/>
                      </a:lnTo>
                      <a:lnTo>
                        <a:pt x="163" y="407"/>
                      </a:lnTo>
                      <a:lnTo>
                        <a:pt x="163" y="406"/>
                      </a:lnTo>
                      <a:lnTo>
                        <a:pt x="163" y="406"/>
                      </a:lnTo>
                      <a:lnTo>
                        <a:pt x="163" y="405"/>
                      </a:lnTo>
                      <a:lnTo>
                        <a:pt x="163" y="404"/>
                      </a:lnTo>
                      <a:lnTo>
                        <a:pt x="164" y="404"/>
                      </a:lnTo>
                      <a:lnTo>
                        <a:pt x="164" y="404"/>
                      </a:lnTo>
                      <a:lnTo>
                        <a:pt x="164" y="403"/>
                      </a:lnTo>
                      <a:lnTo>
                        <a:pt x="164" y="402"/>
                      </a:lnTo>
                      <a:lnTo>
                        <a:pt x="164" y="402"/>
                      </a:lnTo>
                      <a:lnTo>
                        <a:pt x="164" y="402"/>
                      </a:lnTo>
                      <a:lnTo>
                        <a:pt x="164" y="401"/>
                      </a:lnTo>
                      <a:lnTo>
                        <a:pt x="165" y="401"/>
                      </a:lnTo>
                      <a:lnTo>
                        <a:pt x="164" y="400"/>
                      </a:lnTo>
                      <a:lnTo>
                        <a:pt x="165" y="400"/>
                      </a:lnTo>
                      <a:lnTo>
                        <a:pt x="165" y="400"/>
                      </a:lnTo>
                      <a:lnTo>
                        <a:pt x="166" y="399"/>
                      </a:lnTo>
                      <a:lnTo>
                        <a:pt x="166" y="396"/>
                      </a:lnTo>
                      <a:lnTo>
                        <a:pt x="166" y="395"/>
                      </a:lnTo>
                      <a:lnTo>
                        <a:pt x="166" y="394"/>
                      </a:lnTo>
                      <a:lnTo>
                        <a:pt x="166" y="394"/>
                      </a:lnTo>
                      <a:lnTo>
                        <a:pt x="166" y="393"/>
                      </a:lnTo>
                      <a:lnTo>
                        <a:pt x="166" y="392"/>
                      </a:lnTo>
                      <a:lnTo>
                        <a:pt x="167" y="392"/>
                      </a:lnTo>
                      <a:lnTo>
                        <a:pt x="166" y="391"/>
                      </a:lnTo>
                      <a:lnTo>
                        <a:pt x="167" y="390"/>
                      </a:lnTo>
                      <a:lnTo>
                        <a:pt x="166" y="390"/>
                      </a:lnTo>
                      <a:lnTo>
                        <a:pt x="167" y="389"/>
                      </a:lnTo>
                      <a:lnTo>
                        <a:pt x="168" y="388"/>
                      </a:lnTo>
                      <a:lnTo>
                        <a:pt x="167" y="388"/>
                      </a:lnTo>
                      <a:lnTo>
                        <a:pt x="168" y="387"/>
                      </a:lnTo>
                      <a:lnTo>
                        <a:pt x="168" y="384"/>
                      </a:lnTo>
                      <a:lnTo>
                        <a:pt x="166" y="381"/>
                      </a:lnTo>
                      <a:lnTo>
                        <a:pt x="170" y="381"/>
                      </a:lnTo>
                      <a:lnTo>
                        <a:pt x="171" y="381"/>
                      </a:lnTo>
                      <a:lnTo>
                        <a:pt x="172" y="381"/>
                      </a:lnTo>
                      <a:lnTo>
                        <a:pt x="172" y="381"/>
                      </a:lnTo>
                      <a:lnTo>
                        <a:pt x="172" y="381"/>
                      </a:lnTo>
                      <a:lnTo>
                        <a:pt x="172" y="381"/>
                      </a:lnTo>
                      <a:lnTo>
                        <a:pt x="173" y="381"/>
                      </a:lnTo>
                      <a:lnTo>
                        <a:pt x="173" y="381"/>
                      </a:lnTo>
                      <a:lnTo>
                        <a:pt x="173" y="381"/>
                      </a:lnTo>
                      <a:lnTo>
                        <a:pt x="174" y="381"/>
                      </a:lnTo>
                      <a:lnTo>
                        <a:pt x="174" y="382"/>
                      </a:lnTo>
                      <a:lnTo>
                        <a:pt x="174" y="383"/>
                      </a:lnTo>
                      <a:lnTo>
                        <a:pt x="174" y="383"/>
                      </a:lnTo>
                      <a:lnTo>
                        <a:pt x="175" y="383"/>
                      </a:lnTo>
                      <a:lnTo>
                        <a:pt x="175" y="383"/>
                      </a:lnTo>
                      <a:lnTo>
                        <a:pt x="175" y="383"/>
                      </a:lnTo>
                      <a:lnTo>
                        <a:pt x="175" y="383"/>
                      </a:lnTo>
                      <a:lnTo>
                        <a:pt x="176" y="383"/>
                      </a:lnTo>
                      <a:lnTo>
                        <a:pt x="176" y="384"/>
                      </a:lnTo>
                      <a:lnTo>
                        <a:pt x="177" y="384"/>
                      </a:lnTo>
                      <a:lnTo>
                        <a:pt x="177" y="385"/>
                      </a:lnTo>
                      <a:lnTo>
                        <a:pt x="177" y="385"/>
                      </a:lnTo>
                      <a:lnTo>
                        <a:pt x="177" y="385"/>
                      </a:lnTo>
                      <a:lnTo>
                        <a:pt x="178" y="385"/>
                      </a:lnTo>
                      <a:lnTo>
                        <a:pt x="178" y="386"/>
                      </a:lnTo>
                      <a:lnTo>
                        <a:pt x="179" y="386"/>
                      </a:lnTo>
                      <a:lnTo>
                        <a:pt x="179" y="387"/>
                      </a:lnTo>
                      <a:lnTo>
                        <a:pt x="179" y="387"/>
                      </a:lnTo>
                      <a:lnTo>
                        <a:pt x="179" y="388"/>
                      </a:lnTo>
                      <a:lnTo>
                        <a:pt x="179" y="388"/>
                      </a:lnTo>
                      <a:lnTo>
                        <a:pt x="179" y="389"/>
                      </a:lnTo>
                      <a:lnTo>
                        <a:pt x="179" y="390"/>
                      </a:lnTo>
                      <a:lnTo>
                        <a:pt x="180" y="390"/>
                      </a:lnTo>
                      <a:lnTo>
                        <a:pt x="180" y="390"/>
                      </a:lnTo>
                      <a:lnTo>
                        <a:pt x="181" y="390"/>
                      </a:lnTo>
                      <a:lnTo>
                        <a:pt x="181" y="390"/>
                      </a:lnTo>
                      <a:lnTo>
                        <a:pt x="181" y="390"/>
                      </a:lnTo>
                      <a:lnTo>
                        <a:pt x="181" y="390"/>
                      </a:lnTo>
                      <a:lnTo>
                        <a:pt x="181" y="390"/>
                      </a:lnTo>
                      <a:lnTo>
                        <a:pt x="181" y="390"/>
                      </a:lnTo>
                      <a:lnTo>
                        <a:pt x="181" y="390"/>
                      </a:lnTo>
                      <a:lnTo>
                        <a:pt x="181" y="390"/>
                      </a:lnTo>
                      <a:lnTo>
                        <a:pt x="181" y="390"/>
                      </a:lnTo>
                      <a:lnTo>
                        <a:pt x="181" y="390"/>
                      </a:lnTo>
                      <a:lnTo>
                        <a:pt x="182" y="390"/>
                      </a:lnTo>
                      <a:lnTo>
                        <a:pt x="182" y="391"/>
                      </a:lnTo>
                      <a:lnTo>
                        <a:pt x="182" y="392"/>
                      </a:lnTo>
                      <a:lnTo>
                        <a:pt x="183" y="392"/>
                      </a:lnTo>
                      <a:lnTo>
                        <a:pt x="182" y="392"/>
                      </a:lnTo>
                      <a:lnTo>
                        <a:pt x="183" y="392"/>
                      </a:lnTo>
                      <a:lnTo>
                        <a:pt x="183" y="392"/>
                      </a:lnTo>
                      <a:lnTo>
                        <a:pt x="183" y="393"/>
                      </a:lnTo>
                      <a:lnTo>
                        <a:pt x="183" y="392"/>
                      </a:lnTo>
                      <a:lnTo>
                        <a:pt x="183" y="393"/>
                      </a:lnTo>
                      <a:lnTo>
                        <a:pt x="183" y="393"/>
                      </a:lnTo>
                      <a:lnTo>
                        <a:pt x="183" y="393"/>
                      </a:lnTo>
                      <a:lnTo>
                        <a:pt x="183" y="393"/>
                      </a:lnTo>
                      <a:lnTo>
                        <a:pt x="183" y="394"/>
                      </a:lnTo>
                      <a:lnTo>
                        <a:pt x="183" y="394"/>
                      </a:lnTo>
                      <a:lnTo>
                        <a:pt x="183" y="394"/>
                      </a:lnTo>
                      <a:lnTo>
                        <a:pt x="183" y="394"/>
                      </a:lnTo>
                      <a:lnTo>
                        <a:pt x="183" y="394"/>
                      </a:lnTo>
                      <a:lnTo>
                        <a:pt x="183" y="394"/>
                      </a:lnTo>
                      <a:lnTo>
                        <a:pt x="183" y="394"/>
                      </a:lnTo>
                      <a:lnTo>
                        <a:pt x="183" y="394"/>
                      </a:lnTo>
                      <a:lnTo>
                        <a:pt x="183" y="394"/>
                      </a:lnTo>
                      <a:lnTo>
                        <a:pt x="183" y="394"/>
                      </a:lnTo>
                      <a:lnTo>
                        <a:pt x="183" y="395"/>
                      </a:lnTo>
                      <a:lnTo>
                        <a:pt x="183" y="396"/>
                      </a:lnTo>
                      <a:lnTo>
                        <a:pt x="183" y="396"/>
                      </a:lnTo>
                      <a:lnTo>
                        <a:pt x="183" y="396"/>
                      </a:lnTo>
                      <a:lnTo>
                        <a:pt x="183" y="396"/>
                      </a:lnTo>
                      <a:lnTo>
                        <a:pt x="183" y="397"/>
                      </a:lnTo>
                      <a:lnTo>
                        <a:pt x="183" y="396"/>
                      </a:lnTo>
                      <a:lnTo>
                        <a:pt x="184" y="396"/>
                      </a:lnTo>
                      <a:lnTo>
                        <a:pt x="184" y="397"/>
                      </a:lnTo>
                      <a:lnTo>
                        <a:pt x="184" y="396"/>
                      </a:lnTo>
                      <a:lnTo>
                        <a:pt x="185" y="396"/>
                      </a:lnTo>
                      <a:lnTo>
                        <a:pt x="185" y="397"/>
                      </a:lnTo>
                      <a:lnTo>
                        <a:pt x="185" y="396"/>
                      </a:lnTo>
                      <a:lnTo>
                        <a:pt x="185" y="396"/>
                      </a:lnTo>
                      <a:lnTo>
                        <a:pt x="185" y="397"/>
                      </a:lnTo>
                      <a:lnTo>
                        <a:pt x="185" y="396"/>
                      </a:lnTo>
                      <a:lnTo>
                        <a:pt x="186" y="396"/>
                      </a:lnTo>
                      <a:lnTo>
                        <a:pt x="186" y="397"/>
                      </a:lnTo>
                      <a:lnTo>
                        <a:pt x="187" y="397"/>
                      </a:lnTo>
                      <a:lnTo>
                        <a:pt x="191" y="400"/>
                      </a:lnTo>
                      <a:lnTo>
                        <a:pt x="196" y="402"/>
                      </a:lnTo>
                      <a:lnTo>
                        <a:pt x="196" y="400"/>
                      </a:lnTo>
                      <a:lnTo>
                        <a:pt x="198" y="398"/>
                      </a:lnTo>
                      <a:lnTo>
                        <a:pt x="198" y="398"/>
                      </a:lnTo>
                      <a:lnTo>
                        <a:pt x="198" y="397"/>
                      </a:lnTo>
                      <a:lnTo>
                        <a:pt x="198" y="396"/>
                      </a:lnTo>
                      <a:lnTo>
                        <a:pt x="198" y="396"/>
                      </a:lnTo>
                      <a:lnTo>
                        <a:pt x="198" y="394"/>
                      </a:lnTo>
                      <a:lnTo>
                        <a:pt x="199" y="394"/>
                      </a:lnTo>
                      <a:lnTo>
                        <a:pt x="200" y="394"/>
                      </a:lnTo>
                      <a:lnTo>
                        <a:pt x="201" y="394"/>
                      </a:lnTo>
                      <a:lnTo>
                        <a:pt x="201" y="393"/>
                      </a:lnTo>
                      <a:lnTo>
                        <a:pt x="201" y="394"/>
                      </a:lnTo>
                      <a:lnTo>
                        <a:pt x="202" y="394"/>
                      </a:lnTo>
                      <a:lnTo>
                        <a:pt x="202" y="393"/>
                      </a:lnTo>
                      <a:lnTo>
                        <a:pt x="202" y="394"/>
                      </a:lnTo>
                      <a:lnTo>
                        <a:pt x="202" y="394"/>
                      </a:lnTo>
                      <a:lnTo>
                        <a:pt x="202" y="393"/>
                      </a:lnTo>
                      <a:lnTo>
                        <a:pt x="202" y="394"/>
                      </a:lnTo>
                      <a:lnTo>
                        <a:pt x="202" y="394"/>
                      </a:lnTo>
                      <a:lnTo>
                        <a:pt x="202" y="395"/>
                      </a:lnTo>
                      <a:lnTo>
                        <a:pt x="202" y="396"/>
                      </a:lnTo>
                      <a:lnTo>
                        <a:pt x="202" y="396"/>
                      </a:lnTo>
                      <a:lnTo>
                        <a:pt x="202" y="396"/>
                      </a:lnTo>
                      <a:lnTo>
                        <a:pt x="202" y="397"/>
                      </a:lnTo>
                      <a:lnTo>
                        <a:pt x="202" y="397"/>
                      </a:lnTo>
                      <a:lnTo>
                        <a:pt x="202" y="398"/>
                      </a:lnTo>
                      <a:lnTo>
                        <a:pt x="201" y="398"/>
                      </a:lnTo>
                      <a:lnTo>
                        <a:pt x="201" y="398"/>
                      </a:lnTo>
                      <a:lnTo>
                        <a:pt x="201" y="399"/>
                      </a:lnTo>
                      <a:lnTo>
                        <a:pt x="202" y="400"/>
                      </a:lnTo>
                      <a:lnTo>
                        <a:pt x="202" y="400"/>
                      </a:lnTo>
                      <a:lnTo>
                        <a:pt x="202" y="401"/>
                      </a:lnTo>
                      <a:lnTo>
                        <a:pt x="202" y="402"/>
                      </a:lnTo>
                      <a:lnTo>
                        <a:pt x="202" y="402"/>
                      </a:lnTo>
                      <a:lnTo>
                        <a:pt x="202" y="402"/>
                      </a:lnTo>
                      <a:lnTo>
                        <a:pt x="202" y="403"/>
                      </a:lnTo>
                      <a:lnTo>
                        <a:pt x="203" y="403"/>
                      </a:lnTo>
                      <a:lnTo>
                        <a:pt x="203" y="404"/>
                      </a:lnTo>
                      <a:lnTo>
                        <a:pt x="203" y="404"/>
                      </a:lnTo>
                      <a:lnTo>
                        <a:pt x="204" y="404"/>
                      </a:lnTo>
                      <a:lnTo>
                        <a:pt x="204" y="405"/>
                      </a:lnTo>
                      <a:lnTo>
                        <a:pt x="204" y="406"/>
                      </a:lnTo>
                      <a:lnTo>
                        <a:pt x="204" y="406"/>
                      </a:lnTo>
                      <a:lnTo>
                        <a:pt x="204" y="407"/>
                      </a:lnTo>
                      <a:lnTo>
                        <a:pt x="204" y="408"/>
                      </a:lnTo>
                      <a:lnTo>
                        <a:pt x="205" y="408"/>
                      </a:lnTo>
                      <a:lnTo>
                        <a:pt x="205" y="409"/>
                      </a:lnTo>
                      <a:lnTo>
                        <a:pt x="206" y="409"/>
                      </a:lnTo>
                      <a:lnTo>
                        <a:pt x="206" y="410"/>
                      </a:lnTo>
                      <a:lnTo>
                        <a:pt x="206" y="410"/>
                      </a:lnTo>
                      <a:lnTo>
                        <a:pt x="206" y="411"/>
                      </a:lnTo>
                      <a:lnTo>
                        <a:pt x="207" y="411"/>
                      </a:lnTo>
                      <a:lnTo>
                        <a:pt x="207" y="411"/>
                      </a:lnTo>
                      <a:lnTo>
                        <a:pt x="207" y="412"/>
                      </a:lnTo>
                      <a:lnTo>
                        <a:pt x="208" y="413"/>
                      </a:lnTo>
                      <a:lnTo>
                        <a:pt x="207" y="413"/>
                      </a:lnTo>
                      <a:lnTo>
                        <a:pt x="207" y="413"/>
                      </a:lnTo>
                      <a:lnTo>
                        <a:pt x="207" y="414"/>
                      </a:lnTo>
                      <a:lnTo>
                        <a:pt x="208" y="414"/>
                      </a:lnTo>
                      <a:lnTo>
                        <a:pt x="208" y="415"/>
                      </a:lnTo>
                      <a:lnTo>
                        <a:pt x="208" y="415"/>
                      </a:lnTo>
                      <a:lnTo>
                        <a:pt x="208" y="416"/>
                      </a:lnTo>
                      <a:lnTo>
                        <a:pt x="207" y="416"/>
                      </a:lnTo>
                      <a:lnTo>
                        <a:pt x="208" y="416"/>
                      </a:lnTo>
                      <a:lnTo>
                        <a:pt x="207" y="417"/>
                      </a:lnTo>
                      <a:lnTo>
                        <a:pt x="207" y="417"/>
                      </a:lnTo>
                      <a:lnTo>
                        <a:pt x="207" y="418"/>
                      </a:lnTo>
                      <a:lnTo>
                        <a:pt x="207" y="419"/>
                      </a:lnTo>
                      <a:lnTo>
                        <a:pt x="207" y="419"/>
                      </a:lnTo>
                      <a:lnTo>
                        <a:pt x="207" y="420"/>
                      </a:lnTo>
                      <a:lnTo>
                        <a:pt x="207" y="421"/>
                      </a:lnTo>
                      <a:lnTo>
                        <a:pt x="208" y="421"/>
                      </a:lnTo>
                      <a:lnTo>
                        <a:pt x="208" y="421"/>
                      </a:lnTo>
                      <a:lnTo>
                        <a:pt x="208" y="422"/>
                      </a:lnTo>
                      <a:lnTo>
                        <a:pt x="208" y="423"/>
                      </a:lnTo>
                      <a:lnTo>
                        <a:pt x="208" y="423"/>
                      </a:lnTo>
                      <a:lnTo>
                        <a:pt x="208" y="423"/>
                      </a:lnTo>
                      <a:lnTo>
                        <a:pt x="208" y="423"/>
                      </a:lnTo>
                      <a:lnTo>
                        <a:pt x="208" y="423"/>
                      </a:lnTo>
                      <a:lnTo>
                        <a:pt x="208" y="424"/>
                      </a:lnTo>
                      <a:lnTo>
                        <a:pt x="209" y="424"/>
                      </a:lnTo>
                      <a:lnTo>
                        <a:pt x="209" y="425"/>
                      </a:lnTo>
                      <a:lnTo>
                        <a:pt x="208" y="425"/>
                      </a:lnTo>
                      <a:lnTo>
                        <a:pt x="208" y="425"/>
                      </a:lnTo>
                      <a:lnTo>
                        <a:pt x="209" y="425"/>
                      </a:lnTo>
                      <a:lnTo>
                        <a:pt x="209" y="426"/>
                      </a:lnTo>
                      <a:lnTo>
                        <a:pt x="210" y="426"/>
                      </a:lnTo>
                      <a:lnTo>
                        <a:pt x="211" y="426"/>
                      </a:lnTo>
                      <a:lnTo>
                        <a:pt x="211" y="427"/>
                      </a:lnTo>
                      <a:lnTo>
                        <a:pt x="211" y="427"/>
                      </a:lnTo>
                      <a:lnTo>
                        <a:pt x="211" y="428"/>
                      </a:lnTo>
                      <a:lnTo>
                        <a:pt x="212" y="428"/>
                      </a:lnTo>
                      <a:lnTo>
                        <a:pt x="213" y="428"/>
                      </a:lnTo>
                      <a:lnTo>
                        <a:pt x="213" y="428"/>
                      </a:lnTo>
                      <a:lnTo>
                        <a:pt x="213" y="429"/>
                      </a:lnTo>
                      <a:lnTo>
                        <a:pt x="213" y="430"/>
                      </a:lnTo>
                      <a:lnTo>
                        <a:pt x="213" y="430"/>
                      </a:lnTo>
                      <a:lnTo>
                        <a:pt x="214" y="430"/>
                      </a:lnTo>
                      <a:lnTo>
                        <a:pt x="214" y="430"/>
                      </a:lnTo>
                      <a:lnTo>
                        <a:pt x="215" y="430"/>
                      </a:lnTo>
                      <a:lnTo>
                        <a:pt x="215" y="429"/>
                      </a:lnTo>
                      <a:lnTo>
                        <a:pt x="215" y="429"/>
                      </a:lnTo>
                      <a:lnTo>
                        <a:pt x="215" y="430"/>
                      </a:lnTo>
                      <a:lnTo>
                        <a:pt x="216" y="430"/>
                      </a:lnTo>
                      <a:lnTo>
                        <a:pt x="216" y="429"/>
                      </a:lnTo>
                      <a:lnTo>
                        <a:pt x="217" y="429"/>
                      </a:lnTo>
                      <a:lnTo>
                        <a:pt x="217" y="428"/>
                      </a:lnTo>
                      <a:lnTo>
                        <a:pt x="218" y="429"/>
                      </a:lnTo>
                      <a:lnTo>
                        <a:pt x="219" y="430"/>
                      </a:lnTo>
                      <a:lnTo>
                        <a:pt x="219" y="430"/>
                      </a:lnTo>
                      <a:lnTo>
                        <a:pt x="219" y="429"/>
                      </a:lnTo>
                      <a:lnTo>
                        <a:pt x="219" y="428"/>
                      </a:lnTo>
                      <a:lnTo>
                        <a:pt x="220" y="428"/>
                      </a:lnTo>
                      <a:lnTo>
                        <a:pt x="219" y="428"/>
                      </a:lnTo>
                      <a:lnTo>
                        <a:pt x="219" y="428"/>
                      </a:lnTo>
                      <a:lnTo>
                        <a:pt x="220" y="428"/>
                      </a:lnTo>
                      <a:lnTo>
                        <a:pt x="219" y="428"/>
                      </a:lnTo>
                      <a:lnTo>
                        <a:pt x="220" y="428"/>
                      </a:lnTo>
                      <a:lnTo>
                        <a:pt x="220" y="427"/>
                      </a:lnTo>
                      <a:lnTo>
                        <a:pt x="220" y="426"/>
                      </a:lnTo>
                      <a:lnTo>
                        <a:pt x="221" y="426"/>
                      </a:lnTo>
                      <a:lnTo>
                        <a:pt x="221" y="425"/>
                      </a:lnTo>
                      <a:lnTo>
                        <a:pt x="221" y="425"/>
                      </a:lnTo>
                      <a:lnTo>
                        <a:pt x="221" y="424"/>
                      </a:lnTo>
                      <a:lnTo>
                        <a:pt x="221" y="424"/>
                      </a:lnTo>
                      <a:lnTo>
                        <a:pt x="221" y="423"/>
                      </a:lnTo>
                      <a:lnTo>
                        <a:pt x="222" y="423"/>
                      </a:lnTo>
                      <a:lnTo>
                        <a:pt x="221" y="423"/>
                      </a:lnTo>
                      <a:lnTo>
                        <a:pt x="221" y="422"/>
                      </a:lnTo>
                      <a:lnTo>
                        <a:pt x="222" y="422"/>
                      </a:lnTo>
                      <a:lnTo>
                        <a:pt x="222" y="421"/>
                      </a:lnTo>
                      <a:lnTo>
                        <a:pt x="222" y="421"/>
                      </a:lnTo>
                      <a:lnTo>
                        <a:pt x="222" y="420"/>
                      </a:lnTo>
                      <a:lnTo>
                        <a:pt x="223" y="420"/>
                      </a:lnTo>
                      <a:lnTo>
                        <a:pt x="223" y="419"/>
                      </a:lnTo>
                      <a:lnTo>
                        <a:pt x="223" y="419"/>
                      </a:lnTo>
                      <a:lnTo>
                        <a:pt x="223" y="419"/>
                      </a:lnTo>
                      <a:lnTo>
                        <a:pt x="223" y="418"/>
                      </a:lnTo>
                      <a:lnTo>
                        <a:pt x="224" y="418"/>
                      </a:lnTo>
                      <a:lnTo>
                        <a:pt x="224" y="417"/>
                      </a:lnTo>
                      <a:lnTo>
                        <a:pt x="224" y="417"/>
                      </a:lnTo>
                      <a:lnTo>
                        <a:pt x="225" y="417"/>
                      </a:lnTo>
                      <a:lnTo>
                        <a:pt x="225" y="417"/>
                      </a:lnTo>
                      <a:lnTo>
                        <a:pt x="226" y="417"/>
                      </a:lnTo>
                      <a:lnTo>
                        <a:pt x="226" y="416"/>
                      </a:lnTo>
                      <a:lnTo>
                        <a:pt x="227" y="416"/>
                      </a:lnTo>
                      <a:lnTo>
                        <a:pt x="227" y="417"/>
                      </a:lnTo>
                      <a:lnTo>
                        <a:pt x="227" y="416"/>
                      </a:lnTo>
                      <a:lnTo>
                        <a:pt x="227" y="416"/>
                      </a:lnTo>
                      <a:lnTo>
                        <a:pt x="227" y="415"/>
                      </a:lnTo>
                      <a:lnTo>
                        <a:pt x="228" y="415"/>
                      </a:lnTo>
                      <a:lnTo>
                        <a:pt x="229" y="415"/>
                      </a:lnTo>
                      <a:lnTo>
                        <a:pt x="229" y="414"/>
                      </a:lnTo>
                      <a:lnTo>
                        <a:pt x="230" y="414"/>
                      </a:lnTo>
                      <a:lnTo>
                        <a:pt x="230" y="413"/>
                      </a:lnTo>
                      <a:lnTo>
                        <a:pt x="230" y="413"/>
                      </a:lnTo>
                      <a:lnTo>
                        <a:pt x="230" y="412"/>
                      </a:lnTo>
                      <a:lnTo>
                        <a:pt x="230" y="411"/>
                      </a:lnTo>
                      <a:lnTo>
                        <a:pt x="230" y="411"/>
                      </a:lnTo>
                      <a:lnTo>
                        <a:pt x="230" y="411"/>
                      </a:lnTo>
                      <a:lnTo>
                        <a:pt x="231" y="411"/>
                      </a:lnTo>
                      <a:lnTo>
                        <a:pt x="231" y="410"/>
                      </a:lnTo>
                      <a:lnTo>
                        <a:pt x="232" y="410"/>
                      </a:lnTo>
                      <a:lnTo>
                        <a:pt x="232" y="409"/>
                      </a:lnTo>
                      <a:lnTo>
                        <a:pt x="232" y="409"/>
                      </a:lnTo>
                      <a:lnTo>
                        <a:pt x="233" y="409"/>
                      </a:lnTo>
                      <a:lnTo>
                        <a:pt x="233" y="408"/>
                      </a:lnTo>
                      <a:lnTo>
                        <a:pt x="233" y="407"/>
                      </a:lnTo>
                      <a:lnTo>
                        <a:pt x="233" y="406"/>
                      </a:lnTo>
                      <a:lnTo>
                        <a:pt x="233" y="406"/>
                      </a:lnTo>
                      <a:lnTo>
                        <a:pt x="233" y="405"/>
                      </a:lnTo>
                      <a:lnTo>
                        <a:pt x="234" y="404"/>
                      </a:lnTo>
                      <a:lnTo>
                        <a:pt x="234" y="404"/>
                      </a:lnTo>
                      <a:lnTo>
                        <a:pt x="234" y="403"/>
                      </a:lnTo>
                      <a:lnTo>
                        <a:pt x="234" y="402"/>
                      </a:lnTo>
                      <a:lnTo>
                        <a:pt x="234" y="402"/>
                      </a:lnTo>
                      <a:lnTo>
                        <a:pt x="234" y="401"/>
                      </a:lnTo>
                      <a:lnTo>
                        <a:pt x="234" y="401"/>
                      </a:lnTo>
                      <a:lnTo>
                        <a:pt x="234" y="400"/>
                      </a:lnTo>
                      <a:lnTo>
                        <a:pt x="234" y="400"/>
                      </a:lnTo>
                      <a:lnTo>
                        <a:pt x="234" y="400"/>
                      </a:lnTo>
                      <a:lnTo>
                        <a:pt x="234" y="399"/>
                      </a:lnTo>
                      <a:lnTo>
                        <a:pt x="235" y="398"/>
                      </a:lnTo>
                      <a:lnTo>
                        <a:pt x="235" y="398"/>
                      </a:lnTo>
                      <a:lnTo>
                        <a:pt x="235" y="397"/>
                      </a:lnTo>
                      <a:lnTo>
                        <a:pt x="235" y="396"/>
                      </a:lnTo>
                      <a:lnTo>
                        <a:pt x="235" y="396"/>
                      </a:lnTo>
                      <a:lnTo>
                        <a:pt x="236" y="396"/>
                      </a:lnTo>
                      <a:lnTo>
                        <a:pt x="236" y="395"/>
                      </a:lnTo>
                      <a:lnTo>
                        <a:pt x="236" y="395"/>
                      </a:lnTo>
                      <a:lnTo>
                        <a:pt x="236" y="394"/>
                      </a:lnTo>
                      <a:lnTo>
                        <a:pt x="236" y="394"/>
                      </a:lnTo>
                      <a:lnTo>
                        <a:pt x="237" y="393"/>
                      </a:lnTo>
                      <a:lnTo>
                        <a:pt x="237" y="392"/>
                      </a:lnTo>
                      <a:lnTo>
                        <a:pt x="238" y="392"/>
                      </a:lnTo>
                      <a:lnTo>
                        <a:pt x="238" y="391"/>
                      </a:lnTo>
                      <a:lnTo>
                        <a:pt x="238" y="391"/>
                      </a:lnTo>
                      <a:lnTo>
                        <a:pt x="238" y="390"/>
                      </a:lnTo>
                      <a:lnTo>
                        <a:pt x="239" y="390"/>
                      </a:lnTo>
                      <a:lnTo>
                        <a:pt x="239" y="389"/>
                      </a:lnTo>
                      <a:lnTo>
                        <a:pt x="240" y="389"/>
                      </a:lnTo>
                      <a:lnTo>
                        <a:pt x="240" y="388"/>
                      </a:lnTo>
                      <a:lnTo>
                        <a:pt x="240" y="388"/>
                      </a:lnTo>
                      <a:lnTo>
                        <a:pt x="240" y="387"/>
                      </a:lnTo>
                      <a:lnTo>
                        <a:pt x="241" y="387"/>
                      </a:lnTo>
                      <a:lnTo>
                        <a:pt x="241" y="386"/>
                      </a:lnTo>
                      <a:lnTo>
                        <a:pt x="242" y="386"/>
                      </a:lnTo>
                      <a:lnTo>
                        <a:pt x="242" y="385"/>
                      </a:lnTo>
                      <a:lnTo>
                        <a:pt x="242" y="385"/>
                      </a:lnTo>
                      <a:lnTo>
                        <a:pt x="242" y="384"/>
                      </a:lnTo>
                      <a:lnTo>
                        <a:pt x="243" y="384"/>
                      </a:lnTo>
                      <a:lnTo>
                        <a:pt x="243" y="383"/>
                      </a:lnTo>
                      <a:lnTo>
                        <a:pt x="244" y="383"/>
                      </a:lnTo>
                      <a:lnTo>
                        <a:pt x="244" y="382"/>
                      </a:lnTo>
                      <a:lnTo>
                        <a:pt x="244" y="382"/>
                      </a:lnTo>
                      <a:lnTo>
                        <a:pt x="244" y="381"/>
                      </a:lnTo>
                      <a:lnTo>
                        <a:pt x="245" y="381"/>
                      </a:lnTo>
                      <a:lnTo>
                        <a:pt x="245" y="380"/>
                      </a:lnTo>
                      <a:lnTo>
                        <a:pt x="246" y="380"/>
                      </a:lnTo>
                      <a:lnTo>
                        <a:pt x="246" y="379"/>
                      </a:lnTo>
                      <a:lnTo>
                        <a:pt x="246" y="379"/>
                      </a:lnTo>
                      <a:lnTo>
                        <a:pt x="246" y="379"/>
                      </a:lnTo>
                      <a:lnTo>
                        <a:pt x="247" y="379"/>
                      </a:lnTo>
                      <a:lnTo>
                        <a:pt x="248" y="379"/>
                      </a:lnTo>
                      <a:lnTo>
                        <a:pt x="249" y="379"/>
                      </a:lnTo>
                      <a:lnTo>
                        <a:pt x="249" y="379"/>
                      </a:lnTo>
                      <a:lnTo>
                        <a:pt x="250" y="379"/>
                      </a:lnTo>
                      <a:lnTo>
                        <a:pt x="250" y="378"/>
                      </a:lnTo>
                      <a:lnTo>
                        <a:pt x="251" y="378"/>
                      </a:lnTo>
                      <a:lnTo>
                        <a:pt x="251" y="377"/>
                      </a:lnTo>
                      <a:lnTo>
                        <a:pt x="251" y="377"/>
                      </a:lnTo>
                      <a:lnTo>
                        <a:pt x="252" y="377"/>
                      </a:lnTo>
                      <a:lnTo>
                        <a:pt x="253" y="376"/>
                      </a:lnTo>
                      <a:lnTo>
                        <a:pt x="252" y="376"/>
                      </a:lnTo>
                      <a:lnTo>
                        <a:pt x="252" y="375"/>
                      </a:lnTo>
                      <a:lnTo>
                        <a:pt x="251" y="375"/>
                      </a:lnTo>
                      <a:lnTo>
                        <a:pt x="251" y="375"/>
                      </a:lnTo>
                      <a:lnTo>
                        <a:pt x="251" y="375"/>
                      </a:lnTo>
                      <a:lnTo>
                        <a:pt x="250" y="375"/>
                      </a:lnTo>
                      <a:lnTo>
                        <a:pt x="250" y="374"/>
                      </a:lnTo>
                      <a:lnTo>
                        <a:pt x="250" y="373"/>
                      </a:lnTo>
                      <a:lnTo>
                        <a:pt x="249" y="373"/>
                      </a:lnTo>
                      <a:lnTo>
                        <a:pt x="249" y="372"/>
                      </a:lnTo>
                      <a:lnTo>
                        <a:pt x="249" y="371"/>
                      </a:lnTo>
                      <a:lnTo>
                        <a:pt x="249" y="371"/>
                      </a:lnTo>
                      <a:lnTo>
                        <a:pt x="249" y="371"/>
                      </a:lnTo>
                      <a:lnTo>
                        <a:pt x="249" y="370"/>
                      </a:lnTo>
                      <a:lnTo>
                        <a:pt x="249" y="369"/>
                      </a:lnTo>
                      <a:lnTo>
                        <a:pt x="249" y="369"/>
                      </a:lnTo>
                      <a:lnTo>
                        <a:pt x="249" y="368"/>
                      </a:lnTo>
                      <a:lnTo>
                        <a:pt x="249" y="367"/>
                      </a:lnTo>
                      <a:lnTo>
                        <a:pt x="249" y="367"/>
                      </a:lnTo>
                      <a:lnTo>
                        <a:pt x="249" y="366"/>
                      </a:lnTo>
                      <a:lnTo>
                        <a:pt x="248" y="366"/>
                      </a:lnTo>
                      <a:lnTo>
                        <a:pt x="248" y="366"/>
                      </a:lnTo>
                      <a:lnTo>
                        <a:pt x="247" y="366"/>
                      </a:lnTo>
                      <a:lnTo>
                        <a:pt x="247" y="365"/>
                      </a:lnTo>
                      <a:lnTo>
                        <a:pt x="247" y="364"/>
                      </a:lnTo>
                      <a:lnTo>
                        <a:pt x="247" y="364"/>
                      </a:lnTo>
                      <a:lnTo>
                        <a:pt x="247" y="363"/>
                      </a:lnTo>
                      <a:lnTo>
                        <a:pt x="247" y="362"/>
                      </a:lnTo>
                      <a:lnTo>
                        <a:pt x="246" y="362"/>
                      </a:lnTo>
                      <a:lnTo>
                        <a:pt x="246" y="361"/>
                      </a:lnTo>
                      <a:lnTo>
                        <a:pt x="246" y="360"/>
                      </a:lnTo>
                      <a:lnTo>
                        <a:pt x="246" y="360"/>
                      </a:lnTo>
                      <a:lnTo>
                        <a:pt x="245" y="360"/>
                      </a:lnTo>
                      <a:lnTo>
                        <a:pt x="245" y="359"/>
                      </a:lnTo>
                      <a:lnTo>
                        <a:pt x="245" y="358"/>
                      </a:lnTo>
                      <a:lnTo>
                        <a:pt x="245" y="358"/>
                      </a:lnTo>
                      <a:lnTo>
                        <a:pt x="245" y="357"/>
                      </a:lnTo>
                      <a:lnTo>
                        <a:pt x="244" y="356"/>
                      </a:lnTo>
                      <a:lnTo>
                        <a:pt x="244" y="356"/>
                      </a:lnTo>
                      <a:lnTo>
                        <a:pt x="243" y="356"/>
                      </a:lnTo>
                      <a:lnTo>
                        <a:pt x="242" y="356"/>
                      </a:lnTo>
                      <a:lnTo>
                        <a:pt x="242" y="355"/>
                      </a:lnTo>
                      <a:lnTo>
                        <a:pt x="242" y="355"/>
                      </a:lnTo>
                      <a:lnTo>
                        <a:pt x="242" y="354"/>
                      </a:lnTo>
                      <a:lnTo>
                        <a:pt x="241" y="354"/>
                      </a:lnTo>
                      <a:lnTo>
                        <a:pt x="241" y="353"/>
                      </a:lnTo>
                      <a:lnTo>
                        <a:pt x="240" y="352"/>
                      </a:lnTo>
                      <a:lnTo>
                        <a:pt x="240" y="352"/>
                      </a:lnTo>
                      <a:lnTo>
                        <a:pt x="240" y="352"/>
                      </a:lnTo>
                      <a:lnTo>
                        <a:pt x="240" y="351"/>
                      </a:lnTo>
                      <a:lnTo>
                        <a:pt x="239" y="351"/>
                      </a:lnTo>
                      <a:lnTo>
                        <a:pt x="238" y="350"/>
                      </a:lnTo>
                      <a:lnTo>
                        <a:pt x="238" y="350"/>
                      </a:lnTo>
                      <a:lnTo>
                        <a:pt x="238" y="349"/>
                      </a:lnTo>
                      <a:lnTo>
                        <a:pt x="237" y="348"/>
                      </a:lnTo>
                      <a:lnTo>
                        <a:pt x="237" y="347"/>
                      </a:lnTo>
                      <a:lnTo>
                        <a:pt x="236" y="347"/>
                      </a:lnTo>
                      <a:lnTo>
                        <a:pt x="236" y="346"/>
                      </a:lnTo>
                      <a:lnTo>
                        <a:pt x="236" y="345"/>
                      </a:lnTo>
                      <a:lnTo>
                        <a:pt x="236" y="345"/>
                      </a:lnTo>
                      <a:lnTo>
                        <a:pt x="235" y="345"/>
                      </a:lnTo>
                      <a:lnTo>
                        <a:pt x="235" y="344"/>
                      </a:lnTo>
                      <a:lnTo>
                        <a:pt x="234" y="344"/>
                      </a:lnTo>
                      <a:lnTo>
                        <a:pt x="234" y="343"/>
                      </a:lnTo>
                      <a:lnTo>
                        <a:pt x="234" y="343"/>
                      </a:lnTo>
                      <a:lnTo>
                        <a:pt x="234" y="343"/>
                      </a:lnTo>
                      <a:lnTo>
                        <a:pt x="234" y="342"/>
                      </a:lnTo>
                      <a:lnTo>
                        <a:pt x="234" y="341"/>
                      </a:lnTo>
                      <a:lnTo>
                        <a:pt x="234" y="341"/>
                      </a:lnTo>
                      <a:lnTo>
                        <a:pt x="234" y="340"/>
                      </a:lnTo>
                      <a:lnTo>
                        <a:pt x="233" y="340"/>
                      </a:lnTo>
                      <a:lnTo>
                        <a:pt x="233" y="339"/>
                      </a:lnTo>
                      <a:lnTo>
                        <a:pt x="234" y="339"/>
                      </a:lnTo>
                      <a:lnTo>
                        <a:pt x="234" y="338"/>
                      </a:lnTo>
                      <a:lnTo>
                        <a:pt x="234" y="337"/>
                      </a:lnTo>
                      <a:lnTo>
                        <a:pt x="233" y="337"/>
                      </a:lnTo>
                      <a:lnTo>
                        <a:pt x="232" y="337"/>
                      </a:lnTo>
                      <a:lnTo>
                        <a:pt x="232" y="337"/>
                      </a:lnTo>
                      <a:lnTo>
                        <a:pt x="231" y="337"/>
                      </a:lnTo>
                      <a:lnTo>
                        <a:pt x="230" y="337"/>
                      </a:lnTo>
                      <a:lnTo>
                        <a:pt x="230" y="336"/>
                      </a:lnTo>
                      <a:lnTo>
                        <a:pt x="229" y="336"/>
                      </a:lnTo>
                      <a:lnTo>
                        <a:pt x="228" y="336"/>
                      </a:lnTo>
                      <a:lnTo>
                        <a:pt x="227" y="335"/>
                      </a:lnTo>
                      <a:lnTo>
                        <a:pt x="227" y="335"/>
                      </a:lnTo>
                      <a:lnTo>
                        <a:pt x="227" y="335"/>
                      </a:lnTo>
                      <a:lnTo>
                        <a:pt x="227" y="334"/>
                      </a:lnTo>
                      <a:lnTo>
                        <a:pt x="227" y="333"/>
                      </a:lnTo>
                      <a:lnTo>
                        <a:pt x="226" y="333"/>
                      </a:lnTo>
                      <a:lnTo>
                        <a:pt x="226" y="333"/>
                      </a:lnTo>
                      <a:lnTo>
                        <a:pt x="226" y="332"/>
                      </a:lnTo>
                      <a:lnTo>
                        <a:pt x="226" y="331"/>
                      </a:lnTo>
                      <a:lnTo>
                        <a:pt x="225" y="331"/>
                      </a:lnTo>
                      <a:lnTo>
                        <a:pt x="225" y="331"/>
                      </a:lnTo>
                      <a:lnTo>
                        <a:pt x="224" y="331"/>
                      </a:lnTo>
                      <a:lnTo>
                        <a:pt x="223" y="331"/>
                      </a:lnTo>
                      <a:lnTo>
                        <a:pt x="223" y="332"/>
                      </a:lnTo>
                      <a:lnTo>
                        <a:pt x="223" y="331"/>
                      </a:lnTo>
                      <a:lnTo>
                        <a:pt x="223" y="330"/>
                      </a:lnTo>
                      <a:lnTo>
                        <a:pt x="222" y="329"/>
                      </a:lnTo>
                      <a:lnTo>
                        <a:pt x="222" y="329"/>
                      </a:lnTo>
                      <a:lnTo>
                        <a:pt x="221" y="328"/>
                      </a:lnTo>
                      <a:lnTo>
                        <a:pt x="221" y="327"/>
                      </a:lnTo>
                      <a:lnTo>
                        <a:pt x="220" y="326"/>
                      </a:lnTo>
                      <a:lnTo>
                        <a:pt x="219" y="326"/>
                      </a:lnTo>
                      <a:lnTo>
                        <a:pt x="219" y="326"/>
                      </a:lnTo>
                      <a:lnTo>
                        <a:pt x="219" y="325"/>
                      </a:lnTo>
                      <a:lnTo>
                        <a:pt x="220" y="324"/>
                      </a:lnTo>
                      <a:lnTo>
                        <a:pt x="220" y="323"/>
                      </a:lnTo>
                      <a:lnTo>
                        <a:pt x="220" y="322"/>
                      </a:lnTo>
                      <a:lnTo>
                        <a:pt x="221" y="322"/>
                      </a:lnTo>
                      <a:lnTo>
                        <a:pt x="221" y="321"/>
                      </a:lnTo>
                      <a:lnTo>
                        <a:pt x="221" y="320"/>
                      </a:lnTo>
                      <a:lnTo>
                        <a:pt x="221" y="320"/>
                      </a:lnTo>
                      <a:lnTo>
                        <a:pt x="222" y="320"/>
                      </a:lnTo>
                      <a:lnTo>
                        <a:pt x="222" y="319"/>
                      </a:lnTo>
                      <a:lnTo>
                        <a:pt x="222" y="318"/>
                      </a:lnTo>
                      <a:lnTo>
                        <a:pt x="222" y="318"/>
                      </a:lnTo>
                      <a:lnTo>
                        <a:pt x="222" y="317"/>
                      </a:lnTo>
                      <a:lnTo>
                        <a:pt x="222" y="316"/>
                      </a:lnTo>
                      <a:lnTo>
                        <a:pt x="222" y="316"/>
                      </a:lnTo>
                      <a:lnTo>
                        <a:pt x="222" y="315"/>
                      </a:lnTo>
                      <a:lnTo>
                        <a:pt x="222" y="314"/>
                      </a:lnTo>
                      <a:lnTo>
                        <a:pt x="223" y="313"/>
                      </a:lnTo>
                      <a:lnTo>
                        <a:pt x="223" y="312"/>
                      </a:lnTo>
                      <a:lnTo>
                        <a:pt x="223" y="310"/>
                      </a:lnTo>
                      <a:lnTo>
                        <a:pt x="223" y="310"/>
                      </a:lnTo>
                      <a:lnTo>
                        <a:pt x="223" y="309"/>
                      </a:lnTo>
                      <a:lnTo>
                        <a:pt x="224" y="308"/>
                      </a:lnTo>
                      <a:lnTo>
                        <a:pt x="224" y="307"/>
                      </a:lnTo>
                      <a:lnTo>
                        <a:pt x="224" y="306"/>
                      </a:lnTo>
                      <a:lnTo>
                        <a:pt x="224" y="305"/>
                      </a:lnTo>
                      <a:lnTo>
                        <a:pt x="224" y="305"/>
                      </a:lnTo>
                      <a:lnTo>
                        <a:pt x="224" y="304"/>
                      </a:lnTo>
                      <a:lnTo>
                        <a:pt x="225" y="303"/>
                      </a:lnTo>
                      <a:lnTo>
                        <a:pt x="225" y="303"/>
                      </a:lnTo>
                      <a:lnTo>
                        <a:pt x="225" y="303"/>
                      </a:lnTo>
                      <a:lnTo>
                        <a:pt x="225" y="302"/>
                      </a:lnTo>
                      <a:lnTo>
                        <a:pt x="225" y="301"/>
                      </a:lnTo>
                      <a:lnTo>
                        <a:pt x="225" y="301"/>
                      </a:lnTo>
                      <a:lnTo>
                        <a:pt x="225" y="301"/>
                      </a:lnTo>
                      <a:lnTo>
                        <a:pt x="224" y="300"/>
                      </a:lnTo>
                      <a:lnTo>
                        <a:pt x="224" y="299"/>
                      </a:lnTo>
                      <a:lnTo>
                        <a:pt x="224" y="299"/>
                      </a:lnTo>
                      <a:lnTo>
                        <a:pt x="224" y="298"/>
                      </a:lnTo>
                      <a:lnTo>
                        <a:pt x="224" y="297"/>
                      </a:lnTo>
                      <a:lnTo>
                        <a:pt x="223" y="297"/>
                      </a:lnTo>
                      <a:lnTo>
                        <a:pt x="223" y="297"/>
                      </a:lnTo>
                      <a:lnTo>
                        <a:pt x="223" y="296"/>
                      </a:lnTo>
                      <a:lnTo>
                        <a:pt x="222" y="296"/>
                      </a:lnTo>
                      <a:lnTo>
                        <a:pt x="221" y="296"/>
                      </a:lnTo>
                      <a:lnTo>
                        <a:pt x="221" y="295"/>
                      </a:lnTo>
                      <a:lnTo>
                        <a:pt x="221" y="295"/>
                      </a:lnTo>
                      <a:lnTo>
                        <a:pt x="220" y="294"/>
                      </a:lnTo>
                      <a:lnTo>
                        <a:pt x="220" y="293"/>
                      </a:lnTo>
                      <a:lnTo>
                        <a:pt x="220" y="293"/>
                      </a:lnTo>
                      <a:lnTo>
                        <a:pt x="219" y="292"/>
                      </a:lnTo>
                      <a:lnTo>
                        <a:pt x="219" y="291"/>
                      </a:lnTo>
                      <a:lnTo>
                        <a:pt x="220" y="291"/>
                      </a:lnTo>
                      <a:lnTo>
                        <a:pt x="220" y="291"/>
                      </a:lnTo>
                      <a:lnTo>
                        <a:pt x="219" y="291"/>
                      </a:lnTo>
                      <a:lnTo>
                        <a:pt x="219" y="290"/>
                      </a:lnTo>
                      <a:lnTo>
                        <a:pt x="219" y="289"/>
                      </a:lnTo>
                      <a:lnTo>
                        <a:pt x="219" y="289"/>
                      </a:lnTo>
                      <a:lnTo>
                        <a:pt x="218" y="288"/>
                      </a:lnTo>
                      <a:lnTo>
                        <a:pt x="218" y="287"/>
                      </a:lnTo>
                      <a:lnTo>
                        <a:pt x="218" y="286"/>
                      </a:lnTo>
                      <a:lnTo>
                        <a:pt x="218" y="286"/>
                      </a:lnTo>
                      <a:lnTo>
                        <a:pt x="218" y="285"/>
                      </a:lnTo>
                      <a:lnTo>
                        <a:pt x="217" y="285"/>
                      </a:lnTo>
                      <a:lnTo>
                        <a:pt x="217" y="284"/>
                      </a:lnTo>
                      <a:lnTo>
                        <a:pt x="217" y="284"/>
                      </a:lnTo>
                      <a:lnTo>
                        <a:pt x="217" y="284"/>
                      </a:lnTo>
                      <a:lnTo>
                        <a:pt x="217" y="283"/>
                      </a:lnTo>
                      <a:lnTo>
                        <a:pt x="217" y="283"/>
                      </a:lnTo>
                      <a:lnTo>
                        <a:pt x="217" y="282"/>
                      </a:lnTo>
                      <a:lnTo>
                        <a:pt x="217" y="282"/>
                      </a:lnTo>
                      <a:lnTo>
                        <a:pt x="217" y="282"/>
                      </a:lnTo>
                      <a:lnTo>
                        <a:pt x="216" y="282"/>
                      </a:lnTo>
                      <a:lnTo>
                        <a:pt x="216" y="281"/>
                      </a:lnTo>
                      <a:lnTo>
                        <a:pt x="217" y="280"/>
                      </a:lnTo>
                      <a:lnTo>
                        <a:pt x="217" y="280"/>
                      </a:lnTo>
                      <a:lnTo>
                        <a:pt x="217" y="279"/>
                      </a:lnTo>
                      <a:lnTo>
                        <a:pt x="216" y="278"/>
                      </a:lnTo>
                      <a:lnTo>
                        <a:pt x="215" y="278"/>
                      </a:lnTo>
                      <a:lnTo>
                        <a:pt x="215" y="278"/>
                      </a:lnTo>
                      <a:lnTo>
                        <a:pt x="214" y="278"/>
                      </a:lnTo>
                      <a:lnTo>
                        <a:pt x="213" y="278"/>
                      </a:lnTo>
                      <a:lnTo>
                        <a:pt x="213" y="277"/>
                      </a:lnTo>
                      <a:lnTo>
                        <a:pt x="212" y="277"/>
                      </a:lnTo>
                      <a:lnTo>
                        <a:pt x="211" y="276"/>
                      </a:lnTo>
                      <a:lnTo>
                        <a:pt x="211" y="276"/>
                      </a:lnTo>
                      <a:lnTo>
                        <a:pt x="210" y="276"/>
                      </a:lnTo>
                      <a:lnTo>
                        <a:pt x="209" y="276"/>
                      </a:lnTo>
                      <a:lnTo>
                        <a:pt x="208" y="276"/>
                      </a:lnTo>
                      <a:lnTo>
                        <a:pt x="208" y="276"/>
                      </a:lnTo>
                      <a:lnTo>
                        <a:pt x="208" y="276"/>
                      </a:lnTo>
                      <a:lnTo>
                        <a:pt x="208" y="277"/>
                      </a:lnTo>
                      <a:lnTo>
                        <a:pt x="207" y="277"/>
                      </a:lnTo>
                      <a:lnTo>
                        <a:pt x="207" y="276"/>
                      </a:lnTo>
                      <a:lnTo>
                        <a:pt x="206" y="276"/>
                      </a:lnTo>
                      <a:lnTo>
                        <a:pt x="206" y="276"/>
                      </a:lnTo>
                      <a:lnTo>
                        <a:pt x="206" y="276"/>
                      </a:lnTo>
                      <a:lnTo>
                        <a:pt x="206" y="275"/>
                      </a:lnTo>
                      <a:lnTo>
                        <a:pt x="205" y="275"/>
                      </a:lnTo>
                      <a:lnTo>
                        <a:pt x="205" y="274"/>
                      </a:lnTo>
                      <a:lnTo>
                        <a:pt x="205" y="274"/>
                      </a:lnTo>
                      <a:lnTo>
                        <a:pt x="206" y="274"/>
                      </a:lnTo>
                      <a:lnTo>
                        <a:pt x="206" y="273"/>
                      </a:lnTo>
                      <a:lnTo>
                        <a:pt x="206" y="272"/>
                      </a:lnTo>
                      <a:lnTo>
                        <a:pt x="206" y="272"/>
                      </a:lnTo>
                      <a:lnTo>
                        <a:pt x="206" y="271"/>
                      </a:lnTo>
                      <a:lnTo>
                        <a:pt x="206" y="271"/>
                      </a:lnTo>
                      <a:lnTo>
                        <a:pt x="206" y="270"/>
                      </a:lnTo>
                      <a:lnTo>
                        <a:pt x="205" y="270"/>
                      </a:lnTo>
                      <a:lnTo>
                        <a:pt x="205" y="270"/>
                      </a:lnTo>
                      <a:lnTo>
                        <a:pt x="204" y="270"/>
                      </a:lnTo>
                      <a:lnTo>
                        <a:pt x="204" y="269"/>
                      </a:lnTo>
                      <a:lnTo>
                        <a:pt x="203" y="269"/>
                      </a:lnTo>
                      <a:lnTo>
                        <a:pt x="202" y="269"/>
                      </a:lnTo>
                      <a:lnTo>
                        <a:pt x="202" y="268"/>
                      </a:lnTo>
                      <a:lnTo>
                        <a:pt x="202" y="268"/>
                      </a:lnTo>
                      <a:lnTo>
                        <a:pt x="202" y="267"/>
                      </a:lnTo>
                      <a:lnTo>
                        <a:pt x="202" y="267"/>
                      </a:lnTo>
                      <a:lnTo>
                        <a:pt x="202" y="266"/>
                      </a:lnTo>
                      <a:lnTo>
                        <a:pt x="202" y="265"/>
                      </a:lnTo>
                      <a:lnTo>
                        <a:pt x="202" y="265"/>
                      </a:lnTo>
                      <a:lnTo>
                        <a:pt x="202" y="264"/>
                      </a:lnTo>
                      <a:lnTo>
                        <a:pt x="201" y="264"/>
                      </a:lnTo>
                      <a:lnTo>
                        <a:pt x="200" y="264"/>
                      </a:lnTo>
                      <a:lnTo>
                        <a:pt x="200" y="265"/>
                      </a:lnTo>
                      <a:lnTo>
                        <a:pt x="200" y="265"/>
                      </a:lnTo>
                      <a:lnTo>
                        <a:pt x="200" y="265"/>
                      </a:lnTo>
                      <a:lnTo>
                        <a:pt x="199" y="266"/>
                      </a:lnTo>
                      <a:lnTo>
                        <a:pt x="198" y="266"/>
                      </a:lnTo>
                      <a:lnTo>
                        <a:pt x="198" y="266"/>
                      </a:lnTo>
                      <a:lnTo>
                        <a:pt x="197" y="266"/>
                      </a:lnTo>
                      <a:lnTo>
                        <a:pt x="196" y="266"/>
                      </a:lnTo>
                      <a:lnTo>
                        <a:pt x="196" y="266"/>
                      </a:lnTo>
                      <a:lnTo>
                        <a:pt x="195" y="265"/>
                      </a:lnTo>
                      <a:lnTo>
                        <a:pt x="194" y="265"/>
                      </a:lnTo>
                      <a:lnTo>
                        <a:pt x="194" y="265"/>
                      </a:lnTo>
                      <a:lnTo>
                        <a:pt x="193" y="265"/>
                      </a:lnTo>
                      <a:lnTo>
                        <a:pt x="192" y="265"/>
                      </a:lnTo>
                      <a:lnTo>
                        <a:pt x="192" y="265"/>
                      </a:lnTo>
                      <a:lnTo>
                        <a:pt x="191" y="265"/>
                      </a:lnTo>
                      <a:lnTo>
                        <a:pt x="190" y="265"/>
                      </a:lnTo>
                      <a:lnTo>
                        <a:pt x="189" y="265"/>
                      </a:lnTo>
                      <a:lnTo>
                        <a:pt x="189" y="264"/>
                      </a:lnTo>
                      <a:lnTo>
                        <a:pt x="189" y="264"/>
                      </a:lnTo>
                      <a:lnTo>
                        <a:pt x="189" y="263"/>
                      </a:lnTo>
                      <a:lnTo>
                        <a:pt x="188" y="263"/>
                      </a:lnTo>
                      <a:lnTo>
                        <a:pt x="187" y="263"/>
                      </a:lnTo>
                      <a:lnTo>
                        <a:pt x="187" y="262"/>
                      </a:lnTo>
                      <a:lnTo>
                        <a:pt x="186" y="262"/>
                      </a:lnTo>
                      <a:lnTo>
                        <a:pt x="185" y="263"/>
                      </a:lnTo>
                      <a:lnTo>
                        <a:pt x="184" y="263"/>
                      </a:lnTo>
                      <a:lnTo>
                        <a:pt x="183" y="263"/>
                      </a:lnTo>
                      <a:lnTo>
                        <a:pt x="183" y="264"/>
                      </a:lnTo>
                      <a:lnTo>
                        <a:pt x="182" y="264"/>
                      </a:lnTo>
                      <a:lnTo>
                        <a:pt x="181" y="264"/>
                      </a:lnTo>
                      <a:lnTo>
                        <a:pt x="181" y="264"/>
                      </a:lnTo>
                      <a:lnTo>
                        <a:pt x="180" y="264"/>
                      </a:lnTo>
                      <a:lnTo>
                        <a:pt x="179" y="263"/>
                      </a:lnTo>
                      <a:lnTo>
                        <a:pt x="179" y="264"/>
                      </a:lnTo>
                      <a:lnTo>
                        <a:pt x="177" y="264"/>
                      </a:lnTo>
                      <a:lnTo>
                        <a:pt x="177" y="264"/>
                      </a:lnTo>
                      <a:lnTo>
                        <a:pt x="176" y="265"/>
                      </a:lnTo>
                      <a:lnTo>
                        <a:pt x="175" y="265"/>
                      </a:lnTo>
                      <a:lnTo>
                        <a:pt x="175" y="265"/>
                      </a:lnTo>
                      <a:lnTo>
                        <a:pt x="175" y="266"/>
                      </a:lnTo>
                      <a:lnTo>
                        <a:pt x="174" y="267"/>
                      </a:lnTo>
                      <a:lnTo>
                        <a:pt x="173" y="267"/>
                      </a:lnTo>
                      <a:lnTo>
                        <a:pt x="173" y="268"/>
                      </a:lnTo>
                      <a:lnTo>
                        <a:pt x="173" y="268"/>
                      </a:lnTo>
                      <a:lnTo>
                        <a:pt x="172" y="268"/>
                      </a:lnTo>
                      <a:lnTo>
                        <a:pt x="171" y="268"/>
                      </a:lnTo>
                      <a:lnTo>
                        <a:pt x="170" y="268"/>
                      </a:lnTo>
                      <a:lnTo>
                        <a:pt x="170" y="269"/>
                      </a:lnTo>
                      <a:lnTo>
                        <a:pt x="170" y="269"/>
                      </a:lnTo>
                      <a:lnTo>
                        <a:pt x="170" y="270"/>
                      </a:lnTo>
                      <a:lnTo>
                        <a:pt x="170" y="270"/>
                      </a:lnTo>
                      <a:lnTo>
                        <a:pt x="169" y="270"/>
                      </a:lnTo>
                      <a:lnTo>
                        <a:pt x="168" y="270"/>
                      </a:lnTo>
                      <a:lnTo>
                        <a:pt x="168" y="271"/>
                      </a:lnTo>
                      <a:lnTo>
                        <a:pt x="168" y="272"/>
                      </a:lnTo>
                      <a:lnTo>
                        <a:pt x="168" y="272"/>
                      </a:lnTo>
                      <a:lnTo>
                        <a:pt x="168" y="272"/>
                      </a:lnTo>
                      <a:lnTo>
                        <a:pt x="167" y="272"/>
                      </a:lnTo>
                      <a:lnTo>
                        <a:pt x="166" y="273"/>
                      </a:lnTo>
                      <a:lnTo>
                        <a:pt x="166" y="273"/>
                      </a:lnTo>
                      <a:lnTo>
                        <a:pt x="165" y="273"/>
                      </a:lnTo>
                      <a:lnTo>
                        <a:pt x="164" y="273"/>
                      </a:lnTo>
                      <a:lnTo>
                        <a:pt x="164" y="272"/>
                      </a:lnTo>
                      <a:lnTo>
                        <a:pt x="163" y="272"/>
                      </a:lnTo>
                      <a:lnTo>
                        <a:pt x="162" y="272"/>
                      </a:lnTo>
                      <a:lnTo>
                        <a:pt x="162" y="272"/>
                      </a:lnTo>
                      <a:lnTo>
                        <a:pt x="162" y="272"/>
                      </a:lnTo>
                      <a:lnTo>
                        <a:pt x="162" y="271"/>
                      </a:lnTo>
                      <a:lnTo>
                        <a:pt x="161" y="271"/>
                      </a:lnTo>
                      <a:lnTo>
                        <a:pt x="160" y="271"/>
                      </a:lnTo>
                      <a:lnTo>
                        <a:pt x="160" y="271"/>
                      </a:lnTo>
                      <a:lnTo>
                        <a:pt x="160" y="270"/>
                      </a:lnTo>
                      <a:lnTo>
                        <a:pt x="159" y="270"/>
                      </a:lnTo>
                      <a:lnTo>
                        <a:pt x="159" y="270"/>
                      </a:lnTo>
                      <a:lnTo>
                        <a:pt x="159" y="269"/>
                      </a:lnTo>
                      <a:lnTo>
                        <a:pt x="158" y="269"/>
                      </a:lnTo>
                      <a:lnTo>
                        <a:pt x="158" y="268"/>
                      </a:lnTo>
                      <a:lnTo>
                        <a:pt x="158" y="268"/>
                      </a:lnTo>
                      <a:lnTo>
                        <a:pt x="157" y="268"/>
                      </a:lnTo>
                      <a:lnTo>
                        <a:pt x="156" y="268"/>
                      </a:lnTo>
                      <a:lnTo>
                        <a:pt x="156" y="269"/>
                      </a:lnTo>
                      <a:lnTo>
                        <a:pt x="155" y="269"/>
                      </a:lnTo>
                      <a:lnTo>
                        <a:pt x="154" y="269"/>
                      </a:lnTo>
                      <a:lnTo>
                        <a:pt x="154" y="270"/>
                      </a:lnTo>
                      <a:lnTo>
                        <a:pt x="153" y="270"/>
                      </a:lnTo>
                      <a:lnTo>
                        <a:pt x="153" y="270"/>
                      </a:lnTo>
                      <a:lnTo>
                        <a:pt x="152" y="270"/>
                      </a:lnTo>
                      <a:lnTo>
                        <a:pt x="151" y="270"/>
                      </a:lnTo>
                      <a:lnTo>
                        <a:pt x="151" y="270"/>
                      </a:lnTo>
                      <a:lnTo>
                        <a:pt x="151" y="270"/>
                      </a:lnTo>
                      <a:lnTo>
                        <a:pt x="150" y="270"/>
                      </a:lnTo>
                      <a:lnTo>
                        <a:pt x="149" y="270"/>
                      </a:lnTo>
                      <a:lnTo>
                        <a:pt x="149" y="270"/>
                      </a:lnTo>
                      <a:lnTo>
                        <a:pt x="148" y="270"/>
                      </a:lnTo>
                      <a:lnTo>
                        <a:pt x="147" y="270"/>
                      </a:lnTo>
                      <a:lnTo>
                        <a:pt x="147" y="270"/>
                      </a:lnTo>
                      <a:lnTo>
                        <a:pt x="146" y="270"/>
                      </a:lnTo>
                      <a:lnTo>
                        <a:pt x="145" y="270"/>
                      </a:lnTo>
                      <a:lnTo>
                        <a:pt x="145" y="271"/>
                      </a:lnTo>
                      <a:lnTo>
                        <a:pt x="145" y="271"/>
                      </a:lnTo>
                      <a:lnTo>
                        <a:pt x="144" y="271"/>
                      </a:lnTo>
                      <a:lnTo>
                        <a:pt x="143" y="271"/>
                      </a:lnTo>
                      <a:lnTo>
                        <a:pt x="143" y="271"/>
                      </a:lnTo>
                      <a:lnTo>
                        <a:pt x="142" y="270"/>
                      </a:lnTo>
                      <a:lnTo>
                        <a:pt x="141" y="270"/>
                      </a:lnTo>
                      <a:lnTo>
                        <a:pt x="141" y="271"/>
                      </a:lnTo>
                      <a:lnTo>
                        <a:pt x="141" y="271"/>
                      </a:lnTo>
                      <a:lnTo>
                        <a:pt x="141" y="270"/>
                      </a:lnTo>
                      <a:lnTo>
                        <a:pt x="141" y="270"/>
                      </a:lnTo>
                      <a:lnTo>
                        <a:pt x="140" y="270"/>
                      </a:lnTo>
                      <a:lnTo>
                        <a:pt x="139" y="269"/>
                      </a:lnTo>
                      <a:lnTo>
                        <a:pt x="139" y="269"/>
                      </a:lnTo>
                      <a:lnTo>
                        <a:pt x="138" y="269"/>
                      </a:lnTo>
                      <a:lnTo>
                        <a:pt x="138" y="268"/>
                      </a:lnTo>
                      <a:lnTo>
                        <a:pt x="138" y="267"/>
                      </a:lnTo>
                      <a:lnTo>
                        <a:pt x="137" y="267"/>
                      </a:lnTo>
                      <a:lnTo>
                        <a:pt x="137" y="267"/>
                      </a:lnTo>
                      <a:lnTo>
                        <a:pt x="137" y="267"/>
                      </a:lnTo>
                      <a:lnTo>
                        <a:pt x="137" y="266"/>
                      </a:lnTo>
                      <a:lnTo>
                        <a:pt x="136" y="266"/>
                      </a:lnTo>
                      <a:lnTo>
                        <a:pt x="136" y="265"/>
                      </a:lnTo>
                      <a:lnTo>
                        <a:pt x="135" y="265"/>
                      </a:lnTo>
                      <a:lnTo>
                        <a:pt x="134" y="265"/>
                      </a:lnTo>
                      <a:lnTo>
                        <a:pt x="134" y="265"/>
                      </a:lnTo>
                      <a:lnTo>
                        <a:pt x="133" y="265"/>
                      </a:lnTo>
                      <a:lnTo>
                        <a:pt x="132" y="265"/>
                      </a:lnTo>
                      <a:lnTo>
                        <a:pt x="132" y="265"/>
                      </a:lnTo>
                      <a:lnTo>
                        <a:pt x="131" y="265"/>
                      </a:lnTo>
                      <a:lnTo>
                        <a:pt x="131" y="265"/>
                      </a:lnTo>
                      <a:lnTo>
                        <a:pt x="130" y="265"/>
                      </a:lnTo>
                      <a:lnTo>
                        <a:pt x="130" y="265"/>
                      </a:lnTo>
                      <a:lnTo>
                        <a:pt x="129" y="264"/>
                      </a:lnTo>
                      <a:lnTo>
                        <a:pt x="129" y="263"/>
                      </a:lnTo>
                      <a:lnTo>
                        <a:pt x="128" y="263"/>
                      </a:lnTo>
                      <a:lnTo>
                        <a:pt x="128" y="263"/>
                      </a:lnTo>
                      <a:lnTo>
                        <a:pt x="127" y="263"/>
                      </a:lnTo>
                      <a:lnTo>
                        <a:pt x="126" y="263"/>
                      </a:lnTo>
                      <a:lnTo>
                        <a:pt x="126" y="263"/>
                      </a:lnTo>
                      <a:lnTo>
                        <a:pt x="125" y="262"/>
                      </a:lnTo>
                      <a:lnTo>
                        <a:pt x="124" y="261"/>
                      </a:lnTo>
                      <a:lnTo>
                        <a:pt x="124" y="261"/>
                      </a:lnTo>
                      <a:lnTo>
                        <a:pt x="124" y="260"/>
                      </a:lnTo>
                      <a:lnTo>
                        <a:pt x="124" y="259"/>
                      </a:lnTo>
                      <a:lnTo>
                        <a:pt x="124" y="259"/>
                      </a:lnTo>
                      <a:lnTo>
                        <a:pt x="123" y="258"/>
                      </a:lnTo>
                      <a:lnTo>
                        <a:pt x="123" y="257"/>
                      </a:lnTo>
                      <a:lnTo>
                        <a:pt x="122" y="257"/>
                      </a:lnTo>
                      <a:lnTo>
                        <a:pt x="122" y="257"/>
                      </a:lnTo>
                      <a:lnTo>
                        <a:pt x="121" y="256"/>
                      </a:lnTo>
                      <a:lnTo>
                        <a:pt x="120" y="256"/>
                      </a:lnTo>
                      <a:lnTo>
                        <a:pt x="120" y="256"/>
                      </a:lnTo>
                      <a:lnTo>
                        <a:pt x="119" y="256"/>
                      </a:lnTo>
                      <a:lnTo>
                        <a:pt x="118" y="256"/>
                      </a:lnTo>
                      <a:lnTo>
                        <a:pt x="118" y="255"/>
                      </a:lnTo>
                      <a:lnTo>
                        <a:pt x="118" y="256"/>
                      </a:lnTo>
                      <a:lnTo>
                        <a:pt x="117" y="256"/>
                      </a:lnTo>
                      <a:lnTo>
                        <a:pt x="117" y="255"/>
                      </a:lnTo>
                      <a:lnTo>
                        <a:pt x="116" y="255"/>
                      </a:lnTo>
                      <a:lnTo>
                        <a:pt x="115" y="255"/>
                      </a:lnTo>
                      <a:lnTo>
                        <a:pt x="115" y="255"/>
                      </a:lnTo>
                      <a:lnTo>
                        <a:pt x="114" y="255"/>
                      </a:lnTo>
                      <a:lnTo>
                        <a:pt x="113" y="255"/>
                      </a:lnTo>
                      <a:lnTo>
                        <a:pt x="113" y="255"/>
                      </a:lnTo>
                      <a:lnTo>
                        <a:pt x="112" y="255"/>
                      </a:lnTo>
                      <a:lnTo>
                        <a:pt x="111" y="255"/>
                      </a:lnTo>
                      <a:lnTo>
                        <a:pt x="111" y="255"/>
                      </a:lnTo>
                      <a:lnTo>
                        <a:pt x="110" y="254"/>
                      </a:lnTo>
                      <a:lnTo>
                        <a:pt x="109" y="254"/>
                      </a:lnTo>
                      <a:lnTo>
                        <a:pt x="109" y="254"/>
                      </a:lnTo>
                      <a:lnTo>
                        <a:pt x="109" y="253"/>
                      </a:lnTo>
                      <a:lnTo>
                        <a:pt x="108" y="253"/>
                      </a:lnTo>
                      <a:lnTo>
                        <a:pt x="107" y="253"/>
                      </a:lnTo>
                      <a:lnTo>
                        <a:pt x="107" y="253"/>
                      </a:lnTo>
                      <a:lnTo>
                        <a:pt x="106" y="253"/>
                      </a:lnTo>
                      <a:lnTo>
                        <a:pt x="105" y="253"/>
                      </a:lnTo>
                      <a:lnTo>
                        <a:pt x="105" y="253"/>
                      </a:lnTo>
                      <a:lnTo>
                        <a:pt x="104" y="253"/>
                      </a:lnTo>
                      <a:lnTo>
                        <a:pt x="103" y="253"/>
                      </a:lnTo>
                      <a:lnTo>
                        <a:pt x="103" y="253"/>
                      </a:lnTo>
                      <a:lnTo>
                        <a:pt x="102" y="253"/>
                      </a:lnTo>
                      <a:lnTo>
                        <a:pt x="101" y="253"/>
                      </a:lnTo>
                      <a:lnTo>
                        <a:pt x="101" y="253"/>
                      </a:lnTo>
                      <a:lnTo>
                        <a:pt x="101" y="252"/>
                      </a:lnTo>
                      <a:lnTo>
                        <a:pt x="100" y="252"/>
                      </a:lnTo>
                      <a:lnTo>
                        <a:pt x="100" y="251"/>
                      </a:lnTo>
                      <a:lnTo>
                        <a:pt x="99" y="251"/>
                      </a:lnTo>
                      <a:lnTo>
                        <a:pt x="99" y="251"/>
                      </a:lnTo>
                      <a:lnTo>
                        <a:pt x="99" y="250"/>
                      </a:lnTo>
                      <a:lnTo>
                        <a:pt x="99" y="249"/>
                      </a:lnTo>
                      <a:lnTo>
                        <a:pt x="99" y="249"/>
                      </a:lnTo>
                      <a:lnTo>
                        <a:pt x="99" y="248"/>
                      </a:lnTo>
                      <a:lnTo>
                        <a:pt x="98" y="247"/>
                      </a:lnTo>
                      <a:lnTo>
                        <a:pt x="98" y="246"/>
                      </a:lnTo>
                      <a:lnTo>
                        <a:pt x="97" y="246"/>
                      </a:lnTo>
                      <a:lnTo>
                        <a:pt x="97" y="245"/>
                      </a:lnTo>
                      <a:lnTo>
                        <a:pt x="96" y="244"/>
                      </a:lnTo>
                      <a:lnTo>
                        <a:pt x="96" y="244"/>
                      </a:lnTo>
                      <a:lnTo>
                        <a:pt x="96" y="244"/>
                      </a:lnTo>
                      <a:lnTo>
                        <a:pt x="96" y="243"/>
                      </a:lnTo>
                      <a:lnTo>
                        <a:pt x="95" y="243"/>
                      </a:lnTo>
                      <a:lnTo>
                        <a:pt x="94" y="243"/>
                      </a:lnTo>
                      <a:lnTo>
                        <a:pt x="94" y="244"/>
                      </a:lnTo>
                      <a:lnTo>
                        <a:pt x="94" y="244"/>
                      </a:lnTo>
                      <a:lnTo>
                        <a:pt x="94" y="243"/>
                      </a:lnTo>
                      <a:lnTo>
                        <a:pt x="93" y="242"/>
                      </a:lnTo>
                      <a:lnTo>
                        <a:pt x="92" y="242"/>
                      </a:lnTo>
                      <a:lnTo>
                        <a:pt x="92" y="242"/>
                      </a:lnTo>
                      <a:lnTo>
                        <a:pt x="92" y="242"/>
                      </a:lnTo>
                      <a:lnTo>
                        <a:pt x="91" y="242"/>
                      </a:lnTo>
                      <a:lnTo>
                        <a:pt x="90" y="242"/>
                      </a:lnTo>
                      <a:lnTo>
                        <a:pt x="90" y="242"/>
                      </a:lnTo>
                      <a:lnTo>
                        <a:pt x="89" y="241"/>
                      </a:lnTo>
                      <a:lnTo>
                        <a:pt x="89" y="242"/>
                      </a:lnTo>
                      <a:lnTo>
                        <a:pt x="88" y="242"/>
                      </a:lnTo>
                      <a:lnTo>
                        <a:pt x="88" y="241"/>
                      </a:lnTo>
                      <a:lnTo>
                        <a:pt x="88" y="241"/>
                      </a:lnTo>
                      <a:lnTo>
                        <a:pt x="88" y="240"/>
                      </a:lnTo>
                      <a:lnTo>
                        <a:pt x="87" y="240"/>
                      </a:lnTo>
                      <a:lnTo>
                        <a:pt x="86" y="240"/>
                      </a:lnTo>
                      <a:lnTo>
                        <a:pt x="86" y="239"/>
                      </a:lnTo>
                      <a:lnTo>
                        <a:pt x="86" y="238"/>
                      </a:lnTo>
                      <a:lnTo>
                        <a:pt x="86" y="238"/>
                      </a:lnTo>
                      <a:lnTo>
                        <a:pt x="86" y="237"/>
                      </a:lnTo>
                      <a:lnTo>
                        <a:pt x="85" y="237"/>
                      </a:lnTo>
                      <a:lnTo>
                        <a:pt x="86" y="236"/>
                      </a:lnTo>
                      <a:lnTo>
                        <a:pt x="86" y="236"/>
                      </a:lnTo>
                      <a:lnTo>
                        <a:pt x="85" y="235"/>
                      </a:lnTo>
                      <a:lnTo>
                        <a:pt x="85" y="234"/>
                      </a:lnTo>
                      <a:lnTo>
                        <a:pt x="84" y="234"/>
                      </a:lnTo>
                      <a:lnTo>
                        <a:pt x="84" y="234"/>
                      </a:lnTo>
                      <a:lnTo>
                        <a:pt x="84" y="234"/>
                      </a:lnTo>
                      <a:lnTo>
                        <a:pt x="84" y="233"/>
                      </a:lnTo>
                      <a:lnTo>
                        <a:pt x="83" y="232"/>
                      </a:lnTo>
                      <a:lnTo>
                        <a:pt x="83" y="232"/>
                      </a:lnTo>
                      <a:lnTo>
                        <a:pt x="82" y="232"/>
                      </a:lnTo>
                      <a:lnTo>
                        <a:pt x="82" y="231"/>
                      </a:lnTo>
                      <a:lnTo>
                        <a:pt x="82" y="230"/>
                      </a:lnTo>
                      <a:lnTo>
                        <a:pt x="82" y="230"/>
                      </a:lnTo>
                      <a:lnTo>
                        <a:pt x="82" y="229"/>
                      </a:lnTo>
                      <a:lnTo>
                        <a:pt x="82" y="229"/>
                      </a:lnTo>
                      <a:lnTo>
                        <a:pt x="82" y="228"/>
                      </a:lnTo>
                      <a:lnTo>
                        <a:pt x="81" y="228"/>
                      </a:lnTo>
                      <a:lnTo>
                        <a:pt x="81" y="227"/>
                      </a:lnTo>
                      <a:lnTo>
                        <a:pt x="81" y="227"/>
                      </a:lnTo>
                      <a:lnTo>
                        <a:pt x="80" y="227"/>
                      </a:lnTo>
                      <a:lnTo>
                        <a:pt x="80" y="226"/>
                      </a:lnTo>
                      <a:lnTo>
                        <a:pt x="80" y="225"/>
                      </a:lnTo>
                      <a:lnTo>
                        <a:pt x="80" y="225"/>
                      </a:lnTo>
                      <a:lnTo>
                        <a:pt x="80" y="224"/>
                      </a:lnTo>
                      <a:lnTo>
                        <a:pt x="81" y="224"/>
                      </a:lnTo>
                      <a:lnTo>
                        <a:pt x="81" y="223"/>
                      </a:lnTo>
                      <a:lnTo>
                        <a:pt x="81" y="223"/>
                      </a:lnTo>
                      <a:lnTo>
                        <a:pt x="81" y="222"/>
                      </a:lnTo>
                      <a:lnTo>
                        <a:pt x="81" y="221"/>
                      </a:lnTo>
                      <a:lnTo>
                        <a:pt x="81" y="221"/>
                      </a:lnTo>
                      <a:lnTo>
                        <a:pt x="81" y="220"/>
                      </a:lnTo>
                      <a:lnTo>
                        <a:pt x="81" y="219"/>
                      </a:lnTo>
                      <a:lnTo>
                        <a:pt x="81" y="219"/>
                      </a:lnTo>
                      <a:lnTo>
                        <a:pt x="81" y="218"/>
                      </a:lnTo>
                      <a:lnTo>
                        <a:pt x="80" y="218"/>
                      </a:lnTo>
                      <a:lnTo>
                        <a:pt x="80" y="217"/>
                      </a:lnTo>
                      <a:lnTo>
                        <a:pt x="80" y="217"/>
                      </a:lnTo>
                      <a:lnTo>
                        <a:pt x="80" y="217"/>
                      </a:lnTo>
                      <a:lnTo>
                        <a:pt x="79" y="217"/>
                      </a:lnTo>
                      <a:lnTo>
                        <a:pt x="79" y="216"/>
                      </a:lnTo>
                      <a:lnTo>
                        <a:pt x="79" y="215"/>
                      </a:lnTo>
                      <a:lnTo>
                        <a:pt x="78" y="215"/>
                      </a:lnTo>
                      <a:lnTo>
                        <a:pt x="78" y="215"/>
                      </a:lnTo>
                      <a:lnTo>
                        <a:pt x="77" y="214"/>
                      </a:lnTo>
                      <a:lnTo>
                        <a:pt x="77" y="213"/>
                      </a:lnTo>
                      <a:lnTo>
                        <a:pt x="77" y="213"/>
                      </a:lnTo>
                      <a:lnTo>
                        <a:pt x="77" y="212"/>
                      </a:lnTo>
                      <a:lnTo>
                        <a:pt x="77" y="212"/>
                      </a:lnTo>
                      <a:lnTo>
                        <a:pt x="77" y="211"/>
                      </a:lnTo>
                      <a:lnTo>
                        <a:pt x="77" y="211"/>
                      </a:lnTo>
                      <a:lnTo>
                        <a:pt x="76" y="211"/>
                      </a:lnTo>
                      <a:lnTo>
                        <a:pt x="77" y="211"/>
                      </a:lnTo>
                      <a:lnTo>
                        <a:pt x="77" y="210"/>
                      </a:lnTo>
                      <a:lnTo>
                        <a:pt x="76" y="210"/>
                      </a:lnTo>
                      <a:lnTo>
                        <a:pt x="75" y="209"/>
                      </a:lnTo>
                      <a:lnTo>
                        <a:pt x="75" y="209"/>
                      </a:lnTo>
                      <a:lnTo>
                        <a:pt x="74" y="209"/>
                      </a:lnTo>
                      <a:lnTo>
                        <a:pt x="73" y="209"/>
                      </a:lnTo>
                      <a:lnTo>
                        <a:pt x="73" y="209"/>
                      </a:lnTo>
                      <a:lnTo>
                        <a:pt x="73" y="208"/>
                      </a:lnTo>
                      <a:lnTo>
                        <a:pt x="72" y="208"/>
                      </a:lnTo>
                      <a:lnTo>
                        <a:pt x="71" y="208"/>
                      </a:lnTo>
                      <a:lnTo>
                        <a:pt x="71" y="208"/>
                      </a:lnTo>
                      <a:lnTo>
                        <a:pt x="70" y="208"/>
                      </a:lnTo>
                      <a:lnTo>
                        <a:pt x="69" y="208"/>
                      </a:lnTo>
                      <a:lnTo>
                        <a:pt x="69" y="208"/>
                      </a:lnTo>
                      <a:lnTo>
                        <a:pt x="69" y="208"/>
                      </a:lnTo>
                      <a:lnTo>
                        <a:pt x="68" y="208"/>
                      </a:lnTo>
                      <a:lnTo>
                        <a:pt x="68" y="208"/>
                      </a:lnTo>
                      <a:lnTo>
                        <a:pt x="67" y="208"/>
                      </a:lnTo>
                      <a:lnTo>
                        <a:pt x="67" y="208"/>
                      </a:lnTo>
                      <a:lnTo>
                        <a:pt x="66" y="207"/>
                      </a:lnTo>
                      <a:lnTo>
                        <a:pt x="65" y="207"/>
                      </a:lnTo>
                      <a:lnTo>
                        <a:pt x="65" y="206"/>
                      </a:lnTo>
                      <a:lnTo>
                        <a:pt x="65" y="206"/>
                      </a:lnTo>
                      <a:lnTo>
                        <a:pt x="65" y="206"/>
                      </a:lnTo>
                      <a:lnTo>
                        <a:pt x="65" y="205"/>
                      </a:lnTo>
                      <a:lnTo>
                        <a:pt x="64" y="205"/>
                      </a:lnTo>
                      <a:lnTo>
                        <a:pt x="63" y="205"/>
                      </a:lnTo>
                      <a:lnTo>
                        <a:pt x="63" y="205"/>
                      </a:lnTo>
                      <a:lnTo>
                        <a:pt x="62" y="205"/>
                      </a:lnTo>
                      <a:lnTo>
                        <a:pt x="61" y="205"/>
                      </a:lnTo>
                      <a:lnTo>
                        <a:pt x="61" y="204"/>
                      </a:lnTo>
                      <a:lnTo>
                        <a:pt x="60" y="204"/>
                      </a:lnTo>
                      <a:lnTo>
                        <a:pt x="60" y="204"/>
                      </a:lnTo>
                      <a:lnTo>
                        <a:pt x="59" y="204"/>
                      </a:lnTo>
                      <a:lnTo>
                        <a:pt x="59" y="203"/>
                      </a:lnTo>
                      <a:lnTo>
                        <a:pt x="59" y="202"/>
                      </a:lnTo>
                      <a:lnTo>
                        <a:pt x="58" y="202"/>
                      </a:lnTo>
                      <a:lnTo>
                        <a:pt x="58" y="202"/>
                      </a:lnTo>
                      <a:lnTo>
                        <a:pt x="58" y="201"/>
                      </a:lnTo>
                      <a:lnTo>
                        <a:pt x="58" y="201"/>
                      </a:lnTo>
                      <a:lnTo>
                        <a:pt x="58" y="200"/>
                      </a:lnTo>
                      <a:lnTo>
                        <a:pt x="57" y="200"/>
                      </a:lnTo>
                      <a:lnTo>
                        <a:pt x="56" y="200"/>
                      </a:lnTo>
                      <a:lnTo>
                        <a:pt x="56" y="199"/>
                      </a:lnTo>
                      <a:lnTo>
                        <a:pt x="56" y="198"/>
                      </a:lnTo>
                      <a:lnTo>
                        <a:pt x="56" y="198"/>
                      </a:lnTo>
                      <a:lnTo>
                        <a:pt x="55" y="198"/>
                      </a:lnTo>
                      <a:lnTo>
                        <a:pt x="55" y="197"/>
                      </a:lnTo>
                      <a:lnTo>
                        <a:pt x="54" y="197"/>
                      </a:lnTo>
                      <a:lnTo>
                        <a:pt x="54" y="196"/>
                      </a:lnTo>
                      <a:lnTo>
                        <a:pt x="54" y="196"/>
                      </a:lnTo>
                      <a:lnTo>
                        <a:pt x="53" y="196"/>
                      </a:lnTo>
                      <a:lnTo>
                        <a:pt x="52" y="196"/>
                      </a:lnTo>
                      <a:lnTo>
                        <a:pt x="52" y="196"/>
                      </a:lnTo>
                      <a:lnTo>
                        <a:pt x="51" y="196"/>
                      </a:lnTo>
                      <a:lnTo>
                        <a:pt x="51" y="196"/>
                      </a:lnTo>
                      <a:lnTo>
                        <a:pt x="50" y="196"/>
                      </a:lnTo>
                      <a:lnTo>
                        <a:pt x="50" y="196"/>
                      </a:lnTo>
                      <a:lnTo>
                        <a:pt x="49" y="197"/>
                      </a:lnTo>
                      <a:lnTo>
                        <a:pt x="48" y="197"/>
                      </a:lnTo>
                      <a:lnTo>
                        <a:pt x="48" y="198"/>
                      </a:lnTo>
                      <a:lnTo>
                        <a:pt x="48" y="198"/>
                      </a:lnTo>
                      <a:lnTo>
                        <a:pt x="48" y="197"/>
                      </a:lnTo>
                      <a:lnTo>
                        <a:pt x="47" y="197"/>
                      </a:lnTo>
                      <a:lnTo>
                        <a:pt x="47" y="196"/>
                      </a:lnTo>
                      <a:lnTo>
                        <a:pt x="46" y="196"/>
                      </a:lnTo>
                      <a:lnTo>
                        <a:pt x="46" y="195"/>
                      </a:lnTo>
                      <a:lnTo>
                        <a:pt x="45" y="195"/>
                      </a:lnTo>
                      <a:lnTo>
                        <a:pt x="44" y="195"/>
                      </a:lnTo>
                      <a:lnTo>
                        <a:pt x="44" y="195"/>
                      </a:lnTo>
                      <a:lnTo>
                        <a:pt x="44" y="196"/>
                      </a:lnTo>
                      <a:lnTo>
                        <a:pt x="43" y="195"/>
                      </a:lnTo>
                      <a:lnTo>
                        <a:pt x="42" y="195"/>
                      </a:lnTo>
                      <a:lnTo>
                        <a:pt x="42" y="194"/>
                      </a:lnTo>
                      <a:lnTo>
                        <a:pt x="42" y="194"/>
                      </a:lnTo>
                      <a:lnTo>
                        <a:pt x="41" y="194"/>
                      </a:lnTo>
                      <a:lnTo>
                        <a:pt x="41" y="194"/>
                      </a:lnTo>
                      <a:lnTo>
                        <a:pt x="41" y="193"/>
                      </a:lnTo>
                      <a:lnTo>
                        <a:pt x="41" y="192"/>
                      </a:lnTo>
                      <a:lnTo>
                        <a:pt x="40" y="192"/>
                      </a:lnTo>
                      <a:lnTo>
                        <a:pt x="40" y="192"/>
                      </a:lnTo>
                      <a:lnTo>
                        <a:pt x="40" y="191"/>
                      </a:lnTo>
                      <a:lnTo>
                        <a:pt x="39" y="191"/>
                      </a:lnTo>
                      <a:lnTo>
                        <a:pt x="39" y="190"/>
                      </a:lnTo>
                      <a:lnTo>
                        <a:pt x="39" y="189"/>
                      </a:lnTo>
                      <a:lnTo>
                        <a:pt x="39" y="189"/>
                      </a:lnTo>
                      <a:lnTo>
                        <a:pt x="38" y="189"/>
                      </a:lnTo>
                      <a:lnTo>
                        <a:pt x="37" y="189"/>
                      </a:lnTo>
                      <a:lnTo>
                        <a:pt x="38" y="189"/>
                      </a:lnTo>
                      <a:lnTo>
                        <a:pt x="38" y="188"/>
                      </a:lnTo>
                      <a:lnTo>
                        <a:pt x="38" y="187"/>
                      </a:lnTo>
                      <a:lnTo>
                        <a:pt x="37" y="187"/>
                      </a:lnTo>
                      <a:lnTo>
                        <a:pt x="38" y="186"/>
                      </a:lnTo>
                      <a:lnTo>
                        <a:pt x="37" y="185"/>
                      </a:lnTo>
                      <a:lnTo>
                        <a:pt x="37" y="185"/>
                      </a:lnTo>
                      <a:lnTo>
                        <a:pt x="37" y="184"/>
                      </a:lnTo>
                      <a:lnTo>
                        <a:pt x="37" y="184"/>
                      </a:lnTo>
                      <a:lnTo>
                        <a:pt x="37" y="183"/>
                      </a:lnTo>
                      <a:lnTo>
                        <a:pt x="36" y="182"/>
                      </a:lnTo>
                      <a:lnTo>
                        <a:pt x="35" y="181"/>
                      </a:lnTo>
                      <a:lnTo>
                        <a:pt x="35" y="181"/>
                      </a:lnTo>
                      <a:lnTo>
                        <a:pt x="35" y="180"/>
                      </a:lnTo>
                      <a:lnTo>
                        <a:pt x="35" y="179"/>
                      </a:lnTo>
                      <a:lnTo>
                        <a:pt x="35" y="179"/>
                      </a:lnTo>
                      <a:lnTo>
                        <a:pt x="35" y="179"/>
                      </a:lnTo>
                      <a:lnTo>
                        <a:pt x="35" y="178"/>
                      </a:lnTo>
                      <a:lnTo>
                        <a:pt x="34" y="177"/>
                      </a:lnTo>
                      <a:lnTo>
                        <a:pt x="34" y="177"/>
                      </a:lnTo>
                      <a:lnTo>
                        <a:pt x="33" y="177"/>
                      </a:lnTo>
                      <a:lnTo>
                        <a:pt x="33" y="176"/>
                      </a:lnTo>
                      <a:lnTo>
                        <a:pt x="33" y="176"/>
                      </a:lnTo>
                      <a:lnTo>
                        <a:pt x="33" y="175"/>
                      </a:lnTo>
                      <a:lnTo>
                        <a:pt x="31" y="175"/>
                      </a:lnTo>
                      <a:lnTo>
                        <a:pt x="31" y="174"/>
                      </a:lnTo>
                      <a:lnTo>
                        <a:pt x="31" y="174"/>
                      </a:lnTo>
                      <a:lnTo>
                        <a:pt x="31" y="173"/>
                      </a:lnTo>
                      <a:lnTo>
                        <a:pt x="31" y="173"/>
                      </a:lnTo>
                      <a:lnTo>
                        <a:pt x="31" y="172"/>
                      </a:lnTo>
                      <a:lnTo>
                        <a:pt x="30" y="172"/>
                      </a:lnTo>
                      <a:lnTo>
                        <a:pt x="31" y="172"/>
                      </a:lnTo>
                      <a:lnTo>
                        <a:pt x="31" y="172"/>
                      </a:lnTo>
                      <a:lnTo>
                        <a:pt x="31" y="171"/>
                      </a:lnTo>
                      <a:lnTo>
                        <a:pt x="32" y="171"/>
                      </a:lnTo>
                      <a:lnTo>
                        <a:pt x="33" y="171"/>
                      </a:lnTo>
                      <a:lnTo>
                        <a:pt x="33" y="171"/>
                      </a:lnTo>
                      <a:lnTo>
                        <a:pt x="33" y="171"/>
                      </a:lnTo>
                      <a:lnTo>
                        <a:pt x="34" y="171"/>
                      </a:lnTo>
                      <a:lnTo>
                        <a:pt x="35" y="171"/>
                      </a:lnTo>
                      <a:lnTo>
                        <a:pt x="35" y="170"/>
                      </a:lnTo>
                      <a:lnTo>
                        <a:pt x="35" y="170"/>
                      </a:lnTo>
                      <a:lnTo>
                        <a:pt x="36" y="170"/>
                      </a:lnTo>
                      <a:lnTo>
                        <a:pt x="36" y="169"/>
                      </a:lnTo>
                      <a:lnTo>
                        <a:pt x="37" y="169"/>
                      </a:lnTo>
                      <a:lnTo>
                        <a:pt x="37" y="169"/>
                      </a:lnTo>
                      <a:lnTo>
                        <a:pt x="38" y="169"/>
                      </a:lnTo>
                      <a:lnTo>
                        <a:pt x="39" y="169"/>
                      </a:lnTo>
                      <a:lnTo>
                        <a:pt x="39" y="168"/>
                      </a:lnTo>
                      <a:lnTo>
                        <a:pt x="39" y="169"/>
                      </a:lnTo>
                      <a:lnTo>
                        <a:pt x="39" y="169"/>
                      </a:lnTo>
                      <a:lnTo>
                        <a:pt x="39" y="168"/>
                      </a:lnTo>
                      <a:lnTo>
                        <a:pt x="40" y="168"/>
                      </a:lnTo>
                      <a:lnTo>
                        <a:pt x="40" y="168"/>
                      </a:lnTo>
                      <a:lnTo>
                        <a:pt x="41" y="168"/>
                      </a:lnTo>
                      <a:lnTo>
                        <a:pt x="42" y="167"/>
                      </a:lnTo>
                      <a:lnTo>
                        <a:pt x="42" y="167"/>
                      </a:lnTo>
                      <a:lnTo>
                        <a:pt x="42" y="166"/>
                      </a:lnTo>
                      <a:lnTo>
                        <a:pt x="43" y="166"/>
                      </a:lnTo>
                      <a:lnTo>
                        <a:pt x="44" y="166"/>
                      </a:lnTo>
                      <a:lnTo>
                        <a:pt x="44" y="166"/>
                      </a:lnTo>
                      <a:lnTo>
                        <a:pt x="44" y="165"/>
                      </a:lnTo>
                      <a:lnTo>
                        <a:pt x="45" y="165"/>
                      </a:lnTo>
                      <a:lnTo>
                        <a:pt x="45" y="164"/>
                      </a:lnTo>
                      <a:lnTo>
                        <a:pt x="46" y="164"/>
                      </a:lnTo>
                      <a:lnTo>
                        <a:pt x="46" y="163"/>
                      </a:lnTo>
                      <a:lnTo>
                        <a:pt x="46" y="162"/>
                      </a:lnTo>
                      <a:lnTo>
                        <a:pt x="46" y="161"/>
                      </a:lnTo>
                      <a:lnTo>
                        <a:pt x="46" y="160"/>
                      </a:lnTo>
                      <a:lnTo>
                        <a:pt x="47" y="160"/>
                      </a:lnTo>
                      <a:lnTo>
                        <a:pt x="47" y="160"/>
                      </a:lnTo>
                      <a:lnTo>
                        <a:pt x="48" y="160"/>
                      </a:lnTo>
                      <a:lnTo>
                        <a:pt x="48" y="160"/>
                      </a:lnTo>
                      <a:lnTo>
                        <a:pt x="48" y="159"/>
                      </a:lnTo>
                      <a:lnTo>
                        <a:pt x="49" y="159"/>
                      </a:lnTo>
                      <a:lnTo>
                        <a:pt x="50" y="159"/>
                      </a:lnTo>
                      <a:lnTo>
                        <a:pt x="50" y="158"/>
                      </a:lnTo>
                      <a:lnTo>
                        <a:pt x="50" y="158"/>
                      </a:lnTo>
                      <a:lnTo>
                        <a:pt x="50" y="158"/>
                      </a:lnTo>
                      <a:lnTo>
                        <a:pt x="51" y="158"/>
                      </a:lnTo>
                      <a:lnTo>
                        <a:pt x="52" y="157"/>
                      </a:lnTo>
                      <a:lnTo>
                        <a:pt x="50" y="157"/>
                      </a:lnTo>
                      <a:lnTo>
                        <a:pt x="51" y="157"/>
                      </a:lnTo>
                      <a:lnTo>
                        <a:pt x="51" y="156"/>
                      </a:lnTo>
                      <a:lnTo>
                        <a:pt x="52" y="156"/>
                      </a:lnTo>
                      <a:lnTo>
                        <a:pt x="52" y="156"/>
                      </a:lnTo>
                      <a:lnTo>
                        <a:pt x="52" y="156"/>
                      </a:lnTo>
                      <a:lnTo>
                        <a:pt x="53" y="156"/>
                      </a:lnTo>
                      <a:lnTo>
                        <a:pt x="53" y="155"/>
                      </a:lnTo>
                      <a:lnTo>
                        <a:pt x="54" y="155"/>
                      </a:lnTo>
                      <a:lnTo>
                        <a:pt x="54" y="155"/>
                      </a:lnTo>
                      <a:lnTo>
                        <a:pt x="54" y="154"/>
                      </a:lnTo>
                      <a:lnTo>
                        <a:pt x="55" y="154"/>
                      </a:lnTo>
                      <a:lnTo>
                        <a:pt x="54" y="154"/>
                      </a:lnTo>
                      <a:lnTo>
                        <a:pt x="55" y="154"/>
                      </a:lnTo>
                      <a:lnTo>
                        <a:pt x="56" y="154"/>
                      </a:lnTo>
                      <a:lnTo>
                        <a:pt x="56" y="154"/>
                      </a:lnTo>
                      <a:lnTo>
                        <a:pt x="56" y="153"/>
                      </a:lnTo>
                      <a:lnTo>
                        <a:pt x="56" y="153"/>
                      </a:lnTo>
                      <a:lnTo>
                        <a:pt x="57" y="153"/>
                      </a:lnTo>
                      <a:lnTo>
                        <a:pt x="57" y="152"/>
                      </a:lnTo>
                      <a:lnTo>
                        <a:pt x="58" y="152"/>
                      </a:lnTo>
                      <a:lnTo>
                        <a:pt x="58" y="152"/>
                      </a:lnTo>
                      <a:lnTo>
                        <a:pt x="59" y="152"/>
                      </a:lnTo>
                      <a:lnTo>
                        <a:pt x="59" y="152"/>
                      </a:lnTo>
                      <a:lnTo>
                        <a:pt x="60" y="152"/>
                      </a:lnTo>
                      <a:lnTo>
                        <a:pt x="60" y="152"/>
                      </a:lnTo>
                      <a:lnTo>
                        <a:pt x="60" y="152"/>
                      </a:lnTo>
                      <a:lnTo>
                        <a:pt x="61" y="152"/>
                      </a:lnTo>
                      <a:lnTo>
                        <a:pt x="61" y="152"/>
                      </a:lnTo>
                      <a:lnTo>
                        <a:pt x="61" y="152"/>
                      </a:lnTo>
                      <a:lnTo>
                        <a:pt x="61" y="153"/>
                      </a:lnTo>
                      <a:lnTo>
                        <a:pt x="61" y="154"/>
                      </a:lnTo>
                      <a:lnTo>
                        <a:pt x="62" y="154"/>
                      </a:lnTo>
                      <a:lnTo>
                        <a:pt x="63" y="154"/>
                      </a:lnTo>
                      <a:lnTo>
                        <a:pt x="63" y="153"/>
                      </a:lnTo>
                      <a:lnTo>
                        <a:pt x="64" y="153"/>
                      </a:lnTo>
                      <a:lnTo>
                        <a:pt x="64" y="152"/>
                      </a:lnTo>
                      <a:lnTo>
                        <a:pt x="64" y="152"/>
                      </a:lnTo>
                      <a:lnTo>
                        <a:pt x="65" y="151"/>
                      </a:lnTo>
                      <a:lnTo>
                        <a:pt x="65" y="151"/>
                      </a:lnTo>
                      <a:lnTo>
                        <a:pt x="66" y="151"/>
                      </a:lnTo>
                      <a:lnTo>
                        <a:pt x="66" y="150"/>
                      </a:lnTo>
                      <a:lnTo>
                        <a:pt x="67" y="150"/>
                      </a:lnTo>
                      <a:lnTo>
                        <a:pt x="68" y="151"/>
                      </a:lnTo>
                      <a:lnTo>
                        <a:pt x="69" y="152"/>
                      </a:lnTo>
                      <a:lnTo>
                        <a:pt x="69" y="153"/>
                      </a:lnTo>
                      <a:lnTo>
                        <a:pt x="70" y="153"/>
                      </a:lnTo>
                      <a:lnTo>
                        <a:pt x="70" y="154"/>
                      </a:lnTo>
                      <a:lnTo>
                        <a:pt x="70" y="153"/>
                      </a:lnTo>
                      <a:lnTo>
                        <a:pt x="71" y="153"/>
                      </a:lnTo>
                      <a:lnTo>
                        <a:pt x="71" y="154"/>
                      </a:lnTo>
                      <a:lnTo>
                        <a:pt x="71" y="154"/>
                      </a:lnTo>
                      <a:lnTo>
                        <a:pt x="71" y="154"/>
                      </a:lnTo>
                      <a:lnTo>
                        <a:pt x="71" y="154"/>
                      </a:lnTo>
                      <a:lnTo>
                        <a:pt x="72" y="154"/>
                      </a:lnTo>
                      <a:lnTo>
                        <a:pt x="72" y="154"/>
                      </a:lnTo>
                      <a:lnTo>
                        <a:pt x="72" y="155"/>
                      </a:lnTo>
                      <a:lnTo>
                        <a:pt x="73" y="156"/>
                      </a:lnTo>
                      <a:lnTo>
                        <a:pt x="73" y="156"/>
                      </a:lnTo>
                      <a:lnTo>
                        <a:pt x="73" y="157"/>
                      </a:lnTo>
                      <a:lnTo>
                        <a:pt x="73" y="158"/>
                      </a:lnTo>
                      <a:lnTo>
                        <a:pt x="74" y="158"/>
                      </a:lnTo>
                      <a:lnTo>
                        <a:pt x="75" y="157"/>
                      </a:lnTo>
                      <a:lnTo>
                        <a:pt x="75" y="156"/>
                      </a:lnTo>
                      <a:lnTo>
                        <a:pt x="75" y="156"/>
                      </a:lnTo>
                      <a:lnTo>
                        <a:pt x="76" y="155"/>
                      </a:lnTo>
                      <a:lnTo>
                        <a:pt x="76" y="154"/>
                      </a:lnTo>
                      <a:lnTo>
                        <a:pt x="76" y="154"/>
                      </a:lnTo>
                      <a:lnTo>
                        <a:pt x="76" y="153"/>
                      </a:lnTo>
                      <a:lnTo>
                        <a:pt x="76" y="152"/>
                      </a:lnTo>
                      <a:lnTo>
                        <a:pt x="76" y="152"/>
                      </a:lnTo>
                      <a:lnTo>
                        <a:pt x="77" y="152"/>
                      </a:lnTo>
                      <a:lnTo>
                        <a:pt x="77" y="151"/>
                      </a:lnTo>
                      <a:lnTo>
                        <a:pt x="77" y="151"/>
                      </a:lnTo>
                      <a:lnTo>
                        <a:pt x="77" y="150"/>
                      </a:lnTo>
                      <a:lnTo>
                        <a:pt x="77" y="149"/>
                      </a:lnTo>
                      <a:lnTo>
                        <a:pt x="77" y="149"/>
                      </a:lnTo>
                      <a:lnTo>
                        <a:pt x="77" y="149"/>
                      </a:lnTo>
                      <a:lnTo>
                        <a:pt x="77" y="148"/>
                      </a:lnTo>
                      <a:lnTo>
                        <a:pt x="77" y="147"/>
                      </a:lnTo>
                      <a:lnTo>
                        <a:pt x="77" y="147"/>
                      </a:lnTo>
                      <a:lnTo>
                        <a:pt x="77" y="146"/>
                      </a:lnTo>
                      <a:lnTo>
                        <a:pt x="76" y="146"/>
                      </a:lnTo>
                      <a:lnTo>
                        <a:pt x="76" y="145"/>
                      </a:lnTo>
                      <a:lnTo>
                        <a:pt x="75" y="145"/>
                      </a:lnTo>
                      <a:lnTo>
                        <a:pt x="75" y="145"/>
                      </a:lnTo>
                      <a:lnTo>
                        <a:pt x="75" y="145"/>
                      </a:lnTo>
                      <a:lnTo>
                        <a:pt x="75" y="144"/>
                      </a:lnTo>
                      <a:lnTo>
                        <a:pt x="75" y="143"/>
                      </a:lnTo>
                      <a:lnTo>
                        <a:pt x="75" y="143"/>
                      </a:lnTo>
                      <a:lnTo>
                        <a:pt x="74" y="143"/>
                      </a:lnTo>
                      <a:lnTo>
                        <a:pt x="74" y="142"/>
                      </a:lnTo>
                      <a:lnTo>
                        <a:pt x="74" y="141"/>
                      </a:lnTo>
                      <a:lnTo>
                        <a:pt x="74" y="142"/>
                      </a:lnTo>
                      <a:lnTo>
                        <a:pt x="73" y="142"/>
                      </a:lnTo>
                      <a:lnTo>
                        <a:pt x="73" y="141"/>
                      </a:lnTo>
                      <a:lnTo>
                        <a:pt x="73" y="141"/>
                      </a:lnTo>
                      <a:lnTo>
                        <a:pt x="73" y="141"/>
                      </a:lnTo>
                      <a:lnTo>
                        <a:pt x="72" y="141"/>
                      </a:lnTo>
                      <a:lnTo>
                        <a:pt x="72" y="140"/>
                      </a:lnTo>
                      <a:lnTo>
                        <a:pt x="71" y="140"/>
                      </a:lnTo>
                      <a:lnTo>
                        <a:pt x="71" y="140"/>
                      </a:lnTo>
                      <a:lnTo>
                        <a:pt x="71" y="140"/>
                      </a:lnTo>
                      <a:lnTo>
                        <a:pt x="71" y="139"/>
                      </a:lnTo>
                      <a:lnTo>
                        <a:pt x="72" y="139"/>
                      </a:lnTo>
                      <a:lnTo>
                        <a:pt x="72" y="139"/>
                      </a:lnTo>
                      <a:lnTo>
                        <a:pt x="72" y="138"/>
                      </a:lnTo>
                      <a:lnTo>
                        <a:pt x="73" y="138"/>
                      </a:lnTo>
                      <a:lnTo>
                        <a:pt x="73" y="137"/>
                      </a:lnTo>
                      <a:lnTo>
                        <a:pt x="73" y="137"/>
                      </a:lnTo>
                      <a:lnTo>
                        <a:pt x="73" y="136"/>
                      </a:lnTo>
                      <a:lnTo>
                        <a:pt x="73" y="135"/>
                      </a:lnTo>
                      <a:lnTo>
                        <a:pt x="72" y="135"/>
                      </a:lnTo>
                      <a:lnTo>
                        <a:pt x="72" y="135"/>
                      </a:lnTo>
                      <a:lnTo>
                        <a:pt x="72" y="134"/>
                      </a:lnTo>
                      <a:lnTo>
                        <a:pt x="71" y="134"/>
                      </a:lnTo>
                      <a:lnTo>
                        <a:pt x="72" y="134"/>
                      </a:lnTo>
                      <a:lnTo>
                        <a:pt x="71" y="134"/>
                      </a:lnTo>
                      <a:lnTo>
                        <a:pt x="71" y="133"/>
                      </a:lnTo>
                      <a:lnTo>
                        <a:pt x="71" y="133"/>
                      </a:lnTo>
                      <a:lnTo>
                        <a:pt x="71" y="133"/>
                      </a:lnTo>
                      <a:lnTo>
                        <a:pt x="71" y="133"/>
                      </a:lnTo>
                      <a:lnTo>
                        <a:pt x="71" y="133"/>
                      </a:lnTo>
                      <a:lnTo>
                        <a:pt x="71" y="132"/>
                      </a:lnTo>
                      <a:lnTo>
                        <a:pt x="71" y="131"/>
                      </a:lnTo>
                      <a:lnTo>
                        <a:pt x="70" y="131"/>
                      </a:lnTo>
                      <a:lnTo>
                        <a:pt x="70" y="131"/>
                      </a:lnTo>
                      <a:lnTo>
                        <a:pt x="70" y="130"/>
                      </a:lnTo>
                      <a:lnTo>
                        <a:pt x="70" y="129"/>
                      </a:lnTo>
                      <a:lnTo>
                        <a:pt x="69" y="129"/>
                      </a:lnTo>
                      <a:lnTo>
                        <a:pt x="70" y="129"/>
                      </a:lnTo>
                      <a:lnTo>
                        <a:pt x="69" y="129"/>
                      </a:lnTo>
                      <a:lnTo>
                        <a:pt x="69" y="128"/>
                      </a:lnTo>
                      <a:lnTo>
                        <a:pt x="69" y="128"/>
                      </a:lnTo>
                      <a:lnTo>
                        <a:pt x="68" y="128"/>
                      </a:lnTo>
                      <a:lnTo>
                        <a:pt x="67" y="128"/>
                      </a:lnTo>
                      <a:lnTo>
                        <a:pt x="67" y="128"/>
                      </a:lnTo>
                      <a:lnTo>
                        <a:pt x="66" y="128"/>
                      </a:lnTo>
                      <a:lnTo>
                        <a:pt x="66" y="128"/>
                      </a:lnTo>
                      <a:lnTo>
                        <a:pt x="66" y="127"/>
                      </a:lnTo>
                      <a:lnTo>
                        <a:pt x="67" y="127"/>
                      </a:lnTo>
                      <a:lnTo>
                        <a:pt x="67" y="126"/>
                      </a:lnTo>
                      <a:lnTo>
                        <a:pt x="67" y="126"/>
                      </a:lnTo>
                      <a:lnTo>
                        <a:pt x="68" y="126"/>
                      </a:lnTo>
                      <a:lnTo>
                        <a:pt x="68" y="125"/>
                      </a:lnTo>
                      <a:lnTo>
                        <a:pt x="68" y="124"/>
                      </a:lnTo>
                      <a:lnTo>
                        <a:pt x="67" y="124"/>
                      </a:lnTo>
                      <a:lnTo>
                        <a:pt x="67" y="124"/>
                      </a:lnTo>
                      <a:lnTo>
                        <a:pt x="68" y="124"/>
                      </a:lnTo>
                      <a:lnTo>
                        <a:pt x="67" y="124"/>
                      </a:lnTo>
                      <a:lnTo>
                        <a:pt x="67" y="123"/>
                      </a:lnTo>
                      <a:lnTo>
                        <a:pt x="67" y="122"/>
                      </a:lnTo>
                      <a:lnTo>
                        <a:pt x="67" y="122"/>
                      </a:lnTo>
                      <a:lnTo>
                        <a:pt x="68" y="122"/>
                      </a:lnTo>
                      <a:lnTo>
                        <a:pt x="69" y="122"/>
                      </a:lnTo>
                      <a:lnTo>
                        <a:pt x="69" y="121"/>
                      </a:lnTo>
                      <a:lnTo>
                        <a:pt x="69" y="121"/>
                      </a:lnTo>
                      <a:lnTo>
                        <a:pt x="69" y="120"/>
                      </a:lnTo>
                      <a:lnTo>
                        <a:pt x="69" y="120"/>
                      </a:lnTo>
                      <a:lnTo>
                        <a:pt x="69" y="120"/>
                      </a:lnTo>
                      <a:lnTo>
                        <a:pt x="70" y="120"/>
                      </a:lnTo>
                      <a:lnTo>
                        <a:pt x="70" y="119"/>
                      </a:lnTo>
                      <a:lnTo>
                        <a:pt x="70" y="118"/>
                      </a:lnTo>
                      <a:lnTo>
                        <a:pt x="70" y="118"/>
                      </a:lnTo>
                      <a:lnTo>
                        <a:pt x="70" y="117"/>
                      </a:lnTo>
                      <a:lnTo>
                        <a:pt x="71" y="117"/>
                      </a:lnTo>
                      <a:lnTo>
                        <a:pt x="71" y="116"/>
                      </a:lnTo>
                      <a:lnTo>
                        <a:pt x="71" y="116"/>
                      </a:lnTo>
                      <a:lnTo>
                        <a:pt x="71" y="116"/>
                      </a:lnTo>
                      <a:lnTo>
                        <a:pt x="72" y="116"/>
                      </a:lnTo>
                      <a:lnTo>
                        <a:pt x="72" y="115"/>
                      </a:lnTo>
                      <a:lnTo>
                        <a:pt x="72" y="114"/>
                      </a:lnTo>
                      <a:lnTo>
                        <a:pt x="72" y="114"/>
                      </a:lnTo>
                      <a:lnTo>
                        <a:pt x="73" y="114"/>
                      </a:lnTo>
                      <a:lnTo>
                        <a:pt x="73" y="114"/>
                      </a:lnTo>
                      <a:lnTo>
                        <a:pt x="73" y="113"/>
                      </a:lnTo>
                      <a:lnTo>
                        <a:pt x="74" y="113"/>
                      </a:lnTo>
                      <a:lnTo>
                        <a:pt x="74" y="112"/>
                      </a:lnTo>
                      <a:lnTo>
                        <a:pt x="75" y="112"/>
                      </a:lnTo>
                      <a:lnTo>
                        <a:pt x="75" y="112"/>
                      </a:lnTo>
                      <a:lnTo>
                        <a:pt x="75" y="113"/>
                      </a:lnTo>
                      <a:lnTo>
                        <a:pt x="76" y="113"/>
                      </a:lnTo>
                      <a:lnTo>
                        <a:pt x="76" y="114"/>
                      </a:lnTo>
                      <a:lnTo>
                        <a:pt x="77" y="114"/>
                      </a:lnTo>
                      <a:lnTo>
                        <a:pt x="77" y="115"/>
                      </a:lnTo>
                      <a:lnTo>
                        <a:pt x="77" y="116"/>
                      </a:lnTo>
                      <a:lnTo>
                        <a:pt x="78" y="116"/>
                      </a:lnTo>
                      <a:lnTo>
                        <a:pt x="79" y="117"/>
                      </a:lnTo>
                      <a:lnTo>
                        <a:pt x="79" y="118"/>
                      </a:lnTo>
                      <a:lnTo>
                        <a:pt x="80" y="118"/>
                      </a:lnTo>
                      <a:lnTo>
                        <a:pt x="80" y="118"/>
                      </a:lnTo>
                      <a:lnTo>
                        <a:pt x="80" y="117"/>
                      </a:lnTo>
                      <a:lnTo>
                        <a:pt x="80" y="116"/>
                      </a:lnTo>
                      <a:lnTo>
                        <a:pt x="80" y="116"/>
                      </a:lnTo>
                      <a:lnTo>
                        <a:pt x="81" y="116"/>
                      </a:lnTo>
                      <a:lnTo>
                        <a:pt x="81" y="115"/>
                      </a:lnTo>
                      <a:lnTo>
                        <a:pt x="81" y="116"/>
                      </a:lnTo>
                      <a:lnTo>
                        <a:pt x="81" y="115"/>
                      </a:lnTo>
                      <a:lnTo>
                        <a:pt x="82" y="115"/>
                      </a:lnTo>
                      <a:lnTo>
                        <a:pt x="82" y="114"/>
                      </a:lnTo>
                      <a:lnTo>
                        <a:pt x="82" y="115"/>
                      </a:lnTo>
                      <a:lnTo>
                        <a:pt x="82" y="115"/>
                      </a:lnTo>
                      <a:lnTo>
                        <a:pt x="83" y="114"/>
                      </a:lnTo>
                      <a:lnTo>
                        <a:pt x="83" y="115"/>
                      </a:lnTo>
                      <a:lnTo>
                        <a:pt x="83" y="114"/>
                      </a:lnTo>
                      <a:lnTo>
                        <a:pt x="84" y="114"/>
                      </a:lnTo>
                      <a:lnTo>
                        <a:pt x="84" y="114"/>
                      </a:lnTo>
                      <a:lnTo>
                        <a:pt x="84" y="114"/>
                      </a:lnTo>
                      <a:lnTo>
                        <a:pt x="85" y="114"/>
                      </a:lnTo>
                      <a:lnTo>
                        <a:pt x="85" y="114"/>
                      </a:lnTo>
                      <a:lnTo>
                        <a:pt x="84" y="115"/>
                      </a:lnTo>
                      <a:lnTo>
                        <a:pt x="85" y="115"/>
                      </a:lnTo>
                      <a:lnTo>
                        <a:pt x="85" y="116"/>
                      </a:lnTo>
                      <a:lnTo>
                        <a:pt x="85" y="116"/>
                      </a:lnTo>
                      <a:lnTo>
                        <a:pt x="86" y="116"/>
                      </a:lnTo>
                      <a:lnTo>
                        <a:pt x="86" y="116"/>
                      </a:lnTo>
                      <a:lnTo>
                        <a:pt x="86" y="116"/>
                      </a:lnTo>
                      <a:lnTo>
                        <a:pt x="86" y="116"/>
                      </a:lnTo>
                      <a:lnTo>
                        <a:pt x="87" y="116"/>
                      </a:lnTo>
                      <a:lnTo>
                        <a:pt x="87" y="116"/>
                      </a:lnTo>
                      <a:lnTo>
                        <a:pt x="88" y="116"/>
                      </a:lnTo>
                      <a:lnTo>
                        <a:pt x="88" y="115"/>
                      </a:lnTo>
                      <a:lnTo>
                        <a:pt x="87" y="115"/>
                      </a:lnTo>
                      <a:lnTo>
                        <a:pt x="87" y="114"/>
                      </a:lnTo>
                      <a:lnTo>
                        <a:pt x="87" y="114"/>
                      </a:lnTo>
                      <a:lnTo>
                        <a:pt x="86" y="114"/>
                      </a:lnTo>
                      <a:lnTo>
                        <a:pt x="86" y="113"/>
                      </a:lnTo>
                      <a:lnTo>
                        <a:pt x="86" y="112"/>
                      </a:lnTo>
                      <a:lnTo>
                        <a:pt x="86" y="112"/>
                      </a:lnTo>
                      <a:lnTo>
                        <a:pt x="85" y="112"/>
                      </a:lnTo>
                      <a:lnTo>
                        <a:pt x="84" y="112"/>
                      </a:lnTo>
                      <a:lnTo>
                        <a:pt x="84" y="112"/>
                      </a:lnTo>
                      <a:lnTo>
                        <a:pt x="84" y="112"/>
                      </a:lnTo>
                      <a:lnTo>
                        <a:pt x="84" y="112"/>
                      </a:lnTo>
                      <a:lnTo>
                        <a:pt x="83" y="112"/>
                      </a:lnTo>
                      <a:lnTo>
                        <a:pt x="82" y="112"/>
                      </a:lnTo>
                      <a:lnTo>
                        <a:pt x="82" y="112"/>
                      </a:lnTo>
                      <a:lnTo>
                        <a:pt x="81" y="112"/>
                      </a:lnTo>
                      <a:lnTo>
                        <a:pt x="80" y="112"/>
                      </a:lnTo>
                      <a:lnTo>
                        <a:pt x="80" y="112"/>
                      </a:lnTo>
                      <a:lnTo>
                        <a:pt x="80" y="112"/>
                      </a:lnTo>
                      <a:lnTo>
                        <a:pt x="79" y="112"/>
                      </a:lnTo>
                      <a:lnTo>
                        <a:pt x="79" y="113"/>
                      </a:lnTo>
                      <a:lnTo>
                        <a:pt x="78" y="113"/>
                      </a:lnTo>
                      <a:lnTo>
                        <a:pt x="77" y="113"/>
                      </a:lnTo>
                      <a:lnTo>
                        <a:pt x="77" y="112"/>
                      </a:lnTo>
                      <a:lnTo>
                        <a:pt x="77" y="112"/>
                      </a:lnTo>
                      <a:lnTo>
                        <a:pt x="77" y="112"/>
                      </a:lnTo>
                      <a:lnTo>
                        <a:pt x="76" y="112"/>
                      </a:lnTo>
                      <a:lnTo>
                        <a:pt x="76" y="111"/>
                      </a:lnTo>
                      <a:lnTo>
                        <a:pt x="76" y="112"/>
                      </a:lnTo>
                      <a:lnTo>
                        <a:pt x="75" y="112"/>
                      </a:lnTo>
                      <a:lnTo>
                        <a:pt x="75" y="112"/>
                      </a:lnTo>
                      <a:lnTo>
                        <a:pt x="75" y="112"/>
                      </a:lnTo>
                      <a:lnTo>
                        <a:pt x="75" y="112"/>
                      </a:lnTo>
                      <a:lnTo>
                        <a:pt x="74" y="112"/>
                      </a:lnTo>
                      <a:lnTo>
                        <a:pt x="74" y="111"/>
                      </a:lnTo>
                      <a:lnTo>
                        <a:pt x="73" y="111"/>
                      </a:lnTo>
                      <a:lnTo>
                        <a:pt x="73" y="110"/>
                      </a:lnTo>
                      <a:lnTo>
                        <a:pt x="73" y="110"/>
                      </a:lnTo>
                      <a:lnTo>
                        <a:pt x="72" y="110"/>
                      </a:lnTo>
                      <a:lnTo>
                        <a:pt x="72" y="109"/>
                      </a:lnTo>
                      <a:lnTo>
                        <a:pt x="71" y="109"/>
                      </a:lnTo>
                      <a:lnTo>
                        <a:pt x="71" y="109"/>
                      </a:lnTo>
                      <a:lnTo>
                        <a:pt x="71" y="109"/>
                      </a:lnTo>
                      <a:lnTo>
                        <a:pt x="71" y="108"/>
                      </a:lnTo>
                      <a:lnTo>
                        <a:pt x="71" y="107"/>
                      </a:lnTo>
                      <a:lnTo>
                        <a:pt x="70" y="107"/>
                      </a:lnTo>
                      <a:lnTo>
                        <a:pt x="70" y="107"/>
                      </a:lnTo>
                      <a:lnTo>
                        <a:pt x="69" y="107"/>
                      </a:lnTo>
                      <a:lnTo>
                        <a:pt x="69" y="106"/>
                      </a:lnTo>
                      <a:lnTo>
                        <a:pt x="70" y="106"/>
                      </a:lnTo>
                      <a:lnTo>
                        <a:pt x="69" y="105"/>
                      </a:lnTo>
                      <a:lnTo>
                        <a:pt x="69" y="105"/>
                      </a:lnTo>
                      <a:lnTo>
                        <a:pt x="70" y="105"/>
                      </a:lnTo>
                      <a:lnTo>
                        <a:pt x="70" y="104"/>
                      </a:lnTo>
                      <a:lnTo>
                        <a:pt x="70" y="103"/>
                      </a:lnTo>
                      <a:lnTo>
                        <a:pt x="71" y="103"/>
                      </a:lnTo>
                      <a:lnTo>
                        <a:pt x="70" y="103"/>
                      </a:lnTo>
                      <a:lnTo>
                        <a:pt x="70" y="103"/>
                      </a:lnTo>
                      <a:lnTo>
                        <a:pt x="71" y="103"/>
                      </a:lnTo>
                      <a:lnTo>
                        <a:pt x="71" y="102"/>
                      </a:lnTo>
                      <a:lnTo>
                        <a:pt x="71" y="102"/>
                      </a:lnTo>
                      <a:lnTo>
                        <a:pt x="72" y="102"/>
                      </a:lnTo>
                      <a:lnTo>
                        <a:pt x="72" y="101"/>
                      </a:lnTo>
                      <a:lnTo>
                        <a:pt x="72" y="101"/>
                      </a:lnTo>
                      <a:lnTo>
                        <a:pt x="72" y="100"/>
                      </a:lnTo>
                      <a:lnTo>
                        <a:pt x="72" y="99"/>
                      </a:lnTo>
                      <a:lnTo>
                        <a:pt x="73" y="99"/>
                      </a:lnTo>
                      <a:lnTo>
                        <a:pt x="73" y="99"/>
                      </a:lnTo>
                      <a:lnTo>
                        <a:pt x="73" y="98"/>
                      </a:lnTo>
                      <a:lnTo>
                        <a:pt x="73" y="97"/>
                      </a:lnTo>
                      <a:lnTo>
                        <a:pt x="73" y="97"/>
                      </a:lnTo>
                      <a:lnTo>
                        <a:pt x="73" y="97"/>
                      </a:lnTo>
                      <a:lnTo>
                        <a:pt x="73" y="97"/>
                      </a:lnTo>
                      <a:lnTo>
                        <a:pt x="74" y="97"/>
                      </a:lnTo>
                      <a:lnTo>
                        <a:pt x="74" y="97"/>
                      </a:lnTo>
                      <a:lnTo>
                        <a:pt x="74" y="96"/>
                      </a:lnTo>
                      <a:lnTo>
                        <a:pt x="73" y="96"/>
                      </a:lnTo>
                      <a:lnTo>
                        <a:pt x="74" y="96"/>
                      </a:lnTo>
                      <a:lnTo>
                        <a:pt x="73" y="96"/>
                      </a:lnTo>
                      <a:lnTo>
                        <a:pt x="74" y="96"/>
                      </a:lnTo>
                      <a:lnTo>
                        <a:pt x="74" y="95"/>
                      </a:lnTo>
                      <a:lnTo>
                        <a:pt x="75" y="95"/>
                      </a:lnTo>
                      <a:lnTo>
                        <a:pt x="75" y="95"/>
                      </a:lnTo>
                      <a:lnTo>
                        <a:pt x="75" y="95"/>
                      </a:lnTo>
                      <a:lnTo>
                        <a:pt x="75" y="94"/>
                      </a:lnTo>
                      <a:lnTo>
                        <a:pt x="76" y="94"/>
                      </a:lnTo>
                      <a:lnTo>
                        <a:pt x="75" y="94"/>
                      </a:lnTo>
                      <a:lnTo>
                        <a:pt x="76" y="94"/>
                      </a:lnTo>
                      <a:lnTo>
                        <a:pt x="76" y="93"/>
                      </a:lnTo>
                      <a:lnTo>
                        <a:pt x="76" y="93"/>
                      </a:lnTo>
                      <a:lnTo>
                        <a:pt x="75" y="93"/>
                      </a:lnTo>
                      <a:lnTo>
                        <a:pt x="75" y="93"/>
                      </a:lnTo>
                      <a:lnTo>
                        <a:pt x="75" y="92"/>
                      </a:lnTo>
                      <a:lnTo>
                        <a:pt x="74" y="92"/>
                      </a:lnTo>
                      <a:lnTo>
                        <a:pt x="74" y="91"/>
                      </a:lnTo>
                      <a:lnTo>
                        <a:pt x="73" y="91"/>
                      </a:lnTo>
                      <a:lnTo>
                        <a:pt x="73" y="90"/>
                      </a:lnTo>
                      <a:lnTo>
                        <a:pt x="73" y="90"/>
                      </a:lnTo>
                      <a:lnTo>
                        <a:pt x="73" y="90"/>
                      </a:lnTo>
                      <a:lnTo>
                        <a:pt x="73" y="89"/>
                      </a:lnTo>
                      <a:lnTo>
                        <a:pt x="73" y="88"/>
                      </a:lnTo>
                      <a:lnTo>
                        <a:pt x="73" y="88"/>
                      </a:lnTo>
                      <a:lnTo>
                        <a:pt x="73" y="87"/>
                      </a:lnTo>
                      <a:lnTo>
                        <a:pt x="72" y="87"/>
                      </a:lnTo>
                      <a:lnTo>
                        <a:pt x="72" y="86"/>
                      </a:lnTo>
                      <a:lnTo>
                        <a:pt x="72" y="86"/>
                      </a:lnTo>
                      <a:lnTo>
                        <a:pt x="72" y="85"/>
                      </a:lnTo>
                      <a:lnTo>
                        <a:pt x="72" y="84"/>
                      </a:lnTo>
                      <a:lnTo>
                        <a:pt x="71" y="84"/>
                      </a:lnTo>
                      <a:lnTo>
                        <a:pt x="72" y="84"/>
                      </a:lnTo>
                      <a:lnTo>
                        <a:pt x="72" y="84"/>
                      </a:lnTo>
                      <a:lnTo>
                        <a:pt x="72" y="83"/>
                      </a:lnTo>
                      <a:lnTo>
                        <a:pt x="71" y="83"/>
                      </a:lnTo>
                      <a:lnTo>
                        <a:pt x="71" y="82"/>
                      </a:lnTo>
                      <a:lnTo>
                        <a:pt x="72" y="82"/>
                      </a:lnTo>
                      <a:lnTo>
                        <a:pt x="73" y="82"/>
                      </a:lnTo>
                      <a:lnTo>
                        <a:pt x="73" y="82"/>
                      </a:lnTo>
                      <a:lnTo>
                        <a:pt x="73" y="81"/>
                      </a:lnTo>
                      <a:lnTo>
                        <a:pt x="73" y="81"/>
                      </a:lnTo>
                      <a:lnTo>
                        <a:pt x="73" y="80"/>
                      </a:lnTo>
                      <a:lnTo>
                        <a:pt x="73" y="80"/>
                      </a:lnTo>
                      <a:lnTo>
                        <a:pt x="74" y="80"/>
                      </a:lnTo>
                      <a:lnTo>
                        <a:pt x="75" y="80"/>
                      </a:lnTo>
                      <a:lnTo>
                        <a:pt x="75" y="81"/>
                      </a:lnTo>
                      <a:lnTo>
                        <a:pt x="75" y="80"/>
                      </a:lnTo>
                      <a:lnTo>
                        <a:pt x="76" y="80"/>
                      </a:lnTo>
                      <a:lnTo>
                        <a:pt x="77" y="80"/>
                      </a:lnTo>
                      <a:lnTo>
                        <a:pt x="77" y="80"/>
                      </a:lnTo>
                      <a:lnTo>
                        <a:pt x="77" y="81"/>
                      </a:lnTo>
                      <a:lnTo>
                        <a:pt x="78" y="81"/>
                      </a:lnTo>
                      <a:lnTo>
                        <a:pt x="78" y="80"/>
                      </a:lnTo>
                      <a:lnTo>
                        <a:pt x="79" y="80"/>
                      </a:lnTo>
                      <a:lnTo>
                        <a:pt x="79" y="80"/>
                      </a:lnTo>
                      <a:lnTo>
                        <a:pt x="80" y="80"/>
                      </a:lnTo>
                      <a:lnTo>
                        <a:pt x="80" y="79"/>
                      </a:lnTo>
                      <a:lnTo>
                        <a:pt x="80" y="78"/>
                      </a:lnTo>
                      <a:lnTo>
                        <a:pt x="80" y="78"/>
                      </a:lnTo>
                      <a:lnTo>
                        <a:pt x="80" y="78"/>
                      </a:lnTo>
                      <a:lnTo>
                        <a:pt x="80" y="77"/>
                      </a:lnTo>
                      <a:lnTo>
                        <a:pt x="81" y="77"/>
                      </a:lnTo>
                      <a:lnTo>
                        <a:pt x="81" y="76"/>
                      </a:lnTo>
                      <a:lnTo>
                        <a:pt x="80" y="76"/>
                      </a:lnTo>
                      <a:lnTo>
                        <a:pt x="80" y="76"/>
                      </a:lnTo>
                      <a:lnTo>
                        <a:pt x="80" y="76"/>
                      </a:lnTo>
                      <a:lnTo>
                        <a:pt x="79" y="76"/>
                      </a:lnTo>
                      <a:lnTo>
                        <a:pt x="79" y="75"/>
                      </a:lnTo>
                      <a:lnTo>
                        <a:pt x="79" y="74"/>
                      </a:lnTo>
                      <a:lnTo>
                        <a:pt x="78" y="74"/>
                      </a:lnTo>
                      <a:lnTo>
                        <a:pt x="78" y="74"/>
                      </a:lnTo>
                      <a:lnTo>
                        <a:pt x="77" y="73"/>
                      </a:lnTo>
                      <a:lnTo>
                        <a:pt x="77" y="72"/>
                      </a:lnTo>
                      <a:lnTo>
                        <a:pt x="77" y="72"/>
                      </a:lnTo>
                      <a:lnTo>
                        <a:pt x="76" y="72"/>
                      </a:lnTo>
                      <a:lnTo>
                        <a:pt x="76" y="71"/>
                      </a:lnTo>
                      <a:lnTo>
                        <a:pt x="75" y="71"/>
                      </a:lnTo>
                      <a:lnTo>
                        <a:pt x="75" y="70"/>
                      </a:lnTo>
                      <a:lnTo>
                        <a:pt x="75" y="70"/>
                      </a:lnTo>
                      <a:lnTo>
                        <a:pt x="75" y="69"/>
                      </a:lnTo>
                      <a:lnTo>
                        <a:pt x="74" y="69"/>
                      </a:lnTo>
                      <a:lnTo>
                        <a:pt x="73" y="69"/>
                      </a:lnTo>
                      <a:lnTo>
                        <a:pt x="73" y="69"/>
                      </a:lnTo>
                      <a:lnTo>
                        <a:pt x="73" y="69"/>
                      </a:lnTo>
                      <a:lnTo>
                        <a:pt x="72" y="69"/>
                      </a:lnTo>
                      <a:lnTo>
                        <a:pt x="72" y="68"/>
                      </a:lnTo>
                      <a:lnTo>
                        <a:pt x="71" y="68"/>
                      </a:lnTo>
                      <a:lnTo>
                        <a:pt x="71" y="67"/>
                      </a:lnTo>
                      <a:lnTo>
                        <a:pt x="70" y="67"/>
                      </a:lnTo>
                      <a:lnTo>
                        <a:pt x="69" y="67"/>
                      </a:lnTo>
                      <a:lnTo>
                        <a:pt x="69" y="67"/>
                      </a:lnTo>
                      <a:lnTo>
                        <a:pt x="69" y="67"/>
                      </a:lnTo>
                      <a:lnTo>
                        <a:pt x="68" y="67"/>
                      </a:lnTo>
                      <a:lnTo>
                        <a:pt x="67" y="67"/>
                      </a:lnTo>
                      <a:lnTo>
                        <a:pt x="67" y="68"/>
                      </a:lnTo>
                      <a:lnTo>
                        <a:pt x="67" y="69"/>
                      </a:lnTo>
                      <a:lnTo>
                        <a:pt x="67" y="69"/>
                      </a:lnTo>
                      <a:lnTo>
                        <a:pt x="67" y="70"/>
                      </a:lnTo>
                      <a:lnTo>
                        <a:pt x="67" y="70"/>
                      </a:lnTo>
                      <a:lnTo>
                        <a:pt x="67" y="69"/>
                      </a:lnTo>
                      <a:lnTo>
                        <a:pt x="66" y="69"/>
                      </a:lnTo>
                      <a:lnTo>
                        <a:pt x="65" y="69"/>
                      </a:lnTo>
                      <a:lnTo>
                        <a:pt x="65" y="69"/>
                      </a:lnTo>
                      <a:lnTo>
                        <a:pt x="65" y="68"/>
                      </a:lnTo>
                      <a:lnTo>
                        <a:pt x="64" y="68"/>
                      </a:lnTo>
                      <a:lnTo>
                        <a:pt x="63" y="68"/>
                      </a:lnTo>
                      <a:lnTo>
                        <a:pt x="63" y="67"/>
                      </a:lnTo>
                      <a:lnTo>
                        <a:pt x="63" y="68"/>
                      </a:lnTo>
                      <a:lnTo>
                        <a:pt x="62" y="67"/>
                      </a:lnTo>
                      <a:lnTo>
                        <a:pt x="61" y="67"/>
                      </a:lnTo>
                      <a:lnTo>
                        <a:pt x="61" y="67"/>
                      </a:lnTo>
                      <a:lnTo>
                        <a:pt x="61" y="68"/>
                      </a:lnTo>
                      <a:lnTo>
                        <a:pt x="61" y="67"/>
                      </a:lnTo>
                      <a:lnTo>
                        <a:pt x="61" y="67"/>
                      </a:lnTo>
                      <a:lnTo>
                        <a:pt x="60" y="67"/>
                      </a:lnTo>
                      <a:lnTo>
                        <a:pt x="60" y="66"/>
                      </a:lnTo>
                      <a:lnTo>
                        <a:pt x="59" y="66"/>
                      </a:lnTo>
                      <a:lnTo>
                        <a:pt x="59" y="65"/>
                      </a:lnTo>
                      <a:lnTo>
                        <a:pt x="58" y="65"/>
                      </a:lnTo>
                      <a:lnTo>
                        <a:pt x="58" y="65"/>
                      </a:lnTo>
                      <a:lnTo>
                        <a:pt x="57" y="65"/>
                      </a:lnTo>
                      <a:lnTo>
                        <a:pt x="57" y="65"/>
                      </a:lnTo>
                      <a:lnTo>
                        <a:pt x="57" y="64"/>
                      </a:lnTo>
                      <a:lnTo>
                        <a:pt x="56" y="64"/>
                      </a:lnTo>
                      <a:lnTo>
                        <a:pt x="56" y="64"/>
                      </a:lnTo>
                      <a:lnTo>
                        <a:pt x="55" y="64"/>
                      </a:lnTo>
                      <a:lnTo>
                        <a:pt x="54" y="64"/>
                      </a:lnTo>
                      <a:lnTo>
                        <a:pt x="54" y="63"/>
                      </a:lnTo>
                      <a:lnTo>
                        <a:pt x="54" y="63"/>
                      </a:lnTo>
                      <a:lnTo>
                        <a:pt x="54" y="63"/>
                      </a:lnTo>
                      <a:lnTo>
                        <a:pt x="54" y="63"/>
                      </a:lnTo>
                      <a:lnTo>
                        <a:pt x="54" y="62"/>
                      </a:lnTo>
                      <a:lnTo>
                        <a:pt x="54" y="61"/>
                      </a:lnTo>
                      <a:lnTo>
                        <a:pt x="53" y="61"/>
                      </a:lnTo>
                      <a:lnTo>
                        <a:pt x="53" y="61"/>
                      </a:lnTo>
                      <a:lnTo>
                        <a:pt x="52" y="61"/>
                      </a:lnTo>
                      <a:lnTo>
                        <a:pt x="52" y="60"/>
                      </a:lnTo>
                      <a:lnTo>
                        <a:pt x="52" y="60"/>
                      </a:lnTo>
                      <a:lnTo>
                        <a:pt x="52" y="59"/>
                      </a:lnTo>
                      <a:lnTo>
                        <a:pt x="52" y="59"/>
                      </a:lnTo>
                      <a:lnTo>
                        <a:pt x="52" y="58"/>
                      </a:lnTo>
                      <a:lnTo>
                        <a:pt x="52" y="58"/>
                      </a:lnTo>
                      <a:lnTo>
                        <a:pt x="51" y="57"/>
                      </a:lnTo>
                      <a:lnTo>
                        <a:pt x="51" y="57"/>
                      </a:lnTo>
                      <a:lnTo>
                        <a:pt x="50" y="57"/>
                      </a:lnTo>
                      <a:lnTo>
                        <a:pt x="50" y="57"/>
                      </a:lnTo>
                      <a:lnTo>
                        <a:pt x="50" y="56"/>
                      </a:lnTo>
                      <a:lnTo>
                        <a:pt x="50" y="55"/>
                      </a:lnTo>
                      <a:lnTo>
                        <a:pt x="50" y="55"/>
                      </a:lnTo>
                      <a:lnTo>
                        <a:pt x="51" y="55"/>
                      </a:lnTo>
                      <a:lnTo>
                        <a:pt x="50" y="55"/>
                      </a:lnTo>
                      <a:lnTo>
                        <a:pt x="51" y="55"/>
                      </a:lnTo>
                      <a:lnTo>
                        <a:pt x="51" y="54"/>
                      </a:lnTo>
                      <a:lnTo>
                        <a:pt x="51" y="53"/>
                      </a:lnTo>
                      <a:lnTo>
                        <a:pt x="52" y="53"/>
                      </a:lnTo>
                      <a:lnTo>
                        <a:pt x="52" y="53"/>
                      </a:lnTo>
                      <a:lnTo>
                        <a:pt x="52" y="52"/>
                      </a:lnTo>
                      <a:lnTo>
                        <a:pt x="52" y="51"/>
                      </a:lnTo>
                      <a:lnTo>
                        <a:pt x="52" y="50"/>
                      </a:lnTo>
                      <a:lnTo>
                        <a:pt x="52" y="50"/>
                      </a:lnTo>
                      <a:lnTo>
                        <a:pt x="52" y="50"/>
                      </a:lnTo>
                      <a:lnTo>
                        <a:pt x="52" y="50"/>
                      </a:lnTo>
                      <a:lnTo>
                        <a:pt x="52" y="49"/>
                      </a:lnTo>
                      <a:lnTo>
                        <a:pt x="51" y="50"/>
                      </a:lnTo>
                      <a:lnTo>
                        <a:pt x="51" y="50"/>
                      </a:lnTo>
                      <a:lnTo>
                        <a:pt x="50" y="50"/>
                      </a:lnTo>
                      <a:lnTo>
                        <a:pt x="50" y="51"/>
                      </a:lnTo>
                      <a:lnTo>
                        <a:pt x="50" y="51"/>
                      </a:lnTo>
                      <a:lnTo>
                        <a:pt x="49" y="51"/>
                      </a:lnTo>
                      <a:lnTo>
                        <a:pt x="49" y="52"/>
                      </a:lnTo>
                      <a:lnTo>
                        <a:pt x="48" y="52"/>
                      </a:lnTo>
                      <a:lnTo>
                        <a:pt x="48" y="53"/>
                      </a:lnTo>
                      <a:lnTo>
                        <a:pt x="48" y="53"/>
                      </a:lnTo>
                      <a:lnTo>
                        <a:pt x="47" y="53"/>
                      </a:lnTo>
                      <a:lnTo>
                        <a:pt x="47" y="52"/>
                      </a:lnTo>
                      <a:lnTo>
                        <a:pt x="47" y="51"/>
                      </a:lnTo>
                      <a:lnTo>
                        <a:pt x="47" y="50"/>
                      </a:lnTo>
                      <a:lnTo>
                        <a:pt x="46" y="50"/>
                      </a:lnTo>
                      <a:lnTo>
                        <a:pt x="46" y="50"/>
                      </a:lnTo>
                      <a:lnTo>
                        <a:pt x="46" y="49"/>
                      </a:lnTo>
                      <a:lnTo>
                        <a:pt x="46" y="49"/>
                      </a:lnTo>
                      <a:lnTo>
                        <a:pt x="46" y="48"/>
                      </a:lnTo>
                      <a:lnTo>
                        <a:pt x="45" y="48"/>
                      </a:lnTo>
                      <a:lnTo>
                        <a:pt x="44" y="48"/>
                      </a:lnTo>
                      <a:lnTo>
                        <a:pt x="44" y="47"/>
                      </a:lnTo>
                      <a:lnTo>
                        <a:pt x="44" y="47"/>
                      </a:lnTo>
                      <a:lnTo>
                        <a:pt x="43" y="47"/>
                      </a:lnTo>
                      <a:lnTo>
                        <a:pt x="42" y="47"/>
                      </a:lnTo>
                      <a:lnTo>
                        <a:pt x="42" y="47"/>
                      </a:lnTo>
                      <a:lnTo>
                        <a:pt x="42" y="46"/>
                      </a:lnTo>
                      <a:lnTo>
                        <a:pt x="41" y="46"/>
                      </a:lnTo>
                      <a:lnTo>
                        <a:pt x="41" y="46"/>
                      </a:lnTo>
                      <a:lnTo>
                        <a:pt x="40" y="46"/>
                      </a:lnTo>
                      <a:lnTo>
                        <a:pt x="39" y="46"/>
                      </a:lnTo>
                      <a:lnTo>
                        <a:pt x="39" y="45"/>
                      </a:lnTo>
                      <a:lnTo>
                        <a:pt x="39" y="45"/>
                      </a:lnTo>
                      <a:lnTo>
                        <a:pt x="38" y="45"/>
                      </a:lnTo>
                      <a:lnTo>
                        <a:pt x="38" y="44"/>
                      </a:lnTo>
                      <a:lnTo>
                        <a:pt x="37" y="44"/>
                      </a:lnTo>
                      <a:lnTo>
                        <a:pt x="37" y="44"/>
                      </a:lnTo>
                      <a:lnTo>
                        <a:pt x="37" y="44"/>
                      </a:lnTo>
                      <a:lnTo>
                        <a:pt x="36" y="44"/>
                      </a:lnTo>
                      <a:lnTo>
                        <a:pt x="35" y="44"/>
                      </a:lnTo>
                      <a:lnTo>
                        <a:pt x="34" y="43"/>
                      </a:lnTo>
                      <a:lnTo>
                        <a:pt x="33" y="42"/>
                      </a:lnTo>
                      <a:lnTo>
                        <a:pt x="33" y="42"/>
                      </a:lnTo>
                      <a:lnTo>
                        <a:pt x="32" y="41"/>
                      </a:lnTo>
                      <a:lnTo>
                        <a:pt x="31" y="40"/>
                      </a:lnTo>
                      <a:lnTo>
                        <a:pt x="31" y="40"/>
                      </a:lnTo>
                      <a:lnTo>
                        <a:pt x="30" y="40"/>
                      </a:lnTo>
                      <a:lnTo>
                        <a:pt x="29" y="40"/>
                      </a:lnTo>
                      <a:lnTo>
                        <a:pt x="29" y="40"/>
                      </a:lnTo>
                      <a:lnTo>
                        <a:pt x="28" y="40"/>
                      </a:lnTo>
                      <a:lnTo>
                        <a:pt x="27" y="40"/>
                      </a:lnTo>
                      <a:lnTo>
                        <a:pt x="27" y="40"/>
                      </a:lnTo>
                      <a:lnTo>
                        <a:pt x="26" y="40"/>
                      </a:lnTo>
                      <a:lnTo>
                        <a:pt x="25" y="40"/>
                      </a:lnTo>
                      <a:lnTo>
                        <a:pt x="25" y="40"/>
                      </a:lnTo>
                      <a:lnTo>
                        <a:pt x="23" y="40"/>
                      </a:lnTo>
                      <a:lnTo>
                        <a:pt x="23" y="40"/>
                      </a:lnTo>
                      <a:lnTo>
                        <a:pt x="22" y="40"/>
                      </a:lnTo>
                      <a:lnTo>
                        <a:pt x="21" y="40"/>
                      </a:lnTo>
                      <a:lnTo>
                        <a:pt x="21" y="40"/>
                      </a:lnTo>
                      <a:lnTo>
                        <a:pt x="20" y="40"/>
                      </a:lnTo>
                      <a:lnTo>
                        <a:pt x="20" y="40"/>
                      </a:lnTo>
                      <a:lnTo>
                        <a:pt x="19" y="40"/>
                      </a:lnTo>
                      <a:lnTo>
                        <a:pt x="19" y="40"/>
                      </a:lnTo>
                      <a:lnTo>
                        <a:pt x="19" y="39"/>
                      </a:lnTo>
                      <a:lnTo>
                        <a:pt x="19" y="38"/>
                      </a:lnTo>
                      <a:lnTo>
                        <a:pt x="20" y="38"/>
                      </a:lnTo>
                      <a:lnTo>
                        <a:pt x="20" y="38"/>
                      </a:lnTo>
                      <a:lnTo>
                        <a:pt x="20" y="36"/>
                      </a:lnTo>
                      <a:lnTo>
                        <a:pt x="20" y="36"/>
                      </a:lnTo>
                      <a:lnTo>
                        <a:pt x="20" y="35"/>
                      </a:lnTo>
                      <a:lnTo>
                        <a:pt x="20" y="34"/>
                      </a:lnTo>
                      <a:lnTo>
                        <a:pt x="19" y="34"/>
                      </a:lnTo>
                      <a:lnTo>
                        <a:pt x="19" y="33"/>
                      </a:lnTo>
                      <a:lnTo>
                        <a:pt x="19" y="32"/>
                      </a:lnTo>
                      <a:lnTo>
                        <a:pt x="19" y="31"/>
                      </a:lnTo>
                      <a:lnTo>
                        <a:pt x="19" y="31"/>
                      </a:lnTo>
                      <a:lnTo>
                        <a:pt x="19" y="30"/>
                      </a:lnTo>
                      <a:lnTo>
                        <a:pt x="18" y="30"/>
                      </a:lnTo>
                      <a:lnTo>
                        <a:pt x="18" y="29"/>
                      </a:lnTo>
                      <a:lnTo>
                        <a:pt x="17" y="29"/>
                      </a:lnTo>
                      <a:lnTo>
                        <a:pt x="16" y="28"/>
                      </a:lnTo>
                      <a:lnTo>
                        <a:pt x="15" y="27"/>
                      </a:lnTo>
                      <a:lnTo>
                        <a:pt x="14" y="26"/>
                      </a:lnTo>
                      <a:lnTo>
                        <a:pt x="14" y="26"/>
                      </a:lnTo>
                      <a:lnTo>
                        <a:pt x="13" y="26"/>
                      </a:lnTo>
                      <a:lnTo>
                        <a:pt x="12" y="26"/>
                      </a:lnTo>
                      <a:lnTo>
                        <a:pt x="12" y="26"/>
                      </a:lnTo>
                      <a:lnTo>
                        <a:pt x="11" y="26"/>
                      </a:lnTo>
                      <a:lnTo>
                        <a:pt x="10" y="25"/>
                      </a:lnTo>
                      <a:lnTo>
                        <a:pt x="10" y="25"/>
                      </a:lnTo>
                      <a:lnTo>
                        <a:pt x="8" y="24"/>
                      </a:lnTo>
                      <a:lnTo>
                        <a:pt x="8" y="23"/>
                      </a:lnTo>
                      <a:lnTo>
                        <a:pt x="7" y="23"/>
                      </a:lnTo>
                      <a:lnTo>
                        <a:pt x="7" y="23"/>
                      </a:lnTo>
                      <a:lnTo>
                        <a:pt x="6" y="23"/>
                      </a:lnTo>
                      <a:lnTo>
                        <a:pt x="6" y="22"/>
                      </a:lnTo>
                      <a:lnTo>
                        <a:pt x="6" y="21"/>
                      </a:lnTo>
                      <a:lnTo>
                        <a:pt x="5" y="21"/>
                      </a:lnTo>
                      <a:lnTo>
                        <a:pt x="5" y="21"/>
                      </a:lnTo>
                      <a:lnTo>
                        <a:pt x="5" y="20"/>
                      </a:lnTo>
                      <a:lnTo>
                        <a:pt x="4" y="20"/>
                      </a:lnTo>
                      <a:lnTo>
                        <a:pt x="4" y="19"/>
                      </a:lnTo>
                      <a:lnTo>
                        <a:pt x="4" y="19"/>
                      </a:lnTo>
                      <a:lnTo>
                        <a:pt x="4" y="18"/>
                      </a:lnTo>
                      <a:lnTo>
                        <a:pt x="4" y="17"/>
                      </a:lnTo>
                      <a:lnTo>
                        <a:pt x="4" y="17"/>
                      </a:lnTo>
                      <a:lnTo>
                        <a:pt x="4" y="16"/>
                      </a:lnTo>
                      <a:lnTo>
                        <a:pt x="4" y="15"/>
                      </a:lnTo>
                      <a:lnTo>
                        <a:pt x="4" y="15"/>
                      </a:lnTo>
                      <a:lnTo>
                        <a:pt x="4" y="14"/>
                      </a:lnTo>
                      <a:lnTo>
                        <a:pt x="4" y="13"/>
                      </a:lnTo>
                      <a:lnTo>
                        <a:pt x="4" y="13"/>
                      </a:lnTo>
                      <a:lnTo>
                        <a:pt x="4" y="12"/>
                      </a:lnTo>
                      <a:lnTo>
                        <a:pt x="4" y="11"/>
                      </a:lnTo>
                      <a:lnTo>
                        <a:pt x="4" y="10"/>
                      </a:lnTo>
                      <a:lnTo>
                        <a:pt x="4" y="10"/>
                      </a:lnTo>
                      <a:lnTo>
                        <a:pt x="3" y="9"/>
                      </a:lnTo>
                      <a:lnTo>
                        <a:pt x="3" y="8"/>
                      </a:lnTo>
                      <a:lnTo>
                        <a:pt x="2" y="8"/>
                      </a:lnTo>
                      <a:lnTo>
                        <a:pt x="1" y="7"/>
                      </a:lnTo>
                      <a:lnTo>
                        <a:pt x="1" y="6"/>
                      </a:lnTo>
                      <a:lnTo>
                        <a:pt x="1" y="6"/>
                      </a:lnTo>
                      <a:lnTo>
                        <a:pt x="1" y="5"/>
                      </a:lnTo>
                      <a:lnTo>
                        <a:pt x="0" y="5"/>
                      </a:lnTo>
                      <a:lnTo>
                        <a:pt x="1" y="4"/>
                      </a:lnTo>
                      <a:lnTo>
                        <a:pt x="1" y="4"/>
                      </a:lnTo>
                      <a:lnTo>
                        <a:pt x="1" y="4"/>
                      </a:lnTo>
                      <a:lnTo>
                        <a:pt x="1" y="3"/>
                      </a:lnTo>
                      <a:lnTo>
                        <a:pt x="1" y="3"/>
                      </a:lnTo>
                      <a:lnTo>
                        <a:pt x="1" y="2"/>
                      </a:lnTo>
                      <a:lnTo>
                        <a:pt x="1" y="2"/>
                      </a:lnTo>
                      <a:lnTo>
                        <a:pt x="1" y="1"/>
                      </a:lnTo>
                      <a:lnTo>
                        <a:pt x="2" y="1"/>
                      </a:lnTo>
                      <a:lnTo>
                        <a:pt x="3" y="1"/>
                      </a:lnTo>
                      <a:lnTo>
                        <a:pt x="4" y="0"/>
                      </a:lnTo>
                      <a:lnTo>
                        <a:pt x="5" y="0"/>
                      </a:lnTo>
                      <a:lnTo>
                        <a:pt x="6" y="0"/>
                      </a:lnTo>
                      <a:lnTo>
                        <a:pt x="6" y="0"/>
                      </a:lnTo>
                      <a:lnTo>
                        <a:pt x="7" y="1"/>
                      </a:lnTo>
                      <a:lnTo>
                        <a:pt x="7" y="2"/>
                      </a:lnTo>
                      <a:lnTo>
                        <a:pt x="8" y="3"/>
                      </a:lnTo>
                      <a:lnTo>
                        <a:pt x="8" y="4"/>
                      </a:lnTo>
                      <a:lnTo>
                        <a:pt x="8" y="4"/>
                      </a:lnTo>
                      <a:lnTo>
                        <a:pt x="9" y="4"/>
                      </a:lnTo>
                      <a:lnTo>
                        <a:pt x="10" y="5"/>
                      </a:ln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3" name="Cochabamba">
                  <a:extLst>
                    <a:ext uri="{FF2B5EF4-FFF2-40B4-BE49-F238E27FC236}">
                      <a16:creationId xmlns:a16="http://schemas.microsoft.com/office/drawing/2014/main" xmlns="" id="{2BC5AC42-2D5E-56A0-EE49-23FC8ACB9CD3}"/>
                    </a:ext>
                  </a:extLst>
                </p:cNvPr>
                <p:cNvSpPr>
                  <a:spLocks/>
                </p:cNvSpPr>
                <p:nvPr/>
              </p:nvSpPr>
              <p:spPr bwMode="auto">
                <a:xfrm>
                  <a:off x="2687" y="2358"/>
                  <a:ext cx="708" cy="762"/>
                </a:xfrm>
                <a:custGeom>
                  <a:avLst/>
                  <a:gdLst>
                    <a:gd name="T0" fmla="*/ 290 w 708"/>
                    <a:gd name="T1" fmla="*/ 185 h 762"/>
                    <a:gd name="T2" fmla="*/ 571 w 708"/>
                    <a:gd name="T3" fmla="*/ 40 h 762"/>
                    <a:gd name="T4" fmla="*/ 581 w 708"/>
                    <a:gd name="T5" fmla="*/ 57 h 762"/>
                    <a:gd name="T6" fmla="*/ 590 w 708"/>
                    <a:gd name="T7" fmla="*/ 82 h 762"/>
                    <a:gd name="T8" fmla="*/ 594 w 708"/>
                    <a:gd name="T9" fmla="*/ 111 h 762"/>
                    <a:gd name="T10" fmla="*/ 600 w 708"/>
                    <a:gd name="T11" fmla="*/ 139 h 762"/>
                    <a:gd name="T12" fmla="*/ 590 w 708"/>
                    <a:gd name="T13" fmla="*/ 161 h 762"/>
                    <a:gd name="T14" fmla="*/ 585 w 708"/>
                    <a:gd name="T15" fmla="*/ 191 h 762"/>
                    <a:gd name="T16" fmla="*/ 573 w 708"/>
                    <a:gd name="T17" fmla="*/ 225 h 762"/>
                    <a:gd name="T18" fmla="*/ 551 w 708"/>
                    <a:gd name="T19" fmla="*/ 247 h 762"/>
                    <a:gd name="T20" fmla="*/ 570 w 708"/>
                    <a:gd name="T21" fmla="*/ 280 h 762"/>
                    <a:gd name="T22" fmla="*/ 580 w 708"/>
                    <a:gd name="T23" fmla="*/ 295 h 762"/>
                    <a:gd name="T24" fmla="*/ 590 w 708"/>
                    <a:gd name="T25" fmla="*/ 311 h 762"/>
                    <a:gd name="T26" fmla="*/ 604 w 708"/>
                    <a:gd name="T27" fmla="*/ 326 h 762"/>
                    <a:gd name="T28" fmla="*/ 619 w 708"/>
                    <a:gd name="T29" fmla="*/ 333 h 762"/>
                    <a:gd name="T30" fmla="*/ 644 w 708"/>
                    <a:gd name="T31" fmla="*/ 352 h 762"/>
                    <a:gd name="T32" fmla="*/ 666 w 708"/>
                    <a:gd name="T33" fmla="*/ 360 h 762"/>
                    <a:gd name="T34" fmla="*/ 685 w 708"/>
                    <a:gd name="T35" fmla="*/ 380 h 762"/>
                    <a:gd name="T36" fmla="*/ 702 w 708"/>
                    <a:gd name="T37" fmla="*/ 395 h 762"/>
                    <a:gd name="T38" fmla="*/ 699 w 708"/>
                    <a:gd name="T39" fmla="*/ 428 h 762"/>
                    <a:gd name="T40" fmla="*/ 664 w 708"/>
                    <a:gd name="T41" fmla="*/ 437 h 762"/>
                    <a:gd name="T42" fmla="*/ 636 w 708"/>
                    <a:gd name="T43" fmla="*/ 460 h 762"/>
                    <a:gd name="T44" fmla="*/ 611 w 708"/>
                    <a:gd name="T45" fmla="*/ 490 h 762"/>
                    <a:gd name="T46" fmla="*/ 585 w 708"/>
                    <a:gd name="T47" fmla="*/ 511 h 762"/>
                    <a:gd name="T48" fmla="*/ 568 w 708"/>
                    <a:gd name="T49" fmla="*/ 575 h 762"/>
                    <a:gd name="T50" fmla="*/ 588 w 708"/>
                    <a:gd name="T51" fmla="*/ 603 h 762"/>
                    <a:gd name="T52" fmla="*/ 627 w 708"/>
                    <a:gd name="T53" fmla="*/ 615 h 762"/>
                    <a:gd name="T54" fmla="*/ 644 w 708"/>
                    <a:gd name="T55" fmla="*/ 646 h 762"/>
                    <a:gd name="T56" fmla="*/ 656 w 708"/>
                    <a:gd name="T57" fmla="*/ 676 h 762"/>
                    <a:gd name="T58" fmla="*/ 679 w 708"/>
                    <a:gd name="T59" fmla="*/ 705 h 762"/>
                    <a:gd name="T60" fmla="*/ 696 w 708"/>
                    <a:gd name="T61" fmla="*/ 732 h 762"/>
                    <a:gd name="T62" fmla="*/ 678 w 708"/>
                    <a:gd name="T63" fmla="*/ 750 h 762"/>
                    <a:gd name="T64" fmla="*/ 634 w 708"/>
                    <a:gd name="T65" fmla="*/ 760 h 762"/>
                    <a:gd name="T66" fmla="*/ 597 w 708"/>
                    <a:gd name="T67" fmla="*/ 727 h 762"/>
                    <a:gd name="T68" fmla="*/ 559 w 708"/>
                    <a:gd name="T69" fmla="*/ 711 h 762"/>
                    <a:gd name="T70" fmla="*/ 524 w 708"/>
                    <a:gd name="T71" fmla="*/ 729 h 762"/>
                    <a:gd name="T72" fmla="*/ 507 w 708"/>
                    <a:gd name="T73" fmla="*/ 758 h 762"/>
                    <a:gd name="T74" fmla="*/ 476 w 708"/>
                    <a:gd name="T75" fmla="*/ 744 h 762"/>
                    <a:gd name="T76" fmla="*/ 454 w 708"/>
                    <a:gd name="T77" fmla="*/ 717 h 762"/>
                    <a:gd name="T78" fmla="*/ 431 w 708"/>
                    <a:gd name="T79" fmla="*/ 695 h 762"/>
                    <a:gd name="T80" fmla="*/ 395 w 708"/>
                    <a:gd name="T81" fmla="*/ 667 h 762"/>
                    <a:gd name="T82" fmla="*/ 370 w 708"/>
                    <a:gd name="T83" fmla="*/ 642 h 762"/>
                    <a:gd name="T84" fmla="*/ 341 w 708"/>
                    <a:gd name="T85" fmla="*/ 612 h 762"/>
                    <a:gd name="T86" fmla="*/ 307 w 708"/>
                    <a:gd name="T87" fmla="*/ 585 h 762"/>
                    <a:gd name="T88" fmla="*/ 275 w 708"/>
                    <a:gd name="T89" fmla="*/ 573 h 762"/>
                    <a:gd name="T90" fmla="*/ 246 w 708"/>
                    <a:gd name="T91" fmla="*/ 541 h 762"/>
                    <a:gd name="T92" fmla="*/ 209 w 708"/>
                    <a:gd name="T93" fmla="*/ 568 h 762"/>
                    <a:gd name="T94" fmla="*/ 150 w 708"/>
                    <a:gd name="T95" fmla="*/ 581 h 762"/>
                    <a:gd name="T96" fmla="*/ 99 w 708"/>
                    <a:gd name="T97" fmla="*/ 620 h 762"/>
                    <a:gd name="T98" fmla="*/ 76 w 708"/>
                    <a:gd name="T99" fmla="*/ 554 h 762"/>
                    <a:gd name="T100" fmla="*/ 36 w 708"/>
                    <a:gd name="T101" fmla="*/ 469 h 762"/>
                    <a:gd name="T102" fmla="*/ 39 w 708"/>
                    <a:gd name="T103" fmla="*/ 440 h 762"/>
                    <a:gd name="T104" fmla="*/ 40 w 708"/>
                    <a:gd name="T105" fmla="*/ 406 h 762"/>
                    <a:gd name="T106" fmla="*/ 32 w 708"/>
                    <a:gd name="T107" fmla="*/ 365 h 762"/>
                    <a:gd name="T108" fmla="*/ 4 w 708"/>
                    <a:gd name="T109" fmla="*/ 330 h 762"/>
                    <a:gd name="T110" fmla="*/ 16 w 708"/>
                    <a:gd name="T111" fmla="*/ 286 h 762"/>
                    <a:gd name="T112" fmla="*/ 54 w 708"/>
                    <a:gd name="T113" fmla="*/ 273 h 762"/>
                    <a:gd name="T114" fmla="*/ 65 w 708"/>
                    <a:gd name="T115" fmla="*/ 234 h 762"/>
                    <a:gd name="T116" fmla="*/ 58 w 708"/>
                    <a:gd name="T117" fmla="*/ 194 h 762"/>
                    <a:gd name="T118" fmla="*/ 49 w 708"/>
                    <a:gd name="T119" fmla="*/ 143 h 762"/>
                    <a:gd name="T120" fmla="*/ 32 w 708"/>
                    <a:gd name="T121" fmla="*/ 103 h 762"/>
                    <a:gd name="T122" fmla="*/ 17 w 708"/>
                    <a:gd name="T123" fmla="*/ 61 h 762"/>
                    <a:gd name="T124" fmla="*/ 24 w 708"/>
                    <a:gd name="T125" fmla="*/ 2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762">
                      <a:moveTo>
                        <a:pt x="45" y="2"/>
                      </a:moveTo>
                      <a:lnTo>
                        <a:pt x="46" y="2"/>
                      </a:lnTo>
                      <a:lnTo>
                        <a:pt x="46" y="2"/>
                      </a:lnTo>
                      <a:lnTo>
                        <a:pt x="47" y="2"/>
                      </a:lnTo>
                      <a:lnTo>
                        <a:pt x="47" y="2"/>
                      </a:lnTo>
                      <a:lnTo>
                        <a:pt x="47" y="2"/>
                      </a:lnTo>
                      <a:lnTo>
                        <a:pt x="48" y="2"/>
                      </a:lnTo>
                      <a:lnTo>
                        <a:pt x="48" y="3"/>
                      </a:lnTo>
                      <a:lnTo>
                        <a:pt x="48" y="4"/>
                      </a:lnTo>
                      <a:lnTo>
                        <a:pt x="47" y="4"/>
                      </a:lnTo>
                      <a:lnTo>
                        <a:pt x="47" y="4"/>
                      </a:lnTo>
                      <a:lnTo>
                        <a:pt x="47" y="5"/>
                      </a:lnTo>
                      <a:lnTo>
                        <a:pt x="47" y="5"/>
                      </a:lnTo>
                      <a:lnTo>
                        <a:pt x="47" y="6"/>
                      </a:lnTo>
                      <a:lnTo>
                        <a:pt x="46" y="6"/>
                      </a:lnTo>
                      <a:lnTo>
                        <a:pt x="46" y="7"/>
                      </a:lnTo>
                      <a:lnTo>
                        <a:pt x="46" y="8"/>
                      </a:lnTo>
                      <a:lnTo>
                        <a:pt x="45" y="8"/>
                      </a:lnTo>
                      <a:lnTo>
                        <a:pt x="45" y="8"/>
                      </a:lnTo>
                      <a:lnTo>
                        <a:pt x="45" y="9"/>
                      </a:lnTo>
                      <a:lnTo>
                        <a:pt x="45" y="10"/>
                      </a:lnTo>
                      <a:lnTo>
                        <a:pt x="45" y="10"/>
                      </a:lnTo>
                      <a:lnTo>
                        <a:pt x="45" y="11"/>
                      </a:lnTo>
                      <a:lnTo>
                        <a:pt x="45" y="12"/>
                      </a:lnTo>
                      <a:lnTo>
                        <a:pt x="45" y="12"/>
                      </a:lnTo>
                      <a:lnTo>
                        <a:pt x="45" y="13"/>
                      </a:lnTo>
                      <a:lnTo>
                        <a:pt x="45" y="14"/>
                      </a:lnTo>
                      <a:lnTo>
                        <a:pt x="49" y="15"/>
                      </a:lnTo>
                      <a:lnTo>
                        <a:pt x="55" y="19"/>
                      </a:lnTo>
                      <a:lnTo>
                        <a:pt x="60" y="22"/>
                      </a:lnTo>
                      <a:lnTo>
                        <a:pt x="65" y="27"/>
                      </a:lnTo>
                      <a:lnTo>
                        <a:pt x="71" y="31"/>
                      </a:lnTo>
                      <a:lnTo>
                        <a:pt x="77" y="33"/>
                      </a:lnTo>
                      <a:lnTo>
                        <a:pt x="79" y="35"/>
                      </a:lnTo>
                      <a:lnTo>
                        <a:pt x="81" y="33"/>
                      </a:lnTo>
                      <a:lnTo>
                        <a:pt x="83" y="33"/>
                      </a:lnTo>
                      <a:lnTo>
                        <a:pt x="85" y="35"/>
                      </a:lnTo>
                      <a:lnTo>
                        <a:pt x="87" y="36"/>
                      </a:lnTo>
                      <a:lnTo>
                        <a:pt x="89" y="36"/>
                      </a:lnTo>
                      <a:lnTo>
                        <a:pt x="89" y="38"/>
                      </a:lnTo>
                      <a:lnTo>
                        <a:pt x="89" y="39"/>
                      </a:lnTo>
                      <a:lnTo>
                        <a:pt x="89" y="41"/>
                      </a:lnTo>
                      <a:lnTo>
                        <a:pt x="90" y="42"/>
                      </a:lnTo>
                      <a:lnTo>
                        <a:pt x="91" y="43"/>
                      </a:lnTo>
                      <a:lnTo>
                        <a:pt x="95" y="46"/>
                      </a:lnTo>
                      <a:lnTo>
                        <a:pt x="98" y="46"/>
                      </a:lnTo>
                      <a:lnTo>
                        <a:pt x="106" y="48"/>
                      </a:lnTo>
                      <a:lnTo>
                        <a:pt x="123" y="54"/>
                      </a:lnTo>
                      <a:lnTo>
                        <a:pt x="131" y="59"/>
                      </a:lnTo>
                      <a:lnTo>
                        <a:pt x="142" y="69"/>
                      </a:lnTo>
                      <a:lnTo>
                        <a:pt x="150" y="77"/>
                      </a:lnTo>
                      <a:lnTo>
                        <a:pt x="155" y="80"/>
                      </a:lnTo>
                      <a:lnTo>
                        <a:pt x="155" y="81"/>
                      </a:lnTo>
                      <a:lnTo>
                        <a:pt x="156" y="82"/>
                      </a:lnTo>
                      <a:lnTo>
                        <a:pt x="157" y="82"/>
                      </a:lnTo>
                      <a:lnTo>
                        <a:pt x="157" y="82"/>
                      </a:lnTo>
                      <a:lnTo>
                        <a:pt x="158" y="82"/>
                      </a:lnTo>
                      <a:lnTo>
                        <a:pt x="158" y="83"/>
                      </a:lnTo>
                      <a:lnTo>
                        <a:pt x="159" y="84"/>
                      </a:lnTo>
                      <a:lnTo>
                        <a:pt x="159" y="84"/>
                      </a:lnTo>
                      <a:lnTo>
                        <a:pt x="159" y="85"/>
                      </a:lnTo>
                      <a:lnTo>
                        <a:pt x="160" y="85"/>
                      </a:lnTo>
                      <a:lnTo>
                        <a:pt x="160" y="86"/>
                      </a:lnTo>
                      <a:lnTo>
                        <a:pt x="161" y="86"/>
                      </a:lnTo>
                      <a:lnTo>
                        <a:pt x="161" y="86"/>
                      </a:lnTo>
                      <a:lnTo>
                        <a:pt x="162" y="86"/>
                      </a:lnTo>
                      <a:lnTo>
                        <a:pt x="162" y="86"/>
                      </a:lnTo>
                      <a:lnTo>
                        <a:pt x="163" y="87"/>
                      </a:lnTo>
                      <a:lnTo>
                        <a:pt x="163" y="87"/>
                      </a:lnTo>
                      <a:lnTo>
                        <a:pt x="163" y="88"/>
                      </a:lnTo>
                      <a:lnTo>
                        <a:pt x="164" y="88"/>
                      </a:lnTo>
                      <a:lnTo>
                        <a:pt x="165" y="88"/>
                      </a:lnTo>
                      <a:lnTo>
                        <a:pt x="165" y="88"/>
                      </a:lnTo>
                      <a:lnTo>
                        <a:pt x="166" y="88"/>
                      </a:lnTo>
                      <a:lnTo>
                        <a:pt x="166" y="88"/>
                      </a:lnTo>
                      <a:lnTo>
                        <a:pt x="174" y="99"/>
                      </a:lnTo>
                      <a:lnTo>
                        <a:pt x="195" y="132"/>
                      </a:lnTo>
                      <a:lnTo>
                        <a:pt x="211" y="153"/>
                      </a:lnTo>
                      <a:lnTo>
                        <a:pt x="226" y="161"/>
                      </a:lnTo>
                      <a:lnTo>
                        <a:pt x="240" y="166"/>
                      </a:lnTo>
                      <a:lnTo>
                        <a:pt x="252" y="175"/>
                      </a:lnTo>
                      <a:lnTo>
                        <a:pt x="262" y="179"/>
                      </a:lnTo>
                      <a:lnTo>
                        <a:pt x="277" y="183"/>
                      </a:lnTo>
                      <a:lnTo>
                        <a:pt x="290" y="185"/>
                      </a:lnTo>
                      <a:lnTo>
                        <a:pt x="297" y="185"/>
                      </a:lnTo>
                      <a:lnTo>
                        <a:pt x="358" y="177"/>
                      </a:lnTo>
                      <a:lnTo>
                        <a:pt x="358" y="176"/>
                      </a:lnTo>
                      <a:lnTo>
                        <a:pt x="420" y="160"/>
                      </a:lnTo>
                      <a:lnTo>
                        <a:pt x="448" y="151"/>
                      </a:lnTo>
                      <a:lnTo>
                        <a:pt x="473" y="116"/>
                      </a:lnTo>
                      <a:lnTo>
                        <a:pt x="480" y="103"/>
                      </a:lnTo>
                      <a:lnTo>
                        <a:pt x="486" y="54"/>
                      </a:lnTo>
                      <a:lnTo>
                        <a:pt x="488" y="35"/>
                      </a:lnTo>
                      <a:lnTo>
                        <a:pt x="490" y="28"/>
                      </a:lnTo>
                      <a:lnTo>
                        <a:pt x="498" y="15"/>
                      </a:lnTo>
                      <a:lnTo>
                        <a:pt x="503" y="10"/>
                      </a:lnTo>
                      <a:lnTo>
                        <a:pt x="508" y="6"/>
                      </a:lnTo>
                      <a:lnTo>
                        <a:pt x="519" y="0"/>
                      </a:lnTo>
                      <a:lnTo>
                        <a:pt x="550" y="0"/>
                      </a:lnTo>
                      <a:lnTo>
                        <a:pt x="558" y="0"/>
                      </a:lnTo>
                      <a:lnTo>
                        <a:pt x="578" y="0"/>
                      </a:lnTo>
                      <a:lnTo>
                        <a:pt x="578" y="0"/>
                      </a:lnTo>
                      <a:lnTo>
                        <a:pt x="578" y="1"/>
                      </a:lnTo>
                      <a:lnTo>
                        <a:pt x="578" y="2"/>
                      </a:lnTo>
                      <a:lnTo>
                        <a:pt x="578" y="3"/>
                      </a:lnTo>
                      <a:lnTo>
                        <a:pt x="577" y="4"/>
                      </a:lnTo>
                      <a:lnTo>
                        <a:pt x="577" y="6"/>
                      </a:lnTo>
                      <a:lnTo>
                        <a:pt x="576" y="7"/>
                      </a:lnTo>
                      <a:lnTo>
                        <a:pt x="575" y="8"/>
                      </a:lnTo>
                      <a:lnTo>
                        <a:pt x="575" y="8"/>
                      </a:lnTo>
                      <a:lnTo>
                        <a:pt x="575" y="9"/>
                      </a:lnTo>
                      <a:lnTo>
                        <a:pt x="574" y="10"/>
                      </a:lnTo>
                      <a:lnTo>
                        <a:pt x="574" y="11"/>
                      </a:lnTo>
                      <a:lnTo>
                        <a:pt x="574" y="12"/>
                      </a:lnTo>
                      <a:lnTo>
                        <a:pt x="574" y="13"/>
                      </a:lnTo>
                      <a:lnTo>
                        <a:pt x="573" y="14"/>
                      </a:lnTo>
                      <a:lnTo>
                        <a:pt x="573" y="14"/>
                      </a:lnTo>
                      <a:lnTo>
                        <a:pt x="573" y="15"/>
                      </a:lnTo>
                      <a:lnTo>
                        <a:pt x="573" y="16"/>
                      </a:lnTo>
                      <a:lnTo>
                        <a:pt x="573" y="17"/>
                      </a:lnTo>
                      <a:lnTo>
                        <a:pt x="573" y="18"/>
                      </a:lnTo>
                      <a:lnTo>
                        <a:pt x="574" y="19"/>
                      </a:lnTo>
                      <a:lnTo>
                        <a:pt x="575" y="19"/>
                      </a:lnTo>
                      <a:lnTo>
                        <a:pt x="575" y="19"/>
                      </a:lnTo>
                      <a:lnTo>
                        <a:pt x="576" y="19"/>
                      </a:lnTo>
                      <a:lnTo>
                        <a:pt x="577" y="19"/>
                      </a:lnTo>
                      <a:lnTo>
                        <a:pt x="578" y="20"/>
                      </a:lnTo>
                      <a:lnTo>
                        <a:pt x="578" y="21"/>
                      </a:lnTo>
                      <a:lnTo>
                        <a:pt x="579" y="23"/>
                      </a:lnTo>
                      <a:lnTo>
                        <a:pt x="579" y="23"/>
                      </a:lnTo>
                      <a:lnTo>
                        <a:pt x="579" y="24"/>
                      </a:lnTo>
                      <a:lnTo>
                        <a:pt x="579" y="25"/>
                      </a:lnTo>
                      <a:lnTo>
                        <a:pt x="579" y="25"/>
                      </a:lnTo>
                      <a:lnTo>
                        <a:pt x="579" y="26"/>
                      </a:lnTo>
                      <a:lnTo>
                        <a:pt x="579" y="27"/>
                      </a:lnTo>
                      <a:lnTo>
                        <a:pt x="578" y="27"/>
                      </a:lnTo>
                      <a:lnTo>
                        <a:pt x="577" y="26"/>
                      </a:lnTo>
                      <a:lnTo>
                        <a:pt x="577" y="25"/>
                      </a:lnTo>
                      <a:lnTo>
                        <a:pt x="576" y="24"/>
                      </a:lnTo>
                      <a:lnTo>
                        <a:pt x="575" y="23"/>
                      </a:lnTo>
                      <a:lnTo>
                        <a:pt x="575" y="23"/>
                      </a:lnTo>
                      <a:lnTo>
                        <a:pt x="574" y="23"/>
                      </a:lnTo>
                      <a:lnTo>
                        <a:pt x="573" y="24"/>
                      </a:lnTo>
                      <a:lnTo>
                        <a:pt x="574" y="25"/>
                      </a:lnTo>
                      <a:lnTo>
                        <a:pt x="575" y="26"/>
                      </a:lnTo>
                      <a:lnTo>
                        <a:pt x="575" y="27"/>
                      </a:lnTo>
                      <a:lnTo>
                        <a:pt x="577" y="27"/>
                      </a:lnTo>
                      <a:lnTo>
                        <a:pt x="577" y="28"/>
                      </a:lnTo>
                      <a:lnTo>
                        <a:pt x="578" y="29"/>
                      </a:lnTo>
                      <a:lnTo>
                        <a:pt x="578" y="29"/>
                      </a:lnTo>
                      <a:lnTo>
                        <a:pt x="578" y="30"/>
                      </a:lnTo>
                      <a:lnTo>
                        <a:pt x="578" y="31"/>
                      </a:lnTo>
                      <a:lnTo>
                        <a:pt x="577" y="31"/>
                      </a:lnTo>
                      <a:lnTo>
                        <a:pt x="577" y="31"/>
                      </a:lnTo>
                      <a:lnTo>
                        <a:pt x="576" y="31"/>
                      </a:lnTo>
                      <a:lnTo>
                        <a:pt x="575" y="31"/>
                      </a:lnTo>
                      <a:lnTo>
                        <a:pt x="574" y="31"/>
                      </a:lnTo>
                      <a:lnTo>
                        <a:pt x="573" y="32"/>
                      </a:lnTo>
                      <a:lnTo>
                        <a:pt x="573" y="33"/>
                      </a:lnTo>
                      <a:lnTo>
                        <a:pt x="572" y="33"/>
                      </a:lnTo>
                      <a:lnTo>
                        <a:pt x="572" y="35"/>
                      </a:lnTo>
                      <a:lnTo>
                        <a:pt x="572" y="35"/>
                      </a:lnTo>
                      <a:lnTo>
                        <a:pt x="572" y="37"/>
                      </a:lnTo>
                      <a:lnTo>
                        <a:pt x="571" y="37"/>
                      </a:lnTo>
                      <a:lnTo>
                        <a:pt x="571" y="38"/>
                      </a:lnTo>
                      <a:lnTo>
                        <a:pt x="571" y="38"/>
                      </a:lnTo>
                      <a:lnTo>
                        <a:pt x="571" y="39"/>
                      </a:lnTo>
                      <a:lnTo>
                        <a:pt x="571" y="40"/>
                      </a:lnTo>
                      <a:lnTo>
                        <a:pt x="572" y="40"/>
                      </a:lnTo>
                      <a:lnTo>
                        <a:pt x="573" y="40"/>
                      </a:lnTo>
                      <a:lnTo>
                        <a:pt x="573" y="40"/>
                      </a:lnTo>
                      <a:lnTo>
                        <a:pt x="574" y="39"/>
                      </a:lnTo>
                      <a:lnTo>
                        <a:pt x="575" y="39"/>
                      </a:lnTo>
                      <a:lnTo>
                        <a:pt x="575" y="39"/>
                      </a:lnTo>
                      <a:lnTo>
                        <a:pt x="577" y="39"/>
                      </a:lnTo>
                      <a:lnTo>
                        <a:pt x="577" y="39"/>
                      </a:lnTo>
                      <a:lnTo>
                        <a:pt x="578" y="39"/>
                      </a:lnTo>
                      <a:lnTo>
                        <a:pt x="579" y="39"/>
                      </a:lnTo>
                      <a:lnTo>
                        <a:pt x="579" y="40"/>
                      </a:lnTo>
                      <a:lnTo>
                        <a:pt x="579" y="40"/>
                      </a:lnTo>
                      <a:lnTo>
                        <a:pt x="579" y="41"/>
                      </a:lnTo>
                      <a:lnTo>
                        <a:pt x="578" y="42"/>
                      </a:lnTo>
                      <a:lnTo>
                        <a:pt x="577" y="44"/>
                      </a:lnTo>
                      <a:lnTo>
                        <a:pt x="577" y="45"/>
                      </a:lnTo>
                      <a:lnTo>
                        <a:pt x="576" y="46"/>
                      </a:lnTo>
                      <a:lnTo>
                        <a:pt x="576" y="46"/>
                      </a:lnTo>
                      <a:lnTo>
                        <a:pt x="575" y="46"/>
                      </a:lnTo>
                      <a:lnTo>
                        <a:pt x="575" y="47"/>
                      </a:lnTo>
                      <a:lnTo>
                        <a:pt x="576" y="48"/>
                      </a:lnTo>
                      <a:lnTo>
                        <a:pt x="577" y="47"/>
                      </a:lnTo>
                      <a:lnTo>
                        <a:pt x="578" y="47"/>
                      </a:lnTo>
                      <a:lnTo>
                        <a:pt x="579" y="47"/>
                      </a:lnTo>
                      <a:lnTo>
                        <a:pt x="579" y="47"/>
                      </a:lnTo>
                      <a:lnTo>
                        <a:pt x="579" y="46"/>
                      </a:lnTo>
                      <a:lnTo>
                        <a:pt x="579" y="46"/>
                      </a:lnTo>
                      <a:lnTo>
                        <a:pt x="579" y="45"/>
                      </a:lnTo>
                      <a:lnTo>
                        <a:pt x="579" y="44"/>
                      </a:lnTo>
                      <a:lnTo>
                        <a:pt x="580" y="43"/>
                      </a:lnTo>
                      <a:lnTo>
                        <a:pt x="581" y="42"/>
                      </a:lnTo>
                      <a:lnTo>
                        <a:pt x="581" y="42"/>
                      </a:lnTo>
                      <a:lnTo>
                        <a:pt x="582" y="42"/>
                      </a:lnTo>
                      <a:lnTo>
                        <a:pt x="583" y="43"/>
                      </a:lnTo>
                      <a:lnTo>
                        <a:pt x="583" y="44"/>
                      </a:lnTo>
                      <a:lnTo>
                        <a:pt x="583" y="44"/>
                      </a:lnTo>
                      <a:lnTo>
                        <a:pt x="583" y="45"/>
                      </a:lnTo>
                      <a:lnTo>
                        <a:pt x="583" y="46"/>
                      </a:lnTo>
                      <a:lnTo>
                        <a:pt x="582" y="47"/>
                      </a:lnTo>
                      <a:lnTo>
                        <a:pt x="581" y="48"/>
                      </a:lnTo>
                      <a:lnTo>
                        <a:pt x="580" y="48"/>
                      </a:lnTo>
                      <a:lnTo>
                        <a:pt x="579" y="49"/>
                      </a:lnTo>
                      <a:lnTo>
                        <a:pt x="577" y="50"/>
                      </a:lnTo>
                      <a:lnTo>
                        <a:pt x="577" y="51"/>
                      </a:lnTo>
                      <a:lnTo>
                        <a:pt x="577" y="52"/>
                      </a:lnTo>
                      <a:lnTo>
                        <a:pt x="577" y="53"/>
                      </a:lnTo>
                      <a:lnTo>
                        <a:pt x="578" y="54"/>
                      </a:lnTo>
                      <a:lnTo>
                        <a:pt x="579" y="54"/>
                      </a:lnTo>
                      <a:lnTo>
                        <a:pt x="580" y="53"/>
                      </a:lnTo>
                      <a:lnTo>
                        <a:pt x="581" y="52"/>
                      </a:lnTo>
                      <a:lnTo>
                        <a:pt x="582" y="52"/>
                      </a:lnTo>
                      <a:lnTo>
                        <a:pt x="583" y="52"/>
                      </a:lnTo>
                      <a:lnTo>
                        <a:pt x="585" y="52"/>
                      </a:lnTo>
                      <a:lnTo>
                        <a:pt x="585" y="53"/>
                      </a:lnTo>
                      <a:lnTo>
                        <a:pt x="585" y="54"/>
                      </a:lnTo>
                      <a:lnTo>
                        <a:pt x="585" y="54"/>
                      </a:lnTo>
                      <a:lnTo>
                        <a:pt x="585" y="55"/>
                      </a:lnTo>
                      <a:lnTo>
                        <a:pt x="585" y="55"/>
                      </a:lnTo>
                      <a:lnTo>
                        <a:pt x="584" y="55"/>
                      </a:lnTo>
                      <a:lnTo>
                        <a:pt x="583" y="55"/>
                      </a:lnTo>
                      <a:lnTo>
                        <a:pt x="583" y="54"/>
                      </a:lnTo>
                      <a:lnTo>
                        <a:pt x="581" y="54"/>
                      </a:lnTo>
                      <a:lnTo>
                        <a:pt x="581" y="54"/>
                      </a:lnTo>
                      <a:lnTo>
                        <a:pt x="580" y="54"/>
                      </a:lnTo>
                      <a:lnTo>
                        <a:pt x="579" y="55"/>
                      </a:lnTo>
                      <a:lnTo>
                        <a:pt x="579" y="56"/>
                      </a:lnTo>
                      <a:lnTo>
                        <a:pt x="578" y="57"/>
                      </a:lnTo>
                      <a:lnTo>
                        <a:pt x="577" y="59"/>
                      </a:lnTo>
                      <a:lnTo>
                        <a:pt x="577" y="61"/>
                      </a:lnTo>
                      <a:lnTo>
                        <a:pt x="577" y="61"/>
                      </a:lnTo>
                      <a:lnTo>
                        <a:pt x="578" y="62"/>
                      </a:lnTo>
                      <a:lnTo>
                        <a:pt x="579" y="63"/>
                      </a:lnTo>
                      <a:lnTo>
                        <a:pt x="580" y="63"/>
                      </a:lnTo>
                      <a:lnTo>
                        <a:pt x="581" y="62"/>
                      </a:lnTo>
                      <a:lnTo>
                        <a:pt x="581" y="61"/>
                      </a:lnTo>
                      <a:lnTo>
                        <a:pt x="581" y="61"/>
                      </a:lnTo>
                      <a:lnTo>
                        <a:pt x="581" y="60"/>
                      </a:lnTo>
                      <a:lnTo>
                        <a:pt x="580" y="59"/>
                      </a:lnTo>
                      <a:lnTo>
                        <a:pt x="579" y="59"/>
                      </a:lnTo>
                      <a:lnTo>
                        <a:pt x="579" y="58"/>
                      </a:lnTo>
                      <a:lnTo>
                        <a:pt x="579" y="57"/>
                      </a:lnTo>
                      <a:lnTo>
                        <a:pt x="580" y="57"/>
                      </a:lnTo>
                      <a:lnTo>
                        <a:pt x="581" y="57"/>
                      </a:lnTo>
                      <a:lnTo>
                        <a:pt x="581" y="57"/>
                      </a:lnTo>
                      <a:lnTo>
                        <a:pt x="581" y="58"/>
                      </a:lnTo>
                      <a:lnTo>
                        <a:pt x="582" y="59"/>
                      </a:lnTo>
                      <a:lnTo>
                        <a:pt x="583" y="59"/>
                      </a:lnTo>
                      <a:lnTo>
                        <a:pt x="583" y="59"/>
                      </a:lnTo>
                      <a:lnTo>
                        <a:pt x="584" y="59"/>
                      </a:lnTo>
                      <a:lnTo>
                        <a:pt x="585" y="59"/>
                      </a:lnTo>
                      <a:lnTo>
                        <a:pt x="585" y="60"/>
                      </a:lnTo>
                      <a:lnTo>
                        <a:pt x="585" y="61"/>
                      </a:lnTo>
                      <a:lnTo>
                        <a:pt x="585" y="61"/>
                      </a:lnTo>
                      <a:lnTo>
                        <a:pt x="585" y="62"/>
                      </a:lnTo>
                      <a:lnTo>
                        <a:pt x="585" y="63"/>
                      </a:lnTo>
                      <a:lnTo>
                        <a:pt x="583" y="64"/>
                      </a:lnTo>
                      <a:lnTo>
                        <a:pt x="583" y="65"/>
                      </a:lnTo>
                      <a:lnTo>
                        <a:pt x="583" y="66"/>
                      </a:lnTo>
                      <a:lnTo>
                        <a:pt x="582" y="67"/>
                      </a:lnTo>
                      <a:lnTo>
                        <a:pt x="582" y="67"/>
                      </a:lnTo>
                      <a:lnTo>
                        <a:pt x="582" y="68"/>
                      </a:lnTo>
                      <a:lnTo>
                        <a:pt x="583" y="69"/>
                      </a:lnTo>
                      <a:lnTo>
                        <a:pt x="583" y="69"/>
                      </a:lnTo>
                      <a:lnTo>
                        <a:pt x="584" y="69"/>
                      </a:lnTo>
                      <a:lnTo>
                        <a:pt x="585" y="68"/>
                      </a:lnTo>
                      <a:lnTo>
                        <a:pt x="585" y="67"/>
                      </a:lnTo>
                      <a:lnTo>
                        <a:pt x="585" y="67"/>
                      </a:lnTo>
                      <a:lnTo>
                        <a:pt x="586" y="66"/>
                      </a:lnTo>
                      <a:lnTo>
                        <a:pt x="587" y="66"/>
                      </a:lnTo>
                      <a:lnTo>
                        <a:pt x="588" y="66"/>
                      </a:lnTo>
                      <a:lnTo>
                        <a:pt x="588" y="67"/>
                      </a:lnTo>
                      <a:lnTo>
                        <a:pt x="588" y="67"/>
                      </a:lnTo>
                      <a:lnTo>
                        <a:pt x="588" y="69"/>
                      </a:lnTo>
                      <a:lnTo>
                        <a:pt x="587" y="69"/>
                      </a:lnTo>
                      <a:lnTo>
                        <a:pt x="588" y="70"/>
                      </a:lnTo>
                      <a:lnTo>
                        <a:pt x="588" y="71"/>
                      </a:lnTo>
                      <a:lnTo>
                        <a:pt x="588" y="71"/>
                      </a:lnTo>
                      <a:lnTo>
                        <a:pt x="588" y="72"/>
                      </a:lnTo>
                      <a:lnTo>
                        <a:pt x="589" y="73"/>
                      </a:lnTo>
                      <a:lnTo>
                        <a:pt x="588" y="73"/>
                      </a:lnTo>
                      <a:lnTo>
                        <a:pt x="588" y="74"/>
                      </a:lnTo>
                      <a:lnTo>
                        <a:pt x="588" y="74"/>
                      </a:lnTo>
                      <a:lnTo>
                        <a:pt x="588" y="75"/>
                      </a:lnTo>
                      <a:lnTo>
                        <a:pt x="587" y="75"/>
                      </a:lnTo>
                      <a:lnTo>
                        <a:pt x="586" y="75"/>
                      </a:lnTo>
                      <a:lnTo>
                        <a:pt x="585" y="74"/>
                      </a:lnTo>
                      <a:lnTo>
                        <a:pt x="585" y="73"/>
                      </a:lnTo>
                      <a:lnTo>
                        <a:pt x="585" y="72"/>
                      </a:lnTo>
                      <a:lnTo>
                        <a:pt x="585" y="71"/>
                      </a:lnTo>
                      <a:lnTo>
                        <a:pt x="585" y="71"/>
                      </a:lnTo>
                      <a:lnTo>
                        <a:pt x="585" y="70"/>
                      </a:lnTo>
                      <a:lnTo>
                        <a:pt x="584" y="69"/>
                      </a:lnTo>
                      <a:lnTo>
                        <a:pt x="583" y="69"/>
                      </a:lnTo>
                      <a:lnTo>
                        <a:pt x="582" y="69"/>
                      </a:lnTo>
                      <a:lnTo>
                        <a:pt x="581" y="70"/>
                      </a:lnTo>
                      <a:lnTo>
                        <a:pt x="580" y="71"/>
                      </a:lnTo>
                      <a:lnTo>
                        <a:pt x="579" y="72"/>
                      </a:lnTo>
                      <a:lnTo>
                        <a:pt x="579" y="73"/>
                      </a:lnTo>
                      <a:lnTo>
                        <a:pt x="579" y="73"/>
                      </a:lnTo>
                      <a:lnTo>
                        <a:pt x="579" y="73"/>
                      </a:lnTo>
                      <a:lnTo>
                        <a:pt x="580" y="73"/>
                      </a:lnTo>
                      <a:lnTo>
                        <a:pt x="581" y="73"/>
                      </a:lnTo>
                      <a:lnTo>
                        <a:pt x="581" y="73"/>
                      </a:lnTo>
                      <a:lnTo>
                        <a:pt x="582" y="74"/>
                      </a:lnTo>
                      <a:lnTo>
                        <a:pt x="583" y="75"/>
                      </a:lnTo>
                      <a:lnTo>
                        <a:pt x="583" y="75"/>
                      </a:lnTo>
                      <a:lnTo>
                        <a:pt x="584" y="75"/>
                      </a:lnTo>
                      <a:lnTo>
                        <a:pt x="585" y="75"/>
                      </a:lnTo>
                      <a:lnTo>
                        <a:pt x="585" y="75"/>
                      </a:lnTo>
                      <a:lnTo>
                        <a:pt x="586" y="75"/>
                      </a:lnTo>
                      <a:lnTo>
                        <a:pt x="588" y="75"/>
                      </a:lnTo>
                      <a:lnTo>
                        <a:pt x="588" y="76"/>
                      </a:lnTo>
                      <a:lnTo>
                        <a:pt x="589" y="76"/>
                      </a:lnTo>
                      <a:lnTo>
                        <a:pt x="589" y="77"/>
                      </a:lnTo>
                      <a:lnTo>
                        <a:pt x="589" y="78"/>
                      </a:lnTo>
                      <a:lnTo>
                        <a:pt x="589" y="78"/>
                      </a:lnTo>
                      <a:lnTo>
                        <a:pt x="588" y="78"/>
                      </a:lnTo>
                      <a:lnTo>
                        <a:pt x="588" y="79"/>
                      </a:lnTo>
                      <a:lnTo>
                        <a:pt x="587" y="79"/>
                      </a:lnTo>
                      <a:lnTo>
                        <a:pt x="586" y="80"/>
                      </a:lnTo>
                      <a:lnTo>
                        <a:pt x="586" y="80"/>
                      </a:lnTo>
                      <a:lnTo>
                        <a:pt x="586" y="81"/>
                      </a:lnTo>
                      <a:lnTo>
                        <a:pt x="587" y="82"/>
                      </a:lnTo>
                      <a:lnTo>
                        <a:pt x="588" y="82"/>
                      </a:lnTo>
                      <a:lnTo>
                        <a:pt x="588" y="82"/>
                      </a:lnTo>
                      <a:lnTo>
                        <a:pt x="589" y="83"/>
                      </a:lnTo>
                      <a:lnTo>
                        <a:pt x="590" y="83"/>
                      </a:lnTo>
                      <a:lnTo>
                        <a:pt x="590" y="82"/>
                      </a:lnTo>
                      <a:lnTo>
                        <a:pt x="590" y="82"/>
                      </a:lnTo>
                      <a:lnTo>
                        <a:pt x="590" y="81"/>
                      </a:lnTo>
                      <a:lnTo>
                        <a:pt x="590" y="80"/>
                      </a:lnTo>
                      <a:lnTo>
                        <a:pt x="590" y="80"/>
                      </a:lnTo>
                      <a:lnTo>
                        <a:pt x="591" y="79"/>
                      </a:lnTo>
                      <a:lnTo>
                        <a:pt x="592" y="78"/>
                      </a:lnTo>
                      <a:lnTo>
                        <a:pt x="592" y="78"/>
                      </a:lnTo>
                      <a:lnTo>
                        <a:pt x="593" y="78"/>
                      </a:lnTo>
                      <a:lnTo>
                        <a:pt x="594" y="77"/>
                      </a:lnTo>
                      <a:lnTo>
                        <a:pt x="594" y="77"/>
                      </a:lnTo>
                      <a:lnTo>
                        <a:pt x="595" y="77"/>
                      </a:lnTo>
                      <a:lnTo>
                        <a:pt x="595" y="78"/>
                      </a:lnTo>
                      <a:lnTo>
                        <a:pt x="596" y="78"/>
                      </a:lnTo>
                      <a:lnTo>
                        <a:pt x="595" y="78"/>
                      </a:lnTo>
                      <a:lnTo>
                        <a:pt x="595" y="79"/>
                      </a:lnTo>
                      <a:lnTo>
                        <a:pt x="594" y="79"/>
                      </a:lnTo>
                      <a:lnTo>
                        <a:pt x="594" y="80"/>
                      </a:lnTo>
                      <a:lnTo>
                        <a:pt x="594" y="80"/>
                      </a:lnTo>
                      <a:lnTo>
                        <a:pt x="594" y="81"/>
                      </a:lnTo>
                      <a:lnTo>
                        <a:pt x="594" y="82"/>
                      </a:lnTo>
                      <a:lnTo>
                        <a:pt x="593" y="82"/>
                      </a:lnTo>
                      <a:lnTo>
                        <a:pt x="593" y="83"/>
                      </a:lnTo>
                      <a:lnTo>
                        <a:pt x="592" y="84"/>
                      </a:lnTo>
                      <a:lnTo>
                        <a:pt x="592" y="84"/>
                      </a:lnTo>
                      <a:lnTo>
                        <a:pt x="591" y="84"/>
                      </a:lnTo>
                      <a:lnTo>
                        <a:pt x="590" y="84"/>
                      </a:lnTo>
                      <a:lnTo>
                        <a:pt x="590" y="85"/>
                      </a:lnTo>
                      <a:lnTo>
                        <a:pt x="590" y="86"/>
                      </a:lnTo>
                      <a:lnTo>
                        <a:pt x="590" y="86"/>
                      </a:lnTo>
                      <a:lnTo>
                        <a:pt x="591" y="86"/>
                      </a:lnTo>
                      <a:lnTo>
                        <a:pt x="592" y="87"/>
                      </a:lnTo>
                      <a:lnTo>
                        <a:pt x="592" y="87"/>
                      </a:lnTo>
                      <a:lnTo>
                        <a:pt x="592" y="88"/>
                      </a:lnTo>
                      <a:lnTo>
                        <a:pt x="593" y="88"/>
                      </a:lnTo>
                      <a:lnTo>
                        <a:pt x="593" y="89"/>
                      </a:lnTo>
                      <a:lnTo>
                        <a:pt x="593" y="90"/>
                      </a:lnTo>
                      <a:lnTo>
                        <a:pt x="593" y="90"/>
                      </a:lnTo>
                      <a:lnTo>
                        <a:pt x="593" y="91"/>
                      </a:lnTo>
                      <a:lnTo>
                        <a:pt x="593" y="92"/>
                      </a:lnTo>
                      <a:lnTo>
                        <a:pt x="592" y="94"/>
                      </a:lnTo>
                      <a:lnTo>
                        <a:pt x="592" y="95"/>
                      </a:lnTo>
                      <a:lnTo>
                        <a:pt x="592" y="96"/>
                      </a:lnTo>
                      <a:lnTo>
                        <a:pt x="591" y="97"/>
                      </a:lnTo>
                      <a:lnTo>
                        <a:pt x="591" y="97"/>
                      </a:lnTo>
                      <a:lnTo>
                        <a:pt x="591" y="98"/>
                      </a:lnTo>
                      <a:lnTo>
                        <a:pt x="591" y="99"/>
                      </a:lnTo>
                      <a:lnTo>
                        <a:pt x="591" y="99"/>
                      </a:lnTo>
                      <a:lnTo>
                        <a:pt x="591" y="100"/>
                      </a:lnTo>
                      <a:lnTo>
                        <a:pt x="590" y="101"/>
                      </a:lnTo>
                      <a:lnTo>
                        <a:pt x="590" y="101"/>
                      </a:lnTo>
                      <a:lnTo>
                        <a:pt x="589" y="101"/>
                      </a:lnTo>
                      <a:lnTo>
                        <a:pt x="588" y="101"/>
                      </a:lnTo>
                      <a:lnTo>
                        <a:pt x="588" y="100"/>
                      </a:lnTo>
                      <a:lnTo>
                        <a:pt x="588" y="99"/>
                      </a:lnTo>
                      <a:lnTo>
                        <a:pt x="588" y="99"/>
                      </a:lnTo>
                      <a:lnTo>
                        <a:pt x="588" y="98"/>
                      </a:lnTo>
                      <a:lnTo>
                        <a:pt x="589" y="97"/>
                      </a:lnTo>
                      <a:lnTo>
                        <a:pt x="588" y="97"/>
                      </a:lnTo>
                      <a:lnTo>
                        <a:pt x="588" y="97"/>
                      </a:lnTo>
                      <a:lnTo>
                        <a:pt x="588" y="97"/>
                      </a:lnTo>
                      <a:lnTo>
                        <a:pt x="587" y="97"/>
                      </a:lnTo>
                      <a:lnTo>
                        <a:pt x="587" y="98"/>
                      </a:lnTo>
                      <a:lnTo>
                        <a:pt x="586" y="99"/>
                      </a:lnTo>
                      <a:lnTo>
                        <a:pt x="586" y="99"/>
                      </a:lnTo>
                      <a:lnTo>
                        <a:pt x="585" y="99"/>
                      </a:lnTo>
                      <a:lnTo>
                        <a:pt x="585" y="100"/>
                      </a:lnTo>
                      <a:lnTo>
                        <a:pt x="584" y="101"/>
                      </a:lnTo>
                      <a:lnTo>
                        <a:pt x="584" y="101"/>
                      </a:lnTo>
                      <a:lnTo>
                        <a:pt x="584" y="102"/>
                      </a:lnTo>
                      <a:lnTo>
                        <a:pt x="585" y="102"/>
                      </a:lnTo>
                      <a:lnTo>
                        <a:pt x="585" y="103"/>
                      </a:lnTo>
                      <a:lnTo>
                        <a:pt x="587" y="103"/>
                      </a:lnTo>
                      <a:lnTo>
                        <a:pt x="588" y="104"/>
                      </a:lnTo>
                      <a:lnTo>
                        <a:pt x="589" y="104"/>
                      </a:lnTo>
                      <a:lnTo>
                        <a:pt x="590" y="105"/>
                      </a:lnTo>
                      <a:lnTo>
                        <a:pt x="590" y="105"/>
                      </a:lnTo>
                      <a:lnTo>
                        <a:pt x="592" y="105"/>
                      </a:lnTo>
                      <a:lnTo>
                        <a:pt x="593" y="106"/>
                      </a:lnTo>
                      <a:lnTo>
                        <a:pt x="594" y="106"/>
                      </a:lnTo>
                      <a:lnTo>
                        <a:pt x="594" y="107"/>
                      </a:lnTo>
                      <a:lnTo>
                        <a:pt x="594" y="107"/>
                      </a:lnTo>
                      <a:lnTo>
                        <a:pt x="594" y="108"/>
                      </a:lnTo>
                      <a:lnTo>
                        <a:pt x="594" y="110"/>
                      </a:lnTo>
                      <a:lnTo>
                        <a:pt x="594" y="111"/>
                      </a:lnTo>
                      <a:lnTo>
                        <a:pt x="593" y="112"/>
                      </a:lnTo>
                      <a:lnTo>
                        <a:pt x="592" y="113"/>
                      </a:lnTo>
                      <a:lnTo>
                        <a:pt x="592" y="114"/>
                      </a:lnTo>
                      <a:lnTo>
                        <a:pt x="592" y="115"/>
                      </a:lnTo>
                      <a:lnTo>
                        <a:pt x="592" y="116"/>
                      </a:lnTo>
                      <a:lnTo>
                        <a:pt x="593" y="116"/>
                      </a:lnTo>
                      <a:lnTo>
                        <a:pt x="594" y="116"/>
                      </a:lnTo>
                      <a:lnTo>
                        <a:pt x="594" y="116"/>
                      </a:lnTo>
                      <a:lnTo>
                        <a:pt x="595" y="116"/>
                      </a:lnTo>
                      <a:lnTo>
                        <a:pt x="595" y="116"/>
                      </a:lnTo>
                      <a:lnTo>
                        <a:pt x="595" y="117"/>
                      </a:lnTo>
                      <a:lnTo>
                        <a:pt x="595" y="118"/>
                      </a:lnTo>
                      <a:lnTo>
                        <a:pt x="595" y="118"/>
                      </a:lnTo>
                      <a:lnTo>
                        <a:pt x="595" y="119"/>
                      </a:lnTo>
                      <a:lnTo>
                        <a:pt x="596" y="120"/>
                      </a:lnTo>
                      <a:lnTo>
                        <a:pt x="595" y="120"/>
                      </a:lnTo>
                      <a:lnTo>
                        <a:pt x="594" y="121"/>
                      </a:lnTo>
                      <a:lnTo>
                        <a:pt x="594" y="121"/>
                      </a:lnTo>
                      <a:lnTo>
                        <a:pt x="593" y="121"/>
                      </a:lnTo>
                      <a:lnTo>
                        <a:pt x="593" y="122"/>
                      </a:lnTo>
                      <a:lnTo>
                        <a:pt x="592" y="122"/>
                      </a:lnTo>
                      <a:lnTo>
                        <a:pt x="592" y="122"/>
                      </a:lnTo>
                      <a:lnTo>
                        <a:pt x="592" y="123"/>
                      </a:lnTo>
                      <a:lnTo>
                        <a:pt x="592" y="124"/>
                      </a:lnTo>
                      <a:lnTo>
                        <a:pt x="591" y="124"/>
                      </a:lnTo>
                      <a:lnTo>
                        <a:pt x="590" y="124"/>
                      </a:lnTo>
                      <a:lnTo>
                        <a:pt x="590" y="125"/>
                      </a:lnTo>
                      <a:lnTo>
                        <a:pt x="590" y="125"/>
                      </a:lnTo>
                      <a:lnTo>
                        <a:pt x="590" y="126"/>
                      </a:lnTo>
                      <a:lnTo>
                        <a:pt x="589" y="126"/>
                      </a:lnTo>
                      <a:lnTo>
                        <a:pt x="588" y="127"/>
                      </a:lnTo>
                      <a:lnTo>
                        <a:pt x="588" y="128"/>
                      </a:lnTo>
                      <a:lnTo>
                        <a:pt x="588" y="128"/>
                      </a:lnTo>
                      <a:lnTo>
                        <a:pt x="588" y="129"/>
                      </a:lnTo>
                      <a:lnTo>
                        <a:pt x="588" y="130"/>
                      </a:lnTo>
                      <a:lnTo>
                        <a:pt x="589" y="130"/>
                      </a:lnTo>
                      <a:lnTo>
                        <a:pt x="589" y="130"/>
                      </a:lnTo>
                      <a:lnTo>
                        <a:pt x="590" y="130"/>
                      </a:lnTo>
                      <a:lnTo>
                        <a:pt x="590" y="130"/>
                      </a:lnTo>
                      <a:lnTo>
                        <a:pt x="590" y="129"/>
                      </a:lnTo>
                      <a:lnTo>
                        <a:pt x="591" y="128"/>
                      </a:lnTo>
                      <a:lnTo>
                        <a:pt x="592" y="128"/>
                      </a:lnTo>
                      <a:lnTo>
                        <a:pt x="592" y="128"/>
                      </a:lnTo>
                      <a:lnTo>
                        <a:pt x="593" y="128"/>
                      </a:lnTo>
                      <a:lnTo>
                        <a:pt x="594" y="128"/>
                      </a:lnTo>
                      <a:lnTo>
                        <a:pt x="595" y="128"/>
                      </a:lnTo>
                      <a:lnTo>
                        <a:pt x="596" y="128"/>
                      </a:lnTo>
                      <a:lnTo>
                        <a:pt x="596" y="128"/>
                      </a:lnTo>
                      <a:lnTo>
                        <a:pt x="597" y="128"/>
                      </a:lnTo>
                      <a:lnTo>
                        <a:pt x="598" y="128"/>
                      </a:lnTo>
                      <a:lnTo>
                        <a:pt x="598" y="128"/>
                      </a:lnTo>
                      <a:lnTo>
                        <a:pt x="599" y="129"/>
                      </a:lnTo>
                      <a:lnTo>
                        <a:pt x="600" y="129"/>
                      </a:lnTo>
                      <a:lnTo>
                        <a:pt x="600" y="130"/>
                      </a:lnTo>
                      <a:lnTo>
                        <a:pt x="600" y="130"/>
                      </a:lnTo>
                      <a:lnTo>
                        <a:pt x="600" y="130"/>
                      </a:lnTo>
                      <a:lnTo>
                        <a:pt x="600" y="131"/>
                      </a:lnTo>
                      <a:lnTo>
                        <a:pt x="599" y="131"/>
                      </a:lnTo>
                      <a:lnTo>
                        <a:pt x="598" y="132"/>
                      </a:lnTo>
                      <a:lnTo>
                        <a:pt x="597" y="132"/>
                      </a:lnTo>
                      <a:lnTo>
                        <a:pt x="596" y="132"/>
                      </a:lnTo>
                      <a:lnTo>
                        <a:pt x="594" y="133"/>
                      </a:lnTo>
                      <a:lnTo>
                        <a:pt x="593" y="134"/>
                      </a:lnTo>
                      <a:lnTo>
                        <a:pt x="592" y="134"/>
                      </a:lnTo>
                      <a:lnTo>
                        <a:pt x="592" y="135"/>
                      </a:lnTo>
                      <a:lnTo>
                        <a:pt x="592" y="136"/>
                      </a:lnTo>
                      <a:lnTo>
                        <a:pt x="592" y="137"/>
                      </a:lnTo>
                      <a:lnTo>
                        <a:pt x="592" y="137"/>
                      </a:lnTo>
                      <a:lnTo>
                        <a:pt x="592" y="138"/>
                      </a:lnTo>
                      <a:lnTo>
                        <a:pt x="593" y="138"/>
                      </a:lnTo>
                      <a:lnTo>
                        <a:pt x="594" y="138"/>
                      </a:lnTo>
                      <a:lnTo>
                        <a:pt x="594" y="137"/>
                      </a:lnTo>
                      <a:lnTo>
                        <a:pt x="595" y="137"/>
                      </a:lnTo>
                      <a:lnTo>
                        <a:pt x="597" y="136"/>
                      </a:lnTo>
                      <a:lnTo>
                        <a:pt x="598" y="136"/>
                      </a:lnTo>
                      <a:lnTo>
                        <a:pt x="598" y="135"/>
                      </a:lnTo>
                      <a:lnTo>
                        <a:pt x="599" y="135"/>
                      </a:lnTo>
                      <a:lnTo>
                        <a:pt x="600" y="135"/>
                      </a:lnTo>
                      <a:lnTo>
                        <a:pt x="600" y="136"/>
                      </a:lnTo>
                      <a:lnTo>
                        <a:pt x="601" y="137"/>
                      </a:lnTo>
                      <a:lnTo>
                        <a:pt x="600" y="137"/>
                      </a:lnTo>
                      <a:lnTo>
                        <a:pt x="600" y="138"/>
                      </a:lnTo>
                      <a:lnTo>
                        <a:pt x="600" y="139"/>
                      </a:lnTo>
                      <a:lnTo>
                        <a:pt x="600" y="139"/>
                      </a:lnTo>
                      <a:lnTo>
                        <a:pt x="599" y="139"/>
                      </a:lnTo>
                      <a:lnTo>
                        <a:pt x="598" y="139"/>
                      </a:lnTo>
                      <a:lnTo>
                        <a:pt x="598" y="139"/>
                      </a:lnTo>
                      <a:lnTo>
                        <a:pt x="597" y="139"/>
                      </a:lnTo>
                      <a:lnTo>
                        <a:pt x="596" y="140"/>
                      </a:lnTo>
                      <a:lnTo>
                        <a:pt x="596" y="141"/>
                      </a:lnTo>
                      <a:lnTo>
                        <a:pt x="596" y="141"/>
                      </a:lnTo>
                      <a:lnTo>
                        <a:pt x="595" y="141"/>
                      </a:lnTo>
                      <a:lnTo>
                        <a:pt x="595" y="143"/>
                      </a:lnTo>
                      <a:lnTo>
                        <a:pt x="595" y="143"/>
                      </a:lnTo>
                      <a:lnTo>
                        <a:pt x="595" y="145"/>
                      </a:lnTo>
                      <a:lnTo>
                        <a:pt x="596" y="145"/>
                      </a:lnTo>
                      <a:lnTo>
                        <a:pt x="596" y="146"/>
                      </a:lnTo>
                      <a:lnTo>
                        <a:pt x="596" y="147"/>
                      </a:lnTo>
                      <a:lnTo>
                        <a:pt x="595" y="147"/>
                      </a:lnTo>
                      <a:lnTo>
                        <a:pt x="594" y="147"/>
                      </a:lnTo>
                      <a:lnTo>
                        <a:pt x="594" y="148"/>
                      </a:lnTo>
                      <a:lnTo>
                        <a:pt x="594" y="148"/>
                      </a:lnTo>
                      <a:lnTo>
                        <a:pt x="594" y="149"/>
                      </a:lnTo>
                      <a:lnTo>
                        <a:pt x="593" y="149"/>
                      </a:lnTo>
                      <a:lnTo>
                        <a:pt x="593" y="148"/>
                      </a:lnTo>
                      <a:lnTo>
                        <a:pt x="592" y="148"/>
                      </a:lnTo>
                      <a:lnTo>
                        <a:pt x="592" y="147"/>
                      </a:lnTo>
                      <a:lnTo>
                        <a:pt x="592" y="147"/>
                      </a:lnTo>
                      <a:lnTo>
                        <a:pt x="592" y="146"/>
                      </a:lnTo>
                      <a:lnTo>
                        <a:pt x="592" y="145"/>
                      </a:lnTo>
                      <a:lnTo>
                        <a:pt x="592" y="145"/>
                      </a:lnTo>
                      <a:lnTo>
                        <a:pt x="590" y="145"/>
                      </a:lnTo>
                      <a:lnTo>
                        <a:pt x="590" y="144"/>
                      </a:lnTo>
                      <a:lnTo>
                        <a:pt x="588" y="143"/>
                      </a:lnTo>
                      <a:lnTo>
                        <a:pt x="588" y="143"/>
                      </a:lnTo>
                      <a:lnTo>
                        <a:pt x="587" y="143"/>
                      </a:lnTo>
                      <a:lnTo>
                        <a:pt x="587" y="143"/>
                      </a:lnTo>
                      <a:lnTo>
                        <a:pt x="586" y="143"/>
                      </a:lnTo>
                      <a:lnTo>
                        <a:pt x="585" y="143"/>
                      </a:lnTo>
                      <a:lnTo>
                        <a:pt x="585" y="143"/>
                      </a:lnTo>
                      <a:lnTo>
                        <a:pt x="585" y="143"/>
                      </a:lnTo>
                      <a:lnTo>
                        <a:pt x="584" y="144"/>
                      </a:lnTo>
                      <a:lnTo>
                        <a:pt x="584" y="145"/>
                      </a:lnTo>
                      <a:lnTo>
                        <a:pt x="585" y="145"/>
                      </a:lnTo>
                      <a:lnTo>
                        <a:pt x="585" y="146"/>
                      </a:lnTo>
                      <a:lnTo>
                        <a:pt x="585" y="146"/>
                      </a:lnTo>
                      <a:lnTo>
                        <a:pt x="586" y="147"/>
                      </a:lnTo>
                      <a:lnTo>
                        <a:pt x="587" y="147"/>
                      </a:lnTo>
                      <a:lnTo>
                        <a:pt x="588" y="146"/>
                      </a:lnTo>
                      <a:lnTo>
                        <a:pt x="589" y="146"/>
                      </a:lnTo>
                      <a:lnTo>
                        <a:pt x="589" y="147"/>
                      </a:lnTo>
                      <a:lnTo>
                        <a:pt x="590" y="147"/>
                      </a:lnTo>
                      <a:lnTo>
                        <a:pt x="590" y="147"/>
                      </a:lnTo>
                      <a:lnTo>
                        <a:pt x="590" y="148"/>
                      </a:lnTo>
                      <a:lnTo>
                        <a:pt x="590" y="149"/>
                      </a:lnTo>
                      <a:lnTo>
                        <a:pt x="589" y="149"/>
                      </a:lnTo>
                      <a:lnTo>
                        <a:pt x="588" y="149"/>
                      </a:lnTo>
                      <a:lnTo>
                        <a:pt x="588" y="150"/>
                      </a:lnTo>
                      <a:lnTo>
                        <a:pt x="588" y="151"/>
                      </a:lnTo>
                      <a:lnTo>
                        <a:pt x="588" y="151"/>
                      </a:lnTo>
                      <a:lnTo>
                        <a:pt x="588" y="152"/>
                      </a:lnTo>
                      <a:lnTo>
                        <a:pt x="590" y="152"/>
                      </a:lnTo>
                      <a:lnTo>
                        <a:pt x="590" y="152"/>
                      </a:lnTo>
                      <a:lnTo>
                        <a:pt x="592" y="151"/>
                      </a:lnTo>
                      <a:lnTo>
                        <a:pt x="592" y="151"/>
                      </a:lnTo>
                      <a:lnTo>
                        <a:pt x="593" y="151"/>
                      </a:lnTo>
                      <a:lnTo>
                        <a:pt x="594" y="151"/>
                      </a:lnTo>
                      <a:lnTo>
                        <a:pt x="594" y="151"/>
                      </a:lnTo>
                      <a:lnTo>
                        <a:pt x="595" y="150"/>
                      </a:lnTo>
                      <a:lnTo>
                        <a:pt x="596" y="150"/>
                      </a:lnTo>
                      <a:lnTo>
                        <a:pt x="596" y="150"/>
                      </a:lnTo>
                      <a:lnTo>
                        <a:pt x="597" y="150"/>
                      </a:lnTo>
                      <a:lnTo>
                        <a:pt x="598" y="151"/>
                      </a:lnTo>
                      <a:lnTo>
                        <a:pt x="598" y="151"/>
                      </a:lnTo>
                      <a:lnTo>
                        <a:pt x="598" y="152"/>
                      </a:lnTo>
                      <a:lnTo>
                        <a:pt x="597" y="153"/>
                      </a:lnTo>
                      <a:lnTo>
                        <a:pt x="597" y="153"/>
                      </a:lnTo>
                      <a:lnTo>
                        <a:pt x="596" y="154"/>
                      </a:lnTo>
                      <a:lnTo>
                        <a:pt x="596" y="155"/>
                      </a:lnTo>
                      <a:lnTo>
                        <a:pt x="595" y="156"/>
                      </a:lnTo>
                      <a:lnTo>
                        <a:pt x="594" y="157"/>
                      </a:lnTo>
                      <a:lnTo>
                        <a:pt x="594" y="158"/>
                      </a:lnTo>
                      <a:lnTo>
                        <a:pt x="593" y="158"/>
                      </a:lnTo>
                      <a:lnTo>
                        <a:pt x="593" y="159"/>
                      </a:lnTo>
                      <a:lnTo>
                        <a:pt x="592" y="160"/>
                      </a:lnTo>
                      <a:lnTo>
                        <a:pt x="592" y="160"/>
                      </a:lnTo>
                      <a:lnTo>
                        <a:pt x="591" y="161"/>
                      </a:lnTo>
                      <a:lnTo>
                        <a:pt x="590" y="161"/>
                      </a:lnTo>
                      <a:lnTo>
                        <a:pt x="590" y="161"/>
                      </a:lnTo>
                      <a:lnTo>
                        <a:pt x="588" y="161"/>
                      </a:lnTo>
                      <a:lnTo>
                        <a:pt x="588" y="162"/>
                      </a:lnTo>
                      <a:lnTo>
                        <a:pt x="588" y="162"/>
                      </a:lnTo>
                      <a:lnTo>
                        <a:pt x="587" y="162"/>
                      </a:lnTo>
                      <a:lnTo>
                        <a:pt x="587" y="163"/>
                      </a:lnTo>
                      <a:lnTo>
                        <a:pt x="587" y="164"/>
                      </a:lnTo>
                      <a:lnTo>
                        <a:pt x="588" y="164"/>
                      </a:lnTo>
                      <a:lnTo>
                        <a:pt x="588" y="164"/>
                      </a:lnTo>
                      <a:lnTo>
                        <a:pt x="589" y="164"/>
                      </a:lnTo>
                      <a:lnTo>
                        <a:pt x="590" y="165"/>
                      </a:lnTo>
                      <a:lnTo>
                        <a:pt x="590" y="165"/>
                      </a:lnTo>
                      <a:lnTo>
                        <a:pt x="592" y="165"/>
                      </a:lnTo>
                      <a:lnTo>
                        <a:pt x="592" y="165"/>
                      </a:lnTo>
                      <a:lnTo>
                        <a:pt x="592" y="166"/>
                      </a:lnTo>
                      <a:lnTo>
                        <a:pt x="593" y="166"/>
                      </a:lnTo>
                      <a:lnTo>
                        <a:pt x="593" y="167"/>
                      </a:lnTo>
                      <a:lnTo>
                        <a:pt x="592" y="167"/>
                      </a:lnTo>
                      <a:lnTo>
                        <a:pt x="592" y="168"/>
                      </a:lnTo>
                      <a:lnTo>
                        <a:pt x="591" y="168"/>
                      </a:lnTo>
                      <a:lnTo>
                        <a:pt x="590" y="168"/>
                      </a:lnTo>
                      <a:lnTo>
                        <a:pt x="590" y="169"/>
                      </a:lnTo>
                      <a:lnTo>
                        <a:pt x="590" y="170"/>
                      </a:lnTo>
                      <a:lnTo>
                        <a:pt x="590" y="170"/>
                      </a:lnTo>
                      <a:lnTo>
                        <a:pt x="590" y="171"/>
                      </a:lnTo>
                      <a:lnTo>
                        <a:pt x="590" y="172"/>
                      </a:lnTo>
                      <a:lnTo>
                        <a:pt x="591" y="172"/>
                      </a:lnTo>
                      <a:lnTo>
                        <a:pt x="592" y="173"/>
                      </a:lnTo>
                      <a:lnTo>
                        <a:pt x="592" y="174"/>
                      </a:lnTo>
                      <a:lnTo>
                        <a:pt x="593" y="175"/>
                      </a:lnTo>
                      <a:lnTo>
                        <a:pt x="593" y="175"/>
                      </a:lnTo>
                      <a:lnTo>
                        <a:pt x="594" y="176"/>
                      </a:lnTo>
                      <a:lnTo>
                        <a:pt x="594" y="177"/>
                      </a:lnTo>
                      <a:lnTo>
                        <a:pt x="594" y="177"/>
                      </a:lnTo>
                      <a:lnTo>
                        <a:pt x="594" y="178"/>
                      </a:lnTo>
                      <a:lnTo>
                        <a:pt x="593" y="179"/>
                      </a:lnTo>
                      <a:lnTo>
                        <a:pt x="592" y="179"/>
                      </a:lnTo>
                      <a:lnTo>
                        <a:pt x="592" y="179"/>
                      </a:lnTo>
                      <a:lnTo>
                        <a:pt x="591" y="179"/>
                      </a:lnTo>
                      <a:lnTo>
                        <a:pt x="590" y="178"/>
                      </a:lnTo>
                      <a:lnTo>
                        <a:pt x="590" y="177"/>
                      </a:lnTo>
                      <a:lnTo>
                        <a:pt x="589" y="177"/>
                      </a:lnTo>
                      <a:lnTo>
                        <a:pt x="588" y="177"/>
                      </a:lnTo>
                      <a:lnTo>
                        <a:pt x="588" y="176"/>
                      </a:lnTo>
                      <a:lnTo>
                        <a:pt x="587" y="176"/>
                      </a:lnTo>
                      <a:lnTo>
                        <a:pt x="586" y="176"/>
                      </a:lnTo>
                      <a:lnTo>
                        <a:pt x="585" y="177"/>
                      </a:lnTo>
                      <a:lnTo>
                        <a:pt x="585" y="177"/>
                      </a:lnTo>
                      <a:lnTo>
                        <a:pt x="584" y="178"/>
                      </a:lnTo>
                      <a:lnTo>
                        <a:pt x="583" y="179"/>
                      </a:lnTo>
                      <a:lnTo>
                        <a:pt x="583" y="179"/>
                      </a:lnTo>
                      <a:lnTo>
                        <a:pt x="583" y="180"/>
                      </a:lnTo>
                      <a:lnTo>
                        <a:pt x="584" y="180"/>
                      </a:lnTo>
                      <a:lnTo>
                        <a:pt x="584" y="181"/>
                      </a:lnTo>
                      <a:lnTo>
                        <a:pt x="585" y="181"/>
                      </a:lnTo>
                      <a:lnTo>
                        <a:pt x="585" y="181"/>
                      </a:lnTo>
                      <a:lnTo>
                        <a:pt x="586" y="180"/>
                      </a:lnTo>
                      <a:lnTo>
                        <a:pt x="587" y="180"/>
                      </a:lnTo>
                      <a:lnTo>
                        <a:pt x="588" y="179"/>
                      </a:lnTo>
                      <a:lnTo>
                        <a:pt x="588" y="179"/>
                      </a:lnTo>
                      <a:lnTo>
                        <a:pt x="589" y="179"/>
                      </a:lnTo>
                      <a:lnTo>
                        <a:pt x="590" y="179"/>
                      </a:lnTo>
                      <a:lnTo>
                        <a:pt x="590" y="180"/>
                      </a:lnTo>
                      <a:lnTo>
                        <a:pt x="590" y="181"/>
                      </a:lnTo>
                      <a:lnTo>
                        <a:pt x="590" y="181"/>
                      </a:lnTo>
                      <a:lnTo>
                        <a:pt x="590" y="181"/>
                      </a:lnTo>
                      <a:lnTo>
                        <a:pt x="589" y="182"/>
                      </a:lnTo>
                      <a:lnTo>
                        <a:pt x="588" y="182"/>
                      </a:lnTo>
                      <a:lnTo>
                        <a:pt x="587" y="182"/>
                      </a:lnTo>
                      <a:lnTo>
                        <a:pt x="585" y="183"/>
                      </a:lnTo>
                      <a:lnTo>
                        <a:pt x="585" y="183"/>
                      </a:lnTo>
                      <a:lnTo>
                        <a:pt x="584" y="183"/>
                      </a:lnTo>
                      <a:lnTo>
                        <a:pt x="584" y="183"/>
                      </a:lnTo>
                      <a:lnTo>
                        <a:pt x="584" y="184"/>
                      </a:lnTo>
                      <a:lnTo>
                        <a:pt x="583" y="185"/>
                      </a:lnTo>
                      <a:lnTo>
                        <a:pt x="584" y="185"/>
                      </a:lnTo>
                      <a:lnTo>
                        <a:pt x="585" y="186"/>
                      </a:lnTo>
                      <a:lnTo>
                        <a:pt x="585" y="186"/>
                      </a:lnTo>
                      <a:lnTo>
                        <a:pt x="586" y="187"/>
                      </a:lnTo>
                      <a:lnTo>
                        <a:pt x="586" y="187"/>
                      </a:lnTo>
                      <a:lnTo>
                        <a:pt x="587" y="189"/>
                      </a:lnTo>
                      <a:lnTo>
                        <a:pt x="586" y="189"/>
                      </a:lnTo>
                      <a:lnTo>
                        <a:pt x="586" y="190"/>
                      </a:lnTo>
                      <a:lnTo>
                        <a:pt x="585" y="191"/>
                      </a:lnTo>
                      <a:lnTo>
                        <a:pt x="585" y="191"/>
                      </a:lnTo>
                      <a:lnTo>
                        <a:pt x="585" y="193"/>
                      </a:lnTo>
                      <a:lnTo>
                        <a:pt x="585" y="193"/>
                      </a:lnTo>
                      <a:lnTo>
                        <a:pt x="584" y="194"/>
                      </a:lnTo>
                      <a:lnTo>
                        <a:pt x="583" y="194"/>
                      </a:lnTo>
                      <a:lnTo>
                        <a:pt x="583" y="194"/>
                      </a:lnTo>
                      <a:lnTo>
                        <a:pt x="581" y="193"/>
                      </a:lnTo>
                      <a:lnTo>
                        <a:pt x="581" y="193"/>
                      </a:lnTo>
                      <a:lnTo>
                        <a:pt x="581" y="193"/>
                      </a:lnTo>
                      <a:lnTo>
                        <a:pt x="580" y="192"/>
                      </a:lnTo>
                      <a:lnTo>
                        <a:pt x="580" y="191"/>
                      </a:lnTo>
                      <a:lnTo>
                        <a:pt x="581" y="190"/>
                      </a:lnTo>
                      <a:lnTo>
                        <a:pt x="581" y="189"/>
                      </a:lnTo>
                      <a:lnTo>
                        <a:pt x="582" y="189"/>
                      </a:lnTo>
                      <a:lnTo>
                        <a:pt x="582" y="188"/>
                      </a:lnTo>
                      <a:lnTo>
                        <a:pt x="582" y="187"/>
                      </a:lnTo>
                      <a:lnTo>
                        <a:pt x="582" y="187"/>
                      </a:lnTo>
                      <a:lnTo>
                        <a:pt x="581" y="187"/>
                      </a:lnTo>
                      <a:lnTo>
                        <a:pt x="580" y="186"/>
                      </a:lnTo>
                      <a:lnTo>
                        <a:pt x="579" y="186"/>
                      </a:lnTo>
                      <a:lnTo>
                        <a:pt x="577" y="186"/>
                      </a:lnTo>
                      <a:lnTo>
                        <a:pt x="577" y="186"/>
                      </a:lnTo>
                      <a:lnTo>
                        <a:pt x="576" y="186"/>
                      </a:lnTo>
                      <a:lnTo>
                        <a:pt x="575" y="186"/>
                      </a:lnTo>
                      <a:lnTo>
                        <a:pt x="575" y="187"/>
                      </a:lnTo>
                      <a:lnTo>
                        <a:pt x="575" y="187"/>
                      </a:lnTo>
                      <a:lnTo>
                        <a:pt x="574" y="188"/>
                      </a:lnTo>
                      <a:lnTo>
                        <a:pt x="574" y="189"/>
                      </a:lnTo>
                      <a:lnTo>
                        <a:pt x="575" y="189"/>
                      </a:lnTo>
                      <a:lnTo>
                        <a:pt x="575" y="190"/>
                      </a:lnTo>
                      <a:lnTo>
                        <a:pt x="576" y="191"/>
                      </a:lnTo>
                      <a:lnTo>
                        <a:pt x="577" y="191"/>
                      </a:lnTo>
                      <a:lnTo>
                        <a:pt x="577" y="193"/>
                      </a:lnTo>
                      <a:lnTo>
                        <a:pt x="577" y="193"/>
                      </a:lnTo>
                      <a:lnTo>
                        <a:pt x="577" y="194"/>
                      </a:lnTo>
                      <a:lnTo>
                        <a:pt x="576" y="195"/>
                      </a:lnTo>
                      <a:lnTo>
                        <a:pt x="575" y="195"/>
                      </a:lnTo>
                      <a:lnTo>
                        <a:pt x="575" y="195"/>
                      </a:lnTo>
                      <a:lnTo>
                        <a:pt x="574" y="196"/>
                      </a:lnTo>
                      <a:lnTo>
                        <a:pt x="573" y="196"/>
                      </a:lnTo>
                      <a:lnTo>
                        <a:pt x="573" y="196"/>
                      </a:lnTo>
                      <a:lnTo>
                        <a:pt x="572" y="197"/>
                      </a:lnTo>
                      <a:lnTo>
                        <a:pt x="571" y="198"/>
                      </a:lnTo>
                      <a:lnTo>
                        <a:pt x="571" y="198"/>
                      </a:lnTo>
                      <a:lnTo>
                        <a:pt x="572" y="199"/>
                      </a:lnTo>
                      <a:lnTo>
                        <a:pt x="573" y="199"/>
                      </a:lnTo>
                      <a:lnTo>
                        <a:pt x="573" y="199"/>
                      </a:lnTo>
                      <a:lnTo>
                        <a:pt x="574" y="199"/>
                      </a:lnTo>
                      <a:lnTo>
                        <a:pt x="574" y="200"/>
                      </a:lnTo>
                      <a:lnTo>
                        <a:pt x="575" y="202"/>
                      </a:lnTo>
                      <a:lnTo>
                        <a:pt x="575" y="202"/>
                      </a:lnTo>
                      <a:lnTo>
                        <a:pt x="575" y="204"/>
                      </a:lnTo>
                      <a:lnTo>
                        <a:pt x="575" y="206"/>
                      </a:lnTo>
                      <a:lnTo>
                        <a:pt x="575" y="206"/>
                      </a:lnTo>
                      <a:lnTo>
                        <a:pt x="575" y="208"/>
                      </a:lnTo>
                      <a:lnTo>
                        <a:pt x="575" y="208"/>
                      </a:lnTo>
                      <a:lnTo>
                        <a:pt x="574" y="209"/>
                      </a:lnTo>
                      <a:lnTo>
                        <a:pt x="573" y="210"/>
                      </a:lnTo>
                      <a:lnTo>
                        <a:pt x="572" y="211"/>
                      </a:lnTo>
                      <a:lnTo>
                        <a:pt x="571" y="212"/>
                      </a:lnTo>
                      <a:lnTo>
                        <a:pt x="570" y="212"/>
                      </a:lnTo>
                      <a:lnTo>
                        <a:pt x="569" y="213"/>
                      </a:lnTo>
                      <a:lnTo>
                        <a:pt x="568" y="213"/>
                      </a:lnTo>
                      <a:lnTo>
                        <a:pt x="567" y="214"/>
                      </a:lnTo>
                      <a:lnTo>
                        <a:pt x="566" y="215"/>
                      </a:lnTo>
                      <a:lnTo>
                        <a:pt x="566" y="215"/>
                      </a:lnTo>
                      <a:lnTo>
                        <a:pt x="566" y="216"/>
                      </a:lnTo>
                      <a:lnTo>
                        <a:pt x="565" y="217"/>
                      </a:lnTo>
                      <a:lnTo>
                        <a:pt x="564" y="218"/>
                      </a:lnTo>
                      <a:lnTo>
                        <a:pt x="564" y="219"/>
                      </a:lnTo>
                      <a:lnTo>
                        <a:pt x="564" y="219"/>
                      </a:lnTo>
                      <a:lnTo>
                        <a:pt x="564" y="220"/>
                      </a:lnTo>
                      <a:lnTo>
                        <a:pt x="565" y="221"/>
                      </a:lnTo>
                      <a:lnTo>
                        <a:pt x="566" y="221"/>
                      </a:lnTo>
                      <a:lnTo>
                        <a:pt x="566" y="221"/>
                      </a:lnTo>
                      <a:lnTo>
                        <a:pt x="567" y="221"/>
                      </a:lnTo>
                      <a:lnTo>
                        <a:pt x="568" y="221"/>
                      </a:lnTo>
                      <a:lnTo>
                        <a:pt x="569" y="221"/>
                      </a:lnTo>
                      <a:lnTo>
                        <a:pt x="569" y="221"/>
                      </a:lnTo>
                      <a:lnTo>
                        <a:pt x="570" y="222"/>
                      </a:lnTo>
                      <a:lnTo>
                        <a:pt x="571" y="223"/>
                      </a:lnTo>
                      <a:lnTo>
                        <a:pt x="572" y="224"/>
                      </a:lnTo>
                      <a:lnTo>
                        <a:pt x="573" y="225"/>
                      </a:lnTo>
                      <a:lnTo>
                        <a:pt x="573" y="225"/>
                      </a:lnTo>
                      <a:lnTo>
                        <a:pt x="573" y="226"/>
                      </a:lnTo>
                      <a:lnTo>
                        <a:pt x="573" y="227"/>
                      </a:lnTo>
                      <a:lnTo>
                        <a:pt x="573" y="227"/>
                      </a:lnTo>
                      <a:lnTo>
                        <a:pt x="573" y="228"/>
                      </a:lnTo>
                      <a:lnTo>
                        <a:pt x="573" y="229"/>
                      </a:lnTo>
                      <a:lnTo>
                        <a:pt x="573" y="230"/>
                      </a:lnTo>
                      <a:lnTo>
                        <a:pt x="573" y="231"/>
                      </a:lnTo>
                      <a:lnTo>
                        <a:pt x="572" y="233"/>
                      </a:lnTo>
                      <a:lnTo>
                        <a:pt x="572" y="233"/>
                      </a:lnTo>
                      <a:lnTo>
                        <a:pt x="571" y="233"/>
                      </a:lnTo>
                      <a:lnTo>
                        <a:pt x="571" y="233"/>
                      </a:lnTo>
                      <a:lnTo>
                        <a:pt x="570" y="234"/>
                      </a:lnTo>
                      <a:lnTo>
                        <a:pt x="569" y="233"/>
                      </a:lnTo>
                      <a:lnTo>
                        <a:pt x="569" y="233"/>
                      </a:lnTo>
                      <a:lnTo>
                        <a:pt x="569" y="233"/>
                      </a:lnTo>
                      <a:lnTo>
                        <a:pt x="569" y="232"/>
                      </a:lnTo>
                      <a:lnTo>
                        <a:pt x="569" y="231"/>
                      </a:lnTo>
                      <a:lnTo>
                        <a:pt x="569" y="230"/>
                      </a:lnTo>
                      <a:lnTo>
                        <a:pt x="570" y="229"/>
                      </a:lnTo>
                      <a:lnTo>
                        <a:pt x="570" y="229"/>
                      </a:lnTo>
                      <a:lnTo>
                        <a:pt x="570" y="228"/>
                      </a:lnTo>
                      <a:lnTo>
                        <a:pt x="570" y="227"/>
                      </a:lnTo>
                      <a:lnTo>
                        <a:pt x="570" y="226"/>
                      </a:lnTo>
                      <a:lnTo>
                        <a:pt x="569" y="225"/>
                      </a:lnTo>
                      <a:lnTo>
                        <a:pt x="569" y="225"/>
                      </a:lnTo>
                      <a:lnTo>
                        <a:pt x="568" y="225"/>
                      </a:lnTo>
                      <a:lnTo>
                        <a:pt x="567" y="225"/>
                      </a:lnTo>
                      <a:lnTo>
                        <a:pt x="567" y="226"/>
                      </a:lnTo>
                      <a:lnTo>
                        <a:pt x="566" y="227"/>
                      </a:lnTo>
                      <a:lnTo>
                        <a:pt x="566" y="227"/>
                      </a:lnTo>
                      <a:lnTo>
                        <a:pt x="566" y="228"/>
                      </a:lnTo>
                      <a:lnTo>
                        <a:pt x="566" y="229"/>
                      </a:lnTo>
                      <a:lnTo>
                        <a:pt x="566" y="231"/>
                      </a:lnTo>
                      <a:lnTo>
                        <a:pt x="566" y="231"/>
                      </a:lnTo>
                      <a:lnTo>
                        <a:pt x="565" y="233"/>
                      </a:lnTo>
                      <a:lnTo>
                        <a:pt x="565" y="233"/>
                      </a:lnTo>
                      <a:lnTo>
                        <a:pt x="564" y="234"/>
                      </a:lnTo>
                      <a:lnTo>
                        <a:pt x="564" y="235"/>
                      </a:lnTo>
                      <a:lnTo>
                        <a:pt x="563" y="236"/>
                      </a:lnTo>
                      <a:lnTo>
                        <a:pt x="562" y="236"/>
                      </a:lnTo>
                      <a:lnTo>
                        <a:pt x="561" y="236"/>
                      </a:lnTo>
                      <a:lnTo>
                        <a:pt x="560" y="236"/>
                      </a:lnTo>
                      <a:lnTo>
                        <a:pt x="560" y="237"/>
                      </a:lnTo>
                      <a:lnTo>
                        <a:pt x="559" y="238"/>
                      </a:lnTo>
                      <a:lnTo>
                        <a:pt x="559" y="238"/>
                      </a:lnTo>
                      <a:lnTo>
                        <a:pt x="560" y="240"/>
                      </a:lnTo>
                      <a:lnTo>
                        <a:pt x="560" y="240"/>
                      </a:lnTo>
                      <a:lnTo>
                        <a:pt x="561" y="241"/>
                      </a:lnTo>
                      <a:lnTo>
                        <a:pt x="562" y="242"/>
                      </a:lnTo>
                      <a:lnTo>
                        <a:pt x="562" y="242"/>
                      </a:lnTo>
                      <a:lnTo>
                        <a:pt x="564" y="242"/>
                      </a:lnTo>
                      <a:lnTo>
                        <a:pt x="564" y="242"/>
                      </a:lnTo>
                      <a:lnTo>
                        <a:pt x="565" y="242"/>
                      </a:lnTo>
                      <a:lnTo>
                        <a:pt x="566" y="242"/>
                      </a:lnTo>
                      <a:lnTo>
                        <a:pt x="566" y="243"/>
                      </a:lnTo>
                      <a:lnTo>
                        <a:pt x="566" y="244"/>
                      </a:lnTo>
                      <a:lnTo>
                        <a:pt x="567" y="245"/>
                      </a:lnTo>
                      <a:lnTo>
                        <a:pt x="567" y="246"/>
                      </a:lnTo>
                      <a:lnTo>
                        <a:pt x="566" y="248"/>
                      </a:lnTo>
                      <a:lnTo>
                        <a:pt x="566" y="248"/>
                      </a:lnTo>
                      <a:lnTo>
                        <a:pt x="566" y="249"/>
                      </a:lnTo>
                      <a:lnTo>
                        <a:pt x="566" y="250"/>
                      </a:lnTo>
                      <a:lnTo>
                        <a:pt x="565" y="250"/>
                      </a:lnTo>
                      <a:lnTo>
                        <a:pt x="564" y="250"/>
                      </a:lnTo>
                      <a:lnTo>
                        <a:pt x="564" y="250"/>
                      </a:lnTo>
                      <a:lnTo>
                        <a:pt x="563" y="250"/>
                      </a:lnTo>
                      <a:lnTo>
                        <a:pt x="562" y="250"/>
                      </a:lnTo>
                      <a:lnTo>
                        <a:pt x="562" y="249"/>
                      </a:lnTo>
                      <a:lnTo>
                        <a:pt x="562" y="248"/>
                      </a:lnTo>
                      <a:lnTo>
                        <a:pt x="562" y="248"/>
                      </a:lnTo>
                      <a:lnTo>
                        <a:pt x="562" y="247"/>
                      </a:lnTo>
                      <a:lnTo>
                        <a:pt x="561" y="247"/>
                      </a:lnTo>
                      <a:lnTo>
                        <a:pt x="560" y="246"/>
                      </a:lnTo>
                      <a:lnTo>
                        <a:pt x="558" y="246"/>
                      </a:lnTo>
                      <a:lnTo>
                        <a:pt x="557" y="245"/>
                      </a:lnTo>
                      <a:lnTo>
                        <a:pt x="556" y="244"/>
                      </a:lnTo>
                      <a:lnTo>
                        <a:pt x="556" y="244"/>
                      </a:lnTo>
                      <a:lnTo>
                        <a:pt x="555" y="244"/>
                      </a:lnTo>
                      <a:lnTo>
                        <a:pt x="554" y="244"/>
                      </a:lnTo>
                      <a:lnTo>
                        <a:pt x="553" y="244"/>
                      </a:lnTo>
                      <a:lnTo>
                        <a:pt x="553" y="245"/>
                      </a:lnTo>
                      <a:lnTo>
                        <a:pt x="552" y="246"/>
                      </a:lnTo>
                      <a:lnTo>
                        <a:pt x="552" y="246"/>
                      </a:lnTo>
                      <a:lnTo>
                        <a:pt x="551" y="247"/>
                      </a:lnTo>
                      <a:lnTo>
                        <a:pt x="551" y="248"/>
                      </a:lnTo>
                      <a:lnTo>
                        <a:pt x="551" y="249"/>
                      </a:lnTo>
                      <a:lnTo>
                        <a:pt x="552" y="250"/>
                      </a:lnTo>
                      <a:lnTo>
                        <a:pt x="552" y="250"/>
                      </a:lnTo>
                      <a:lnTo>
                        <a:pt x="553" y="250"/>
                      </a:lnTo>
                      <a:lnTo>
                        <a:pt x="554" y="251"/>
                      </a:lnTo>
                      <a:lnTo>
                        <a:pt x="554" y="252"/>
                      </a:lnTo>
                      <a:lnTo>
                        <a:pt x="554" y="252"/>
                      </a:lnTo>
                      <a:lnTo>
                        <a:pt x="554" y="254"/>
                      </a:lnTo>
                      <a:lnTo>
                        <a:pt x="554" y="255"/>
                      </a:lnTo>
                      <a:lnTo>
                        <a:pt x="554" y="256"/>
                      </a:lnTo>
                      <a:lnTo>
                        <a:pt x="553" y="257"/>
                      </a:lnTo>
                      <a:lnTo>
                        <a:pt x="554" y="257"/>
                      </a:lnTo>
                      <a:lnTo>
                        <a:pt x="554" y="257"/>
                      </a:lnTo>
                      <a:lnTo>
                        <a:pt x="555" y="257"/>
                      </a:lnTo>
                      <a:lnTo>
                        <a:pt x="556" y="257"/>
                      </a:lnTo>
                      <a:lnTo>
                        <a:pt x="556" y="256"/>
                      </a:lnTo>
                      <a:lnTo>
                        <a:pt x="556" y="256"/>
                      </a:lnTo>
                      <a:lnTo>
                        <a:pt x="557" y="255"/>
                      </a:lnTo>
                      <a:lnTo>
                        <a:pt x="558" y="255"/>
                      </a:lnTo>
                      <a:lnTo>
                        <a:pt x="559" y="255"/>
                      </a:lnTo>
                      <a:lnTo>
                        <a:pt x="560" y="254"/>
                      </a:lnTo>
                      <a:lnTo>
                        <a:pt x="561" y="254"/>
                      </a:lnTo>
                      <a:lnTo>
                        <a:pt x="562" y="254"/>
                      </a:lnTo>
                      <a:lnTo>
                        <a:pt x="562" y="254"/>
                      </a:lnTo>
                      <a:lnTo>
                        <a:pt x="563" y="255"/>
                      </a:lnTo>
                      <a:lnTo>
                        <a:pt x="563" y="255"/>
                      </a:lnTo>
                      <a:lnTo>
                        <a:pt x="564" y="255"/>
                      </a:lnTo>
                      <a:lnTo>
                        <a:pt x="564" y="256"/>
                      </a:lnTo>
                      <a:lnTo>
                        <a:pt x="563" y="257"/>
                      </a:lnTo>
                      <a:lnTo>
                        <a:pt x="563" y="257"/>
                      </a:lnTo>
                      <a:lnTo>
                        <a:pt x="562" y="257"/>
                      </a:lnTo>
                      <a:lnTo>
                        <a:pt x="562" y="257"/>
                      </a:lnTo>
                      <a:lnTo>
                        <a:pt x="561" y="257"/>
                      </a:lnTo>
                      <a:lnTo>
                        <a:pt x="560" y="256"/>
                      </a:lnTo>
                      <a:lnTo>
                        <a:pt x="560" y="255"/>
                      </a:lnTo>
                      <a:lnTo>
                        <a:pt x="559" y="255"/>
                      </a:lnTo>
                      <a:lnTo>
                        <a:pt x="558" y="255"/>
                      </a:lnTo>
                      <a:lnTo>
                        <a:pt x="558" y="256"/>
                      </a:lnTo>
                      <a:lnTo>
                        <a:pt x="558" y="257"/>
                      </a:lnTo>
                      <a:lnTo>
                        <a:pt x="558" y="257"/>
                      </a:lnTo>
                      <a:lnTo>
                        <a:pt x="558" y="257"/>
                      </a:lnTo>
                      <a:lnTo>
                        <a:pt x="558" y="258"/>
                      </a:lnTo>
                      <a:lnTo>
                        <a:pt x="559" y="259"/>
                      </a:lnTo>
                      <a:lnTo>
                        <a:pt x="560" y="259"/>
                      </a:lnTo>
                      <a:lnTo>
                        <a:pt x="560" y="259"/>
                      </a:lnTo>
                      <a:lnTo>
                        <a:pt x="561" y="260"/>
                      </a:lnTo>
                      <a:lnTo>
                        <a:pt x="561" y="261"/>
                      </a:lnTo>
                      <a:lnTo>
                        <a:pt x="561" y="262"/>
                      </a:lnTo>
                      <a:lnTo>
                        <a:pt x="561" y="263"/>
                      </a:lnTo>
                      <a:lnTo>
                        <a:pt x="562" y="263"/>
                      </a:lnTo>
                      <a:lnTo>
                        <a:pt x="562" y="263"/>
                      </a:lnTo>
                      <a:lnTo>
                        <a:pt x="563" y="263"/>
                      </a:lnTo>
                      <a:lnTo>
                        <a:pt x="564" y="263"/>
                      </a:lnTo>
                      <a:lnTo>
                        <a:pt x="564" y="263"/>
                      </a:lnTo>
                      <a:lnTo>
                        <a:pt x="565" y="263"/>
                      </a:lnTo>
                      <a:lnTo>
                        <a:pt x="566" y="263"/>
                      </a:lnTo>
                      <a:lnTo>
                        <a:pt x="566" y="263"/>
                      </a:lnTo>
                      <a:lnTo>
                        <a:pt x="566" y="264"/>
                      </a:lnTo>
                      <a:lnTo>
                        <a:pt x="567" y="265"/>
                      </a:lnTo>
                      <a:lnTo>
                        <a:pt x="567" y="265"/>
                      </a:lnTo>
                      <a:lnTo>
                        <a:pt x="567" y="266"/>
                      </a:lnTo>
                      <a:lnTo>
                        <a:pt x="567" y="267"/>
                      </a:lnTo>
                      <a:lnTo>
                        <a:pt x="567" y="267"/>
                      </a:lnTo>
                      <a:lnTo>
                        <a:pt x="566" y="267"/>
                      </a:lnTo>
                      <a:lnTo>
                        <a:pt x="566" y="268"/>
                      </a:lnTo>
                      <a:lnTo>
                        <a:pt x="565" y="268"/>
                      </a:lnTo>
                      <a:lnTo>
                        <a:pt x="564" y="269"/>
                      </a:lnTo>
                      <a:lnTo>
                        <a:pt x="564" y="269"/>
                      </a:lnTo>
                      <a:lnTo>
                        <a:pt x="564" y="270"/>
                      </a:lnTo>
                      <a:lnTo>
                        <a:pt x="564" y="271"/>
                      </a:lnTo>
                      <a:lnTo>
                        <a:pt x="564" y="272"/>
                      </a:lnTo>
                      <a:lnTo>
                        <a:pt x="564" y="273"/>
                      </a:lnTo>
                      <a:lnTo>
                        <a:pt x="564" y="274"/>
                      </a:lnTo>
                      <a:lnTo>
                        <a:pt x="564" y="275"/>
                      </a:lnTo>
                      <a:lnTo>
                        <a:pt x="565" y="276"/>
                      </a:lnTo>
                      <a:lnTo>
                        <a:pt x="566" y="276"/>
                      </a:lnTo>
                      <a:lnTo>
                        <a:pt x="566" y="277"/>
                      </a:lnTo>
                      <a:lnTo>
                        <a:pt x="567" y="278"/>
                      </a:lnTo>
                      <a:lnTo>
                        <a:pt x="568" y="278"/>
                      </a:lnTo>
                      <a:lnTo>
                        <a:pt x="569" y="278"/>
                      </a:lnTo>
                      <a:lnTo>
                        <a:pt x="569" y="279"/>
                      </a:lnTo>
                      <a:lnTo>
                        <a:pt x="569" y="280"/>
                      </a:lnTo>
                      <a:lnTo>
                        <a:pt x="570" y="280"/>
                      </a:lnTo>
                      <a:lnTo>
                        <a:pt x="571" y="280"/>
                      </a:lnTo>
                      <a:lnTo>
                        <a:pt x="571" y="280"/>
                      </a:lnTo>
                      <a:lnTo>
                        <a:pt x="571" y="279"/>
                      </a:lnTo>
                      <a:lnTo>
                        <a:pt x="571" y="278"/>
                      </a:lnTo>
                      <a:lnTo>
                        <a:pt x="572" y="278"/>
                      </a:lnTo>
                      <a:lnTo>
                        <a:pt x="573" y="278"/>
                      </a:lnTo>
                      <a:lnTo>
                        <a:pt x="573" y="278"/>
                      </a:lnTo>
                      <a:lnTo>
                        <a:pt x="574" y="278"/>
                      </a:lnTo>
                      <a:lnTo>
                        <a:pt x="575" y="278"/>
                      </a:lnTo>
                      <a:lnTo>
                        <a:pt x="575" y="278"/>
                      </a:lnTo>
                      <a:lnTo>
                        <a:pt x="576" y="278"/>
                      </a:lnTo>
                      <a:lnTo>
                        <a:pt x="577" y="278"/>
                      </a:lnTo>
                      <a:lnTo>
                        <a:pt x="577" y="278"/>
                      </a:lnTo>
                      <a:lnTo>
                        <a:pt x="577" y="279"/>
                      </a:lnTo>
                      <a:lnTo>
                        <a:pt x="577" y="280"/>
                      </a:lnTo>
                      <a:lnTo>
                        <a:pt x="576" y="280"/>
                      </a:lnTo>
                      <a:lnTo>
                        <a:pt x="575" y="280"/>
                      </a:lnTo>
                      <a:lnTo>
                        <a:pt x="574" y="281"/>
                      </a:lnTo>
                      <a:lnTo>
                        <a:pt x="573" y="281"/>
                      </a:lnTo>
                      <a:lnTo>
                        <a:pt x="572" y="281"/>
                      </a:lnTo>
                      <a:lnTo>
                        <a:pt x="571" y="282"/>
                      </a:lnTo>
                      <a:lnTo>
                        <a:pt x="570" y="282"/>
                      </a:lnTo>
                      <a:lnTo>
                        <a:pt x="570" y="282"/>
                      </a:lnTo>
                      <a:lnTo>
                        <a:pt x="570" y="283"/>
                      </a:lnTo>
                      <a:lnTo>
                        <a:pt x="570" y="284"/>
                      </a:lnTo>
                      <a:lnTo>
                        <a:pt x="571" y="284"/>
                      </a:lnTo>
                      <a:lnTo>
                        <a:pt x="571" y="284"/>
                      </a:lnTo>
                      <a:lnTo>
                        <a:pt x="573" y="284"/>
                      </a:lnTo>
                      <a:lnTo>
                        <a:pt x="573" y="284"/>
                      </a:lnTo>
                      <a:lnTo>
                        <a:pt x="574" y="284"/>
                      </a:lnTo>
                      <a:lnTo>
                        <a:pt x="575" y="283"/>
                      </a:lnTo>
                      <a:lnTo>
                        <a:pt x="575" y="282"/>
                      </a:lnTo>
                      <a:lnTo>
                        <a:pt x="575" y="282"/>
                      </a:lnTo>
                      <a:lnTo>
                        <a:pt x="576" y="281"/>
                      </a:lnTo>
                      <a:lnTo>
                        <a:pt x="577" y="281"/>
                      </a:lnTo>
                      <a:lnTo>
                        <a:pt x="578" y="282"/>
                      </a:lnTo>
                      <a:lnTo>
                        <a:pt x="579" y="283"/>
                      </a:lnTo>
                      <a:lnTo>
                        <a:pt x="578" y="284"/>
                      </a:lnTo>
                      <a:lnTo>
                        <a:pt x="578" y="284"/>
                      </a:lnTo>
                      <a:lnTo>
                        <a:pt x="577" y="285"/>
                      </a:lnTo>
                      <a:lnTo>
                        <a:pt x="577" y="285"/>
                      </a:lnTo>
                      <a:lnTo>
                        <a:pt x="575" y="286"/>
                      </a:lnTo>
                      <a:lnTo>
                        <a:pt x="575" y="286"/>
                      </a:lnTo>
                      <a:lnTo>
                        <a:pt x="574" y="286"/>
                      </a:lnTo>
                      <a:lnTo>
                        <a:pt x="573" y="286"/>
                      </a:lnTo>
                      <a:lnTo>
                        <a:pt x="573" y="287"/>
                      </a:lnTo>
                      <a:lnTo>
                        <a:pt x="573" y="288"/>
                      </a:lnTo>
                      <a:lnTo>
                        <a:pt x="573" y="288"/>
                      </a:lnTo>
                      <a:lnTo>
                        <a:pt x="573" y="289"/>
                      </a:lnTo>
                      <a:lnTo>
                        <a:pt x="573" y="289"/>
                      </a:lnTo>
                      <a:lnTo>
                        <a:pt x="574" y="290"/>
                      </a:lnTo>
                      <a:lnTo>
                        <a:pt x="575" y="290"/>
                      </a:lnTo>
                      <a:lnTo>
                        <a:pt x="575" y="290"/>
                      </a:lnTo>
                      <a:lnTo>
                        <a:pt x="576" y="289"/>
                      </a:lnTo>
                      <a:lnTo>
                        <a:pt x="577" y="288"/>
                      </a:lnTo>
                      <a:lnTo>
                        <a:pt x="577" y="288"/>
                      </a:lnTo>
                      <a:lnTo>
                        <a:pt x="577" y="287"/>
                      </a:lnTo>
                      <a:lnTo>
                        <a:pt x="577" y="286"/>
                      </a:lnTo>
                      <a:lnTo>
                        <a:pt x="578" y="286"/>
                      </a:lnTo>
                      <a:lnTo>
                        <a:pt x="579" y="286"/>
                      </a:lnTo>
                      <a:lnTo>
                        <a:pt x="579" y="287"/>
                      </a:lnTo>
                      <a:lnTo>
                        <a:pt x="580" y="288"/>
                      </a:lnTo>
                      <a:lnTo>
                        <a:pt x="581" y="288"/>
                      </a:lnTo>
                      <a:lnTo>
                        <a:pt x="581" y="289"/>
                      </a:lnTo>
                      <a:lnTo>
                        <a:pt x="581" y="290"/>
                      </a:lnTo>
                      <a:lnTo>
                        <a:pt x="580" y="290"/>
                      </a:lnTo>
                      <a:lnTo>
                        <a:pt x="579" y="291"/>
                      </a:lnTo>
                      <a:lnTo>
                        <a:pt x="579" y="291"/>
                      </a:lnTo>
                      <a:lnTo>
                        <a:pt x="578" y="291"/>
                      </a:lnTo>
                      <a:lnTo>
                        <a:pt x="577" y="291"/>
                      </a:lnTo>
                      <a:lnTo>
                        <a:pt x="577" y="291"/>
                      </a:lnTo>
                      <a:lnTo>
                        <a:pt x="576" y="292"/>
                      </a:lnTo>
                      <a:lnTo>
                        <a:pt x="575" y="292"/>
                      </a:lnTo>
                      <a:lnTo>
                        <a:pt x="575" y="293"/>
                      </a:lnTo>
                      <a:lnTo>
                        <a:pt x="575" y="294"/>
                      </a:lnTo>
                      <a:lnTo>
                        <a:pt x="575" y="295"/>
                      </a:lnTo>
                      <a:lnTo>
                        <a:pt x="575" y="295"/>
                      </a:lnTo>
                      <a:lnTo>
                        <a:pt x="576" y="295"/>
                      </a:lnTo>
                      <a:lnTo>
                        <a:pt x="577" y="295"/>
                      </a:lnTo>
                      <a:lnTo>
                        <a:pt x="578" y="295"/>
                      </a:lnTo>
                      <a:lnTo>
                        <a:pt x="578" y="295"/>
                      </a:lnTo>
                      <a:lnTo>
                        <a:pt x="579" y="294"/>
                      </a:lnTo>
                      <a:lnTo>
                        <a:pt x="579" y="294"/>
                      </a:lnTo>
                      <a:lnTo>
                        <a:pt x="580" y="295"/>
                      </a:lnTo>
                      <a:lnTo>
                        <a:pt x="581" y="295"/>
                      </a:lnTo>
                      <a:lnTo>
                        <a:pt x="582" y="296"/>
                      </a:lnTo>
                      <a:lnTo>
                        <a:pt x="583" y="297"/>
                      </a:lnTo>
                      <a:lnTo>
                        <a:pt x="583" y="297"/>
                      </a:lnTo>
                      <a:lnTo>
                        <a:pt x="583" y="298"/>
                      </a:lnTo>
                      <a:lnTo>
                        <a:pt x="582" y="298"/>
                      </a:lnTo>
                      <a:lnTo>
                        <a:pt x="581" y="298"/>
                      </a:lnTo>
                      <a:lnTo>
                        <a:pt x="581" y="298"/>
                      </a:lnTo>
                      <a:lnTo>
                        <a:pt x="580" y="297"/>
                      </a:lnTo>
                      <a:lnTo>
                        <a:pt x="580" y="297"/>
                      </a:lnTo>
                      <a:lnTo>
                        <a:pt x="579" y="297"/>
                      </a:lnTo>
                      <a:lnTo>
                        <a:pt x="579" y="297"/>
                      </a:lnTo>
                      <a:lnTo>
                        <a:pt x="578" y="297"/>
                      </a:lnTo>
                      <a:lnTo>
                        <a:pt x="578" y="297"/>
                      </a:lnTo>
                      <a:lnTo>
                        <a:pt x="578" y="298"/>
                      </a:lnTo>
                      <a:lnTo>
                        <a:pt x="579" y="299"/>
                      </a:lnTo>
                      <a:lnTo>
                        <a:pt x="579" y="300"/>
                      </a:lnTo>
                      <a:lnTo>
                        <a:pt x="579" y="300"/>
                      </a:lnTo>
                      <a:lnTo>
                        <a:pt x="579" y="301"/>
                      </a:lnTo>
                      <a:lnTo>
                        <a:pt x="578" y="301"/>
                      </a:lnTo>
                      <a:lnTo>
                        <a:pt x="577" y="301"/>
                      </a:lnTo>
                      <a:lnTo>
                        <a:pt x="577" y="301"/>
                      </a:lnTo>
                      <a:lnTo>
                        <a:pt x="576" y="301"/>
                      </a:lnTo>
                      <a:lnTo>
                        <a:pt x="576" y="301"/>
                      </a:lnTo>
                      <a:lnTo>
                        <a:pt x="577" y="301"/>
                      </a:lnTo>
                      <a:lnTo>
                        <a:pt x="577" y="302"/>
                      </a:lnTo>
                      <a:lnTo>
                        <a:pt x="578" y="303"/>
                      </a:lnTo>
                      <a:lnTo>
                        <a:pt x="578" y="303"/>
                      </a:lnTo>
                      <a:lnTo>
                        <a:pt x="579" y="304"/>
                      </a:lnTo>
                      <a:lnTo>
                        <a:pt x="579" y="305"/>
                      </a:lnTo>
                      <a:lnTo>
                        <a:pt x="581" y="305"/>
                      </a:lnTo>
                      <a:lnTo>
                        <a:pt x="581" y="304"/>
                      </a:lnTo>
                      <a:lnTo>
                        <a:pt x="582" y="304"/>
                      </a:lnTo>
                      <a:lnTo>
                        <a:pt x="583" y="303"/>
                      </a:lnTo>
                      <a:lnTo>
                        <a:pt x="583" y="303"/>
                      </a:lnTo>
                      <a:lnTo>
                        <a:pt x="583" y="302"/>
                      </a:lnTo>
                      <a:lnTo>
                        <a:pt x="584" y="301"/>
                      </a:lnTo>
                      <a:lnTo>
                        <a:pt x="585" y="301"/>
                      </a:lnTo>
                      <a:lnTo>
                        <a:pt x="585" y="302"/>
                      </a:lnTo>
                      <a:lnTo>
                        <a:pt x="585" y="303"/>
                      </a:lnTo>
                      <a:lnTo>
                        <a:pt x="585" y="303"/>
                      </a:lnTo>
                      <a:lnTo>
                        <a:pt x="585" y="304"/>
                      </a:lnTo>
                      <a:lnTo>
                        <a:pt x="585" y="305"/>
                      </a:lnTo>
                      <a:lnTo>
                        <a:pt x="584" y="305"/>
                      </a:lnTo>
                      <a:lnTo>
                        <a:pt x="583" y="306"/>
                      </a:lnTo>
                      <a:lnTo>
                        <a:pt x="583" y="307"/>
                      </a:lnTo>
                      <a:lnTo>
                        <a:pt x="583" y="307"/>
                      </a:lnTo>
                      <a:lnTo>
                        <a:pt x="583" y="308"/>
                      </a:lnTo>
                      <a:lnTo>
                        <a:pt x="584" y="309"/>
                      </a:lnTo>
                      <a:lnTo>
                        <a:pt x="585" y="309"/>
                      </a:lnTo>
                      <a:lnTo>
                        <a:pt x="585" y="309"/>
                      </a:lnTo>
                      <a:lnTo>
                        <a:pt x="586" y="309"/>
                      </a:lnTo>
                      <a:lnTo>
                        <a:pt x="587" y="309"/>
                      </a:lnTo>
                      <a:lnTo>
                        <a:pt x="587" y="308"/>
                      </a:lnTo>
                      <a:lnTo>
                        <a:pt x="587" y="307"/>
                      </a:lnTo>
                      <a:lnTo>
                        <a:pt x="586" y="307"/>
                      </a:lnTo>
                      <a:lnTo>
                        <a:pt x="586" y="306"/>
                      </a:lnTo>
                      <a:lnTo>
                        <a:pt x="586" y="305"/>
                      </a:lnTo>
                      <a:lnTo>
                        <a:pt x="586" y="305"/>
                      </a:lnTo>
                      <a:lnTo>
                        <a:pt x="587" y="304"/>
                      </a:lnTo>
                      <a:lnTo>
                        <a:pt x="588" y="304"/>
                      </a:lnTo>
                      <a:lnTo>
                        <a:pt x="588" y="305"/>
                      </a:lnTo>
                      <a:lnTo>
                        <a:pt x="589" y="305"/>
                      </a:lnTo>
                      <a:lnTo>
                        <a:pt x="590" y="305"/>
                      </a:lnTo>
                      <a:lnTo>
                        <a:pt x="590" y="306"/>
                      </a:lnTo>
                      <a:lnTo>
                        <a:pt x="591" y="307"/>
                      </a:lnTo>
                      <a:lnTo>
                        <a:pt x="592" y="307"/>
                      </a:lnTo>
                      <a:lnTo>
                        <a:pt x="593" y="307"/>
                      </a:lnTo>
                      <a:lnTo>
                        <a:pt x="594" y="308"/>
                      </a:lnTo>
                      <a:lnTo>
                        <a:pt x="594" y="309"/>
                      </a:lnTo>
                      <a:lnTo>
                        <a:pt x="595" y="309"/>
                      </a:lnTo>
                      <a:lnTo>
                        <a:pt x="595" y="310"/>
                      </a:lnTo>
                      <a:lnTo>
                        <a:pt x="594" y="311"/>
                      </a:lnTo>
                      <a:lnTo>
                        <a:pt x="594" y="311"/>
                      </a:lnTo>
                      <a:lnTo>
                        <a:pt x="593" y="311"/>
                      </a:lnTo>
                      <a:lnTo>
                        <a:pt x="593" y="310"/>
                      </a:lnTo>
                      <a:lnTo>
                        <a:pt x="592" y="309"/>
                      </a:lnTo>
                      <a:lnTo>
                        <a:pt x="592" y="309"/>
                      </a:lnTo>
                      <a:lnTo>
                        <a:pt x="592" y="308"/>
                      </a:lnTo>
                      <a:lnTo>
                        <a:pt x="591" y="308"/>
                      </a:lnTo>
                      <a:lnTo>
                        <a:pt x="590" y="309"/>
                      </a:lnTo>
                      <a:lnTo>
                        <a:pt x="590" y="309"/>
                      </a:lnTo>
                      <a:lnTo>
                        <a:pt x="590" y="311"/>
                      </a:lnTo>
                      <a:lnTo>
                        <a:pt x="590" y="311"/>
                      </a:lnTo>
                      <a:lnTo>
                        <a:pt x="588" y="312"/>
                      </a:lnTo>
                      <a:lnTo>
                        <a:pt x="588" y="313"/>
                      </a:lnTo>
                      <a:lnTo>
                        <a:pt x="586" y="313"/>
                      </a:lnTo>
                      <a:lnTo>
                        <a:pt x="585" y="314"/>
                      </a:lnTo>
                      <a:lnTo>
                        <a:pt x="585" y="314"/>
                      </a:lnTo>
                      <a:lnTo>
                        <a:pt x="585" y="315"/>
                      </a:lnTo>
                      <a:lnTo>
                        <a:pt x="585" y="316"/>
                      </a:lnTo>
                      <a:lnTo>
                        <a:pt x="586" y="316"/>
                      </a:lnTo>
                      <a:lnTo>
                        <a:pt x="586" y="317"/>
                      </a:lnTo>
                      <a:lnTo>
                        <a:pt x="587" y="318"/>
                      </a:lnTo>
                      <a:lnTo>
                        <a:pt x="588" y="317"/>
                      </a:lnTo>
                      <a:lnTo>
                        <a:pt x="589" y="317"/>
                      </a:lnTo>
                      <a:lnTo>
                        <a:pt x="589" y="316"/>
                      </a:lnTo>
                      <a:lnTo>
                        <a:pt x="590" y="316"/>
                      </a:lnTo>
                      <a:lnTo>
                        <a:pt x="589" y="315"/>
                      </a:lnTo>
                      <a:lnTo>
                        <a:pt x="588" y="314"/>
                      </a:lnTo>
                      <a:lnTo>
                        <a:pt x="588" y="314"/>
                      </a:lnTo>
                      <a:lnTo>
                        <a:pt x="589" y="313"/>
                      </a:lnTo>
                      <a:lnTo>
                        <a:pt x="590" y="312"/>
                      </a:lnTo>
                      <a:lnTo>
                        <a:pt x="590" y="312"/>
                      </a:lnTo>
                      <a:lnTo>
                        <a:pt x="592" y="312"/>
                      </a:lnTo>
                      <a:lnTo>
                        <a:pt x="592" y="313"/>
                      </a:lnTo>
                      <a:lnTo>
                        <a:pt x="594" y="314"/>
                      </a:lnTo>
                      <a:lnTo>
                        <a:pt x="594" y="314"/>
                      </a:lnTo>
                      <a:lnTo>
                        <a:pt x="595" y="314"/>
                      </a:lnTo>
                      <a:lnTo>
                        <a:pt x="595" y="315"/>
                      </a:lnTo>
                      <a:lnTo>
                        <a:pt x="595" y="316"/>
                      </a:lnTo>
                      <a:lnTo>
                        <a:pt x="595" y="316"/>
                      </a:lnTo>
                      <a:lnTo>
                        <a:pt x="594" y="317"/>
                      </a:lnTo>
                      <a:lnTo>
                        <a:pt x="594" y="317"/>
                      </a:lnTo>
                      <a:lnTo>
                        <a:pt x="593" y="316"/>
                      </a:lnTo>
                      <a:lnTo>
                        <a:pt x="592" y="316"/>
                      </a:lnTo>
                      <a:lnTo>
                        <a:pt x="592" y="316"/>
                      </a:lnTo>
                      <a:lnTo>
                        <a:pt x="591" y="316"/>
                      </a:lnTo>
                      <a:lnTo>
                        <a:pt x="590" y="316"/>
                      </a:lnTo>
                      <a:lnTo>
                        <a:pt x="590" y="316"/>
                      </a:lnTo>
                      <a:lnTo>
                        <a:pt x="590" y="317"/>
                      </a:lnTo>
                      <a:lnTo>
                        <a:pt x="590" y="318"/>
                      </a:lnTo>
                      <a:lnTo>
                        <a:pt x="591" y="319"/>
                      </a:lnTo>
                      <a:lnTo>
                        <a:pt x="590" y="320"/>
                      </a:lnTo>
                      <a:lnTo>
                        <a:pt x="590" y="320"/>
                      </a:lnTo>
                      <a:lnTo>
                        <a:pt x="591" y="321"/>
                      </a:lnTo>
                      <a:lnTo>
                        <a:pt x="591" y="322"/>
                      </a:lnTo>
                      <a:lnTo>
                        <a:pt x="592" y="322"/>
                      </a:lnTo>
                      <a:lnTo>
                        <a:pt x="593" y="322"/>
                      </a:lnTo>
                      <a:lnTo>
                        <a:pt x="594" y="321"/>
                      </a:lnTo>
                      <a:lnTo>
                        <a:pt x="594" y="320"/>
                      </a:lnTo>
                      <a:lnTo>
                        <a:pt x="595" y="320"/>
                      </a:lnTo>
                      <a:lnTo>
                        <a:pt x="595" y="320"/>
                      </a:lnTo>
                      <a:lnTo>
                        <a:pt x="596" y="320"/>
                      </a:lnTo>
                      <a:lnTo>
                        <a:pt x="596" y="320"/>
                      </a:lnTo>
                      <a:lnTo>
                        <a:pt x="596" y="321"/>
                      </a:lnTo>
                      <a:lnTo>
                        <a:pt x="597" y="321"/>
                      </a:lnTo>
                      <a:lnTo>
                        <a:pt x="598" y="320"/>
                      </a:lnTo>
                      <a:lnTo>
                        <a:pt x="598" y="320"/>
                      </a:lnTo>
                      <a:lnTo>
                        <a:pt x="597" y="319"/>
                      </a:lnTo>
                      <a:lnTo>
                        <a:pt x="596" y="318"/>
                      </a:lnTo>
                      <a:lnTo>
                        <a:pt x="597" y="318"/>
                      </a:lnTo>
                      <a:lnTo>
                        <a:pt x="598" y="317"/>
                      </a:lnTo>
                      <a:lnTo>
                        <a:pt x="598" y="317"/>
                      </a:lnTo>
                      <a:lnTo>
                        <a:pt x="599" y="318"/>
                      </a:lnTo>
                      <a:lnTo>
                        <a:pt x="600" y="318"/>
                      </a:lnTo>
                      <a:lnTo>
                        <a:pt x="600" y="319"/>
                      </a:lnTo>
                      <a:lnTo>
                        <a:pt x="601" y="319"/>
                      </a:lnTo>
                      <a:lnTo>
                        <a:pt x="602" y="319"/>
                      </a:lnTo>
                      <a:lnTo>
                        <a:pt x="603" y="318"/>
                      </a:lnTo>
                      <a:lnTo>
                        <a:pt x="604" y="318"/>
                      </a:lnTo>
                      <a:lnTo>
                        <a:pt x="604" y="318"/>
                      </a:lnTo>
                      <a:lnTo>
                        <a:pt x="605" y="318"/>
                      </a:lnTo>
                      <a:lnTo>
                        <a:pt x="606" y="318"/>
                      </a:lnTo>
                      <a:lnTo>
                        <a:pt x="607" y="318"/>
                      </a:lnTo>
                      <a:lnTo>
                        <a:pt x="607" y="319"/>
                      </a:lnTo>
                      <a:lnTo>
                        <a:pt x="607" y="320"/>
                      </a:lnTo>
                      <a:lnTo>
                        <a:pt x="606" y="320"/>
                      </a:lnTo>
                      <a:lnTo>
                        <a:pt x="605" y="320"/>
                      </a:lnTo>
                      <a:lnTo>
                        <a:pt x="604" y="320"/>
                      </a:lnTo>
                      <a:lnTo>
                        <a:pt x="604" y="321"/>
                      </a:lnTo>
                      <a:lnTo>
                        <a:pt x="603" y="322"/>
                      </a:lnTo>
                      <a:lnTo>
                        <a:pt x="603" y="322"/>
                      </a:lnTo>
                      <a:lnTo>
                        <a:pt x="603" y="324"/>
                      </a:lnTo>
                      <a:lnTo>
                        <a:pt x="603" y="325"/>
                      </a:lnTo>
                      <a:lnTo>
                        <a:pt x="603" y="326"/>
                      </a:lnTo>
                      <a:lnTo>
                        <a:pt x="604" y="326"/>
                      </a:lnTo>
                      <a:lnTo>
                        <a:pt x="604" y="326"/>
                      </a:lnTo>
                      <a:lnTo>
                        <a:pt x="605" y="327"/>
                      </a:lnTo>
                      <a:lnTo>
                        <a:pt x="606" y="326"/>
                      </a:lnTo>
                      <a:lnTo>
                        <a:pt x="607" y="326"/>
                      </a:lnTo>
                      <a:lnTo>
                        <a:pt x="607" y="326"/>
                      </a:lnTo>
                      <a:lnTo>
                        <a:pt x="607" y="325"/>
                      </a:lnTo>
                      <a:lnTo>
                        <a:pt x="607" y="324"/>
                      </a:lnTo>
                      <a:lnTo>
                        <a:pt x="607" y="324"/>
                      </a:lnTo>
                      <a:lnTo>
                        <a:pt x="607" y="323"/>
                      </a:lnTo>
                      <a:lnTo>
                        <a:pt x="606" y="322"/>
                      </a:lnTo>
                      <a:lnTo>
                        <a:pt x="607" y="322"/>
                      </a:lnTo>
                      <a:lnTo>
                        <a:pt x="607" y="321"/>
                      </a:lnTo>
                      <a:lnTo>
                        <a:pt x="608" y="320"/>
                      </a:lnTo>
                      <a:lnTo>
                        <a:pt x="609" y="320"/>
                      </a:lnTo>
                      <a:lnTo>
                        <a:pt x="609" y="320"/>
                      </a:lnTo>
                      <a:lnTo>
                        <a:pt x="609" y="321"/>
                      </a:lnTo>
                      <a:lnTo>
                        <a:pt x="609" y="322"/>
                      </a:lnTo>
                      <a:lnTo>
                        <a:pt x="609" y="322"/>
                      </a:lnTo>
                      <a:lnTo>
                        <a:pt x="609" y="323"/>
                      </a:lnTo>
                      <a:lnTo>
                        <a:pt x="609" y="323"/>
                      </a:lnTo>
                      <a:lnTo>
                        <a:pt x="609" y="324"/>
                      </a:lnTo>
                      <a:lnTo>
                        <a:pt x="609" y="324"/>
                      </a:lnTo>
                      <a:lnTo>
                        <a:pt x="609" y="325"/>
                      </a:lnTo>
                      <a:lnTo>
                        <a:pt x="609" y="326"/>
                      </a:lnTo>
                      <a:lnTo>
                        <a:pt x="611" y="326"/>
                      </a:lnTo>
                      <a:lnTo>
                        <a:pt x="611" y="325"/>
                      </a:lnTo>
                      <a:lnTo>
                        <a:pt x="611" y="324"/>
                      </a:lnTo>
                      <a:lnTo>
                        <a:pt x="611" y="324"/>
                      </a:lnTo>
                      <a:lnTo>
                        <a:pt x="612" y="323"/>
                      </a:lnTo>
                      <a:lnTo>
                        <a:pt x="613" y="323"/>
                      </a:lnTo>
                      <a:lnTo>
                        <a:pt x="613" y="324"/>
                      </a:lnTo>
                      <a:lnTo>
                        <a:pt x="614" y="324"/>
                      </a:lnTo>
                      <a:lnTo>
                        <a:pt x="615" y="324"/>
                      </a:lnTo>
                      <a:lnTo>
                        <a:pt x="615" y="324"/>
                      </a:lnTo>
                      <a:lnTo>
                        <a:pt x="616" y="325"/>
                      </a:lnTo>
                      <a:lnTo>
                        <a:pt x="617" y="326"/>
                      </a:lnTo>
                      <a:lnTo>
                        <a:pt x="617" y="326"/>
                      </a:lnTo>
                      <a:lnTo>
                        <a:pt x="617" y="327"/>
                      </a:lnTo>
                      <a:lnTo>
                        <a:pt x="616" y="328"/>
                      </a:lnTo>
                      <a:lnTo>
                        <a:pt x="615" y="328"/>
                      </a:lnTo>
                      <a:lnTo>
                        <a:pt x="615" y="327"/>
                      </a:lnTo>
                      <a:lnTo>
                        <a:pt x="615" y="326"/>
                      </a:lnTo>
                      <a:lnTo>
                        <a:pt x="614" y="326"/>
                      </a:lnTo>
                      <a:lnTo>
                        <a:pt x="613" y="326"/>
                      </a:lnTo>
                      <a:lnTo>
                        <a:pt x="613" y="326"/>
                      </a:lnTo>
                      <a:lnTo>
                        <a:pt x="612" y="326"/>
                      </a:lnTo>
                      <a:lnTo>
                        <a:pt x="611" y="326"/>
                      </a:lnTo>
                      <a:lnTo>
                        <a:pt x="611" y="326"/>
                      </a:lnTo>
                      <a:lnTo>
                        <a:pt x="611" y="326"/>
                      </a:lnTo>
                      <a:lnTo>
                        <a:pt x="611" y="327"/>
                      </a:lnTo>
                      <a:lnTo>
                        <a:pt x="611" y="328"/>
                      </a:lnTo>
                      <a:lnTo>
                        <a:pt x="611" y="328"/>
                      </a:lnTo>
                      <a:lnTo>
                        <a:pt x="612" y="328"/>
                      </a:lnTo>
                      <a:lnTo>
                        <a:pt x="613" y="328"/>
                      </a:lnTo>
                      <a:lnTo>
                        <a:pt x="613" y="328"/>
                      </a:lnTo>
                      <a:lnTo>
                        <a:pt x="614" y="328"/>
                      </a:lnTo>
                      <a:lnTo>
                        <a:pt x="615" y="329"/>
                      </a:lnTo>
                      <a:lnTo>
                        <a:pt x="615" y="330"/>
                      </a:lnTo>
                      <a:lnTo>
                        <a:pt x="615" y="330"/>
                      </a:lnTo>
                      <a:lnTo>
                        <a:pt x="616" y="330"/>
                      </a:lnTo>
                      <a:lnTo>
                        <a:pt x="617" y="330"/>
                      </a:lnTo>
                      <a:lnTo>
                        <a:pt x="617" y="330"/>
                      </a:lnTo>
                      <a:lnTo>
                        <a:pt x="617" y="330"/>
                      </a:lnTo>
                      <a:lnTo>
                        <a:pt x="617" y="329"/>
                      </a:lnTo>
                      <a:lnTo>
                        <a:pt x="617" y="328"/>
                      </a:lnTo>
                      <a:lnTo>
                        <a:pt x="618" y="327"/>
                      </a:lnTo>
                      <a:lnTo>
                        <a:pt x="619" y="327"/>
                      </a:lnTo>
                      <a:lnTo>
                        <a:pt x="619" y="326"/>
                      </a:lnTo>
                      <a:lnTo>
                        <a:pt x="619" y="326"/>
                      </a:lnTo>
                      <a:lnTo>
                        <a:pt x="620" y="325"/>
                      </a:lnTo>
                      <a:lnTo>
                        <a:pt x="621" y="325"/>
                      </a:lnTo>
                      <a:lnTo>
                        <a:pt x="621" y="325"/>
                      </a:lnTo>
                      <a:lnTo>
                        <a:pt x="622" y="325"/>
                      </a:lnTo>
                      <a:lnTo>
                        <a:pt x="623" y="326"/>
                      </a:lnTo>
                      <a:lnTo>
                        <a:pt x="623" y="326"/>
                      </a:lnTo>
                      <a:lnTo>
                        <a:pt x="623" y="327"/>
                      </a:lnTo>
                      <a:lnTo>
                        <a:pt x="622" y="328"/>
                      </a:lnTo>
                      <a:lnTo>
                        <a:pt x="621" y="328"/>
                      </a:lnTo>
                      <a:lnTo>
                        <a:pt x="621" y="329"/>
                      </a:lnTo>
                      <a:lnTo>
                        <a:pt x="620" y="330"/>
                      </a:lnTo>
                      <a:lnTo>
                        <a:pt x="619" y="330"/>
                      </a:lnTo>
                      <a:lnTo>
                        <a:pt x="619" y="330"/>
                      </a:lnTo>
                      <a:lnTo>
                        <a:pt x="619" y="331"/>
                      </a:lnTo>
                      <a:lnTo>
                        <a:pt x="619" y="332"/>
                      </a:lnTo>
                      <a:lnTo>
                        <a:pt x="619" y="333"/>
                      </a:lnTo>
                      <a:lnTo>
                        <a:pt x="620" y="333"/>
                      </a:lnTo>
                      <a:lnTo>
                        <a:pt x="621" y="332"/>
                      </a:lnTo>
                      <a:lnTo>
                        <a:pt x="621" y="332"/>
                      </a:lnTo>
                      <a:lnTo>
                        <a:pt x="622" y="332"/>
                      </a:lnTo>
                      <a:lnTo>
                        <a:pt x="623" y="333"/>
                      </a:lnTo>
                      <a:lnTo>
                        <a:pt x="623" y="333"/>
                      </a:lnTo>
                      <a:lnTo>
                        <a:pt x="623" y="334"/>
                      </a:lnTo>
                      <a:lnTo>
                        <a:pt x="624" y="334"/>
                      </a:lnTo>
                      <a:lnTo>
                        <a:pt x="625" y="335"/>
                      </a:lnTo>
                      <a:lnTo>
                        <a:pt x="626" y="335"/>
                      </a:lnTo>
                      <a:lnTo>
                        <a:pt x="626" y="335"/>
                      </a:lnTo>
                      <a:lnTo>
                        <a:pt x="627" y="335"/>
                      </a:lnTo>
                      <a:lnTo>
                        <a:pt x="627" y="334"/>
                      </a:lnTo>
                      <a:lnTo>
                        <a:pt x="626" y="333"/>
                      </a:lnTo>
                      <a:lnTo>
                        <a:pt x="626" y="333"/>
                      </a:lnTo>
                      <a:lnTo>
                        <a:pt x="626" y="332"/>
                      </a:lnTo>
                      <a:lnTo>
                        <a:pt x="627" y="331"/>
                      </a:lnTo>
                      <a:lnTo>
                        <a:pt x="628" y="330"/>
                      </a:lnTo>
                      <a:lnTo>
                        <a:pt x="628" y="331"/>
                      </a:lnTo>
                      <a:lnTo>
                        <a:pt x="630" y="331"/>
                      </a:lnTo>
                      <a:lnTo>
                        <a:pt x="630" y="331"/>
                      </a:lnTo>
                      <a:lnTo>
                        <a:pt x="631" y="331"/>
                      </a:lnTo>
                      <a:lnTo>
                        <a:pt x="632" y="331"/>
                      </a:lnTo>
                      <a:lnTo>
                        <a:pt x="634" y="331"/>
                      </a:lnTo>
                      <a:lnTo>
                        <a:pt x="634" y="331"/>
                      </a:lnTo>
                      <a:lnTo>
                        <a:pt x="635" y="332"/>
                      </a:lnTo>
                      <a:lnTo>
                        <a:pt x="635" y="333"/>
                      </a:lnTo>
                      <a:lnTo>
                        <a:pt x="635" y="333"/>
                      </a:lnTo>
                      <a:lnTo>
                        <a:pt x="634" y="333"/>
                      </a:lnTo>
                      <a:lnTo>
                        <a:pt x="634" y="333"/>
                      </a:lnTo>
                      <a:lnTo>
                        <a:pt x="633" y="333"/>
                      </a:lnTo>
                      <a:lnTo>
                        <a:pt x="632" y="333"/>
                      </a:lnTo>
                      <a:lnTo>
                        <a:pt x="632" y="334"/>
                      </a:lnTo>
                      <a:lnTo>
                        <a:pt x="631" y="335"/>
                      </a:lnTo>
                      <a:lnTo>
                        <a:pt x="630" y="335"/>
                      </a:lnTo>
                      <a:lnTo>
                        <a:pt x="630" y="336"/>
                      </a:lnTo>
                      <a:lnTo>
                        <a:pt x="629" y="336"/>
                      </a:lnTo>
                      <a:lnTo>
                        <a:pt x="628" y="336"/>
                      </a:lnTo>
                      <a:lnTo>
                        <a:pt x="628" y="337"/>
                      </a:lnTo>
                      <a:lnTo>
                        <a:pt x="627" y="337"/>
                      </a:lnTo>
                      <a:lnTo>
                        <a:pt x="627" y="338"/>
                      </a:lnTo>
                      <a:lnTo>
                        <a:pt x="627" y="339"/>
                      </a:lnTo>
                      <a:lnTo>
                        <a:pt x="626" y="339"/>
                      </a:lnTo>
                      <a:lnTo>
                        <a:pt x="627" y="340"/>
                      </a:lnTo>
                      <a:lnTo>
                        <a:pt x="628" y="340"/>
                      </a:lnTo>
                      <a:lnTo>
                        <a:pt x="628" y="340"/>
                      </a:lnTo>
                      <a:lnTo>
                        <a:pt x="629" y="340"/>
                      </a:lnTo>
                      <a:lnTo>
                        <a:pt x="630" y="340"/>
                      </a:lnTo>
                      <a:lnTo>
                        <a:pt x="631" y="341"/>
                      </a:lnTo>
                      <a:lnTo>
                        <a:pt x="632" y="341"/>
                      </a:lnTo>
                      <a:lnTo>
                        <a:pt x="632" y="341"/>
                      </a:lnTo>
                      <a:lnTo>
                        <a:pt x="633" y="342"/>
                      </a:lnTo>
                      <a:lnTo>
                        <a:pt x="634" y="342"/>
                      </a:lnTo>
                      <a:lnTo>
                        <a:pt x="634" y="343"/>
                      </a:lnTo>
                      <a:lnTo>
                        <a:pt x="635" y="342"/>
                      </a:lnTo>
                      <a:lnTo>
                        <a:pt x="636" y="341"/>
                      </a:lnTo>
                      <a:lnTo>
                        <a:pt x="636" y="341"/>
                      </a:lnTo>
                      <a:lnTo>
                        <a:pt x="637" y="340"/>
                      </a:lnTo>
                      <a:lnTo>
                        <a:pt x="638" y="340"/>
                      </a:lnTo>
                      <a:lnTo>
                        <a:pt x="638" y="340"/>
                      </a:lnTo>
                      <a:lnTo>
                        <a:pt x="639" y="340"/>
                      </a:lnTo>
                      <a:lnTo>
                        <a:pt x="639" y="341"/>
                      </a:lnTo>
                      <a:lnTo>
                        <a:pt x="640" y="341"/>
                      </a:lnTo>
                      <a:lnTo>
                        <a:pt x="640" y="342"/>
                      </a:lnTo>
                      <a:lnTo>
                        <a:pt x="640" y="343"/>
                      </a:lnTo>
                      <a:lnTo>
                        <a:pt x="640" y="343"/>
                      </a:lnTo>
                      <a:lnTo>
                        <a:pt x="640" y="344"/>
                      </a:lnTo>
                      <a:lnTo>
                        <a:pt x="642" y="345"/>
                      </a:lnTo>
                      <a:lnTo>
                        <a:pt x="642" y="345"/>
                      </a:lnTo>
                      <a:lnTo>
                        <a:pt x="643" y="346"/>
                      </a:lnTo>
                      <a:lnTo>
                        <a:pt x="644" y="346"/>
                      </a:lnTo>
                      <a:lnTo>
                        <a:pt x="645" y="347"/>
                      </a:lnTo>
                      <a:lnTo>
                        <a:pt x="645" y="347"/>
                      </a:lnTo>
                      <a:lnTo>
                        <a:pt x="645" y="348"/>
                      </a:lnTo>
                      <a:lnTo>
                        <a:pt x="645" y="349"/>
                      </a:lnTo>
                      <a:lnTo>
                        <a:pt x="644" y="349"/>
                      </a:lnTo>
                      <a:lnTo>
                        <a:pt x="643" y="349"/>
                      </a:lnTo>
                      <a:lnTo>
                        <a:pt x="642" y="349"/>
                      </a:lnTo>
                      <a:lnTo>
                        <a:pt x="642" y="350"/>
                      </a:lnTo>
                      <a:lnTo>
                        <a:pt x="642" y="351"/>
                      </a:lnTo>
                      <a:lnTo>
                        <a:pt x="642" y="351"/>
                      </a:lnTo>
                      <a:lnTo>
                        <a:pt x="642" y="352"/>
                      </a:lnTo>
                      <a:lnTo>
                        <a:pt x="643" y="352"/>
                      </a:lnTo>
                      <a:lnTo>
                        <a:pt x="644" y="352"/>
                      </a:lnTo>
                      <a:lnTo>
                        <a:pt x="645" y="353"/>
                      </a:lnTo>
                      <a:lnTo>
                        <a:pt x="645" y="353"/>
                      </a:lnTo>
                      <a:lnTo>
                        <a:pt x="646" y="352"/>
                      </a:lnTo>
                      <a:lnTo>
                        <a:pt x="647" y="352"/>
                      </a:lnTo>
                      <a:lnTo>
                        <a:pt x="647" y="351"/>
                      </a:lnTo>
                      <a:lnTo>
                        <a:pt x="649" y="351"/>
                      </a:lnTo>
                      <a:lnTo>
                        <a:pt x="649" y="351"/>
                      </a:lnTo>
                      <a:lnTo>
                        <a:pt x="649" y="352"/>
                      </a:lnTo>
                      <a:lnTo>
                        <a:pt x="650" y="353"/>
                      </a:lnTo>
                      <a:lnTo>
                        <a:pt x="650" y="354"/>
                      </a:lnTo>
                      <a:lnTo>
                        <a:pt x="651" y="354"/>
                      </a:lnTo>
                      <a:lnTo>
                        <a:pt x="651" y="354"/>
                      </a:lnTo>
                      <a:lnTo>
                        <a:pt x="652" y="354"/>
                      </a:lnTo>
                      <a:lnTo>
                        <a:pt x="653" y="354"/>
                      </a:lnTo>
                      <a:lnTo>
                        <a:pt x="653" y="353"/>
                      </a:lnTo>
                      <a:lnTo>
                        <a:pt x="653" y="352"/>
                      </a:lnTo>
                      <a:lnTo>
                        <a:pt x="654" y="351"/>
                      </a:lnTo>
                      <a:lnTo>
                        <a:pt x="655" y="351"/>
                      </a:lnTo>
                      <a:lnTo>
                        <a:pt x="655" y="351"/>
                      </a:lnTo>
                      <a:lnTo>
                        <a:pt x="655" y="350"/>
                      </a:lnTo>
                      <a:lnTo>
                        <a:pt x="656" y="351"/>
                      </a:lnTo>
                      <a:lnTo>
                        <a:pt x="657" y="351"/>
                      </a:lnTo>
                      <a:lnTo>
                        <a:pt x="657" y="352"/>
                      </a:lnTo>
                      <a:lnTo>
                        <a:pt x="657" y="354"/>
                      </a:lnTo>
                      <a:lnTo>
                        <a:pt x="656" y="354"/>
                      </a:lnTo>
                      <a:lnTo>
                        <a:pt x="656" y="355"/>
                      </a:lnTo>
                      <a:lnTo>
                        <a:pt x="655" y="356"/>
                      </a:lnTo>
                      <a:lnTo>
                        <a:pt x="656" y="357"/>
                      </a:lnTo>
                      <a:lnTo>
                        <a:pt x="656" y="358"/>
                      </a:lnTo>
                      <a:lnTo>
                        <a:pt x="657" y="358"/>
                      </a:lnTo>
                      <a:lnTo>
                        <a:pt x="657" y="358"/>
                      </a:lnTo>
                      <a:lnTo>
                        <a:pt x="658" y="358"/>
                      </a:lnTo>
                      <a:lnTo>
                        <a:pt x="658" y="357"/>
                      </a:lnTo>
                      <a:lnTo>
                        <a:pt x="659" y="356"/>
                      </a:lnTo>
                      <a:lnTo>
                        <a:pt x="658" y="356"/>
                      </a:lnTo>
                      <a:lnTo>
                        <a:pt x="658" y="355"/>
                      </a:lnTo>
                      <a:lnTo>
                        <a:pt x="658" y="354"/>
                      </a:lnTo>
                      <a:lnTo>
                        <a:pt x="659" y="354"/>
                      </a:lnTo>
                      <a:lnTo>
                        <a:pt x="659" y="353"/>
                      </a:lnTo>
                      <a:lnTo>
                        <a:pt x="659" y="354"/>
                      </a:lnTo>
                      <a:lnTo>
                        <a:pt x="660" y="354"/>
                      </a:lnTo>
                      <a:lnTo>
                        <a:pt x="661" y="354"/>
                      </a:lnTo>
                      <a:lnTo>
                        <a:pt x="661" y="356"/>
                      </a:lnTo>
                      <a:lnTo>
                        <a:pt x="661" y="356"/>
                      </a:lnTo>
                      <a:lnTo>
                        <a:pt x="661" y="356"/>
                      </a:lnTo>
                      <a:lnTo>
                        <a:pt x="662" y="356"/>
                      </a:lnTo>
                      <a:lnTo>
                        <a:pt x="662" y="356"/>
                      </a:lnTo>
                      <a:lnTo>
                        <a:pt x="663" y="356"/>
                      </a:lnTo>
                      <a:lnTo>
                        <a:pt x="664" y="355"/>
                      </a:lnTo>
                      <a:lnTo>
                        <a:pt x="664" y="354"/>
                      </a:lnTo>
                      <a:lnTo>
                        <a:pt x="664" y="354"/>
                      </a:lnTo>
                      <a:lnTo>
                        <a:pt x="664" y="353"/>
                      </a:lnTo>
                      <a:lnTo>
                        <a:pt x="665" y="353"/>
                      </a:lnTo>
                      <a:lnTo>
                        <a:pt x="666" y="353"/>
                      </a:lnTo>
                      <a:lnTo>
                        <a:pt x="666" y="354"/>
                      </a:lnTo>
                      <a:lnTo>
                        <a:pt x="667" y="354"/>
                      </a:lnTo>
                      <a:lnTo>
                        <a:pt x="667" y="354"/>
                      </a:lnTo>
                      <a:lnTo>
                        <a:pt x="667" y="355"/>
                      </a:lnTo>
                      <a:lnTo>
                        <a:pt x="667" y="356"/>
                      </a:lnTo>
                      <a:lnTo>
                        <a:pt x="666" y="356"/>
                      </a:lnTo>
                      <a:lnTo>
                        <a:pt x="666" y="356"/>
                      </a:lnTo>
                      <a:lnTo>
                        <a:pt x="665" y="356"/>
                      </a:lnTo>
                      <a:lnTo>
                        <a:pt x="664" y="356"/>
                      </a:lnTo>
                      <a:lnTo>
                        <a:pt x="664" y="356"/>
                      </a:lnTo>
                      <a:lnTo>
                        <a:pt x="663" y="356"/>
                      </a:lnTo>
                      <a:lnTo>
                        <a:pt x="662" y="357"/>
                      </a:lnTo>
                      <a:lnTo>
                        <a:pt x="662" y="358"/>
                      </a:lnTo>
                      <a:lnTo>
                        <a:pt x="662" y="358"/>
                      </a:lnTo>
                      <a:lnTo>
                        <a:pt x="663" y="359"/>
                      </a:lnTo>
                      <a:lnTo>
                        <a:pt x="664" y="359"/>
                      </a:lnTo>
                      <a:lnTo>
                        <a:pt x="664" y="359"/>
                      </a:lnTo>
                      <a:lnTo>
                        <a:pt x="665" y="358"/>
                      </a:lnTo>
                      <a:lnTo>
                        <a:pt x="665" y="358"/>
                      </a:lnTo>
                      <a:lnTo>
                        <a:pt x="666" y="357"/>
                      </a:lnTo>
                      <a:lnTo>
                        <a:pt x="666" y="357"/>
                      </a:lnTo>
                      <a:lnTo>
                        <a:pt x="667" y="356"/>
                      </a:lnTo>
                      <a:lnTo>
                        <a:pt x="667" y="357"/>
                      </a:lnTo>
                      <a:lnTo>
                        <a:pt x="668" y="357"/>
                      </a:lnTo>
                      <a:lnTo>
                        <a:pt x="668" y="358"/>
                      </a:lnTo>
                      <a:lnTo>
                        <a:pt x="668" y="359"/>
                      </a:lnTo>
                      <a:lnTo>
                        <a:pt x="668" y="360"/>
                      </a:lnTo>
                      <a:lnTo>
                        <a:pt x="668" y="360"/>
                      </a:lnTo>
                      <a:lnTo>
                        <a:pt x="667" y="360"/>
                      </a:lnTo>
                      <a:lnTo>
                        <a:pt x="666" y="360"/>
                      </a:lnTo>
                      <a:lnTo>
                        <a:pt x="666" y="360"/>
                      </a:lnTo>
                      <a:lnTo>
                        <a:pt x="665" y="361"/>
                      </a:lnTo>
                      <a:lnTo>
                        <a:pt x="665" y="362"/>
                      </a:lnTo>
                      <a:lnTo>
                        <a:pt x="665" y="362"/>
                      </a:lnTo>
                      <a:lnTo>
                        <a:pt x="665" y="363"/>
                      </a:lnTo>
                      <a:lnTo>
                        <a:pt x="666" y="363"/>
                      </a:lnTo>
                      <a:lnTo>
                        <a:pt x="666" y="363"/>
                      </a:lnTo>
                      <a:lnTo>
                        <a:pt x="667" y="362"/>
                      </a:lnTo>
                      <a:lnTo>
                        <a:pt x="668" y="362"/>
                      </a:lnTo>
                      <a:lnTo>
                        <a:pt x="668" y="362"/>
                      </a:lnTo>
                      <a:lnTo>
                        <a:pt x="669" y="362"/>
                      </a:lnTo>
                      <a:lnTo>
                        <a:pt x="670" y="363"/>
                      </a:lnTo>
                      <a:lnTo>
                        <a:pt x="670" y="364"/>
                      </a:lnTo>
                      <a:lnTo>
                        <a:pt x="670" y="365"/>
                      </a:lnTo>
                      <a:lnTo>
                        <a:pt x="670" y="366"/>
                      </a:lnTo>
                      <a:lnTo>
                        <a:pt x="671" y="366"/>
                      </a:lnTo>
                      <a:lnTo>
                        <a:pt x="671" y="366"/>
                      </a:lnTo>
                      <a:lnTo>
                        <a:pt x="672" y="366"/>
                      </a:lnTo>
                      <a:lnTo>
                        <a:pt x="672" y="366"/>
                      </a:lnTo>
                      <a:lnTo>
                        <a:pt x="673" y="365"/>
                      </a:lnTo>
                      <a:lnTo>
                        <a:pt x="674" y="364"/>
                      </a:lnTo>
                      <a:lnTo>
                        <a:pt x="674" y="364"/>
                      </a:lnTo>
                      <a:lnTo>
                        <a:pt x="675" y="365"/>
                      </a:lnTo>
                      <a:lnTo>
                        <a:pt x="676" y="366"/>
                      </a:lnTo>
                      <a:lnTo>
                        <a:pt x="676" y="366"/>
                      </a:lnTo>
                      <a:lnTo>
                        <a:pt x="676" y="367"/>
                      </a:lnTo>
                      <a:lnTo>
                        <a:pt x="676" y="368"/>
                      </a:lnTo>
                      <a:lnTo>
                        <a:pt x="675" y="368"/>
                      </a:lnTo>
                      <a:lnTo>
                        <a:pt x="674" y="368"/>
                      </a:lnTo>
                      <a:lnTo>
                        <a:pt x="674" y="368"/>
                      </a:lnTo>
                      <a:lnTo>
                        <a:pt x="673" y="368"/>
                      </a:lnTo>
                      <a:lnTo>
                        <a:pt x="672" y="368"/>
                      </a:lnTo>
                      <a:lnTo>
                        <a:pt x="672" y="368"/>
                      </a:lnTo>
                      <a:lnTo>
                        <a:pt x="672" y="368"/>
                      </a:lnTo>
                      <a:lnTo>
                        <a:pt x="671" y="369"/>
                      </a:lnTo>
                      <a:lnTo>
                        <a:pt x="672" y="370"/>
                      </a:lnTo>
                      <a:lnTo>
                        <a:pt x="672" y="370"/>
                      </a:lnTo>
                      <a:lnTo>
                        <a:pt x="673" y="371"/>
                      </a:lnTo>
                      <a:lnTo>
                        <a:pt x="673" y="372"/>
                      </a:lnTo>
                      <a:lnTo>
                        <a:pt x="673" y="373"/>
                      </a:lnTo>
                      <a:lnTo>
                        <a:pt x="674" y="373"/>
                      </a:lnTo>
                      <a:lnTo>
                        <a:pt x="673" y="374"/>
                      </a:lnTo>
                      <a:lnTo>
                        <a:pt x="673" y="375"/>
                      </a:lnTo>
                      <a:lnTo>
                        <a:pt x="672" y="375"/>
                      </a:lnTo>
                      <a:lnTo>
                        <a:pt x="672" y="376"/>
                      </a:lnTo>
                      <a:lnTo>
                        <a:pt x="672" y="377"/>
                      </a:lnTo>
                      <a:lnTo>
                        <a:pt x="672" y="377"/>
                      </a:lnTo>
                      <a:lnTo>
                        <a:pt x="673" y="377"/>
                      </a:lnTo>
                      <a:lnTo>
                        <a:pt x="674" y="377"/>
                      </a:lnTo>
                      <a:lnTo>
                        <a:pt x="674" y="377"/>
                      </a:lnTo>
                      <a:lnTo>
                        <a:pt x="675" y="377"/>
                      </a:lnTo>
                      <a:lnTo>
                        <a:pt x="676" y="377"/>
                      </a:lnTo>
                      <a:lnTo>
                        <a:pt x="676" y="377"/>
                      </a:lnTo>
                      <a:lnTo>
                        <a:pt x="677" y="377"/>
                      </a:lnTo>
                      <a:lnTo>
                        <a:pt x="677" y="376"/>
                      </a:lnTo>
                      <a:lnTo>
                        <a:pt x="676" y="375"/>
                      </a:lnTo>
                      <a:lnTo>
                        <a:pt x="676" y="375"/>
                      </a:lnTo>
                      <a:lnTo>
                        <a:pt x="676" y="374"/>
                      </a:lnTo>
                      <a:lnTo>
                        <a:pt x="676" y="373"/>
                      </a:lnTo>
                      <a:lnTo>
                        <a:pt x="677" y="373"/>
                      </a:lnTo>
                      <a:lnTo>
                        <a:pt x="677" y="372"/>
                      </a:lnTo>
                      <a:lnTo>
                        <a:pt x="678" y="372"/>
                      </a:lnTo>
                      <a:lnTo>
                        <a:pt x="678" y="372"/>
                      </a:lnTo>
                      <a:lnTo>
                        <a:pt x="679" y="371"/>
                      </a:lnTo>
                      <a:lnTo>
                        <a:pt x="680" y="371"/>
                      </a:lnTo>
                      <a:lnTo>
                        <a:pt x="680" y="371"/>
                      </a:lnTo>
                      <a:lnTo>
                        <a:pt x="681" y="371"/>
                      </a:lnTo>
                      <a:lnTo>
                        <a:pt x="682" y="372"/>
                      </a:lnTo>
                      <a:lnTo>
                        <a:pt x="682" y="373"/>
                      </a:lnTo>
                      <a:lnTo>
                        <a:pt x="682" y="373"/>
                      </a:lnTo>
                      <a:lnTo>
                        <a:pt x="682" y="374"/>
                      </a:lnTo>
                      <a:lnTo>
                        <a:pt x="681" y="375"/>
                      </a:lnTo>
                      <a:lnTo>
                        <a:pt x="681" y="375"/>
                      </a:lnTo>
                      <a:lnTo>
                        <a:pt x="681" y="376"/>
                      </a:lnTo>
                      <a:lnTo>
                        <a:pt x="681" y="377"/>
                      </a:lnTo>
                      <a:lnTo>
                        <a:pt x="681" y="377"/>
                      </a:lnTo>
                      <a:lnTo>
                        <a:pt x="681" y="378"/>
                      </a:lnTo>
                      <a:lnTo>
                        <a:pt x="682" y="378"/>
                      </a:lnTo>
                      <a:lnTo>
                        <a:pt x="683" y="378"/>
                      </a:lnTo>
                      <a:lnTo>
                        <a:pt x="683" y="378"/>
                      </a:lnTo>
                      <a:lnTo>
                        <a:pt x="684" y="378"/>
                      </a:lnTo>
                      <a:lnTo>
                        <a:pt x="685" y="379"/>
                      </a:lnTo>
                      <a:lnTo>
                        <a:pt x="685" y="379"/>
                      </a:lnTo>
                      <a:lnTo>
                        <a:pt x="685" y="380"/>
                      </a:lnTo>
                      <a:lnTo>
                        <a:pt x="685" y="381"/>
                      </a:lnTo>
                      <a:lnTo>
                        <a:pt x="684" y="381"/>
                      </a:lnTo>
                      <a:lnTo>
                        <a:pt x="683" y="381"/>
                      </a:lnTo>
                      <a:lnTo>
                        <a:pt x="683" y="381"/>
                      </a:lnTo>
                      <a:lnTo>
                        <a:pt x="683" y="380"/>
                      </a:lnTo>
                      <a:lnTo>
                        <a:pt x="682" y="380"/>
                      </a:lnTo>
                      <a:lnTo>
                        <a:pt x="681" y="380"/>
                      </a:lnTo>
                      <a:lnTo>
                        <a:pt x="681" y="381"/>
                      </a:lnTo>
                      <a:lnTo>
                        <a:pt x="680" y="381"/>
                      </a:lnTo>
                      <a:lnTo>
                        <a:pt x="680" y="383"/>
                      </a:lnTo>
                      <a:lnTo>
                        <a:pt x="680" y="383"/>
                      </a:lnTo>
                      <a:lnTo>
                        <a:pt x="680" y="384"/>
                      </a:lnTo>
                      <a:lnTo>
                        <a:pt x="680" y="385"/>
                      </a:lnTo>
                      <a:lnTo>
                        <a:pt x="680" y="385"/>
                      </a:lnTo>
                      <a:lnTo>
                        <a:pt x="680" y="386"/>
                      </a:lnTo>
                      <a:lnTo>
                        <a:pt x="681" y="386"/>
                      </a:lnTo>
                      <a:lnTo>
                        <a:pt x="682" y="385"/>
                      </a:lnTo>
                      <a:lnTo>
                        <a:pt x="683" y="385"/>
                      </a:lnTo>
                      <a:lnTo>
                        <a:pt x="683" y="385"/>
                      </a:lnTo>
                      <a:lnTo>
                        <a:pt x="684" y="385"/>
                      </a:lnTo>
                      <a:lnTo>
                        <a:pt x="685" y="385"/>
                      </a:lnTo>
                      <a:lnTo>
                        <a:pt x="685" y="385"/>
                      </a:lnTo>
                      <a:lnTo>
                        <a:pt x="686" y="385"/>
                      </a:lnTo>
                      <a:lnTo>
                        <a:pt x="687" y="386"/>
                      </a:lnTo>
                      <a:lnTo>
                        <a:pt x="687" y="387"/>
                      </a:lnTo>
                      <a:lnTo>
                        <a:pt x="687" y="387"/>
                      </a:lnTo>
                      <a:lnTo>
                        <a:pt x="687" y="388"/>
                      </a:lnTo>
                      <a:lnTo>
                        <a:pt x="688" y="389"/>
                      </a:lnTo>
                      <a:lnTo>
                        <a:pt x="689" y="389"/>
                      </a:lnTo>
                      <a:lnTo>
                        <a:pt x="689" y="389"/>
                      </a:lnTo>
                      <a:lnTo>
                        <a:pt x="689" y="389"/>
                      </a:lnTo>
                      <a:lnTo>
                        <a:pt x="690" y="389"/>
                      </a:lnTo>
                      <a:lnTo>
                        <a:pt x="690" y="389"/>
                      </a:lnTo>
                      <a:lnTo>
                        <a:pt x="690" y="388"/>
                      </a:lnTo>
                      <a:lnTo>
                        <a:pt x="689" y="387"/>
                      </a:lnTo>
                      <a:lnTo>
                        <a:pt x="689" y="387"/>
                      </a:lnTo>
                      <a:lnTo>
                        <a:pt x="688" y="387"/>
                      </a:lnTo>
                      <a:lnTo>
                        <a:pt x="688" y="386"/>
                      </a:lnTo>
                      <a:lnTo>
                        <a:pt x="687" y="386"/>
                      </a:lnTo>
                      <a:lnTo>
                        <a:pt x="687" y="385"/>
                      </a:lnTo>
                      <a:lnTo>
                        <a:pt x="687" y="385"/>
                      </a:lnTo>
                      <a:lnTo>
                        <a:pt x="688" y="384"/>
                      </a:lnTo>
                      <a:lnTo>
                        <a:pt x="689" y="384"/>
                      </a:lnTo>
                      <a:lnTo>
                        <a:pt x="689" y="384"/>
                      </a:lnTo>
                      <a:lnTo>
                        <a:pt x="690" y="385"/>
                      </a:lnTo>
                      <a:lnTo>
                        <a:pt x="691" y="385"/>
                      </a:lnTo>
                      <a:lnTo>
                        <a:pt x="691" y="385"/>
                      </a:lnTo>
                      <a:lnTo>
                        <a:pt x="692" y="385"/>
                      </a:lnTo>
                      <a:lnTo>
                        <a:pt x="693" y="385"/>
                      </a:lnTo>
                      <a:lnTo>
                        <a:pt x="693" y="385"/>
                      </a:lnTo>
                      <a:lnTo>
                        <a:pt x="694" y="385"/>
                      </a:lnTo>
                      <a:lnTo>
                        <a:pt x="695" y="386"/>
                      </a:lnTo>
                      <a:lnTo>
                        <a:pt x="695" y="387"/>
                      </a:lnTo>
                      <a:lnTo>
                        <a:pt x="695" y="387"/>
                      </a:lnTo>
                      <a:lnTo>
                        <a:pt x="695" y="388"/>
                      </a:lnTo>
                      <a:lnTo>
                        <a:pt x="694" y="388"/>
                      </a:lnTo>
                      <a:lnTo>
                        <a:pt x="694" y="389"/>
                      </a:lnTo>
                      <a:lnTo>
                        <a:pt x="694" y="389"/>
                      </a:lnTo>
                      <a:lnTo>
                        <a:pt x="694" y="390"/>
                      </a:lnTo>
                      <a:lnTo>
                        <a:pt x="695" y="391"/>
                      </a:lnTo>
                      <a:lnTo>
                        <a:pt x="695" y="391"/>
                      </a:lnTo>
                      <a:lnTo>
                        <a:pt x="696" y="391"/>
                      </a:lnTo>
                      <a:lnTo>
                        <a:pt x="697" y="391"/>
                      </a:lnTo>
                      <a:lnTo>
                        <a:pt x="697" y="391"/>
                      </a:lnTo>
                      <a:lnTo>
                        <a:pt x="696" y="391"/>
                      </a:lnTo>
                      <a:lnTo>
                        <a:pt x="696" y="392"/>
                      </a:lnTo>
                      <a:lnTo>
                        <a:pt x="696" y="393"/>
                      </a:lnTo>
                      <a:lnTo>
                        <a:pt x="697" y="393"/>
                      </a:lnTo>
                      <a:lnTo>
                        <a:pt x="697" y="393"/>
                      </a:lnTo>
                      <a:lnTo>
                        <a:pt x="697" y="394"/>
                      </a:lnTo>
                      <a:lnTo>
                        <a:pt x="698" y="394"/>
                      </a:lnTo>
                      <a:lnTo>
                        <a:pt x="698" y="393"/>
                      </a:lnTo>
                      <a:lnTo>
                        <a:pt x="699" y="393"/>
                      </a:lnTo>
                      <a:lnTo>
                        <a:pt x="699" y="394"/>
                      </a:lnTo>
                      <a:lnTo>
                        <a:pt x="699" y="394"/>
                      </a:lnTo>
                      <a:lnTo>
                        <a:pt x="699" y="394"/>
                      </a:lnTo>
                      <a:lnTo>
                        <a:pt x="699" y="394"/>
                      </a:lnTo>
                      <a:lnTo>
                        <a:pt x="699" y="395"/>
                      </a:lnTo>
                      <a:lnTo>
                        <a:pt x="699" y="395"/>
                      </a:lnTo>
                      <a:lnTo>
                        <a:pt x="700" y="395"/>
                      </a:lnTo>
                      <a:lnTo>
                        <a:pt x="700" y="394"/>
                      </a:lnTo>
                      <a:lnTo>
                        <a:pt x="701" y="394"/>
                      </a:lnTo>
                      <a:lnTo>
                        <a:pt x="702" y="394"/>
                      </a:lnTo>
                      <a:lnTo>
                        <a:pt x="702" y="395"/>
                      </a:lnTo>
                      <a:lnTo>
                        <a:pt x="703" y="395"/>
                      </a:lnTo>
                      <a:lnTo>
                        <a:pt x="704" y="396"/>
                      </a:lnTo>
                      <a:lnTo>
                        <a:pt x="704" y="396"/>
                      </a:lnTo>
                      <a:lnTo>
                        <a:pt x="704" y="396"/>
                      </a:lnTo>
                      <a:lnTo>
                        <a:pt x="704" y="397"/>
                      </a:lnTo>
                      <a:lnTo>
                        <a:pt x="704" y="398"/>
                      </a:lnTo>
                      <a:lnTo>
                        <a:pt x="704" y="398"/>
                      </a:lnTo>
                      <a:lnTo>
                        <a:pt x="704" y="398"/>
                      </a:lnTo>
                      <a:lnTo>
                        <a:pt x="704" y="399"/>
                      </a:lnTo>
                      <a:lnTo>
                        <a:pt x="704" y="400"/>
                      </a:lnTo>
                      <a:lnTo>
                        <a:pt x="705" y="400"/>
                      </a:lnTo>
                      <a:lnTo>
                        <a:pt x="705" y="400"/>
                      </a:lnTo>
                      <a:lnTo>
                        <a:pt x="706" y="400"/>
                      </a:lnTo>
                      <a:lnTo>
                        <a:pt x="706" y="400"/>
                      </a:lnTo>
                      <a:lnTo>
                        <a:pt x="706" y="400"/>
                      </a:lnTo>
                      <a:lnTo>
                        <a:pt x="706" y="400"/>
                      </a:lnTo>
                      <a:lnTo>
                        <a:pt x="706" y="401"/>
                      </a:lnTo>
                      <a:lnTo>
                        <a:pt x="706" y="402"/>
                      </a:lnTo>
                      <a:lnTo>
                        <a:pt x="706" y="402"/>
                      </a:lnTo>
                      <a:lnTo>
                        <a:pt x="705" y="402"/>
                      </a:lnTo>
                      <a:lnTo>
                        <a:pt x="705" y="403"/>
                      </a:lnTo>
                      <a:lnTo>
                        <a:pt x="704" y="403"/>
                      </a:lnTo>
                      <a:lnTo>
                        <a:pt x="704" y="404"/>
                      </a:lnTo>
                      <a:lnTo>
                        <a:pt x="705" y="404"/>
                      </a:lnTo>
                      <a:lnTo>
                        <a:pt x="705" y="404"/>
                      </a:lnTo>
                      <a:lnTo>
                        <a:pt x="706" y="404"/>
                      </a:lnTo>
                      <a:lnTo>
                        <a:pt x="706" y="405"/>
                      </a:lnTo>
                      <a:lnTo>
                        <a:pt x="705" y="405"/>
                      </a:lnTo>
                      <a:lnTo>
                        <a:pt x="705" y="406"/>
                      </a:lnTo>
                      <a:lnTo>
                        <a:pt x="706" y="406"/>
                      </a:lnTo>
                      <a:lnTo>
                        <a:pt x="706" y="406"/>
                      </a:lnTo>
                      <a:lnTo>
                        <a:pt x="706" y="407"/>
                      </a:lnTo>
                      <a:lnTo>
                        <a:pt x="706" y="407"/>
                      </a:lnTo>
                      <a:lnTo>
                        <a:pt x="706" y="408"/>
                      </a:lnTo>
                      <a:lnTo>
                        <a:pt x="706" y="408"/>
                      </a:lnTo>
                      <a:lnTo>
                        <a:pt x="707" y="408"/>
                      </a:lnTo>
                      <a:lnTo>
                        <a:pt x="707" y="409"/>
                      </a:lnTo>
                      <a:lnTo>
                        <a:pt x="706" y="409"/>
                      </a:lnTo>
                      <a:lnTo>
                        <a:pt x="706" y="410"/>
                      </a:lnTo>
                      <a:lnTo>
                        <a:pt x="706" y="410"/>
                      </a:lnTo>
                      <a:lnTo>
                        <a:pt x="706" y="411"/>
                      </a:lnTo>
                      <a:lnTo>
                        <a:pt x="707" y="411"/>
                      </a:lnTo>
                      <a:lnTo>
                        <a:pt x="707" y="412"/>
                      </a:lnTo>
                      <a:lnTo>
                        <a:pt x="706" y="412"/>
                      </a:lnTo>
                      <a:lnTo>
                        <a:pt x="706" y="413"/>
                      </a:lnTo>
                      <a:lnTo>
                        <a:pt x="706" y="413"/>
                      </a:lnTo>
                      <a:lnTo>
                        <a:pt x="707" y="413"/>
                      </a:lnTo>
                      <a:lnTo>
                        <a:pt x="707" y="414"/>
                      </a:lnTo>
                      <a:lnTo>
                        <a:pt x="707" y="415"/>
                      </a:lnTo>
                      <a:lnTo>
                        <a:pt x="708" y="415"/>
                      </a:lnTo>
                      <a:lnTo>
                        <a:pt x="707" y="415"/>
                      </a:lnTo>
                      <a:lnTo>
                        <a:pt x="707" y="416"/>
                      </a:lnTo>
                      <a:lnTo>
                        <a:pt x="707" y="417"/>
                      </a:lnTo>
                      <a:lnTo>
                        <a:pt x="706" y="417"/>
                      </a:lnTo>
                      <a:lnTo>
                        <a:pt x="706" y="417"/>
                      </a:lnTo>
                      <a:lnTo>
                        <a:pt x="706" y="418"/>
                      </a:lnTo>
                      <a:lnTo>
                        <a:pt x="706" y="419"/>
                      </a:lnTo>
                      <a:lnTo>
                        <a:pt x="706" y="419"/>
                      </a:lnTo>
                      <a:lnTo>
                        <a:pt x="706" y="420"/>
                      </a:lnTo>
                      <a:lnTo>
                        <a:pt x="706" y="421"/>
                      </a:lnTo>
                      <a:lnTo>
                        <a:pt x="705" y="421"/>
                      </a:lnTo>
                      <a:lnTo>
                        <a:pt x="704" y="422"/>
                      </a:lnTo>
                      <a:lnTo>
                        <a:pt x="704" y="422"/>
                      </a:lnTo>
                      <a:lnTo>
                        <a:pt x="703" y="422"/>
                      </a:lnTo>
                      <a:lnTo>
                        <a:pt x="702" y="423"/>
                      </a:lnTo>
                      <a:lnTo>
                        <a:pt x="703" y="423"/>
                      </a:lnTo>
                      <a:lnTo>
                        <a:pt x="703" y="424"/>
                      </a:lnTo>
                      <a:lnTo>
                        <a:pt x="704" y="424"/>
                      </a:lnTo>
                      <a:lnTo>
                        <a:pt x="704" y="425"/>
                      </a:lnTo>
                      <a:lnTo>
                        <a:pt x="703" y="425"/>
                      </a:lnTo>
                      <a:lnTo>
                        <a:pt x="702" y="425"/>
                      </a:lnTo>
                      <a:lnTo>
                        <a:pt x="702" y="425"/>
                      </a:lnTo>
                      <a:lnTo>
                        <a:pt x="702" y="426"/>
                      </a:lnTo>
                      <a:lnTo>
                        <a:pt x="702" y="426"/>
                      </a:lnTo>
                      <a:lnTo>
                        <a:pt x="702" y="427"/>
                      </a:lnTo>
                      <a:lnTo>
                        <a:pt x="702" y="427"/>
                      </a:lnTo>
                      <a:lnTo>
                        <a:pt x="702" y="428"/>
                      </a:lnTo>
                      <a:lnTo>
                        <a:pt x="702" y="429"/>
                      </a:lnTo>
                      <a:lnTo>
                        <a:pt x="702" y="429"/>
                      </a:lnTo>
                      <a:lnTo>
                        <a:pt x="702" y="428"/>
                      </a:lnTo>
                      <a:lnTo>
                        <a:pt x="701" y="428"/>
                      </a:lnTo>
                      <a:lnTo>
                        <a:pt x="701" y="427"/>
                      </a:lnTo>
                      <a:lnTo>
                        <a:pt x="700" y="427"/>
                      </a:lnTo>
                      <a:lnTo>
                        <a:pt x="699" y="428"/>
                      </a:lnTo>
                      <a:lnTo>
                        <a:pt x="699" y="428"/>
                      </a:lnTo>
                      <a:lnTo>
                        <a:pt x="698" y="428"/>
                      </a:lnTo>
                      <a:lnTo>
                        <a:pt x="697" y="428"/>
                      </a:lnTo>
                      <a:lnTo>
                        <a:pt x="697" y="427"/>
                      </a:lnTo>
                      <a:lnTo>
                        <a:pt x="697" y="428"/>
                      </a:lnTo>
                      <a:lnTo>
                        <a:pt x="696" y="428"/>
                      </a:lnTo>
                      <a:lnTo>
                        <a:pt x="695" y="428"/>
                      </a:lnTo>
                      <a:lnTo>
                        <a:pt x="695" y="429"/>
                      </a:lnTo>
                      <a:lnTo>
                        <a:pt x="695" y="429"/>
                      </a:lnTo>
                      <a:lnTo>
                        <a:pt x="695" y="429"/>
                      </a:lnTo>
                      <a:lnTo>
                        <a:pt x="694" y="429"/>
                      </a:lnTo>
                      <a:lnTo>
                        <a:pt x="693" y="429"/>
                      </a:lnTo>
                      <a:lnTo>
                        <a:pt x="693" y="430"/>
                      </a:lnTo>
                      <a:lnTo>
                        <a:pt x="693" y="431"/>
                      </a:lnTo>
                      <a:lnTo>
                        <a:pt x="693" y="431"/>
                      </a:lnTo>
                      <a:lnTo>
                        <a:pt x="692" y="432"/>
                      </a:lnTo>
                      <a:lnTo>
                        <a:pt x="691" y="432"/>
                      </a:lnTo>
                      <a:lnTo>
                        <a:pt x="691" y="432"/>
                      </a:lnTo>
                      <a:lnTo>
                        <a:pt x="690" y="432"/>
                      </a:lnTo>
                      <a:lnTo>
                        <a:pt x="689" y="432"/>
                      </a:lnTo>
                      <a:lnTo>
                        <a:pt x="689" y="432"/>
                      </a:lnTo>
                      <a:lnTo>
                        <a:pt x="688" y="431"/>
                      </a:lnTo>
                      <a:lnTo>
                        <a:pt x="687" y="431"/>
                      </a:lnTo>
                      <a:lnTo>
                        <a:pt x="687" y="430"/>
                      </a:lnTo>
                      <a:lnTo>
                        <a:pt x="687" y="430"/>
                      </a:lnTo>
                      <a:lnTo>
                        <a:pt x="687" y="429"/>
                      </a:lnTo>
                      <a:lnTo>
                        <a:pt x="687" y="429"/>
                      </a:lnTo>
                      <a:lnTo>
                        <a:pt x="686" y="429"/>
                      </a:lnTo>
                      <a:lnTo>
                        <a:pt x="685" y="428"/>
                      </a:lnTo>
                      <a:lnTo>
                        <a:pt x="685" y="427"/>
                      </a:lnTo>
                      <a:lnTo>
                        <a:pt x="684" y="427"/>
                      </a:lnTo>
                      <a:lnTo>
                        <a:pt x="683" y="428"/>
                      </a:lnTo>
                      <a:lnTo>
                        <a:pt x="683" y="427"/>
                      </a:lnTo>
                      <a:lnTo>
                        <a:pt x="682" y="427"/>
                      </a:lnTo>
                      <a:lnTo>
                        <a:pt x="682" y="428"/>
                      </a:lnTo>
                      <a:lnTo>
                        <a:pt x="682" y="429"/>
                      </a:lnTo>
                      <a:lnTo>
                        <a:pt x="681" y="429"/>
                      </a:lnTo>
                      <a:lnTo>
                        <a:pt x="680" y="429"/>
                      </a:lnTo>
                      <a:lnTo>
                        <a:pt x="680" y="429"/>
                      </a:lnTo>
                      <a:lnTo>
                        <a:pt x="679" y="429"/>
                      </a:lnTo>
                      <a:lnTo>
                        <a:pt x="679" y="428"/>
                      </a:lnTo>
                      <a:lnTo>
                        <a:pt x="678" y="428"/>
                      </a:lnTo>
                      <a:lnTo>
                        <a:pt x="678" y="428"/>
                      </a:lnTo>
                      <a:lnTo>
                        <a:pt x="678" y="429"/>
                      </a:lnTo>
                      <a:lnTo>
                        <a:pt x="678" y="429"/>
                      </a:lnTo>
                      <a:lnTo>
                        <a:pt x="677" y="429"/>
                      </a:lnTo>
                      <a:lnTo>
                        <a:pt x="677" y="430"/>
                      </a:lnTo>
                      <a:lnTo>
                        <a:pt x="677" y="431"/>
                      </a:lnTo>
                      <a:lnTo>
                        <a:pt x="677" y="432"/>
                      </a:lnTo>
                      <a:lnTo>
                        <a:pt x="676" y="432"/>
                      </a:lnTo>
                      <a:lnTo>
                        <a:pt x="676" y="432"/>
                      </a:lnTo>
                      <a:lnTo>
                        <a:pt x="676" y="432"/>
                      </a:lnTo>
                      <a:lnTo>
                        <a:pt x="676" y="431"/>
                      </a:lnTo>
                      <a:lnTo>
                        <a:pt x="676" y="431"/>
                      </a:lnTo>
                      <a:lnTo>
                        <a:pt x="676" y="432"/>
                      </a:lnTo>
                      <a:lnTo>
                        <a:pt x="675" y="432"/>
                      </a:lnTo>
                      <a:lnTo>
                        <a:pt x="675" y="433"/>
                      </a:lnTo>
                      <a:lnTo>
                        <a:pt x="676" y="433"/>
                      </a:lnTo>
                      <a:lnTo>
                        <a:pt x="676" y="433"/>
                      </a:lnTo>
                      <a:lnTo>
                        <a:pt x="676" y="434"/>
                      </a:lnTo>
                      <a:lnTo>
                        <a:pt x="676" y="434"/>
                      </a:lnTo>
                      <a:lnTo>
                        <a:pt x="675" y="434"/>
                      </a:lnTo>
                      <a:lnTo>
                        <a:pt x="674" y="434"/>
                      </a:lnTo>
                      <a:lnTo>
                        <a:pt x="674" y="434"/>
                      </a:lnTo>
                      <a:lnTo>
                        <a:pt x="673" y="434"/>
                      </a:lnTo>
                      <a:lnTo>
                        <a:pt x="672" y="434"/>
                      </a:lnTo>
                      <a:lnTo>
                        <a:pt x="672" y="435"/>
                      </a:lnTo>
                      <a:lnTo>
                        <a:pt x="672" y="436"/>
                      </a:lnTo>
                      <a:lnTo>
                        <a:pt x="672" y="436"/>
                      </a:lnTo>
                      <a:lnTo>
                        <a:pt x="671" y="436"/>
                      </a:lnTo>
                      <a:lnTo>
                        <a:pt x="671" y="436"/>
                      </a:lnTo>
                      <a:lnTo>
                        <a:pt x="670" y="437"/>
                      </a:lnTo>
                      <a:lnTo>
                        <a:pt x="670" y="437"/>
                      </a:lnTo>
                      <a:lnTo>
                        <a:pt x="669" y="437"/>
                      </a:lnTo>
                      <a:lnTo>
                        <a:pt x="668" y="437"/>
                      </a:lnTo>
                      <a:lnTo>
                        <a:pt x="668" y="436"/>
                      </a:lnTo>
                      <a:lnTo>
                        <a:pt x="667" y="436"/>
                      </a:lnTo>
                      <a:lnTo>
                        <a:pt x="666" y="436"/>
                      </a:lnTo>
                      <a:lnTo>
                        <a:pt x="666" y="436"/>
                      </a:lnTo>
                      <a:lnTo>
                        <a:pt x="665" y="436"/>
                      </a:lnTo>
                      <a:lnTo>
                        <a:pt x="664" y="436"/>
                      </a:lnTo>
                      <a:lnTo>
                        <a:pt x="664" y="436"/>
                      </a:lnTo>
                      <a:lnTo>
                        <a:pt x="664" y="436"/>
                      </a:lnTo>
                      <a:lnTo>
                        <a:pt x="664" y="437"/>
                      </a:lnTo>
                      <a:lnTo>
                        <a:pt x="664" y="438"/>
                      </a:lnTo>
                      <a:lnTo>
                        <a:pt x="665" y="438"/>
                      </a:lnTo>
                      <a:lnTo>
                        <a:pt x="665" y="438"/>
                      </a:lnTo>
                      <a:lnTo>
                        <a:pt x="666" y="439"/>
                      </a:lnTo>
                      <a:lnTo>
                        <a:pt x="665" y="440"/>
                      </a:lnTo>
                      <a:lnTo>
                        <a:pt x="664" y="440"/>
                      </a:lnTo>
                      <a:lnTo>
                        <a:pt x="664" y="440"/>
                      </a:lnTo>
                      <a:lnTo>
                        <a:pt x="664" y="440"/>
                      </a:lnTo>
                      <a:lnTo>
                        <a:pt x="664" y="441"/>
                      </a:lnTo>
                      <a:lnTo>
                        <a:pt x="664" y="442"/>
                      </a:lnTo>
                      <a:lnTo>
                        <a:pt x="664" y="442"/>
                      </a:lnTo>
                      <a:lnTo>
                        <a:pt x="664" y="442"/>
                      </a:lnTo>
                      <a:lnTo>
                        <a:pt x="664" y="443"/>
                      </a:lnTo>
                      <a:lnTo>
                        <a:pt x="664" y="444"/>
                      </a:lnTo>
                      <a:lnTo>
                        <a:pt x="665" y="444"/>
                      </a:lnTo>
                      <a:lnTo>
                        <a:pt x="665" y="444"/>
                      </a:lnTo>
                      <a:lnTo>
                        <a:pt x="665" y="445"/>
                      </a:lnTo>
                      <a:lnTo>
                        <a:pt x="665" y="446"/>
                      </a:lnTo>
                      <a:lnTo>
                        <a:pt x="666" y="446"/>
                      </a:lnTo>
                      <a:lnTo>
                        <a:pt x="665" y="447"/>
                      </a:lnTo>
                      <a:lnTo>
                        <a:pt x="664" y="447"/>
                      </a:lnTo>
                      <a:lnTo>
                        <a:pt x="664" y="447"/>
                      </a:lnTo>
                      <a:lnTo>
                        <a:pt x="664" y="448"/>
                      </a:lnTo>
                      <a:lnTo>
                        <a:pt x="663" y="448"/>
                      </a:lnTo>
                      <a:lnTo>
                        <a:pt x="664" y="448"/>
                      </a:lnTo>
                      <a:lnTo>
                        <a:pt x="664" y="448"/>
                      </a:lnTo>
                      <a:lnTo>
                        <a:pt x="663" y="448"/>
                      </a:lnTo>
                      <a:lnTo>
                        <a:pt x="663" y="449"/>
                      </a:lnTo>
                      <a:lnTo>
                        <a:pt x="663" y="450"/>
                      </a:lnTo>
                      <a:lnTo>
                        <a:pt x="663" y="450"/>
                      </a:lnTo>
                      <a:lnTo>
                        <a:pt x="663" y="451"/>
                      </a:lnTo>
                      <a:lnTo>
                        <a:pt x="663" y="452"/>
                      </a:lnTo>
                      <a:lnTo>
                        <a:pt x="663" y="453"/>
                      </a:lnTo>
                      <a:lnTo>
                        <a:pt x="663" y="453"/>
                      </a:lnTo>
                      <a:lnTo>
                        <a:pt x="662" y="453"/>
                      </a:lnTo>
                      <a:lnTo>
                        <a:pt x="661" y="453"/>
                      </a:lnTo>
                      <a:lnTo>
                        <a:pt x="661" y="454"/>
                      </a:lnTo>
                      <a:lnTo>
                        <a:pt x="661" y="454"/>
                      </a:lnTo>
                      <a:lnTo>
                        <a:pt x="660" y="454"/>
                      </a:lnTo>
                      <a:lnTo>
                        <a:pt x="660" y="455"/>
                      </a:lnTo>
                      <a:lnTo>
                        <a:pt x="659" y="454"/>
                      </a:lnTo>
                      <a:lnTo>
                        <a:pt x="659" y="455"/>
                      </a:lnTo>
                      <a:lnTo>
                        <a:pt x="659" y="455"/>
                      </a:lnTo>
                      <a:lnTo>
                        <a:pt x="658" y="455"/>
                      </a:lnTo>
                      <a:lnTo>
                        <a:pt x="659" y="455"/>
                      </a:lnTo>
                      <a:lnTo>
                        <a:pt x="659" y="455"/>
                      </a:lnTo>
                      <a:lnTo>
                        <a:pt x="658" y="456"/>
                      </a:lnTo>
                      <a:lnTo>
                        <a:pt x="659" y="456"/>
                      </a:lnTo>
                      <a:lnTo>
                        <a:pt x="659" y="457"/>
                      </a:lnTo>
                      <a:lnTo>
                        <a:pt x="659" y="457"/>
                      </a:lnTo>
                      <a:lnTo>
                        <a:pt x="659" y="457"/>
                      </a:lnTo>
                      <a:lnTo>
                        <a:pt x="659" y="458"/>
                      </a:lnTo>
                      <a:lnTo>
                        <a:pt x="659" y="458"/>
                      </a:lnTo>
                      <a:lnTo>
                        <a:pt x="659" y="459"/>
                      </a:lnTo>
                      <a:lnTo>
                        <a:pt x="658" y="459"/>
                      </a:lnTo>
                      <a:lnTo>
                        <a:pt x="658" y="459"/>
                      </a:lnTo>
                      <a:lnTo>
                        <a:pt x="658" y="460"/>
                      </a:lnTo>
                      <a:lnTo>
                        <a:pt x="658" y="461"/>
                      </a:lnTo>
                      <a:lnTo>
                        <a:pt x="658" y="461"/>
                      </a:lnTo>
                      <a:lnTo>
                        <a:pt x="657" y="464"/>
                      </a:lnTo>
                      <a:lnTo>
                        <a:pt x="649" y="465"/>
                      </a:lnTo>
                      <a:lnTo>
                        <a:pt x="649" y="465"/>
                      </a:lnTo>
                      <a:lnTo>
                        <a:pt x="648" y="465"/>
                      </a:lnTo>
                      <a:lnTo>
                        <a:pt x="648" y="465"/>
                      </a:lnTo>
                      <a:lnTo>
                        <a:pt x="647" y="465"/>
                      </a:lnTo>
                      <a:lnTo>
                        <a:pt x="647" y="464"/>
                      </a:lnTo>
                      <a:lnTo>
                        <a:pt x="647" y="464"/>
                      </a:lnTo>
                      <a:lnTo>
                        <a:pt x="646" y="464"/>
                      </a:lnTo>
                      <a:lnTo>
                        <a:pt x="645" y="464"/>
                      </a:lnTo>
                      <a:lnTo>
                        <a:pt x="645" y="463"/>
                      </a:lnTo>
                      <a:lnTo>
                        <a:pt x="645" y="463"/>
                      </a:lnTo>
                      <a:lnTo>
                        <a:pt x="644" y="464"/>
                      </a:lnTo>
                      <a:lnTo>
                        <a:pt x="643" y="464"/>
                      </a:lnTo>
                      <a:lnTo>
                        <a:pt x="642" y="464"/>
                      </a:lnTo>
                      <a:lnTo>
                        <a:pt x="642" y="463"/>
                      </a:lnTo>
                      <a:lnTo>
                        <a:pt x="641" y="463"/>
                      </a:lnTo>
                      <a:lnTo>
                        <a:pt x="640" y="463"/>
                      </a:lnTo>
                      <a:lnTo>
                        <a:pt x="640" y="463"/>
                      </a:lnTo>
                      <a:lnTo>
                        <a:pt x="639" y="462"/>
                      </a:lnTo>
                      <a:lnTo>
                        <a:pt x="638" y="461"/>
                      </a:lnTo>
                      <a:lnTo>
                        <a:pt x="638" y="461"/>
                      </a:lnTo>
                      <a:lnTo>
                        <a:pt x="638" y="461"/>
                      </a:lnTo>
                      <a:lnTo>
                        <a:pt x="637" y="461"/>
                      </a:lnTo>
                      <a:lnTo>
                        <a:pt x="636" y="460"/>
                      </a:lnTo>
                      <a:lnTo>
                        <a:pt x="636" y="459"/>
                      </a:lnTo>
                      <a:lnTo>
                        <a:pt x="636" y="459"/>
                      </a:lnTo>
                      <a:lnTo>
                        <a:pt x="636" y="458"/>
                      </a:lnTo>
                      <a:lnTo>
                        <a:pt x="636" y="458"/>
                      </a:lnTo>
                      <a:lnTo>
                        <a:pt x="635" y="457"/>
                      </a:lnTo>
                      <a:lnTo>
                        <a:pt x="635" y="458"/>
                      </a:lnTo>
                      <a:lnTo>
                        <a:pt x="634" y="459"/>
                      </a:lnTo>
                      <a:lnTo>
                        <a:pt x="635" y="459"/>
                      </a:lnTo>
                      <a:lnTo>
                        <a:pt x="634" y="459"/>
                      </a:lnTo>
                      <a:lnTo>
                        <a:pt x="634" y="459"/>
                      </a:lnTo>
                      <a:lnTo>
                        <a:pt x="633" y="460"/>
                      </a:lnTo>
                      <a:lnTo>
                        <a:pt x="632" y="461"/>
                      </a:lnTo>
                      <a:lnTo>
                        <a:pt x="632" y="461"/>
                      </a:lnTo>
                      <a:lnTo>
                        <a:pt x="632" y="461"/>
                      </a:lnTo>
                      <a:lnTo>
                        <a:pt x="631" y="462"/>
                      </a:lnTo>
                      <a:lnTo>
                        <a:pt x="630" y="462"/>
                      </a:lnTo>
                      <a:lnTo>
                        <a:pt x="630" y="463"/>
                      </a:lnTo>
                      <a:lnTo>
                        <a:pt x="629" y="463"/>
                      </a:lnTo>
                      <a:lnTo>
                        <a:pt x="628" y="465"/>
                      </a:lnTo>
                      <a:lnTo>
                        <a:pt x="628" y="466"/>
                      </a:lnTo>
                      <a:lnTo>
                        <a:pt x="627" y="466"/>
                      </a:lnTo>
                      <a:lnTo>
                        <a:pt x="626" y="466"/>
                      </a:lnTo>
                      <a:lnTo>
                        <a:pt x="625" y="465"/>
                      </a:lnTo>
                      <a:lnTo>
                        <a:pt x="624" y="465"/>
                      </a:lnTo>
                      <a:lnTo>
                        <a:pt x="623" y="465"/>
                      </a:lnTo>
                      <a:lnTo>
                        <a:pt x="623" y="465"/>
                      </a:lnTo>
                      <a:lnTo>
                        <a:pt x="622" y="465"/>
                      </a:lnTo>
                      <a:lnTo>
                        <a:pt x="620" y="464"/>
                      </a:lnTo>
                      <a:lnTo>
                        <a:pt x="619" y="463"/>
                      </a:lnTo>
                      <a:lnTo>
                        <a:pt x="617" y="463"/>
                      </a:lnTo>
                      <a:lnTo>
                        <a:pt x="615" y="464"/>
                      </a:lnTo>
                      <a:lnTo>
                        <a:pt x="614" y="464"/>
                      </a:lnTo>
                      <a:lnTo>
                        <a:pt x="614" y="465"/>
                      </a:lnTo>
                      <a:lnTo>
                        <a:pt x="614" y="465"/>
                      </a:lnTo>
                      <a:lnTo>
                        <a:pt x="614" y="466"/>
                      </a:lnTo>
                      <a:lnTo>
                        <a:pt x="614" y="467"/>
                      </a:lnTo>
                      <a:lnTo>
                        <a:pt x="615" y="467"/>
                      </a:lnTo>
                      <a:lnTo>
                        <a:pt x="615" y="467"/>
                      </a:lnTo>
                      <a:lnTo>
                        <a:pt x="615" y="468"/>
                      </a:lnTo>
                      <a:lnTo>
                        <a:pt x="615" y="469"/>
                      </a:lnTo>
                      <a:lnTo>
                        <a:pt x="615" y="469"/>
                      </a:lnTo>
                      <a:lnTo>
                        <a:pt x="615" y="470"/>
                      </a:lnTo>
                      <a:lnTo>
                        <a:pt x="615" y="471"/>
                      </a:lnTo>
                      <a:lnTo>
                        <a:pt x="615" y="472"/>
                      </a:lnTo>
                      <a:lnTo>
                        <a:pt x="615" y="472"/>
                      </a:lnTo>
                      <a:lnTo>
                        <a:pt x="615" y="473"/>
                      </a:lnTo>
                      <a:lnTo>
                        <a:pt x="616" y="473"/>
                      </a:lnTo>
                      <a:lnTo>
                        <a:pt x="616" y="474"/>
                      </a:lnTo>
                      <a:lnTo>
                        <a:pt x="617" y="474"/>
                      </a:lnTo>
                      <a:lnTo>
                        <a:pt x="617" y="474"/>
                      </a:lnTo>
                      <a:lnTo>
                        <a:pt x="617" y="475"/>
                      </a:lnTo>
                      <a:lnTo>
                        <a:pt x="618" y="476"/>
                      </a:lnTo>
                      <a:lnTo>
                        <a:pt x="617" y="476"/>
                      </a:lnTo>
                      <a:lnTo>
                        <a:pt x="617" y="476"/>
                      </a:lnTo>
                      <a:lnTo>
                        <a:pt x="617" y="477"/>
                      </a:lnTo>
                      <a:lnTo>
                        <a:pt x="617" y="478"/>
                      </a:lnTo>
                      <a:lnTo>
                        <a:pt x="617" y="478"/>
                      </a:lnTo>
                      <a:lnTo>
                        <a:pt x="617" y="478"/>
                      </a:lnTo>
                      <a:lnTo>
                        <a:pt x="617" y="479"/>
                      </a:lnTo>
                      <a:lnTo>
                        <a:pt x="617" y="480"/>
                      </a:lnTo>
                      <a:lnTo>
                        <a:pt x="617" y="480"/>
                      </a:lnTo>
                      <a:lnTo>
                        <a:pt x="617" y="481"/>
                      </a:lnTo>
                      <a:lnTo>
                        <a:pt x="616" y="481"/>
                      </a:lnTo>
                      <a:lnTo>
                        <a:pt x="616" y="482"/>
                      </a:lnTo>
                      <a:lnTo>
                        <a:pt x="616" y="482"/>
                      </a:lnTo>
                      <a:lnTo>
                        <a:pt x="616" y="483"/>
                      </a:lnTo>
                      <a:lnTo>
                        <a:pt x="616" y="484"/>
                      </a:lnTo>
                      <a:lnTo>
                        <a:pt x="615" y="484"/>
                      </a:lnTo>
                      <a:lnTo>
                        <a:pt x="615" y="484"/>
                      </a:lnTo>
                      <a:lnTo>
                        <a:pt x="615" y="484"/>
                      </a:lnTo>
                      <a:lnTo>
                        <a:pt x="615" y="485"/>
                      </a:lnTo>
                      <a:lnTo>
                        <a:pt x="614" y="485"/>
                      </a:lnTo>
                      <a:lnTo>
                        <a:pt x="615" y="485"/>
                      </a:lnTo>
                      <a:lnTo>
                        <a:pt x="615" y="486"/>
                      </a:lnTo>
                      <a:lnTo>
                        <a:pt x="614" y="486"/>
                      </a:lnTo>
                      <a:lnTo>
                        <a:pt x="613" y="486"/>
                      </a:lnTo>
                      <a:lnTo>
                        <a:pt x="613" y="487"/>
                      </a:lnTo>
                      <a:lnTo>
                        <a:pt x="613" y="487"/>
                      </a:lnTo>
                      <a:lnTo>
                        <a:pt x="613" y="488"/>
                      </a:lnTo>
                      <a:lnTo>
                        <a:pt x="612" y="488"/>
                      </a:lnTo>
                      <a:lnTo>
                        <a:pt x="612" y="488"/>
                      </a:lnTo>
                      <a:lnTo>
                        <a:pt x="611" y="488"/>
                      </a:lnTo>
                      <a:lnTo>
                        <a:pt x="611" y="489"/>
                      </a:lnTo>
                      <a:lnTo>
                        <a:pt x="611" y="490"/>
                      </a:lnTo>
                      <a:lnTo>
                        <a:pt x="611" y="491"/>
                      </a:lnTo>
                      <a:lnTo>
                        <a:pt x="611" y="491"/>
                      </a:lnTo>
                      <a:lnTo>
                        <a:pt x="611" y="491"/>
                      </a:lnTo>
                      <a:lnTo>
                        <a:pt x="611" y="492"/>
                      </a:lnTo>
                      <a:lnTo>
                        <a:pt x="610" y="492"/>
                      </a:lnTo>
                      <a:lnTo>
                        <a:pt x="609" y="492"/>
                      </a:lnTo>
                      <a:lnTo>
                        <a:pt x="609" y="491"/>
                      </a:lnTo>
                      <a:lnTo>
                        <a:pt x="609" y="491"/>
                      </a:lnTo>
                      <a:lnTo>
                        <a:pt x="609" y="491"/>
                      </a:lnTo>
                      <a:lnTo>
                        <a:pt x="608" y="491"/>
                      </a:lnTo>
                      <a:lnTo>
                        <a:pt x="608" y="491"/>
                      </a:lnTo>
                      <a:lnTo>
                        <a:pt x="608" y="492"/>
                      </a:lnTo>
                      <a:lnTo>
                        <a:pt x="607" y="492"/>
                      </a:lnTo>
                      <a:lnTo>
                        <a:pt x="607" y="493"/>
                      </a:lnTo>
                      <a:lnTo>
                        <a:pt x="607" y="493"/>
                      </a:lnTo>
                      <a:lnTo>
                        <a:pt x="607" y="493"/>
                      </a:lnTo>
                      <a:lnTo>
                        <a:pt x="607" y="494"/>
                      </a:lnTo>
                      <a:lnTo>
                        <a:pt x="606" y="494"/>
                      </a:lnTo>
                      <a:lnTo>
                        <a:pt x="606" y="495"/>
                      </a:lnTo>
                      <a:lnTo>
                        <a:pt x="605" y="495"/>
                      </a:lnTo>
                      <a:lnTo>
                        <a:pt x="605" y="495"/>
                      </a:lnTo>
                      <a:lnTo>
                        <a:pt x="604" y="495"/>
                      </a:lnTo>
                      <a:lnTo>
                        <a:pt x="604" y="496"/>
                      </a:lnTo>
                      <a:lnTo>
                        <a:pt x="604" y="497"/>
                      </a:lnTo>
                      <a:lnTo>
                        <a:pt x="604" y="497"/>
                      </a:lnTo>
                      <a:lnTo>
                        <a:pt x="604" y="498"/>
                      </a:lnTo>
                      <a:lnTo>
                        <a:pt x="604" y="499"/>
                      </a:lnTo>
                      <a:lnTo>
                        <a:pt x="604" y="499"/>
                      </a:lnTo>
                      <a:lnTo>
                        <a:pt x="604" y="500"/>
                      </a:lnTo>
                      <a:lnTo>
                        <a:pt x="605" y="500"/>
                      </a:lnTo>
                      <a:lnTo>
                        <a:pt x="605" y="501"/>
                      </a:lnTo>
                      <a:lnTo>
                        <a:pt x="604" y="501"/>
                      </a:lnTo>
                      <a:lnTo>
                        <a:pt x="604" y="501"/>
                      </a:lnTo>
                      <a:lnTo>
                        <a:pt x="605" y="501"/>
                      </a:lnTo>
                      <a:lnTo>
                        <a:pt x="605" y="502"/>
                      </a:lnTo>
                      <a:lnTo>
                        <a:pt x="604" y="502"/>
                      </a:lnTo>
                      <a:lnTo>
                        <a:pt x="604" y="503"/>
                      </a:lnTo>
                      <a:lnTo>
                        <a:pt x="605" y="503"/>
                      </a:lnTo>
                      <a:lnTo>
                        <a:pt x="605" y="503"/>
                      </a:lnTo>
                      <a:lnTo>
                        <a:pt x="605" y="504"/>
                      </a:lnTo>
                      <a:lnTo>
                        <a:pt x="604" y="504"/>
                      </a:lnTo>
                      <a:lnTo>
                        <a:pt x="604" y="504"/>
                      </a:lnTo>
                      <a:lnTo>
                        <a:pt x="603" y="504"/>
                      </a:lnTo>
                      <a:lnTo>
                        <a:pt x="602" y="504"/>
                      </a:lnTo>
                      <a:lnTo>
                        <a:pt x="602" y="505"/>
                      </a:lnTo>
                      <a:lnTo>
                        <a:pt x="602" y="505"/>
                      </a:lnTo>
                      <a:lnTo>
                        <a:pt x="601" y="505"/>
                      </a:lnTo>
                      <a:lnTo>
                        <a:pt x="600" y="505"/>
                      </a:lnTo>
                      <a:lnTo>
                        <a:pt x="600" y="506"/>
                      </a:lnTo>
                      <a:lnTo>
                        <a:pt x="600" y="506"/>
                      </a:lnTo>
                      <a:lnTo>
                        <a:pt x="599" y="506"/>
                      </a:lnTo>
                      <a:lnTo>
                        <a:pt x="599" y="505"/>
                      </a:lnTo>
                      <a:lnTo>
                        <a:pt x="598" y="505"/>
                      </a:lnTo>
                      <a:lnTo>
                        <a:pt x="598" y="505"/>
                      </a:lnTo>
                      <a:lnTo>
                        <a:pt x="597" y="505"/>
                      </a:lnTo>
                      <a:lnTo>
                        <a:pt x="596" y="505"/>
                      </a:lnTo>
                      <a:lnTo>
                        <a:pt x="596" y="506"/>
                      </a:lnTo>
                      <a:lnTo>
                        <a:pt x="596" y="506"/>
                      </a:lnTo>
                      <a:lnTo>
                        <a:pt x="595" y="506"/>
                      </a:lnTo>
                      <a:lnTo>
                        <a:pt x="594" y="506"/>
                      </a:lnTo>
                      <a:lnTo>
                        <a:pt x="594" y="506"/>
                      </a:lnTo>
                      <a:lnTo>
                        <a:pt x="594" y="507"/>
                      </a:lnTo>
                      <a:lnTo>
                        <a:pt x="593" y="507"/>
                      </a:lnTo>
                      <a:lnTo>
                        <a:pt x="592" y="507"/>
                      </a:lnTo>
                      <a:lnTo>
                        <a:pt x="592" y="507"/>
                      </a:lnTo>
                      <a:lnTo>
                        <a:pt x="592" y="506"/>
                      </a:lnTo>
                      <a:lnTo>
                        <a:pt x="591" y="506"/>
                      </a:lnTo>
                      <a:lnTo>
                        <a:pt x="590" y="506"/>
                      </a:lnTo>
                      <a:lnTo>
                        <a:pt x="590" y="506"/>
                      </a:lnTo>
                      <a:lnTo>
                        <a:pt x="589" y="506"/>
                      </a:lnTo>
                      <a:lnTo>
                        <a:pt x="588" y="507"/>
                      </a:lnTo>
                      <a:lnTo>
                        <a:pt x="588" y="507"/>
                      </a:lnTo>
                      <a:lnTo>
                        <a:pt x="588" y="508"/>
                      </a:lnTo>
                      <a:lnTo>
                        <a:pt x="588" y="508"/>
                      </a:lnTo>
                      <a:lnTo>
                        <a:pt x="588" y="509"/>
                      </a:lnTo>
                      <a:lnTo>
                        <a:pt x="587" y="509"/>
                      </a:lnTo>
                      <a:lnTo>
                        <a:pt x="587" y="509"/>
                      </a:lnTo>
                      <a:lnTo>
                        <a:pt x="587" y="510"/>
                      </a:lnTo>
                      <a:lnTo>
                        <a:pt x="586" y="510"/>
                      </a:lnTo>
                      <a:lnTo>
                        <a:pt x="586" y="511"/>
                      </a:lnTo>
                      <a:lnTo>
                        <a:pt x="585" y="511"/>
                      </a:lnTo>
                      <a:lnTo>
                        <a:pt x="585" y="511"/>
                      </a:lnTo>
                      <a:lnTo>
                        <a:pt x="585" y="510"/>
                      </a:lnTo>
                      <a:lnTo>
                        <a:pt x="585" y="511"/>
                      </a:lnTo>
                      <a:lnTo>
                        <a:pt x="584" y="511"/>
                      </a:lnTo>
                      <a:lnTo>
                        <a:pt x="583" y="511"/>
                      </a:lnTo>
                      <a:lnTo>
                        <a:pt x="583" y="511"/>
                      </a:lnTo>
                      <a:lnTo>
                        <a:pt x="582" y="511"/>
                      </a:lnTo>
                      <a:lnTo>
                        <a:pt x="581" y="511"/>
                      </a:lnTo>
                      <a:lnTo>
                        <a:pt x="581" y="512"/>
                      </a:lnTo>
                      <a:lnTo>
                        <a:pt x="581" y="512"/>
                      </a:lnTo>
                      <a:lnTo>
                        <a:pt x="580" y="512"/>
                      </a:lnTo>
                      <a:lnTo>
                        <a:pt x="579" y="512"/>
                      </a:lnTo>
                      <a:lnTo>
                        <a:pt x="579" y="512"/>
                      </a:lnTo>
                      <a:lnTo>
                        <a:pt x="578" y="512"/>
                      </a:lnTo>
                      <a:lnTo>
                        <a:pt x="577" y="512"/>
                      </a:lnTo>
                      <a:lnTo>
                        <a:pt x="577" y="513"/>
                      </a:lnTo>
                      <a:lnTo>
                        <a:pt x="577" y="513"/>
                      </a:lnTo>
                      <a:lnTo>
                        <a:pt x="577" y="514"/>
                      </a:lnTo>
                      <a:lnTo>
                        <a:pt x="577" y="514"/>
                      </a:lnTo>
                      <a:lnTo>
                        <a:pt x="576" y="514"/>
                      </a:lnTo>
                      <a:lnTo>
                        <a:pt x="576" y="515"/>
                      </a:lnTo>
                      <a:lnTo>
                        <a:pt x="575" y="515"/>
                      </a:lnTo>
                      <a:lnTo>
                        <a:pt x="575" y="516"/>
                      </a:lnTo>
                      <a:lnTo>
                        <a:pt x="575" y="516"/>
                      </a:lnTo>
                      <a:lnTo>
                        <a:pt x="575" y="517"/>
                      </a:lnTo>
                      <a:lnTo>
                        <a:pt x="575" y="517"/>
                      </a:lnTo>
                      <a:lnTo>
                        <a:pt x="575" y="518"/>
                      </a:lnTo>
                      <a:lnTo>
                        <a:pt x="575" y="518"/>
                      </a:lnTo>
                      <a:lnTo>
                        <a:pt x="575" y="519"/>
                      </a:lnTo>
                      <a:lnTo>
                        <a:pt x="575" y="520"/>
                      </a:lnTo>
                      <a:lnTo>
                        <a:pt x="574" y="520"/>
                      </a:lnTo>
                      <a:lnTo>
                        <a:pt x="574" y="521"/>
                      </a:lnTo>
                      <a:lnTo>
                        <a:pt x="574" y="522"/>
                      </a:lnTo>
                      <a:lnTo>
                        <a:pt x="573" y="522"/>
                      </a:lnTo>
                      <a:lnTo>
                        <a:pt x="573" y="523"/>
                      </a:lnTo>
                      <a:lnTo>
                        <a:pt x="573" y="524"/>
                      </a:lnTo>
                      <a:lnTo>
                        <a:pt x="573" y="524"/>
                      </a:lnTo>
                      <a:lnTo>
                        <a:pt x="573" y="525"/>
                      </a:lnTo>
                      <a:lnTo>
                        <a:pt x="573" y="526"/>
                      </a:lnTo>
                      <a:lnTo>
                        <a:pt x="572" y="526"/>
                      </a:lnTo>
                      <a:lnTo>
                        <a:pt x="572" y="526"/>
                      </a:lnTo>
                      <a:lnTo>
                        <a:pt x="572" y="527"/>
                      </a:lnTo>
                      <a:lnTo>
                        <a:pt x="572" y="528"/>
                      </a:lnTo>
                      <a:lnTo>
                        <a:pt x="571" y="528"/>
                      </a:lnTo>
                      <a:lnTo>
                        <a:pt x="571" y="529"/>
                      </a:lnTo>
                      <a:lnTo>
                        <a:pt x="571" y="530"/>
                      </a:lnTo>
                      <a:lnTo>
                        <a:pt x="571" y="531"/>
                      </a:lnTo>
                      <a:lnTo>
                        <a:pt x="571" y="531"/>
                      </a:lnTo>
                      <a:lnTo>
                        <a:pt x="571" y="531"/>
                      </a:lnTo>
                      <a:lnTo>
                        <a:pt x="571" y="532"/>
                      </a:lnTo>
                      <a:lnTo>
                        <a:pt x="571" y="533"/>
                      </a:lnTo>
                      <a:lnTo>
                        <a:pt x="571" y="533"/>
                      </a:lnTo>
                      <a:lnTo>
                        <a:pt x="571" y="533"/>
                      </a:lnTo>
                      <a:lnTo>
                        <a:pt x="571" y="534"/>
                      </a:lnTo>
                      <a:lnTo>
                        <a:pt x="571" y="535"/>
                      </a:lnTo>
                      <a:lnTo>
                        <a:pt x="571" y="535"/>
                      </a:lnTo>
                      <a:lnTo>
                        <a:pt x="571" y="535"/>
                      </a:lnTo>
                      <a:lnTo>
                        <a:pt x="571" y="536"/>
                      </a:lnTo>
                      <a:lnTo>
                        <a:pt x="571" y="537"/>
                      </a:lnTo>
                      <a:lnTo>
                        <a:pt x="570" y="537"/>
                      </a:lnTo>
                      <a:lnTo>
                        <a:pt x="570" y="537"/>
                      </a:lnTo>
                      <a:lnTo>
                        <a:pt x="569" y="537"/>
                      </a:lnTo>
                      <a:lnTo>
                        <a:pt x="569" y="538"/>
                      </a:lnTo>
                      <a:lnTo>
                        <a:pt x="566" y="540"/>
                      </a:lnTo>
                      <a:lnTo>
                        <a:pt x="563" y="553"/>
                      </a:lnTo>
                      <a:lnTo>
                        <a:pt x="564" y="554"/>
                      </a:lnTo>
                      <a:lnTo>
                        <a:pt x="566" y="559"/>
                      </a:lnTo>
                      <a:lnTo>
                        <a:pt x="569" y="564"/>
                      </a:lnTo>
                      <a:lnTo>
                        <a:pt x="562" y="567"/>
                      </a:lnTo>
                      <a:lnTo>
                        <a:pt x="563" y="567"/>
                      </a:lnTo>
                      <a:lnTo>
                        <a:pt x="563" y="568"/>
                      </a:lnTo>
                      <a:lnTo>
                        <a:pt x="563" y="568"/>
                      </a:lnTo>
                      <a:lnTo>
                        <a:pt x="564" y="568"/>
                      </a:lnTo>
                      <a:lnTo>
                        <a:pt x="564" y="569"/>
                      </a:lnTo>
                      <a:lnTo>
                        <a:pt x="564" y="569"/>
                      </a:lnTo>
                      <a:lnTo>
                        <a:pt x="564" y="570"/>
                      </a:lnTo>
                      <a:lnTo>
                        <a:pt x="565" y="570"/>
                      </a:lnTo>
                      <a:lnTo>
                        <a:pt x="565" y="571"/>
                      </a:lnTo>
                      <a:lnTo>
                        <a:pt x="565" y="571"/>
                      </a:lnTo>
                      <a:lnTo>
                        <a:pt x="565" y="572"/>
                      </a:lnTo>
                      <a:lnTo>
                        <a:pt x="566" y="572"/>
                      </a:lnTo>
                      <a:lnTo>
                        <a:pt x="566" y="573"/>
                      </a:lnTo>
                      <a:lnTo>
                        <a:pt x="566" y="573"/>
                      </a:lnTo>
                      <a:lnTo>
                        <a:pt x="566" y="573"/>
                      </a:lnTo>
                      <a:lnTo>
                        <a:pt x="567" y="574"/>
                      </a:lnTo>
                      <a:lnTo>
                        <a:pt x="568" y="574"/>
                      </a:lnTo>
                      <a:lnTo>
                        <a:pt x="568" y="575"/>
                      </a:lnTo>
                      <a:lnTo>
                        <a:pt x="569" y="575"/>
                      </a:lnTo>
                      <a:lnTo>
                        <a:pt x="569" y="575"/>
                      </a:lnTo>
                      <a:lnTo>
                        <a:pt x="569" y="576"/>
                      </a:lnTo>
                      <a:lnTo>
                        <a:pt x="569" y="576"/>
                      </a:lnTo>
                      <a:lnTo>
                        <a:pt x="569" y="577"/>
                      </a:lnTo>
                      <a:lnTo>
                        <a:pt x="570" y="577"/>
                      </a:lnTo>
                      <a:lnTo>
                        <a:pt x="570" y="576"/>
                      </a:lnTo>
                      <a:lnTo>
                        <a:pt x="571" y="576"/>
                      </a:lnTo>
                      <a:lnTo>
                        <a:pt x="571" y="577"/>
                      </a:lnTo>
                      <a:lnTo>
                        <a:pt x="571" y="577"/>
                      </a:lnTo>
                      <a:lnTo>
                        <a:pt x="571" y="576"/>
                      </a:lnTo>
                      <a:lnTo>
                        <a:pt x="571" y="575"/>
                      </a:lnTo>
                      <a:lnTo>
                        <a:pt x="572" y="575"/>
                      </a:lnTo>
                      <a:lnTo>
                        <a:pt x="572" y="576"/>
                      </a:lnTo>
                      <a:lnTo>
                        <a:pt x="573" y="577"/>
                      </a:lnTo>
                      <a:lnTo>
                        <a:pt x="573" y="577"/>
                      </a:lnTo>
                      <a:lnTo>
                        <a:pt x="573" y="577"/>
                      </a:lnTo>
                      <a:lnTo>
                        <a:pt x="574" y="578"/>
                      </a:lnTo>
                      <a:lnTo>
                        <a:pt x="573" y="578"/>
                      </a:lnTo>
                      <a:lnTo>
                        <a:pt x="573" y="579"/>
                      </a:lnTo>
                      <a:lnTo>
                        <a:pt x="573" y="579"/>
                      </a:lnTo>
                      <a:lnTo>
                        <a:pt x="574" y="580"/>
                      </a:lnTo>
                      <a:lnTo>
                        <a:pt x="574" y="581"/>
                      </a:lnTo>
                      <a:lnTo>
                        <a:pt x="574" y="581"/>
                      </a:lnTo>
                      <a:lnTo>
                        <a:pt x="575" y="582"/>
                      </a:lnTo>
                      <a:lnTo>
                        <a:pt x="575" y="583"/>
                      </a:lnTo>
                      <a:lnTo>
                        <a:pt x="575" y="583"/>
                      </a:lnTo>
                      <a:lnTo>
                        <a:pt x="575" y="583"/>
                      </a:lnTo>
                      <a:lnTo>
                        <a:pt x="576" y="583"/>
                      </a:lnTo>
                      <a:lnTo>
                        <a:pt x="576" y="584"/>
                      </a:lnTo>
                      <a:lnTo>
                        <a:pt x="576" y="585"/>
                      </a:lnTo>
                      <a:lnTo>
                        <a:pt x="577" y="585"/>
                      </a:lnTo>
                      <a:lnTo>
                        <a:pt x="577" y="585"/>
                      </a:lnTo>
                      <a:lnTo>
                        <a:pt x="577" y="585"/>
                      </a:lnTo>
                      <a:lnTo>
                        <a:pt x="577" y="586"/>
                      </a:lnTo>
                      <a:lnTo>
                        <a:pt x="578" y="586"/>
                      </a:lnTo>
                      <a:lnTo>
                        <a:pt x="578" y="587"/>
                      </a:lnTo>
                      <a:lnTo>
                        <a:pt x="578" y="587"/>
                      </a:lnTo>
                      <a:lnTo>
                        <a:pt x="578" y="588"/>
                      </a:lnTo>
                      <a:lnTo>
                        <a:pt x="579" y="588"/>
                      </a:lnTo>
                      <a:lnTo>
                        <a:pt x="579" y="589"/>
                      </a:lnTo>
                      <a:lnTo>
                        <a:pt x="579" y="590"/>
                      </a:lnTo>
                      <a:lnTo>
                        <a:pt x="579" y="590"/>
                      </a:lnTo>
                      <a:lnTo>
                        <a:pt x="580" y="590"/>
                      </a:lnTo>
                      <a:lnTo>
                        <a:pt x="581" y="591"/>
                      </a:lnTo>
                      <a:lnTo>
                        <a:pt x="581" y="592"/>
                      </a:lnTo>
                      <a:lnTo>
                        <a:pt x="581" y="592"/>
                      </a:lnTo>
                      <a:lnTo>
                        <a:pt x="582" y="592"/>
                      </a:lnTo>
                      <a:lnTo>
                        <a:pt x="583" y="592"/>
                      </a:lnTo>
                      <a:lnTo>
                        <a:pt x="583" y="592"/>
                      </a:lnTo>
                      <a:lnTo>
                        <a:pt x="583" y="592"/>
                      </a:lnTo>
                      <a:lnTo>
                        <a:pt x="584" y="592"/>
                      </a:lnTo>
                      <a:lnTo>
                        <a:pt x="585" y="592"/>
                      </a:lnTo>
                      <a:lnTo>
                        <a:pt x="585" y="593"/>
                      </a:lnTo>
                      <a:lnTo>
                        <a:pt x="585" y="593"/>
                      </a:lnTo>
                      <a:lnTo>
                        <a:pt x="585" y="592"/>
                      </a:lnTo>
                      <a:lnTo>
                        <a:pt x="586" y="592"/>
                      </a:lnTo>
                      <a:lnTo>
                        <a:pt x="586" y="593"/>
                      </a:lnTo>
                      <a:lnTo>
                        <a:pt x="586" y="594"/>
                      </a:lnTo>
                      <a:lnTo>
                        <a:pt x="586" y="594"/>
                      </a:lnTo>
                      <a:lnTo>
                        <a:pt x="587" y="594"/>
                      </a:lnTo>
                      <a:lnTo>
                        <a:pt x="587" y="595"/>
                      </a:lnTo>
                      <a:lnTo>
                        <a:pt x="586" y="595"/>
                      </a:lnTo>
                      <a:lnTo>
                        <a:pt x="586" y="596"/>
                      </a:lnTo>
                      <a:lnTo>
                        <a:pt x="587" y="596"/>
                      </a:lnTo>
                      <a:lnTo>
                        <a:pt x="587" y="596"/>
                      </a:lnTo>
                      <a:lnTo>
                        <a:pt x="586" y="596"/>
                      </a:lnTo>
                      <a:lnTo>
                        <a:pt x="586" y="597"/>
                      </a:lnTo>
                      <a:lnTo>
                        <a:pt x="585" y="597"/>
                      </a:lnTo>
                      <a:lnTo>
                        <a:pt x="585" y="598"/>
                      </a:lnTo>
                      <a:lnTo>
                        <a:pt x="586" y="598"/>
                      </a:lnTo>
                      <a:lnTo>
                        <a:pt x="586" y="598"/>
                      </a:lnTo>
                      <a:lnTo>
                        <a:pt x="587" y="598"/>
                      </a:lnTo>
                      <a:lnTo>
                        <a:pt x="587" y="599"/>
                      </a:lnTo>
                      <a:lnTo>
                        <a:pt x="587" y="600"/>
                      </a:lnTo>
                      <a:lnTo>
                        <a:pt x="587" y="600"/>
                      </a:lnTo>
                      <a:lnTo>
                        <a:pt x="587" y="601"/>
                      </a:lnTo>
                      <a:lnTo>
                        <a:pt x="587" y="600"/>
                      </a:lnTo>
                      <a:lnTo>
                        <a:pt x="588" y="600"/>
                      </a:lnTo>
                      <a:lnTo>
                        <a:pt x="588" y="601"/>
                      </a:lnTo>
                      <a:lnTo>
                        <a:pt x="588" y="602"/>
                      </a:lnTo>
                      <a:lnTo>
                        <a:pt x="588" y="602"/>
                      </a:lnTo>
                      <a:lnTo>
                        <a:pt x="588" y="602"/>
                      </a:lnTo>
                      <a:lnTo>
                        <a:pt x="588" y="603"/>
                      </a:lnTo>
                      <a:lnTo>
                        <a:pt x="589" y="603"/>
                      </a:lnTo>
                      <a:lnTo>
                        <a:pt x="589" y="604"/>
                      </a:lnTo>
                      <a:lnTo>
                        <a:pt x="590" y="604"/>
                      </a:lnTo>
                      <a:lnTo>
                        <a:pt x="590" y="604"/>
                      </a:lnTo>
                      <a:lnTo>
                        <a:pt x="590" y="604"/>
                      </a:lnTo>
                      <a:lnTo>
                        <a:pt x="590" y="605"/>
                      </a:lnTo>
                      <a:lnTo>
                        <a:pt x="591" y="605"/>
                      </a:lnTo>
                      <a:lnTo>
                        <a:pt x="591" y="606"/>
                      </a:lnTo>
                      <a:lnTo>
                        <a:pt x="592" y="606"/>
                      </a:lnTo>
                      <a:lnTo>
                        <a:pt x="592" y="606"/>
                      </a:lnTo>
                      <a:lnTo>
                        <a:pt x="592" y="606"/>
                      </a:lnTo>
                      <a:lnTo>
                        <a:pt x="592" y="607"/>
                      </a:lnTo>
                      <a:lnTo>
                        <a:pt x="593" y="607"/>
                      </a:lnTo>
                      <a:lnTo>
                        <a:pt x="594" y="607"/>
                      </a:lnTo>
                      <a:lnTo>
                        <a:pt x="594" y="608"/>
                      </a:lnTo>
                      <a:lnTo>
                        <a:pt x="594" y="608"/>
                      </a:lnTo>
                      <a:lnTo>
                        <a:pt x="594" y="607"/>
                      </a:lnTo>
                      <a:lnTo>
                        <a:pt x="595" y="607"/>
                      </a:lnTo>
                      <a:lnTo>
                        <a:pt x="595" y="608"/>
                      </a:lnTo>
                      <a:lnTo>
                        <a:pt x="596" y="608"/>
                      </a:lnTo>
                      <a:lnTo>
                        <a:pt x="596" y="608"/>
                      </a:lnTo>
                      <a:lnTo>
                        <a:pt x="597" y="608"/>
                      </a:lnTo>
                      <a:lnTo>
                        <a:pt x="598" y="608"/>
                      </a:lnTo>
                      <a:lnTo>
                        <a:pt x="598" y="608"/>
                      </a:lnTo>
                      <a:lnTo>
                        <a:pt x="599" y="608"/>
                      </a:lnTo>
                      <a:lnTo>
                        <a:pt x="600" y="608"/>
                      </a:lnTo>
                      <a:lnTo>
                        <a:pt x="600" y="608"/>
                      </a:lnTo>
                      <a:lnTo>
                        <a:pt x="601" y="608"/>
                      </a:lnTo>
                      <a:lnTo>
                        <a:pt x="602" y="608"/>
                      </a:lnTo>
                      <a:lnTo>
                        <a:pt x="602" y="608"/>
                      </a:lnTo>
                      <a:lnTo>
                        <a:pt x="603" y="608"/>
                      </a:lnTo>
                      <a:lnTo>
                        <a:pt x="604" y="608"/>
                      </a:lnTo>
                      <a:lnTo>
                        <a:pt x="604" y="608"/>
                      </a:lnTo>
                      <a:lnTo>
                        <a:pt x="604" y="608"/>
                      </a:lnTo>
                      <a:lnTo>
                        <a:pt x="604" y="608"/>
                      </a:lnTo>
                      <a:lnTo>
                        <a:pt x="605" y="608"/>
                      </a:lnTo>
                      <a:lnTo>
                        <a:pt x="606" y="607"/>
                      </a:lnTo>
                      <a:lnTo>
                        <a:pt x="607" y="607"/>
                      </a:lnTo>
                      <a:lnTo>
                        <a:pt x="607" y="606"/>
                      </a:lnTo>
                      <a:lnTo>
                        <a:pt x="607" y="606"/>
                      </a:lnTo>
                      <a:lnTo>
                        <a:pt x="608" y="606"/>
                      </a:lnTo>
                      <a:lnTo>
                        <a:pt x="609" y="606"/>
                      </a:lnTo>
                      <a:lnTo>
                        <a:pt x="609" y="606"/>
                      </a:lnTo>
                      <a:lnTo>
                        <a:pt x="610" y="606"/>
                      </a:lnTo>
                      <a:lnTo>
                        <a:pt x="610" y="606"/>
                      </a:lnTo>
                      <a:lnTo>
                        <a:pt x="611" y="606"/>
                      </a:lnTo>
                      <a:lnTo>
                        <a:pt x="611" y="606"/>
                      </a:lnTo>
                      <a:lnTo>
                        <a:pt x="611" y="606"/>
                      </a:lnTo>
                      <a:lnTo>
                        <a:pt x="612" y="606"/>
                      </a:lnTo>
                      <a:lnTo>
                        <a:pt x="613" y="606"/>
                      </a:lnTo>
                      <a:lnTo>
                        <a:pt x="613" y="606"/>
                      </a:lnTo>
                      <a:lnTo>
                        <a:pt x="613" y="606"/>
                      </a:lnTo>
                      <a:lnTo>
                        <a:pt x="613" y="607"/>
                      </a:lnTo>
                      <a:lnTo>
                        <a:pt x="613" y="608"/>
                      </a:lnTo>
                      <a:lnTo>
                        <a:pt x="613" y="608"/>
                      </a:lnTo>
                      <a:lnTo>
                        <a:pt x="614" y="608"/>
                      </a:lnTo>
                      <a:lnTo>
                        <a:pt x="615" y="609"/>
                      </a:lnTo>
                      <a:lnTo>
                        <a:pt x="615" y="610"/>
                      </a:lnTo>
                      <a:lnTo>
                        <a:pt x="615" y="610"/>
                      </a:lnTo>
                      <a:lnTo>
                        <a:pt x="616" y="610"/>
                      </a:lnTo>
                      <a:lnTo>
                        <a:pt x="617" y="610"/>
                      </a:lnTo>
                      <a:lnTo>
                        <a:pt x="617" y="610"/>
                      </a:lnTo>
                      <a:lnTo>
                        <a:pt x="617" y="611"/>
                      </a:lnTo>
                      <a:lnTo>
                        <a:pt x="618" y="611"/>
                      </a:lnTo>
                      <a:lnTo>
                        <a:pt x="619" y="611"/>
                      </a:lnTo>
                      <a:lnTo>
                        <a:pt x="619" y="611"/>
                      </a:lnTo>
                      <a:lnTo>
                        <a:pt x="619" y="611"/>
                      </a:lnTo>
                      <a:lnTo>
                        <a:pt x="620" y="611"/>
                      </a:lnTo>
                      <a:lnTo>
                        <a:pt x="621" y="611"/>
                      </a:lnTo>
                      <a:lnTo>
                        <a:pt x="621" y="611"/>
                      </a:lnTo>
                      <a:lnTo>
                        <a:pt x="621" y="612"/>
                      </a:lnTo>
                      <a:lnTo>
                        <a:pt x="622" y="612"/>
                      </a:lnTo>
                      <a:lnTo>
                        <a:pt x="622" y="613"/>
                      </a:lnTo>
                      <a:lnTo>
                        <a:pt x="623" y="613"/>
                      </a:lnTo>
                      <a:lnTo>
                        <a:pt x="623" y="613"/>
                      </a:lnTo>
                      <a:lnTo>
                        <a:pt x="623" y="613"/>
                      </a:lnTo>
                      <a:lnTo>
                        <a:pt x="624" y="613"/>
                      </a:lnTo>
                      <a:lnTo>
                        <a:pt x="625" y="613"/>
                      </a:lnTo>
                      <a:lnTo>
                        <a:pt x="625" y="614"/>
                      </a:lnTo>
                      <a:lnTo>
                        <a:pt x="626" y="614"/>
                      </a:lnTo>
                      <a:lnTo>
                        <a:pt x="626" y="614"/>
                      </a:lnTo>
                      <a:lnTo>
                        <a:pt x="626" y="615"/>
                      </a:lnTo>
                      <a:lnTo>
                        <a:pt x="626" y="615"/>
                      </a:lnTo>
                      <a:lnTo>
                        <a:pt x="627" y="615"/>
                      </a:lnTo>
                      <a:lnTo>
                        <a:pt x="627" y="616"/>
                      </a:lnTo>
                      <a:lnTo>
                        <a:pt x="628" y="616"/>
                      </a:lnTo>
                      <a:lnTo>
                        <a:pt x="628" y="617"/>
                      </a:lnTo>
                      <a:lnTo>
                        <a:pt x="629" y="617"/>
                      </a:lnTo>
                      <a:lnTo>
                        <a:pt x="630" y="617"/>
                      </a:lnTo>
                      <a:lnTo>
                        <a:pt x="630" y="617"/>
                      </a:lnTo>
                      <a:lnTo>
                        <a:pt x="630" y="618"/>
                      </a:lnTo>
                      <a:lnTo>
                        <a:pt x="631" y="619"/>
                      </a:lnTo>
                      <a:lnTo>
                        <a:pt x="632" y="619"/>
                      </a:lnTo>
                      <a:lnTo>
                        <a:pt x="632" y="620"/>
                      </a:lnTo>
                      <a:lnTo>
                        <a:pt x="632" y="621"/>
                      </a:lnTo>
                      <a:lnTo>
                        <a:pt x="632" y="621"/>
                      </a:lnTo>
                      <a:lnTo>
                        <a:pt x="632" y="621"/>
                      </a:lnTo>
                      <a:lnTo>
                        <a:pt x="633" y="621"/>
                      </a:lnTo>
                      <a:lnTo>
                        <a:pt x="634" y="621"/>
                      </a:lnTo>
                      <a:lnTo>
                        <a:pt x="634" y="622"/>
                      </a:lnTo>
                      <a:lnTo>
                        <a:pt x="634" y="622"/>
                      </a:lnTo>
                      <a:lnTo>
                        <a:pt x="634" y="623"/>
                      </a:lnTo>
                      <a:lnTo>
                        <a:pt x="634" y="623"/>
                      </a:lnTo>
                      <a:lnTo>
                        <a:pt x="634" y="623"/>
                      </a:lnTo>
                      <a:lnTo>
                        <a:pt x="635" y="623"/>
                      </a:lnTo>
                      <a:lnTo>
                        <a:pt x="635" y="623"/>
                      </a:lnTo>
                      <a:lnTo>
                        <a:pt x="636" y="623"/>
                      </a:lnTo>
                      <a:lnTo>
                        <a:pt x="636" y="623"/>
                      </a:lnTo>
                      <a:lnTo>
                        <a:pt x="636" y="624"/>
                      </a:lnTo>
                      <a:lnTo>
                        <a:pt x="635" y="624"/>
                      </a:lnTo>
                      <a:lnTo>
                        <a:pt x="635" y="625"/>
                      </a:lnTo>
                      <a:lnTo>
                        <a:pt x="635" y="625"/>
                      </a:lnTo>
                      <a:lnTo>
                        <a:pt x="636" y="625"/>
                      </a:lnTo>
                      <a:lnTo>
                        <a:pt x="636" y="626"/>
                      </a:lnTo>
                      <a:lnTo>
                        <a:pt x="636" y="626"/>
                      </a:lnTo>
                      <a:lnTo>
                        <a:pt x="636" y="627"/>
                      </a:lnTo>
                      <a:lnTo>
                        <a:pt x="636" y="627"/>
                      </a:lnTo>
                      <a:lnTo>
                        <a:pt x="636" y="628"/>
                      </a:lnTo>
                      <a:lnTo>
                        <a:pt x="636" y="629"/>
                      </a:lnTo>
                      <a:lnTo>
                        <a:pt x="636" y="629"/>
                      </a:lnTo>
                      <a:lnTo>
                        <a:pt x="636" y="630"/>
                      </a:lnTo>
                      <a:lnTo>
                        <a:pt x="637" y="630"/>
                      </a:lnTo>
                      <a:lnTo>
                        <a:pt x="638" y="630"/>
                      </a:lnTo>
                      <a:lnTo>
                        <a:pt x="638" y="630"/>
                      </a:lnTo>
                      <a:lnTo>
                        <a:pt x="638" y="630"/>
                      </a:lnTo>
                      <a:lnTo>
                        <a:pt x="638" y="630"/>
                      </a:lnTo>
                      <a:lnTo>
                        <a:pt x="638" y="630"/>
                      </a:lnTo>
                      <a:lnTo>
                        <a:pt x="639" y="630"/>
                      </a:lnTo>
                      <a:lnTo>
                        <a:pt x="639" y="631"/>
                      </a:lnTo>
                      <a:lnTo>
                        <a:pt x="639" y="632"/>
                      </a:lnTo>
                      <a:lnTo>
                        <a:pt x="639" y="632"/>
                      </a:lnTo>
                      <a:lnTo>
                        <a:pt x="638" y="632"/>
                      </a:lnTo>
                      <a:lnTo>
                        <a:pt x="638" y="633"/>
                      </a:lnTo>
                      <a:lnTo>
                        <a:pt x="638" y="633"/>
                      </a:lnTo>
                      <a:lnTo>
                        <a:pt x="638" y="634"/>
                      </a:lnTo>
                      <a:lnTo>
                        <a:pt x="638" y="634"/>
                      </a:lnTo>
                      <a:lnTo>
                        <a:pt x="639" y="634"/>
                      </a:lnTo>
                      <a:lnTo>
                        <a:pt x="639" y="634"/>
                      </a:lnTo>
                      <a:lnTo>
                        <a:pt x="640" y="635"/>
                      </a:lnTo>
                      <a:lnTo>
                        <a:pt x="640" y="635"/>
                      </a:lnTo>
                      <a:lnTo>
                        <a:pt x="641" y="636"/>
                      </a:lnTo>
                      <a:lnTo>
                        <a:pt x="641" y="636"/>
                      </a:lnTo>
                      <a:lnTo>
                        <a:pt x="642" y="636"/>
                      </a:lnTo>
                      <a:lnTo>
                        <a:pt x="642" y="637"/>
                      </a:lnTo>
                      <a:lnTo>
                        <a:pt x="642" y="637"/>
                      </a:lnTo>
                      <a:lnTo>
                        <a:pt x="642" y="638"/>
                      </a:lnTo>
                      <a:lnTo>
                        <a:pt x="642" y="638"/>
                      </a:lnTo>
                      <a:lnTo>
                        <a:pt x="642" y="638"/>
                      </a:lnTo>
                      <a:lnTo>
                        <a:pt x="641" y="639"/>
                      </a:lnTo>
                      <a:lnTo>
                        <a:pt x="641" y="640"/>
                      </a:lnTo>
                      <a:lnTo>
                        <a:pt x="641" y="640"/>
                      </a:lnTo>
                      <a:lnTo>
                        <a:pt x="642" y="640"/>
                      </a:lnTo>
                      <a:lnTo>
                        <a:pt x="642" y="640"/>
                      </a:lnTo>
                      <a:lnTo>
                        <a:pt x="642" y="641"/>
                      </a:lnTo>
                      <a:lnTo>
                        <a:pt x="642" y="642"/>
                      </a:lnTo>
                      <a:lnTo>
                        <a:pt x="642" y="642"/>
                      </a:lnTo>
                      <a:lnTo>
                        <a:pt x="642" y="643"/>
                      </a:lnTo>
                      <a:lnTo>
                        <a:pt x="642" y="643"/>
                      </a:lnTo>
                      <a:lnTo>
                        <a:pt x="643" y="643"/>
                      </a:lnTo>
                      <a:lnTo>
                        <a:pt x="643" y="642"/>
                      </a:lnTo>
                      <a:lnTo>
                        <a:pt x="644" y="643"/>
                      </a:lnTo>
                      <a:lnTo>
                        <a:pt x="643" y="643"/>
                      </a:lnTo>
                      <a:lnTo>
                        <a:pt x="643" y="644"/>
                      </a:lnTo>
                      <a:lnTo>
                        <a:pt x="644" y="644"/>
                      </a:lnTo>
                      <a:lnTo>
                        <a:pt x="644" y="644"/>
                      </a:lnTo>
                      <a:lnTo>
                        <a:pt x="644" y="645"/>
                      </a:lnTo>
                      <a:lnTo>
                        <a:pt x="644" y="646"/>
                      </a:lnTo>
                      <a:lnTo>
                        <a:pt x="644" y="646"/>
                      </a:lnTo>
                      <a:lnTo>
                        <a:pt x="645" y="647"/>
                      </a:lnTo>
                      <a:lnTo>
                        <a:pt x="645" y="648"/>
                      </a:lnTo>
                      <a:lnTo>
                        <a:pt x="645" y="649"/>
                      </a:lnTo>
                      <a:lnTo>
                        <a:pt x="645" y="649"/>
                      </a:lnTo>
                      <a:lnTo>
                        <a:pt x="645" y="650"/>
                      </a:lnTo>
                      <a:lnTo>
                        <a:pt x="646" y="650"/>
                      </a:lnTo>
                      <a:lnTo>
                        <a:pt x="647" y="650"/>
                      </a:lnTo>
                      <a:lnTo>
                        <a:pt x="646" y="650"/>
                      </a:lnTo>
                      <a:lnTo>
                        <a:pt x="646" y="651"/>
                      </a:lnTo>
                      <a:lnTo>
                        <a:pt x="645" y="651"/>
                      </a:lnTo>
                      <a:lnTo>
                        <a:pt x="645" y="652"/>
                      </a:lnTo>
                      <a:lnTo>
                        <a:pt x="645" y="652"/>
                      </a:lnTo>
                      <a:lnTo>
                        <a:pt x="645" y="653"/>
                      </a:lnTo>
                      <a:lnTo>
                        <a:pt x="645" y="653"/>
                      </a:lnTo>
                      <a:lnTo>
                        <a:pt x="645" y="653"/>
                      </a:lnTo>
                      <a:lnTo>
                        <a:pt x="646" y="653"/>
                      </a:lnTo>
                      <a:lnTo>
                        <a:pt x="647" y="653"/>
                      </a:lnTo>
                      <a:lnTo>
                        <a:pt x="646" y="654"/>
                      </a:lnTo>
                      <a:lnTo>
                        <a:pt x="647" y="654"/>
                      </a:lnTo>
                      <a:lnTo>
                        <a:pt x="647" y="655"/>
                      </a:lnTo>
                      <a:lnTo>
                        <a:pt x="647" y="655"/>
                      </a:lnTo>
                      <a:lnTo>
                        <a:pt x="646" y="655"/>
                      </a:lnTo>
                      <a:lnTo>
                        <a:pt x="646" y="656"/>
                      </a:lnTo>
                      <a:lnTo>
                        <a:pt x="646" y="657"/>
                      </a:lnTo>
                      <a:lnTo>
                        <a:pt x="646" y="657"/>
                      </a:lnTo>
                      <a:lnTo>
                        <a:pt x="645" y="658"/>
                      </a:lnTo>
                      <a:lnTo>
                        <a:pt x="645" y="659"/>
                      </a:lnTo>
                      <a:lnTo>
                        <a:pt x="646" y="659"/>
                      </a:lnTo>
                      <a:lnTo>
                        <a:pt x="647" y="659"/>
                      </a:lnTo>
                      <a:lnTo>
                        <a:pt x="647" y="659"/>
                      </a:lnTo>
                      <a:lnTo>
                        <a:pt x="648" y="659"/>
                      </a:lnTo>
                      <a:lnTo>
                        <a:pt x="649" y="659"/>
                      </a:lnTo>
                      <a:lnTo>
                        <a:pt x="649" y="659"/>
                      </a:lnTo>
                      <a:lnTo>
                        <a:pt x="649" y="660"/>
                      </a:lnTo>
                      <a:lnTo>
                        <a:pt x="649" y="661"/>
                      </a:lnTo>
                      <a:lnTo>
                        <a:pt x="649" y="661"/>
                      </a:lnTo>
                      <a:lnTo>
                        <a:pt x="649" y="661"/>
                      </a:lnTo>
                      <a:lnTo>
                        <a:pt x="650" y="661"/>
                      </a:lnTo>
                      <a:lnTo>
                        <a:pt x="651" y="661"/>
                      </a:lnTo>
                      <a:lnTo>
                        <a:pt x="651" y="662"/>
                      </a:lnTo>
                      <a:lnTo>
                        <a:pt x="650" y="663"/>
                      </a:lnTo>
                      <a:lnTo>
                        <a:pt x="649" y="663"/>
                      </a:lnTo>
                      <a:lnTo>
                        <a:pt x="649" y="663"/>
                      </a:lnTo>
                      <a:lnTo>
                        <a:pt x="649" y="664"/>
                      </a:lnTo>
                      <a:lnTo>
                        <a:pt x="650" y="665"/>
                      </a:lnTo>
                      <a:lnTo>
                        <a:pt x="651" y="665"/>
                      </a:lnTo>
                      <a:lnTo>
                        <a:pt x="651" y="666"/>
                      </a:lnTo>
                      <a:lnTo>
                        <a:pt x="651" y="666"/>
                      </a:lnTo>
                      <a:lnTo>
                        <a:pt x="651" y="667"/>
                      </a:lnTo>
                      <a:lnTo>
                        <a:pt x="651" y="666"/>
                      </a:lnTo>
                      <a:lnTo>
                        <a:pt x="651" y="665"/>
                      </a:lnTo>
                      <a:lnTo>
                        <a:pt x="652" y="665"/>
                      </a:lnTo>
                      <a:lnTo>
                        <a:pt x="652" y="666"/>
                      </a:lnTo>
                      <a:lnTo>
                        <a:pt x="652" y="667"/>
                      </a:lnTo>
                      <a:lnTo>
                        <a:pt x="653" y="667"/>
                      </a:lnTo>
                      <a:lnTo>
                        <a:pt x="653" y="666"/>
                      </a:lnTo>
                      <a:lnTo>
                        <a:pt x="653" y="666"/>
                      </a:lnTo>
                      <a:lnTo>
                        <a:pt x="654" y="666"/>
                      </a:lnTo>
                      <a:lnTo>
                        <a:pt x="654" y="667"/>
                      </a:lnTo>
                      <a:lnTo>
                        <a:pt x="654" y="667"/>
                      </a:lnTo>
                      <a:lnTo>
                        <a:pt x="655" y="667"/>
                      </a:lnTo>
                      <a:lnTo>
                        <a:pt x="655" y="667"/>
                      </a:lnTo>
                      <a:lnTo>
                        <a:pt x="655" y="667"/>
                      </a:lnTo>
                      <a:lnTo>
                        <a:pt x="656" y="667"/>
                      </a:lnTo>
                      <a:lnTo>
                        <a:pt x="657" y="667"/>
                      </a:lnTo>
                      <a:lnTo>
                        <a:pt x="657" y="667"/>
                      </a:lnTo>
                      <a:lnTo>
                        <a:pt x="657" y="668"/>
                      </a:lnTo>
                      <a:lnTo>
                        <a:pt x="658" y="669"/>
                      </a:lnTo>
                      <a:lnTo>
                        <a:pt x="658" y="670"/>
                      </a:lnTo>
                      <a:lnTo>
                        <a:pt x="659" y="670"/>
                      </a:lnTo>
                      <a:lnTo>
                        <a:pt x="659" y="670"/>
                      </a:lnTo>
                      <a:lnTo>
                        <a:pt x="658" y="670"/>
                      </a:lnTo>
                      <a:lnTo>
                        <a:pt x="658" y="671"/>
                      </a:lnTo>
                      <a:lnTo>
                        <a:pt x="658" y="672"/>
                      </a:lnTo>
                      <a:lnTo>
                        <a:pt x="657" y="672"/>
                      </a:lnTo>
                      <a:lnTo>
                        <a:pt x="657" y="672"/>
                      </a:lnTo>
                      <a:lnTo>
                        <a:pt x="657" y="673"/>
                      </a:lnTo>
                      <a:lnTo>
                        <a:pt x="657" y="674"/>
                      </a:lnTo>
                      <a:lnTo>
                        <a:pt x="657" y="674"/>
                      </a:lnTo>
                      <a:lnTo>
                        <a:pt x="656" y="674"/>
                      </a:lnTo>
                      <a:lnTo>
                        <a:pt x="656" y="675"/>
                      </a:lnTo>
                      <a:lnTo>
                        <a:pt x="655" y="675"/>
                      </a:lnTo>
                      <a:lnTo>
                        <a:pt x="656" y="675"/>
                      </a:lnTo>
                      <a:lnTo>
                        <a:pt x="656" y="676"/>
                      </a:lnTo>
                      <a:lnTo>
                        <a:pt x="657" y="676"/>
                      </a:lnTo>
                      <a:lnTo>
                        <a:pt x="657" y="676"/>
                      </a:lnTo>
                      <a:lnTo>
                        <a:pt x="657" y="677"/>
                      </a:lnTo>
                      <a:lnTo>
                        <a:pt x="657" y="678"/>
                      </a:lnTo>
                      <a:lnTo>
                        <a:pt x="656" y="678"/>
                      </a:lnTo>
                      <a:lnTo>
                        <a:pt x="655" y="678"/>
                      </a:lnTo>
                      <a:lnTo>
                        <a:pt x="655" y="678"/>
                      </a:lnTo>
                      <a:lnTo>
                        <a:pt x="655" y="679"/>
                      </a:lnTo>
                      <a:lnTo>
                        <a:pt x="655" y="679"/>
                      </a:lnTo>
                      <a:lnTo>
                        <a:pt x="655" y="680"/>
                      </a:lnTo>
                      <a:lnTo>
                        <a:pt x="655" y="680"/>
                      </a:lnTo>
                      <a:lnTo>
                        <a:pt x="656" y="679"/>
                      </a:lnTo>
                      <a:lnTo>
                        <a:pt x="656" y="680"/>
                      </a:lnTo>
                      <a:lnTo>
                        <a:pt x="656" y="679"/>
                      </a:lnTo>
                      <a:lnTo>
                        <a:pt x="657" y="678"/>
                      </a:lnTo>
                      <a:lnTo>
                        <a:pt x="657" y="678"/>
                      </a:lnTo>
                      <a:lnTo>
                        <a:pt x="657" y="679"/>
                      </a:lnTo>
                      <a:lnTo>
                        <a:pt x="658" y="679"/>
                      </a:lnTo>
                      <a:lnTo>
                        <a:pt x="659" y="679"/>
                      </a:lnTo>
                      <a:lnTo>
                        <a:pt x="659" y="680"/>
                      </a:lnTo>
                      <a:lnTo>
                        <a:pt x="659" y="680"/>
                      </a:lnTo>
                      <a:lnTo>
                        <a:pt x="659" y="681"/>
                      </a:lnTo>
                      <a:lnTo>
                        <a:pt x="659" y="682"/>
                      </a:lnTo>
                      <a:lnTo>
                        <a:pt x="659" y="682"/>
                      </a:lnTo>
                      <a:lnTo>
                        <a:pt x="659" y="683"/>
                      </a:lnTo>
                      <a:lnTo>
                        <a:pt x="659" y="684"/>
                      </a:lnTo>
                      <a:lnTo>
                        <a:pt x="659" y="684"/>
                      </a:lnTo>
                      <a:lnTo>
                        <a:pt x="659" y="685"/>
                      </a:lnTo>
                      <a:lnTo>
                        <a:pt x="659" y="686"/>
                      </a:lnTo>
                      <a:lnTo>
                        <a:pt x="659" y="686"/>
                      </a:lnTo>
                      <a:lnTo>
                        <a:pt x="659" y="686"/>
                      </a:lnTo>
                      <a:lnTo>
                        <a:pt x="659" y="687"/>
                      </a:lnTo>
                      <a:lnTo>
                        <a:pt x="659" y="688"/>
                      </a:lnTo>
                      <a:lnTo>
                        <a:pt x="660" y="688"/>
                      </a:lnTo>
                      <a:lnTo>
                        <a:pt x="660" y="689"/>
                      </a:lnTo>
                      <a:lnTo>
                        <a:pt x="660" y="689"/>
                      </a:lnTo>
                      <a:lnTo>
                        <a:pt x="660" y="690"/>
                      </a:lnTo>
                      <a:lnTo>
                        <a:pt x="660" y="691"/>
                      </a:lnTo>
                      <a:lnTo>
                        <a:pt x="660" y="691"/>
                      </a:lnTo>
                      <a:lnTo>
                        <a:pt x="661" y="692"/>
                      </a:lnTo>
                      <a:lnTo>
                        <a:pt x="661" y="692"/>
                      </a:lnTo>
                      <a:lnTo>
                        <a:pt x="661" y="693"/>
                      </a:lnTo>
                      <a:lnTo>
                        <a:pt x="662" y="693"/>
                      </a:lnTo>
                      <a:lnTo>
                        <a:pt x="662" y="693"/>
                      </a:lnTo>
                      <a:lnTo>
                        <a:pt x="662" y="694"/>
                      </a:lnTo>
                      <a:lnTo>
                        <a:pt x="662" y="695"/>
                      </a:lnTo>
                      <a:lnTo>
                        <a:pt x="663" y="695"/>
                      </a:lnTo>
                      <a:lnTo>
                        <a:pt x="663" y="695"/>
                      </a:lnTo>
                      <a:lnTo>
                        <a:pt x="664" y="695"/>
                      </a:lnTo>
                      <a:lnTo>
                        <a:pt x="664" y="696"/>
                      </a:lnTo>
                      <a:lnTo>
                        <a:pt x="664" y="696"/>
                      </a:lnTo>
                      <a:lnTo>
                        <a:pt x="664" y="697"/>
                      </a:lnTo>
                      <a:lnTo>
                        <a:pt x="664" y="697"/>
                      </a:lnTo>
                      <a:lnTo>
                        <a:pt x="665" y="698"/>
                      </a:lnTo>
                      <a:lnTo>
                        <a:pt x="666" y="698"/>
                      </a:lnTo>
                      <a:lnTo>
                        <a:pt x="666" y="699"/>
                      </a:lnTo>
                      <a:lnTo>
                        <a:pt x="666" y="699"/>
                      </a:lnTo>
                      <a:lnTo>
                        <a:pt x="667" y="700"/>
                      </a:lnTo>
                      <a:lnTo>
                        <a:pt x="667" y="699"/>
                      </a:lnTo>
                      <a:lnTo>
                        <a:pt x="668" y="699"/>
                      </a:lnTo>
                      <a:lnTo>
                        <a:pt x="668" y="699"/>
                      </a:lnTo>
                      <a:lnTo>
                        <a:pt x="669" y="699"/>
                      </a:lnTo>
                      <a:lnTo>
                        <a:pt x="670" y="699"/>
                      </a:lnTo>
                      <a:lnTo>
                        <a:pt x="670" y="700"/>
                      </a:lnTo>
                      <a:lnTo>
                        <a:pt x="670" y="700"/>
                      </a:lnTo>
                      <a:lnTo>
                        <a:pt x="671" y="700"/>
                      </a:lnTo>
                      <a:lnTo>
                        <a:pt x="672" y="701"/>
                      </a:lnTo>
                      <a:lnTo>
                        <a:pt x="672" y="701"/>
                      </a:lnTo>
                      <a:lnTo>
                        <a:pt x="672" y="701"/>
                      </a:lnTo>
                      <a:lnTo>
                        <a:pt x="673" y="702"/>
                      </a:lnTo>
                      <a:lnTo>
                        <a:pt x="674" y="702"/>
                      </a:lnTo>
                      <a:lnTo>
                        <a:pt x="674" y="702"/>
                      </a:lnTo>
                      <a:lnTo>
                        <a:pt x="674" y="703"/>
                      </a:lnTo>
                      <a:lnTo>
                        <a:pt x="675" y="703"/>
                      </a:lnTo>
                      <a:lnTo>
                        <a:pt x="676" y="703"/>
                      </a:lnTo>
                      <a:lnTo>
                        <a:pt x="676" y="703"/>
                      </a:lnTo>
                      <a:lnTo>
                        <a:pt x="676" y="704"/>
                      </a:lnTo>
                      <a:lnTo>
                        <a:pt x="676" y="705"/>
                      </a:lnTo>
                      <a:lnTo>
                        <a:pt x="677" y="705"/>
                      </a:lnTo>
                      <a:lnTo>
                        <a:pt x="678" y="705"/>
                      </a:lnTo>
                      <a:lnTo>
                        <a:pt x="678" y="704"/>
                      </a:lnTo>
                      <a:lnTo>
                        <a:pt x="678" y="704"/>
                      </a:lnTo>
                      <a:lnTo>
                        <a:pt x="678" y="705"/>
                      </a:lnTo>
                      <a:lnTo>
                        <a:pt x="679" y="705"/>
                      </a:lnTo>
                      <a:lnTo>
                        <a:pt x="679" y="705"/>
                      </a:lnTo>
                      <a:lnTo>
                        <a:pt x="680" y="705"/>
                      </a:lnTo>
                      <a:lnTo>
                        <a:pt x="680" y="706"/>
                      </a:lnTo>
                      <a:lnTo>
                        <a:pt x="680" y="706"/>
                      </a:lnTo>
                      <a:lnTo>
                        <a:pt x="681" y="706"/>
                      </a:lnTo>
                      <a:lnTo>
                        <a:pt x="682" y="706"/>
                      </a:lnTo>
                      <a:lnTo>
                        <a:pt x="683" y="706"/>
                      </a:lnTo>
                      <a:lnTo>
                        <a:pt x="683" y="706"/>
                      </a:lnTo>
                      <a:lnTo>
                        <a:pt x="684" y="706"/>
                      </a:lnTo>
                      <a:lnTo>
                        <a:pt x="684" y="707"/>
                      </a:lnTo>
                      <a:lnTo>
                        <a:pt x="684" y="707"/>
                      </a:lnTo>
                      <a:lnTo>
                        <a:pt x="684" y="708"/>
                      </a:lnTo>
                      <a:lnTo>
                        <a:pt x="684" y="709"/>
                      </a:lnTo>
                      <a:lnTo>
                        <a:pt x="685" y="709"/>
                      </a:lnTo>
                      <a:lnTo>
                        <a:pt x="685" y="710"/>
                      </a:lnTo>
                      <a:lnTo>
                        <a:pt x="685" y="710"/>
                      </a:lnTo>
                      <a:lnTo>
                        <a:pt x="686" y="710"/>
                      </a:lnTo>
                      <a:lnTo>
                        <a:pt x="686" y="711"/>
                      </a:lnTo>
                      <a:lnTo>
                        <a:pt x="686" y="712"/>
                      </a:lnTo>
                      <a:lnTo>
                        <a:pt x="687" y="712"/>
                      </a:lnTo>
                      <a:lnTo>
                        <a:pt x="687" y="712"/>
                      </a:lnTo>
                      <a:lnTo>
                        <a:pt x="687" y="712"/>
                      </a:lnTo>
                      <a:lnTo>
                        <a:pt x="688" y="712"/>
                      </a:lnTo>
                      <a:lnTo>
                        <a:pt x="689" y="712"/>
                      </a:lnTo>
                      <a:lnTo>
                        <a:pt x="689" y="712"/>
                      </a:lnTo>
                      <a:lnTo>
                        <a:pt x="690" y="712"/>
                      </a:lnTo>
                      <a:lnTo>
                        <a:pt x="690" y="712"/>
                      </a:lnTo>
                      <a:lnTo>
                        <a:pt x="690" y="712"/>
                      </a:lnTo>
                      <a:lnTo>
                        <a:pt x="691" y="712"/>
                      </a:lnTo>
                      <a:lnTo>
                        <a:pt x="691" y="712"/>
                      </a:lnTo>
                      <a:lnTo>
                        <a:pt x="691" y="712"/>
                      </a:lnTo>
                      <a:lnTo>
                        <a:pt x="692" y="712"/>
                      </a:lnTo>
                      <a:lnTo>
                        <a:pt x="692" y="713"/>
                      </a:lnTo>
                      <a:lnTo>
                        <a:pt x="692" y="714"/>
                      </a:lnTo>
                      <a:lnTo>
                        <a:pt x="691" y="714"/>
                      </a:lnTo>
                      <a:lnTo>
                        <a:pt x="691" y="714"/>
                      </a:lnTo>
                      <a:lnTo>
                        <a:pt x="691" y="715"/>
                      </a:lnTo>
                      <a:lnTo>
                        <a:pt x="691" y="716"/>
                      </a:lnTo>
                      <a:lnTo>
                        <a:pt x="691" y="716"/>
                      </a:lnTo>
                      <a:lnTo>
                        <a:pt x="691" y="717"/>
                      </a:lnTo>
                      <a:lnTo>
                        <a:pt x="691" y="718"/>
                      </a:lnTo>
                      <a:lnTo>
                        <a:pt x="692" y="718"/>
                      </a:lnTo>
                      <a:lnTo>
                        <a:pt x="693" y="718"/>
                      </a:lnTo>
                      <a:lnTo>
                        <a:pt x="693" y="718"/>
                      </a:lnTo>
                      <a:lnTo>
                        <a:pt x="693" y="718"/>
                      </a:lnTo>
                      <a:lnTo>
                        <a:pt x="693" y="719"/>
                      </a:lnTo>
                      <a:lnTo>
                        <a:pt x="693" y="719"/>
                      </a:lnTo>
                      <a:lnTo>
                        <a:pt x="693" y="720"/>
                      </a:lnTo>
                      <a:lnTo>
                        <a:pt x="693" y="720"/>
                      </a:lnTo>
                      <a:lnTo>
                        <a:pt x="693" y="721"/>
                      </a:lnTo>
                      <a:lnTo>
                        <a:pt x="693" y="722"/>
                      </a:lnTo>
                      <a:lnTo>
                        <a:pt x="693" y="722"/>
                      </a:lnTo>
                      <a:lnTo>
                        <a:pt x="694" y="722"/>
                      </a:lnTo>
                      <a:lnTo>
                        <a:pt x="695" y="722"/>
                      </a:lnTo>
                      <a:lnTo>
                        <a:pt x="695" y="722"/>
                      </a:lnTo>
                      <a:lnTo>
                        <a:pt x="695" y="722"/>
                      </a:lnTo>
                      <a:lnTo>
                        <a:pt x="695" y="723"/>
                      </a:lnTo>
                      <a:lnTo>
                        <a:pt x="695" y="724"/>
                      </a:lnTo>
                      <a:lnTo>
                        <a:pt x="695" y="724"/>
                      </a:lnTo>
                      <a:lnTo>
                        <a:pt x="695" y="724"/>
                      </a:lnTo>
                      <a:lnTo>
                        <a:pt x="695" y="725"/>
                      </a:lnTo>
                      <a:lnTo>
                        <a:pt x="695" y="726"/>
                      </a:lnTo>
                      <a:lnTo>
                        <a:pt x="696" y="726"/>
                      </a:lnTo>
                      <a:lnTo>
                        <a:pt x="696" y="726"/>
                      </a:lnTo>
                      <a:lnTo>
                        <a:pt x="697" y="726"/>
                      </a:lnTo>
                      <a:lnTo>
                        <a:pt x="697" y="727"/>
                      </a:lnTo>
                      <a:lnTo>
                        <a:pt x="696" y="727"/>
                      </a:lnTo>
                      <a:lnTo>
                        <a:pt x="695" y="727"/>
                      </a:lnTo>
                      <a:lnTo>
                        <a:pt x="695" y="726"/>
                      </a:lnTo>
                      <a:lnTo>
                        <a:pt x="695" y="726"/>
                      </a:lnTo>
                      <a:lnTo>
                        <a:pt x="695" y="727"/>
                      </a:lnTo>
                      <a:lnTo>
                        <a:pt x="694" y="727"/>
                      </a:lnTo>
                      <a:lnTo>
                        <a:pt x="694" y="728"/>
                      </a:lnTo>
                      <a:lnTo>
                        <a:pt x="693" y="728"/>
                      </a:lnTo>
                      <a:lnTo>
                        <a:pt x="693" y="729"/>
                      </a:lnTo>
                      <a:lnTo>
                        <a:pt x="694" y="729"/>
                      </a:lnTo>
                      <a:lnTo>
                        <a:pt x="695" y="729"/>
                      </a:lnTo>
                      <a:lnTo>
                        <a:pt x="694" y="729"/>
                      </a:lnTo>
                      <a:lnTo>
                        <a:pt x="693" y="730"/>
                      </a:lnTo>
                      <a:lnTo>
                        <a:pt x="694" y="730"/>
                      </a:lnTo>
                      <a:lnTo>
                        <a:pt x="694" y="731"/>
                      </a:lnTo>
                      <a:lnTo>
                        <a:pt x="695" y="731"/>
                      </a:lnTo>
                      <a:lnTo>
                        <a:pt x="695" y="731"/>
                      </a:lnTo>
                      <a:lnTo>
                        <a:pt x="696" y="732"/>
                      </a:lnTo>
                      <a:lnTo>
                        <a:pt x="696" y="733"/>
                      </a:lnTo>
                      <a:lnTo>
                        <a:pt x="696" y="733"/>
                      </a:lnTo>
                      <a:lnTo>
                        <a:pt x="696" y="734"/>
                      </a:lnTo>
                      <a:lnTo>
                        <a:pt x="695" y="735"/>
                      </a:lnTo>
                      <a:lnTo>
                        <a:pt x="695" y="735"/>
                      </a:lnTo>
                      <a:lnTo>
                        <a:pt x="695" y="735"/>
                      </a:lnTo>
                      <a:lnTo>
                        <a:pt x="695" y="736"/>
                      </a:lnTo>
                      <a:lnTo>
                        <a:pt x="695" y="736"/>
                      </a:lnTo>
                      <a:lnTo>
                        <a:pt x="696" y="736"/>
                      </a:lnTo>
                      <a:lnTo>
                        <a:pt x="696" y="737"/>
                      </a:lnTo>
                      <a:lnTo>
                        <a:pt x="697" y="737"/>
                      </a:lnTo>
                      <a:lnTo>
                        <a:pt x="697" y="737"/>
                      </a:lnTo>
                      <a:lnTo>
                        <a:pt x="697" y="738"/>
                      </a:lnTo>
                      <a:lnTo>
                        <a:pt x="697" y="738"/>
                      </a:lnTo>
                      <a:lnTo>
                        <a:pt x="698" y="738"/>
                      </a:lnTo>
                      <a:lnTo>
                        <a:pt x="698" y="739"/>
                      </a:lnTo>
                      <a:lnTo>
                        <a:pt x="697" y="739"/>
                      </a:lnTo>
                      <a:lnTo>
                        <a:pt x="697" y="739"/>
                      </a:lnTo>
                      <a:lnTo>
                        <a:pt x="697" y="740"/>
                      </a:lnTo>
                      <a:lnTo>
                        <a:pt x="696" y="740"/>
                      </a:lnTo>
                      <a:lnTo>
                        <a:pt x="696" y="741"/>
                      </a:lnTo>
                      <a:lnTo>
                        <a:pt x="696" y="741"/>
                      </a:lnTo>
                      <a:lnTo>
                        <a:pt x="695" y="741"/>
                      </a:lnTo>
                      <a:lnTo>
                        <a:pt x="695" y="742"/>
                      </a:lnTo>
                      <a:lnTo>
                        <a:pt x="695" y="743"/>
                      </a:lnTo>
                      <a:lnTo>
                        <a:pt x="695" y="743"/>
                      </a:lnTo>
                      <a:lnTo>
                        <a:pt x="695" y="743"/>
                      </a:lnTo>
                      <a:lnTo>
                        <a:pt x="695" y="743"/>
                      </a:lnTo>
                      <a:lnTo>
                        <a:pt x="694" y="742"/>
                      </a:lnTo>
                      <a:lnTo>
                        <a:pt x="694" y="743"/>
                      </a:lnTo>
                      <a:lnTo>
                        <a:pt x="693" y="743"/>
                      </a:lnTo>
                      <a:lnTo>
                        <a:pt x="693" y="743"/>
                      </a:lnTo>
                      <a:lnTo>
                        <a:pt x="693" y="743"/>
                      </a:lnTo>
                      <a:lnTo>
                        <a:pt x="692" y="743"/>
                      </a:lnTo>
                      <a:lnTo>
                        <a:pt x="691" y="744"/>
                      </a:lnTo>
                      <a:lnTo>
                        <a:pt x="691" y="745"/>
                      </a:lnTo>
                      <a:lnTo>
                        <a:pt x="691" y="745"/>
                      </a:lnTo>
                      <a:lnTo>
                        <a:pt x="691" y="745"/>
                      </a:lnTo>
                      <a:lnTo>
                        <a:pt x="690" y="745"/>
                      </a:lnTo>
                      <a:lnTo>
                        <a:pt x="689" y="745"/>
                      </a:lnTo>
                      <a:lnTo>
                        <a:pt x="689" y="746"/>
                      </a:lnTo>
                      <a:lnTo>
                        <a:pt x="689" y="747"/>
                      </a:lnTo>
                      <a:lnTo>
                        <a:pt x="689" y="748"/>
                      </a:lnTo>
                      <a:lnTo>
                        <a:pt x="689" y="748"/>
                      </a:lnTo>
                      <a:lnTo>
                        <a:pt x="689" y="748"/>
                      </a:lnTo>
                      <a:lnTo>
                        <a:pt x="689" y="749"/>
                      </a:lnTo>
                      <a:lnTo>
                        <a:pt x="689" y="750"/>
                      </a:lnTo>
                      <a:lnTo>
                        <a:pt x="690" y="750"/>
                      </a:lnTo>
                      <a:lnTo>
                        <a:pt x="690" y="750"/>
                      </a:lnTo>
                      <a:lnTo>
                        <a:pt x="691" y="751"/>
                      </a:lnTo>
                      <a:lnTo>
                        <a:pt x="691" y="752"/>
                      </a:lnTo>
                      <a:lnTo>
                        <a:pt x="690" y="752"/>
                      </a:lnTo>
                      <a:lnTo>
                        <a:pt x="689" y="752"/>
                      </a:lnTo>
                      <a:lnTo>
                        <a:pt x="689" y="751"/>
                      </a:lnTo>
                      <a:lnTo>
                        <a:pt x="689" y="751"/>
                      </a:lnTo>
                      <a:lnTo>
                        <a:pt x="689" y="750"/>
                      </a:lnTo>
                      <a:lnTo>
                        <a:pt x="689" y="751"/>
                      </a:lnTo>
                      <a:lnTo>
                        <a:pt x="689" y="752"/>
                      </a:lnTo>
                      <a:lnTo>
                        <a:pt x="688" y="752"/>
                      </a:lnTo>
                      <a:lnTo>
                        <a:pt x="688" y="752"/>
                      </a:lnTo>
                      <a:lnTo>
                        <a:pt x="688" y="753"/>
                      </a:lnTo>
                      <a:lnTo>
                        <a:pt x="688" y="754"/>
                      </a:lnTo>
                      <a:lnTo>
                        <a:pt x="687" y="754"/>
                      </a:lnTo>
                      <a:lnTo>
                        <a:pt x="687" y="754"/>
                      </a:lnTo>
                      <a:lnTo>
                        <a:pt x="687" y="754"/>
                      </a:lnTo>
                      <a:lnTo>
                        <a:pt x="687" y="755"/>
                      </a:lnTo>
                      <a:lnTo>
                        <a:pt x="687" y="756"/>
                      </a:lnTo>
                      <a:lnTo>
                        <a:pt x="686" y="756"/>
                      </a:lnTo>
                      <a:lnTo>
                        <a:pt x="686" y="756"/>
                      </a:lnTo>
                      <a:lnTo>
                        <a:pt x="685" y="756"/>
                      </a:lnTo>
                      <a:lnTo>
                        <a:pt x="685" y="757"/>
                      </a:lnTo>
                      <a:lnTo>
                        <a:pt x="684" y="757"/>
                      </a:lnTo>
                      <a:lnTo>
                        <a:pt x="683" y="757"/>
                      </a:lnTo>
                      <a:lnTo>
                        <a:pt x="683" y="757"/>
                      </a:lnTo>
                      <a:lnTo>
                        <a:pt x="682" y="756"/>
                      </a:lnTo>
                      <a:lnTo>
                        <a:pt x="681" y="756"/>
                      </a:lnTo>
                      <a:lnTo>
                        <a:pt x="681" y="755"/>
                      </a:lnTo>
                      <a:lnTo>
                        <a:pt x="680" y="754"/>
                      </a:lnTo>
                      <a:lnTo>
                        <a:pt x="680" y="754"/>
                      </a:lnTo>
                      <a:lnTo>
                        <a:pt x="680" y="753"/>
                      </a:lnTo>
                      <a:lnTo>
                        <a:pt x="680" y="752"/>
                      </a:lnTo>
                      <a:lnTo>
                        <a:pt x="680" y="752"/>
                      </a:lnTo>
                      <a:lnTo>
                        <a:pt x="679" y="751"/>
                      </a:lnTo>
                      <a:lnTo>
                        <a:pt x="678" y="750"/>
                      </a:lnTo>
                      <a:lnTo>
                        <a:pt x="678" y="749"/>
                      </a:lnTo>
                      <a:lnTo>
                        <a:pt x="678" y="748"/>
                      </a:lnTo>
                      <a:lnTo>
                        <a:pt x="678" y="748"/>
                      </a:lnTo>
                      <a:lnTo>
                        <a:pt x="678" y="747"/>
                      </a:lnTo>
                      <a:lnTo>
                        <a:pt x="678" y="746"/>
                      </a:lnTo>
                      <a:lnTo>
                        <a:pt x="678" y="745"/>
                      </a:lnTo>
                      <a:lnTo>
                        <a:pt x="678" y="745"/>
                      </a:lnTo>
                      <a:lnTo>
                        <a:pt x="678" y="744"/>
                      </a:lnTo>
                      <a:lnTo>
                        <a:pt x="677" y="744"/>
                      </a:lnTo>
                      <a:lnTo>
                        <a:pt x="678" y="743"/>
                      </a:lnTo>
                      <a:lnTo>
                        <a:pt x="677" y="743"/>
                      </a:lnTo>
                      <a:lnTo>
                        <a:pt x="676" y="743"/>
                      </a:lnTo>
                      <a:lnTo>
                        <a:pt x="676" y="744"/>
                      </a:lnTo>
                      <a:lnTo>
                        <a:pt x="676" y="745"/>
                      </a:lnTo>
                      <a:lnTo>
                        <a:pt x="676" y="745"/>
                      </a:lnTo>
                      <a:lnTo>
                        <a:pt x="676" y="745"/>
                      </a:lnTo>
                      <a:lnTo>
                        <a:pt x="675" y="745"/>
                      </a:lnTo>
                      <a:lnTo>
                        <a:pt x="674" y="745"/>
                      </a:lnTo>
                      <a:lnTo>
                        <a:pt x="674" y="745"/>
                      </a:lnTo>
                      <a:lnTo>
                        <a:pt x="674" y="745"/>
                      </a:lnTo>
                      <a:lnTo>
                        <a:pt x="673" y="745"/>
                      </a:lnTo>
                      <a:lnTo>
                        <a:pt x="672" y="745"/>
                      </a:lnTo>
                      <a:lnTo>
                        <a:pt x="672" y="745"/>
                      </a:lnTo>
                      <a:lnTo>
                        <a:pt x="671" y="745"/>
                      </a:lnTo>
                      <a:lnTo>
                        <a:pt x="670" y="745"/>
                      </a:lnTo>
                      <a:lnTo>
                        <a:pt x="670" y="745"/>
                      </a:lnTo>
                      <a:lnTo>
                        <a:pt x="669" y="745"/>
                      </a:lnTo>
                      <a:lnTo>
                        <a:pt x="669" y="745"/>
                      </a:lnTo>
                      <a:lnTo>
                        <a:pt x="668" y="745"/>
                      </a:lnTo>
                      <a:lnTo>
                        <a:pt x="668" y="745"/>
                      </a:lnTo>
                      <a:lnTo>
                        <a:pt x="665" y="746"/>
                      </a:lnTo>
                      <a:lnTo>
                        <a:pt x="664" y="747"/>
                      </a:lnTo>
                      <a:lnTo>
                        <a:pt x="664" y="747"/>
                      </a:lnTo>
                      <a:lnTo>
                        <a:pt x="663" y="747"/>
                      </a:lnTo>
                      <a:lnTo>
                        <a:pt x="662" y="747"/>
                      </a:lnTo>
                      <a:lnTo>
                        <a:pt x="661" y="747"/>
                      </a:lnTo>
                      <a:lnTo>
                        <a:pt x="661" y="747"/>
                      </a:lnTo>
                      <a:lnTo>
                        <a:pt x="660" y="747"/>
                      </a:lnTo>
                      <a:lnTo>
                        <a:pt x="660" y="748"/>
                      </a:lnTo>
                      <a:lnTo>
                        <a:pt x="659" y="748"/>
                      </a:lnTo>
                      <a:lnTo>
                        <a:pt x="659" y="748"/>
                      </a:lnTo>
                      <a:lnTo>
                        <a:pt x="659" y="748"/>
                      </a:lnTo>
                      <a:lnTo>
                        <a:pt x="659" y="749"/>
                      </a:lnTo>
                      <a:lnTo>
                        <a:pt x="659" y="750"/>
                      </a:lnTo>
                      <a:lnTo>
                        <a:pt x="658" y="750"/>
                      </a:lnTo>
                      <a:lnTo>
                        <a:pt x="658" y="751"/>
                      </a:lnTo>
                      <a:lnTo>
                        <a:pt x="658" y="752"/>
                      </a:lnTo>
                      <a:lnTo>
                        <a:pt x="658" y="752"/>
                      </a:lnTo>
                      <a:lnTo>
                        <a:pt x="657" y="753"/>
                      </a:lnTo>
                      <a:lnTo>
                        <a:pt x="657" y="753"/>
                      </a:lnTo>
                      <a:lnTo>
                        <a:pt x="656" y="754"/>
                      </a:lnTo>
                      <a:lnTo>
                        <a:pt x="655" y="754"/>
                      </a:lnTo>
                      <a:lnTo>
                        <a:pt x="655" y="754"/>
                      </a:lnTo>
                      <a:lnTo>
                        <a:pt x="654" y="754"/>
                      </a:lnTo>
                      <a:lnTo>
                        <a:pt x="653" y="754"/>
                      </a:lnTo>
                      <a:lnTo>
                        <a:pt x="653" y="754"/>
                      </a:lnTo>
                      <a:lnTo>
                        <a:pt x="652" y="756"/>
                      </a:lnTo>
                      <a:lnTo>
                        <a:pt x="651" y="756"/>
                      </a:lnTo>
                      <a:lnTo>
                        <a:pt x="651" y="757"/>
                      </a:lnTo>
                      <a:lnTo>
                        <a:pt x="650" y="758"/>
                      </a:lnTo>
                      <a:lnTo>
                        <a:pt x="649" y="758"/>
                      </a:lnTo>
                      <a:lnTo>
                        <a:pt x="649" y="758"/>
                      </a:lnTo>
                      <a:lnTo>
                        <a:pt x="648" y="758"/>
                      </a:lnTo>
                      <a:lnTo>
                        <a:pt x="647" y="758"/>
                      </a:lnTo>
                      <a:lnTo>
                        <a:pt x="647" y="758"/>
                      </a:lnTo>
                      <a:lnTo>
                        <a:pt x="646" y="758"/>
                      </a:lnTo>
                      <a:lnTo>
                        <a:pt x="645" y="758"/>
                      </a:lnTo>
                      <a:lnTo>
                        <a:pt x="644" y="758"/>
                      </a:lnTo>
                      <a:lnTo>
                        <a:pt x="643" y="758"/>
                      </a:lnTo>
                      <a:lnTo>
                        <a:pt x="642" y="758"/>
                      </a:lnTo>
                      <a:lnTo>
                        <a:pt x="642" y="758"/>
                      </a:lnTo>
                      <a:lnTo>
                        <a:pt x="641" y="758"/>
                      </a:lnTo>
                      <a:lnTo>
                        <a:pt x="640" y="758"/>
                      </a:lnTo>
                      <a:lnTo>
                        <a:pt x="640" y="758"/>
                      </a:lnTo>
                      <a:lnTo>
                        <a:pt x="639" y="758"/>
                      </a:lnTo>
                      <a:lnTo>
                        <a:pt x="638" y="758"/>
                      </a:lnTo>
                      <a:lnTo>
                        <a:pt x="638" y="759"/>
                      </a:lnTo>
                      <a:lnTo>
                        <a:pt x="638" y="760"/>
                      </a:lnTo>
                      <a:lnTo>
                        <a:pt x="638" y="760"/>
                      </a:lnTo>
                      <a:lnTo>
                        <a:pt x="637" y="760"/>
                      </a:lnTo>
                      <a:lnTo>
                        <a:pt x="636" y="760"/>
                      </a:lnTo>
                      <a:lnTo>
                        <a:pt x="635" y="760"/>
                      </a:lnTo>
                      <a:lnTo>
                        <a:pt x="634" y="760"/>
                      </a:lnTo>
                      <a:lnTo>
                        <a:pt x="634" y="760"/>
                      </a:lnTo>
                      <a:lnTo>
                        <a:pt x="633" y="760"/>
                      </a:lnTo>
                      <a:lnTo>
                        <a:pt x="632" y="760"/>
                      </a:lnTo>
                      <a:lnTo>
                        <a:pt x="632" y="760"/>
                      </a:lnTo>
                      <a:lnTo>
                        <a:pt x="632" y="759"/>
                      </a:lnTo>
                      <a:lnTo>
                        <a:pt x="631" y="759"/>
                      </a:lnTo>
                      <a:lnTo>
                        <a:pt x="630" y="760"/>
                      </a:lnTo>
                      <a:lnTo>
                        <a:pt x="630" y="759"/>
                      </a:lnTo>
                      <a:lnTo>
                        <a:pt x="629" y="759"/>
                      </a:lnTo>
                      <a:lnTo>
                        <a:pt x="628" y="759"/>
                      </a:lnTo>
                      <a:lnTo>
                        <a:pt x="628" y="760"/>
                      </a:lnTo>
                      <a:lnTo>
                        <a:pt x="628" y="759"/>
                      </a:lnTo>
                      <a:lnTo>
                        <a:pt x="627" y="758"/>
                      </a:lnTo>
                      <a:lnTo>
                        <a:pt x="627" y="758"/>
                      </a:lnTo>
                      <a:lnTo>
                        <a:pt x="627" y="757"/>
                      </a:lnTo>
                      <a:lnTo>
                        <a:pt x="626" y="757"/>
                      </a:lnTo>
                      <a:lnTo>
                        <a:pt x="626" y="756"/>
                      </a:lnTo>
                      <a:lnTo>
                        <a:pt x="626" y="756"/>
                      </a:lnTo>
                      <a:lnTo>
                        <a:pt x="626" y="755"/>
                      </a:lnTo>
                      <a:lnTo>
                        <a:pt x="625" y="755"/>
                      </a:lnTo>
                      <a:lnTo>
                        <a:pt x="624" y="754"/>
                      </a:lnTo>
                      <a:lnTo>
                        <a:pt x="623" y="754"/>
                      </a:lnTo>
                      <a:lnTo>
                        <a:pt x="623" y="754"/>
                      </a:lnTo>
                      <a:lnTo>
                        <a:pt x="622" y="754"/>
                      </a:lnTo>
                      <a:lnTo>
                        <a:pt x="621" y="754"/>
                      </a:lnTo>
                      <a:lnTo>
                        <a:pt x="621" y="754"/>
                      </a:lnTo>
                      <a:lnTo>
                        <a:pt x="620" y="753"/>
                      </a:lnTo>
                      <a:lnTo>
                        <a:pt x="619" y="752"/>
                      </a:lnTo>
                      <a:lnTo>
                        <a:pt x="619" y="752"/>
                      </a:lnTo>
                      <a:lnTo>
                        <a:pt x="618" y="751"/>
                      </a:lnTo>
                      <a:lnTo>
                        <a:pt x="617" y="751"/>
                      </a:lnTo>
                      <a:lnTo>
                        <a:pt x="617" y="751"/>
                      </a:lnTo>
                      <a:lnTo>
                        <a:pt x="616" y="752"/>
                      </a:lnTo>
                      <a:lnTo>
                        <a:pt x="615" y="752"/>
                      </a:lnTo>
                      <a:lnTo>
                        <a:pt x="615" y="751"/>
                      </a:lnTo>
                      <a:lnTo>
                        <a:pt x="615" y="750"/>
                      </a:lnTo>
                      <a:lnTo>
                        <a:pt x="614" y="750"/>
                      </a:lnTo>
                      <a:lnTo>
                        <a:pt x="613" y="750"/>
                      </a:lnTo>
                      <a:lnTo>
                        <a:pt x="613" y="750"/>
                      </a:lnTo>
                      <a:lnTo>
                        <a:pt x="612" y="749"/>
                      </a:lnTo>
                      <a:lnTo>
                        <a:pt x="612" y="748"/>
                      </a:lnTo>
                      <a:lnTo>
                        <a:pt x="611" y="748"/>
                      </a:lnTo>
                      <a:lnTo>
                        <a:pt x="611" y="748"/>
                      </a:lnTo>
                      <a:lnTo>
                        <a:pt x="611" y="747"/>
                      </a:lnTo>
                      <a:lnTo>
                        <a:pt x="611" y="746"/>
                      </a:lnTo>
                      <a:lnTo>
                        <a:pt x="611" y="745"/>
                      </a:lnTo>
                      <a:lnTo>
                        <a:pt x="610" y="745"/>
                      </a:lnTo>
                      <a:lnTo>
                        <a:pt x="609" y="745"/>
                      </a:lnTo>
                      <a:lnTo>
                        <a:pt x="609" y="744"/>
                      </a:lnTo>
                      <a:lnTo>
                        <a:pt x="609" y="743"/>
                      </a:lnTo>
                      <a:lnTo>
                        <a:pt x="609" y="743"/>
                      </a:lnTo>
                      <a:lnTo>
                        <a:pt x="608" y="742"/>
                      </a:lnTo>
                      <a:lnTo>
                        <a:pt x="608" y="741"/>
                      </a:lnTo>
                      <a:lnTo>
                        <a:pt x="608" y="741"/>
                      </a:lnTo>
                      <a:lnTo>
                        <a:pt x="607" y="741"/>
                      </a:lnTo>
                      <a:lnTo>
                        <a:pt x="607" y="741"/>
                      </a:lnTo>
                      <a:lnTo>
                        <a:pt x="606" y="741"/>
                      </a:lnTo>
                      <a:lnTo>
                        <a:pt x="606" y="741"/>
                      </a:lnTo>
                      <a:lnTo>
                        <a:pt x="605" y="741"/>
                      </a:lnTo>
                      <a:lnTo>
                        <a:pt x="605" y="740"/>
                      </a:lnTo>
                      <a:lnTo>
                        <a:pt x="605" y="739"/>
                      </a:lnTo>
                      <a:lnTo>
                        <a:pt x="605" y="739"/>
                      </a:lnTo>
                      <a:lnTo>
                        <a:pt x="605" y="738"/>
                      </a:lnTo>
                      <a:lnTo>
                        <a:pt x="606" y="738"/>
                      </a:lnTo>
                      <a:lnTo>
                        <a:pt x="606" y="737"/>
                      </a:lnTo>
                      <a:lnTo>
                        <a:pt x="607" y="737"/>
                      </a:lnTo>
                      <a:lnTo>
                        <a:pt x="607" y="737"/>
                      </a:lnTo>
                      <a:lnTo>
                        <a:pt x="606" y="737"/>
                      </a:lnTo>
                      <a:lnTo>
                        <a:pt x="606" y="736"/>
                      </a:lnTo>
                      <a:lnTo>
                        <a:pt x="606" y="735"/>
                      </a:lnTo>
                      <a:lnTo>
                        <a:pt x="604" y="735"/>
                      </a:lnTo>
                      <a:lnTo>
                        <a:pt x="604" y="734"/>
                      </a:lnTo>
                      <a:lnTo>
                        <a:pt x="604" y="733"/>
                      </a:lnTo>
                      <a:lnTo>
                        <a:pt x="603" y="733"/>
                      </a:lnTo>
                      <a:lnTo>
                        <a:pt x="603" y="732"/>
                      </a:lnTo>
                      <a:lnTo>
                        <a:pt x="602" y="733"/>
                      </a:lnTo>
                      <a:lnTo>
                        <a:pt x="601" y="732"/>
                      </a:lnTo>
                      <a:lnTo>
                        <a:pt x="600" y="731"/>
                      </a:lnTo>
                      <a:lnTo>
                        <a:pt x="599" y="731"/>
                      </a:lnTo>
                      <a:lnTo>
                        <a:pt x="598" y="731"/>
                      </a:lnTo>
                      <a:lnTo>
                        <a:pt x="598" y="730"/>
                      </a:lnTo>
                      <a:lnTo>
                        <a:pt x="598" y="729"/>
                      </a:lnTo>
                      <a:lnTo>
                        <a:pt x="598" y="729"/>
                      </a:lnTo>
                      <a:lnTo>
                        <a:pt x="598" y="728"/>
                      </a:lnTo>
                      <a:lnTo>
                        <a:pt x="597" y="727"/>
                      </a:lnTo>
                      <a:lnTo>
                        <a:pt x="597" y="726"/>
                      </a:lnTo>
                      <a:lnTo>
                        <a:pt x="597" y="726"/>
                      </a:lnTo>
                      <a:lnTo>
                        <a:pt x="596" y="726"/>
                      </a:lnTo>
                      <a:lnTo>
                        <a:pt x="596" y="725"/>
                      </a:lnTo>
                      <a:lnTo>
                        <a:pt x="596" y="724"/>
                      </a:lnTo>
                      <a:lnTo>
                        <a:pt x="596" y="724"/>
                      </a:lnTo>
                      <a:lnTo>
                        <a:pt x="596" y="724"/>
                      </a:lnTo>
                      <a:lnTo>
                        <a:pt x="595" y="724"/>
                      </a:lnTo>
                      <a:lnTo>
                        <a:pt x="594" y="724"/>
                      </a:lnTo>
                      <a:lnTo>
                        <a:pt x="594" y="724"/>
                      </a:lnTo>
                      <a:lnTo>
                        <a:pt x="593" y="724"/>
                      </a:lnTo>
                      <a:lnTo>
                        <a:pt x="593" y="723"/>
                      </a:lnTo>
                      <a:lnTo>
                        <a:pt x="593" y="722"/>
                      </a:lnTo>
                      <a:lnTo>
                        <a:pt x="593" y="722"/>
                      </a:lnTo>
                      <a:lnTo>
                        <a:pt x="592" y="721"/>
                      </a:lnTo>
                      <a:lnTo>
                        <a:pt x="592" y="721"/>
                      </a:lnTo>
                      <a:lnTo>
                        <a:pt x="592" y="722"/>
                      </a:lnTo>
                      <a:lnTo>
                        <a:pt x="591" y="722"/>
                      </a:lnTo>
                      <a:lnTo>
                        <a:pt x="591" y="723"/>
                      </a:lnTo>
                      <a:lnTo>
                        <a:pt x="591" y="724"/>
                      </a:lnTo>
                      <a:lnTo>
                        <a:pt x="590" y="724"/>
                      </a:lnTo>
                      <a:lnTo>
                        <a:pt x="590" y="724"/>
                      </a:lnTo>
                      <a:lnTo>
                        <a:pt x="590" y="723"/>
                      </a:lnTo>
                      <a:lnTo>
                        <a:pt x="589" y="723"/>
                      </a:lnTo>
                      <a:lnTo>
                        <a:pt x="588" y="723"/>
                      </a:lnTo>
                      <a:lnTo>
                        <a:pt x="588" y="723"/>
                      </a:lnTo>
                      <a:lnTo>
                        <a:pt x="587" y="723"/>
                      </a:lnTo>
                      <a:lnTo>
                        <a:pt x="586" y="723"/>
                      </a:lnTo>
                      <a:lnTo>
                        <a:pt x="585" y="723"/>
                      </a:lnTo>
                      <a:lnTo>
                        <a:pt x="585" y="722"/>
                      </a:lnTo>
                      <a:lnTo>
                        <a:pt x="585" y="722"/>
                      </a:lnTo>
                      <a:lnTo>
                        <a:pt x="584" y="723"/>
                      </a:lnTo>
                      <a:lnTo>
                        <a:pt x="583" y="723"/>
                      </a:lnTo>
                      <a:lnTo>
                        <a:pt x="583" y="724"/>
                      </a:lnTo>
                      <a:lnTo>
                        <a:pt x="583" y="724"/>
                      </a:lnTo>
                      <a:lnTo>
                        <a:pt x="582" y="723"/>
                      </a:lnTo>
                      <a:lnTo>
                        <a:pt x="581" y="723"/>
                      </a:lnTo>
                      <a:lnTo>
                        <a:pt x="581" y="722"/>
                      </a:lnTo>
                      <a:lnTo>
                        <a:pt x="580" y="722"/>
                      </a:lnTo>
                      <a:lnTo>
                        <a:pt x="580" y="723"/>
                      </a:lnTo>
                      <a:lnTo>
                        <a:pt x="579" y="723"/>
                      </a:lnTo>
                      <a:lnTo>
                        <a:pt x="579" y="722"/>
                      </a:lnTo>
                      <a:lnTo>
                        <a:pt x="578" y="722"/>
                      </a:lnTo>
                      <a:lnTo>
                        <a:pt x="577" y="722"/>
                      </a:lnTo>
                      <a:lnTo>
                        <a:pt x="577" y="722"/>
                      </a:lnTo>
                      <a:lnTo>
                        <a:pt x="576" y="722"/>
                      </a:lnTo>
                      <a:lnTo>
                        <a:pt x="576" y="721"/>
                      </a:lnTo>
                      <a:lnTo>
                        <a:pt x="575" y="721"/>
                      </a:lnTo>
                      <a:lnTo>
                        <a:pt x="575" y="721"/>
                      </a:lnTo>
                      <a:lnTo>
                        <a:pt x="574" y="721"/>
                      </a:lnTo>
                      <a:lnTo>
                        <a:pt x="574" y="722"/>
                      </a:lnTo>
                      <a:lnTo>
                        <a:pt x="574" y="721"/>
                      </a:lnTo>
                      <a:lnTo>
                        <a:pt x="573" y="721"/>
                      </a:lnTo>
                      <a:lnTo>
                        <a:pt x="573" y="721"/>
                      </a:lnTo>
                      <a:lnTo>
                        <a:pt x="572" y="721"/>
                      </a:lnTo>
                      <a:lnTo>
                        <a:pt x="571" y="720"/>
                      </a:lnTo>
                      <a:lnTo>
                        <a:pt x="570" y="720"/>
                      </a:lnTo>
                      <a:lnTo>
                        <a:pt x="570" y="720"/>
                      </a:lnTo>
                      <a:lnTo>
                        <a:pt x="569" y="719"/>
                      </a:lnTo>
                      <a:lnTo>
                        <a:pt x="570" y="719"/>
                      </a:lnTo>
                      <a:lnTo>
                        <a:pt x="570" y="718"/>
                      </a:lnTo>
                      <a:lnTo>
                        <a:pt x="570" y="718"/>
                      </a:lnTo>
                      <a:lnTo>
                        <a:pt x="569" y="718"/>
                      </a:lnTo>
                      <a:lnTo>
                        <a:pt x="569" y="717"/>
                      </a:lnTo>
                      <a:lnTo>
                        <a:pt x="569" y="716"/>
                      </a:lnTo>
                      <a:lnTo>
                        <a:pt x="569" y="716"/>
                      </a:lnTo>
                      <a:lnTo>
                        <a:pt x="568" y="716"/>
                      </a:lnTo>
                      <a:lnTo>
                        <a:pt x="567" y="715"/>
                      </a:lnTo>
                      <a:lnTo>
                        <a:pt x="567" y="714"/>
                      </a:lnTo>
                      <a:lnTo>
                        <a:pt x="567" y="714"/>
                      </a:lnTo>
                      <a:lnTo>
                        <a:pt x="567" y="713"/>
                      </a:lnTo>
                      <a:lnTo>
                        <a:pt x="566" y="712"/>
                      </a:lnTo>
                      <a:lnTo>
                        <a:pt x="566" y="712"/>
                      </a:lnTo>
                      <a:lnTo>
                        <a:pt x="565" y="712"/>
                      </a:lnTo>
                      <a:lnTo>
                        <a:pt x="565" y="711"/>
                      </a:lnTo>
                      <a:lnTo>
                        <a:pt x="564" y="711"/>
                      </a:lnTo>
                      <a:lnTo>
                        <a:pt x="564" y="711"/>
                      </a:lnTo>
                      <a:lnTo>
                        <a:pt x="563" y="711"/>
                      </a:lnTo>
                      <a:lnTo>
                        <a:pt x="562" y="711"/>
                      </a:lnTo>
                      <a:lnTo>
                        <a:pt x="562" y="711"/>
                      </a:lnTo>
                      <a:lnTo>
                        <a:pt x="561" y="711"/>
                      </a:lnTo>
                      <a:lnTo>
                        <a:pt x="560" y="711"/>
                      </a:lnTo>
                      <a:lnTo>
                        <a:pt x="560" y="711"/>
                      </a:lnTo>
                      <a:lnTo>
                        <a:pt x="559" y="711"/>
                      </a:lnTo>
                      <a:lnTo>
                        <a:pt x="558" y="711"/>
                      </a:lnTo>
                      <a:lnTo>
                        <a:pt x="558" y="711"/>
                      </a:lnTo>
                      <a:lnTo>
                        <a:pt x="558" y="710"/>
                      </a:lnTo>
                      <a:lnTo>
                        <a:pt x="557" y="710"/>
                      </a:lnTo>
                      <a:lnTo>
                        <a:pt x="557" y="710"/>
                      </a:lnTo>
                      <a:lnTo>
                        <a:pt x="556" y="710"/>
                      </a:lnTo>
                      <a:lnTo>
                        <a:pt x="556" y="710"/>
                      </a:lnTo>
                      <a:lnTo>
                        <a:pt x="555" y="710"/>
                      </a:lnTo>
                      <a:lnTo>
                        <a:pt x="555" y="710"/>
                      </a:lnTo>
                      <a:lnTo>
                        <a:pt x="554" y="710"/>
                      </a:lnTo>
                      <a:lnTo>
                        <a:pt x="554" y="711"/>
                      </a:lnTo>
                      <a:lnTo>
                        <a:pt x="554" y="711"/>
                      </a:lnTo>
                      <a:lnTo>
                        <a:pt x="553" y="711"/>
                      </a:lnTo>
                      <a:lnTo>
                        <a:pt x="552" y="711"/>
                      </a:lnTo>
                      <a:lnTo>
                        <a:pt x="552" y="710"/>
                      </a:lnTo>
                      <a:lnTo>
                        <a:pt x="552" y="710"/>
                      </a:lnTo>
                      <a:lnTo>
                        <a:pt x="552" y="711"/>
                      </a:lnTo>
                      <a:lnTo>
                        <a:pt x="551" y="712"/>
                      </a:lnTo>
                      <a:lnTo>
                        <a:pt x="551" y="712"/>
                      </a:lnTo>
                      <a:lnTo>
                        <a:pt x="550" y="712"/>
                      </a:lnTo>
                      <a:lnTo>
                        <a:pt x="550" y="712"/>
                      </a:lnTo>
                      <a:lnTo>
                        <a:pt x="549" y="712"/>
                      </a:lnTo>
                      <a:lnTo>
                        <a:pt x="549" y="712"/>
                      </a:lnTo>
                      <a:lnTo>
                        <a:pt x="548" y="712"/>
                      </a:lnTo>
                      <a:lnTo>
                        <a:pt x="548" y="712"/>
                      </a:lnTo>
                      <a:lnTo>
                        <a:pt x="548" y="711"/>
                      </a:lnTo>
                      <a:lnTo>
                        <a:pt x="547" y="711"/>
                      </a:lnTo>
                      <a:lnTo>
                        <a:pt x="547" y="711"/>
                      </a:lnTo>
                      <a:lnTo>
                        <a:pt x="547" y="712"/>
                      </a:lnTo>
                      <a:lnTo>
                        <a:pt x="546" y="712"/>
                      </a:lnTo>
                      <a:lnTo>
                        <a:pt x="545" y="712"/>
                      </a:lnTo>
                      <a:lnTo>
                        <a:pt x="545" y="712"/>
                      </a:lnTo>
                      <a:lnTo>
                        <a:pt x="545" y="713"/>
                      </a:lnTo>
                      <a:lnTo>
                        <a:pt x="544" y="714"/>
                      </a:lnTo>
                      <a:lnTo>
                        <a:pt x="543" y="714"/>
                      </a:lnTo>
                      <a:lnTo>
                        <a:pt x="543" y="714"/>
                      </a:lnTo>
                      <a:lnTo>
                        <a:pt x="542" y="714"/>
                      </a:lnTo>
                      <a:lnTo>
                        <a:pt x="541" y="714"/>
                      </a:lnTo>
                      <a:lnTo>
                        <a:pt x="541" y="715"/>
                      </a:lnTo>
                      <a:lnTo>
                        <a:pt x="540" y="715"/>
                      </a:lnTo>
                      <a:lnTo>
                        <a:pt x="539" y="715"/>
                      </a:lnTo>
                      <a:lnTo>
                        <a:pt x="539" y="715"/>
                      </a:lnTo>
                      <a:lnTo>
                        <a:pt x="539" y="716"/>
                      </a:lnTo>
                      <a:lnTo>
                        <a:pt x="539" y="716"/>
                      </a:lnTo>
                      <a:lnTo>
                        <a:pt x="538" y="716"/>
                      </a:lnTo>
                      <a:lnTo>
                        <a:pt x="538" y="717"/>
                      </a:lnTo>
                      <a:lnTo>
                        <a:pt x="537" y="717"/>
                      </a:lnTo>
                      <a:lnTo>
                        <a:pt x="537" y="717"/>
                      </a:lnTo>
                      <a:lnTo>
                        <a:pt x="536" y="718"/>
                      </a:lnTo>
                      <a:lnTo>
                        <a:pt x="535" y="718"/>
                      </a:lnTo>
                      <a:lnTo>
                        <a:pt x="535" y="718"/>
                      </a:lnTo>
                      <a:lnTo>
                        <a:pt x="535" y="718"/>
                      </a:lnTo>
                      <a:lnTo>
                        <a:pt x="534" y="718"/>
                      </a:lnTo>
                      <a:lnTo>
                        <a:pt x="533" y="718"/>
                      </a:lnTo>
                      <a:lnTo>
                        <a:pt x="533" y="719"/>
                      </a:lnTo>
                      <a:lnTo>
                        <a:pt x="533" y="719"/>
                      </a:lnTo>
                      <a:lnTo>
                        <a:pt x="533" y="720"/>
                      </a:lnTo>
                      <a:lnTo>
                        <a:pt x="533" y="720"/>
                      </a:lnTo>
                      <a:lnTo>
                        <a:pt x="533" y="721"/>
                      </a:lnTo>
                      <a:lnTo>
                        <a:pt x="533" y="722"/>
                      </a:lnTo>
                      <a:lnTo>
                        <a:pt x="532" y="722"/>
                      </a:lnTo>
                      <a:lnTo>
                        <a:pt x="532" y="722"/>
                      </a:lnTo>
                      <a:lnTo>
                        <a:pt x="531" y="722"/>
                      </a:lnTo>
                      <a:lnTo>
                        <a:pt x="531" y="722"/>
                      </a:lnTo>
                      <a:lnTo>
                        <a:pt x="531" y="723"/>
                      </a:lnTo>
                      <a:lnTo>
                        <a:pt x="530" y="723"/>
                      </a:lnTo>
                      <a:lnTo>
                        <a:pt x="529" y="723"/>
                      </a:lnTo>
                      <a:lnTo>
                        <a:pt x="529" y="724"/>
                      </a:lnTo>
                      <a:lnTo>
                        <a:pt x="528" y="724"/>
                      </a:lnTo>
                      <a:lnTo>
                        <a:pt x="528" y="724"/>
                      </a:lnTo>
                      <a:lnTo>
                        <a:pt x="528" y="724"/>
                      </a:lnTo>
                      <a:lnTo>
                        <a:pt x="527" y="725"/>
                      </a:lnTo>
                      <a:lnTo>
                        <a:pt x="526" y="725"/>
                      </a:lnTo>
                      <a:lnTo>
                        <a:pt x="526" y="726"/>
                      </a:lnTo>
                      <a:lnTo>
                        <a:pt x="526" y="726"/>
                      </a:lnTo>
                      <a:lnTo>
                        <a:pt x="526" y="727"/>
                      </a:lnTo>
                      <a:lnTo>
                        <a:pt x="527" y="727"/>
                      </a:lnTo>
                      <a:lnTo>
                        <a:pt x="527" y="728"/>
                      </a:lnTo>
                      <a:lnTo>
                        <a:pt x="526" y="728"/>
                      </a:lnTo>
                      <a:lnTo>
                        <a:pt x="526" y="729"/>
                      </a:lnTo>
                      <a:lnTo>
                        <a:pt x="526" y="729"/>
                      </a:lnTo>
                      <a:lnTo>
                        <a:pt x="525" y="729"/>
                      </a:lnTo>
                      <a:lnTo>
                        <a:pt x="524" y="729"/>
                      </a:lnTo>
                      <a:lnTo>
                        <a:pt x="524" y="729"/>
                      </a:lnTo>
                      <a:lnTo>
                        <a:pt x="524" y="729"/>
                      </a:lnTo>
                      <a:lnTo>
                        <a:pt x="523" y="729"/>
                      </a:lnTo>
                      <a:lnTo>
                        <a:pt x="523" y="729"/>
                      </a:lnTo>
                      <a:lnTo>
                        <a:pt x="522" y="729"/>
                      </a:lnTo>
                      <a:lnTo>
                        <a:pt x="522" y="730"/>
                      </a:lnTo>
                      <a:lnTo>
                        <a:pt x="522" y="730"/>
                      </a:lnTo>
                      <a:lnTo>
                        <a:pt x="521" y="730"/>
                      </a:lnTo>
                      <a:lnTo>
                        <a:pt x="520" y="730"/>
                      </a:lnTo>
                      <a:lnTo>
                        <a:pt x="520" y="731"/>
                      </a:lnTo>
                      <a:lnTo>
                        <a:pt x="520" y="730"/>
                      </a:lnTo>
                      <a:lnTo>
                        <a:pt x="519" y="730"/>
                      </a:lnTo>
                      <a:lnTo>
                        <a:pt x="519" y="731"/>
                      </a:lnTo>
                      <a:lnTo>
                        <a:pt x="518" y="731"/>
                      </a:lnTo>
                      <a:lnTo>
                        <a:pt x="518" y="730"/>
                      </a:lnTo>
                      <a:lnTo>
                        <a:pt x="518" y="730"/>
                      </a:lnTo>
                      <a:lnTo>
                        <a:pt x="518" y="729"/>
                      </a:lnTo>
                      <a:lnTo>
                        <a:pt x="517" y="729"/>
                      </a:lnTo>
                      <a:lnTo>
                        <a:pt x="517" y="730"/>
                      </a:lnTo>
                      <a:lnTo>
                        <a:pt x="516" y="730"/>
                      </a:lnTo>
                      <a:lnTo>
                        <a:pt x="516" y="730"/>
                      </a:lnTo>
                      <a:lnTo>
                        <a:pt x="516" y="731"/>
                      </a:lnTo>
                      <a:lnTo>
                        <a:pt x="516" y="731"/>
                      </a:lnTo>
                      <a:lnTo>
                        <a:pt x="516" y="732"/>
                      </a:lnTo>
                      <a:lnTo>
                        <a:pt x="516" y="733"/>
                      </a:lnTo>
                      <a:lnTo>
                        <a:pt x="515" y="733"/>
                      </a:lnTo>
                      <a:lnTo>
                        <a:pt x="515" y="733"/>
                      </a:lnTo>
                      <a:lnTo>
                        <a:pt x="514" y="734"/>
                      </a:lnTo>
                      <a:lnTo>
                        <a:pt x="514" y="734"/>
                      </a:lnTo>
                      <a:lnTo>
                        <a:pt x="513" y="735"/>
                      </a:lnTo>
                      <a:lnTo>
                        <a:pt x="512" y="735"/>
                      </a:lnTo>
                      <a:lnTo>
                        <a:pt x="512" y="735"/>
                      </a:lnTo>
                      <a:lnTo>
                        <a:pt x="512" y="736"/>
                      </a:lnTo>
                      <a:lnTo>
                        <a:pt x="512" y="736"/>
                      </a:lnTo>
                      <a:lnTo>
                        <a:pt x="511" y="736"/>
                      </a:lnTo>
                      <a:lnTo>
                        <a:pt x="511" y="737"/>
                      </a:lnTo>
                      <a:lnTo>
                        <a:pt x="511" y="737"/>
                      </a:lnTo>
                      <a:lnTo>
                        <a:pt x="511" y="738"/>
                      </a:lnTo>
                      <a:lnTo>
                        <a:pt x="511" y="739"/>
                      </a:lnTo>
                      <a:lnTo>
                        <a:pt x="510" y="739"/>
                      </a:lnTo>
                      <a:lnTo>
                        <a:pt x="511" y="739"/>
                      </a:lnTo>
                      <a:lnTo>
                        <a:pt x="511" y="740"/>
                      </a:lnTo>
                      <a:lnTo>
                        <a:pt x="511" y="741"/>
                      </a:lnTo>
                      <a:lnTo>
                        <a:pt x="510" y="741"/>
                      </a:lnTo>
                      <a:lnTo>
                        <a:pt x="509" y="741"/>
                      </a:lnTo>
                      <a:lnTo>
                        <a:pt x="509" y="740"/>
                      </a:lnTo>
                      <a:lnTo>
                        <a:pt x="508" y="740"/>
                      </a:lnTo>
                      <a:lnTo>
                        <a:pt x="507" y="740"/>
                      </a:lnTo>
                      <a:lnTo>
                        <a:pt x="507" y="741"/>
                      </a:lnTo>
                      <a:lnTo>
                        <a:pt x="507" y="741"/>
                      </a:lnTo>
                      <a:lnTo>
                        <a:pt x="507" y="741"/>
                      </a:lnTo>
                      <a:lnTo>
                        <a:pt x="507" y="742"/>
                      </a:lnTo>
                      <a:lnTo>
                        <a:pt x="507" y="743"/>
                      </a:lnTo>
                      <a:lnTo>
                        <a:pt x="506" y="743"/>
                      </a:lnTo>
                      <a:lnTo>
                        <a:pt x="506" y="743"/>
                      </a:lnTo>
                      <a:lnTo>
                        <a:pt x="505" y="744"/>
                      </a:lnTo>
                      <a:lnTo>
                        <a:pt x="505" y="744"/>
                      </a:lnTo>
                      <a:lnTo>
                        <a:pt x="504" y="744"/>
                      </a:lnTo>
                      <a:lnTo>
                        <a:pt x="504" y="745"/>
                      </a:lnTo>
                      <a:lnTo>
                        <a:pt x="504" y="745"/>
                      </a:lnTo>
                      <a:lnTo>
                        <a:pt x="505" y="746"/>
                      </a:lnTo>
                      <a:lnTo>
                        <a:pt x="505" y="747"/>
                      </a:lnTo>
                      <a:lnTo>
                        <a:pt x="505" y="748"/>
                      </a:lnTo>
                      <a:lnTo>
                        <a:pt x="504" y="748"/>
                      </a:lnTo>
                      <a:lnTo>
                        <a:pt x="503" y="748"/>
                      </a:lnTo>
                      <a:lnTo>
                        <a:pt x="503" y="749"/>
                      </a:lnTo>
                      <a:lnTo>
                        <a:pt x="503" y="750"/>
                      </a:lnTo>
                      <a:lnTo>
                        <a:pt x="504" y="750"/>
                      </a:lnTo>
                      <a:lnTo>
                        <a:pt x="504" y="750"/>
                      </a:lnTo>
                      <a:lnTo>
                        <a:pt x="504" y="751"/>
                      </a:lnTo>
                      <a:lnTo>
                        <a:pt x="504" y="752"/>
                      </a:lnTo>
                      <a:lnTo>
                        <a:pt x="504" y="752"/>
                      </a:lnTo>
                      <a:lnTo>
                        <a:pt x="504" y="753"/>
                      </a:lnTo>
                      <a:lnTo>
                        <a:pt x="504" y="754"/>
                      </a:lnTo>
                      <a:lnTo>
                        <a:pt x="505" y="754"/>
                      </a:lnTo>
                      <a:lnTo>
                        <a:pt x="505" y="754"/>
                      </a:lnTo>
                      <a:lnTo>
                        <a:pt x="505" y="754"/>
                      </a:lnTo>
                      <a:lnTo>
                        <a:pt x="506" y="754"/>
                      </a:lnTo>
                      <a:lnTo>
                        <a:pt x="506" y="754"/>
                      </a:lnTo>
                      <a:lnTo>
                        <a:pt x="507" y="754"/>
                      </a:lnTo>
                      <a:lnTo>
                        <a:pt x="507" y="755"/>
                      </a:lnTo>
                      <a:lnTo>
                        <a:pt x="507" y="756"/>
                      </a:lnTo>
                      <a:lnTo>
                        <a:pt x="507" y="756"/>
                      </a:lnTo>
                      <a:lnTo>
                        <a:pt x="507" y="757"/>
                      </a:lnTo>
                      <a:lnTo>
                        <a:pt x="507" y="758"/>
                      </a:lnTo>
                      <a:lnTo>
                        <a:pt x="508" y="758"/>
                      </a:lnTo>
                      <a:lnTo>
                        <a:pt x="508" y="759"/>
                      </a:lnTo>
                      <a:lnTo>
                        <a:pt x="508" y="760"/>
                      </a:lnTo>
                      <a:lnTo>
                        <a:pt x="507" y="760"/>
                      </a:lnTo>
                      <a:lnTo>
                        <a:pt x="507" y="761"/>
                      </a:lnTo>
                      <a:lnTo>
                        <a:pt x="507" y="762"/>
                      </a:lnTo>
                      <a:lnTo>
                        <a:pt x="506" y="762"/>
                      </a:lnTo>
                      <a:lnTo>
                        <a:pt x="506" y="762"/>
                      </a:lnTo>
                      <a:lnTo>
                        <a:pt x="505" y="762"/>
                      </a:lnTo>
                      <a:lnTo>
                        <a:pt x="505" y="762"/>
                      </a:lnTo>
                      <a:lnTo>
                        <a:pt x="505" y="762"/>
                      </a:lnTo>
                      <a:lnTo>
                        <a:pt x="504" y="762"/>
                      </a:lnTo>
                      <a:lnTo>
                        <a:pt x="504" y="761"/>
                      </a:lnTo>
                      <a:lnTo>
                        <a:pt x="504" y="760"/>
                      </a:lnTo>
                      <a:lnTo>
                        <a:pt x="503" y="760"/>
                      </a:lnTo>
                      <a:lnTo>
                        <a:pt x="503" y="761"/>
                      </a:lnTo>
                      <a:lnTo>
                        <a:pt x="502" y="761"/>
                      </a:lnTo>
                      <a:lnTo>
                        <a:pt x="501" y="761"/>
                      </a:lnTo>
                      <a:lnTo>
                        <a:pt x="501" y="760"/>
                      </a:lnTo>
                      <a:lnTo>
                        <a:pt x="501" y="760"/>
                      </a:lnTo>
                      <a:lnTo>
                        <a:pt x="501" y="760"/>
                      </a:lnTo>
                      <a:lnTo>
                        <a:pt x="500" y="760"/>
                      </a:lnTo>
                      <a:lnTo>
                        <a:pt x="500" y="759"/>
                      </a:lnTo>
                      <a:lnTo>
                        <a:pt x="499" y="758"/>
                      </a:lnTo>
                      <a:lnTo>
                        <a:pt x="499" y="758"/>
                      </a:lnTo>
                      <a:lnTo>
                        <a:pt x="499" y="758"/>
                      </a:lnTo>
                      <a:lnTo>
                        <a:pt x="498" y="758"/>
                      </a:lnTo>
                      <a:lnTo>
                        <a:pt x="498" y="757"/>
                      </a:lnTo>
                      <a:lnTo>
                        <a:pt x="497" y="757"/>
                      </a:lnTo>
                      <a:lnTo>
                        <a:pt x="497" y="756"/>
                      </a:lnTo>
                      <a:lnTo>
                        <a:pt x="496" y="757"/>
                      </a:lnTo>
                      <a:lnTo>
                        <a:pt x="495" y="757"/>
                      </a:lnTo>
                      <a:lnTo>
                        <a:pt x="495" y="757"/>
                      </a:lnTo>
                      <a:lnTo>
                        <a:pt x="494" y="757"/>
                      </a:lnTo>
                      <a:lnTo>
                        <a:pt x="494" y="756"/>
                      </a:lnTo>
                      <a:lnTo>
                        <a:pt x="493" y="756"/>
                      </a:lnTo>
                      <a:lnTo>
                        <a:pt x="492" y="756"/>
                      </a:lnTo>
                      <a:lnTo>
                        <a:pt x="492" y="756"/>
                      </a:lnTo>
                      <a:lnTo>
                        <a:pt x="492" y="756"/>
                      </a:lnTo>
                      <a:lnTo>
                        <a:pt x="492" y="755"/>
                      </a:lnTo>
                      <a:lnTo>
                        <a:pt x="491" y="755"/>
                      </a:lnTo>
                      <a:lnTo>
                        <a:pt x="491" y="754"/>
                      </a:lnTo>
                      <a:lnTo>
                        <a:pt x="491" y="754"/>
                      </a:lnTo>
                      <a:lnTo>
                        <a:pt x="490" y="754"/>
                      </a:lnTo>
                      <a:lnTo>
                        <a:pt x="491" y="753"/>
                      </a:lnTo>
                      <a:lnTo>
                        <a:pt x="491" y="752"/>
                      </a:lnTo>
                      <a:lnTo>
                        <a:pt x="490" y="752"/>
                      </a:lnTo>
                      <a:lnTo>
                        <a:pt x="490" y="752"/>
                      </a:lnTo>
                      <a:lnTo>
                        <a:pt x="490" y="752"/>
                      </a:lnTo>
                      <a:lnTo>
                        <a:pt x="490" y="751"/>
                      </a:lnTo>
                      <a:lnTo>
                        <a:pt x="489" y="751"/>
                      </a:lnTo>
                      <a:lnTo>
                        <a:pt x="488" y="751"/>
                      </a:lnTo>
                      <a:lnTo>
                        <a:pt x="488" y="750"/>
                      </a:lnTo>
                      <a:lnTo>
                        <a:pt x="487" y="750"/>
                      </a:lnTo>
                      <a:lnTo>
                        <a:pt x="486" y="750"/>
                      </a:lnTo>
                      <a:lnTo>
                        <a:pt x="486" y="750"/>
                      </a:lnTo>
                      <a:lnTo>
                        <a:pt x="486" y="750"/>
                      </a:lnTo>
                      <a:lnTo>
                        <a:pt x="485" y="750"/>
                      </a:lnTo>
                      <a:lnTo>
                        <a:pt x="485" y="750"/>
                      </a:lnTo>
                      <a:lnTo>
                        <a:pt x="485" y="749"/>
                      </a:lnTo>
                      <a:lnTo>
                        <a:pt x="484" y="749"/>
                      </a:lnTo>
                      <a:lnTo>
                        <a:pt x="484" y="748"/>
                      </a:lnTo>
                      <a:lnTo>
                        <a:pt x="484" y="748"/>
                      </a:lnTo>
                      <a:lnTo>
                        <a:pt x="483" y="748"/>
                      </a:lnTo>
                      <a:lnTo>
                        <a:pt x="482" y="748"/>
                      </a:lnTo>
                      <a:lnTo>
                        <a:pt x="482" y="747"/>
                      </a:lnTo>
                      <a:lnTo>
                        <a:pt x="481" y="747"/>
                      </a:lnTo>
                      <a:lnTo>
                        <a:pt x="481" y="746"/>
                      </a:lnTo>
                      <a:lnTo>
                        <a:pt x="480" y="746"/>
                      </a:lnTo>
                      <a:lnTo>
                        <a:pt x="480" y="745"/>
                      </a:lnTo>
                      <a:lnTo>
                        <a:pt x="479" y="745"/>
                      </a:lnTo>
                      <a:lnTo>
                        <a:pt x="479" y="745"/>
                      </a:lnTo>
                      <a:lnTo>
                        <a:pt x="479" y="744"/>
                      </a:lnTo>
                      <a:lnTo>
                        <a:pt x="479" y="743"/>
                      </a:lnTo>
                      <a:lnTo>
                        <a:pt x="480" y="743"/>
                      </a:lnTo>
                      <a:lnTo>
                        <a:pt x="479" y="743"/>
                      </a:lnTo>
                      <a:lnTo>
                        <a:pt x="479" y="743"/>
                      </a:lnTo>
                      <a:lnTo>
                        <a:pt x="478" y="743"/>
                      </a:lnTo>
                      <a:lnTo>
                        <a:pt x="478" y="744"/>
                      </a:lnTo>
                      <a:lnTo>
                        <a:pt x="478" y="744"/>
                      </a:lnTo>
                      <a:lnTo>
                        <a:pt x="478" y="745"/>
                      </a:lnTo>
                      <a:lnTo>
                        <a:pt x="477" y="745"/>
                      </a:lnTo>
                      <a:lnTo>
                        <a:pt x="476" y="745"/>
                      </a:lnTo>
                      <a:lnTo>
                        <a:pt x="476" y="744"/>
                      </a:lnTo>
                      <a:lnTo>
                        <a:pt x="476" y="744"/>
                      </a:lnTo>
                      <a:lnTo>
                        <a:pt x="475" y="744"/>
                      </a:lnTo>
                      <a:lnTo>
                        <a:pt x="474" y="744"/>
                      </a:lnTo>
                      <a:lnTo>
                        <a:pt x="473" y="744"/>
                      </a:lnTo>
                      <a:lnTo>
                        <a:pt x="473" y="745"/>
                      </a:lnTo>
                      <a:lnTo>
                        <a:pt x="473" y="745"/>
                      </a:lnTo>
                      <a:lnTo>
                        <a:pt x="473" y="745"/>
                      </a:lnTo>
                      <a:lnTo>
                        <a:pt x="472" y="745"/>
                      </a:lnTo>
                      <a:lnTo>
                        <a:pt x="472" y="746"/>
                      </a:lnTo>
                      <a:lnTo>
                        <a:pt x="471" y="746"/>
                      </a:lnTo>
                      <a:lnTo>
                        <a:pt x="471" y="746"/>
                      </a:lnTo>
                      <a:lnTo>
                        <a:pt x="470" y="746"/>
                      </a:lnTo>
                      <a:lnTo>
                        <a:pt x="469" y="746"/>
                      </a:lnTo>
                      <a:lnTo>
                        <a:pt x="469" y="746"/>
                      </a:lnTo>
                      <a:lnTo>
                        <a:pt x="468" y="747"/>
                      </a:lnTo>
                      <a:lnTo>
                        <a:pt x="467" y="747"/>
                      </a:lnTo>
                      <a:lnTo>
                        <a:pt x="467" y="747"/>
                      </a:lnTo>
                      <a:lnTo>
                        <a:pt x="467" y="748"/>
                      </a:lnTo>
                      <a:lnTo>
                        <a:pt x="466" y="748"/>
                      </a:lnTo>
                      <a:lnTo>
                        <a:pt x="465" y="748"/>
                      </a:lnTo>
                      <a:lnTo>
                        <a:pt x="465" y="748"/>
                      </a:lnTo>
                      <a:lnTo>
                        <a:pt x="464" y="748"/>
                      </a:lnTo>
                      <a:lnTo>
                        <a:pt x="464" y="747"/>
                      </a:lnTo>
                      <a:lnTo>
                        <a:pt x="464" y="746"/>
                      </a:lnTo>
                      <a:lnTo>
                        <a:pt x="463" y="745"/>
                      </a:lnTo>
                      <a:lnTo>
                        <a:pt x="463" y="745"/>
                      </a:lnTo>
                      <a:lnTo>
                        <a:pt x="462" y="745"/>
                      </a:lnTo>
                      <a:lnTo>
                        <a:pt x="462" y="744"/>
                      </a:lnTo>
                      <a:lnTo>
                        <a:pt x="461" y="744"/>
                      </a:lnTo>
                      <a:lnTo>
                        <a:pt x="461" y="745"/>
                      </a:lnTo>
                      <a:lnTo>
                        <a:pt x="460" y="745"/>
                      </a:lnTo>
                      <a:lnTo>
                        <a:pt x="459" y="745"/>
                      </a:lnTo>
                      <a:lnTo>
                        <a:pt x="459" y="745"/>
                      </a:lnTo>
                      <a:lnTo>
                        <a:pt x="458" y="745"/>
                      </a:lnTo>
                      <a:lnTo>
                        <a:pt x="457" y="745"/>
                      </a:lnTo>
                      <a:lnTo>
                        <a:pt x="457" y="745"/>
                      </a:lnTo>
                      <a:lnTo>
                        <a:pt x="456" y="745"/>
                      </a:lnTo>
                      <a:lnTo>
                        <a:pt x="455" y="745"/>
                      </a:lnTo>
                      <a:lnTo>
                        <a:pt x="454" y="744"/>
                      </a:lnTo>
                      <a:lnTo>
                        <a:pt x="454" y="743"/>
                      </a:lnTo>
                      <a:lnTo>
                        <a:pt x="454" y="743"/>
                      </a:lnTo>
                      <a:lnTo>
                        <a:pt x="454" y="742"/>
                      </a:lnTo>
                      <a:lnTo>
                        <a:pt x="453" y="742"/>
                      </a:lnTo>
                      <a:lnTo>
                        <a:pt x="454" y="741"/>
                      </a:lnTo>
                      <a:lnTo>
                        <a:pt x="454" y="741"/>
                      </a:lnTo>
                      <a:lnTo>
                        <a:pt x="454" y="741"/>
                      </a:lnTo>
                      <a:lnTo>
                        <a:pt x="454" y="740"/>
                      </a:lnTo>
                      <a:lnTo>
                        <a:pt x="454" y="740"/>
                      </a:lnTo>
                      <a:lnTo>
                        <a:pt x="454" y="739"/>
                      </a:lnTo>
                      <a:lnTo>
                        <a:pt x="454" y="739"/>
                      </a:lnTo>
                      <a:lnTo>
                        <a:pt x="454" y="738"/>
                      </a:lnTo>
                      <a:lnTo>
                        <a:pt x="454" y="737"/>
                      </a:lnTo>
                      <a:lnTo>
                        <a:pt x="454" y="737"/>
                      </a:lnTo>
                      <a:lnTo>
                        <a:pt x="454" y="736"/>
                      </a:lnTo>
                      <a:lnTo>
                        <a:pt x="454" y="736"/>
                      </a:lnTo>
                      <a:lnTo>
                        <a:pt x="454" y="735"/>
                      </a:lnTo>
                      <a:lnTo>
                        <a:pt x="454" y="734"/>
                      </a:lnTo>
                      <a:lnTo>
                        <a:pt x="454" y="733"/>
                      </a:lnTo>
                      <a:lnTo>
                        <a:pt x="455" y="733"/>
                      </a:lnTo>
                      <a:lnTo>
                        <a:pt x="455" y="733"/>
                      </a:lnTo>
                      <a:lnTo>
                        <a:pt x="456" y="732"/>
                      </a:lnTo>
                      <a:lnTo>
                        <a:pt x="456" y="731"/>
                      </a:lnTo>
                      <a:lnTo>
                        <a:pt x="456" y="731"/>
                      </a:lnTo>
                      <a:lnTo>
                        <a:pt x="456" y="730"/>
                      </a:lnTo>
                      <a:lnTo>
                        <a:pt x="456" y="729"/>
                      </a:lnTo>
                      <a:lnTo>
                        <a:pt x="456" y="729"/>
                      </a:lnTo>
                      <a:lnTo>
                        <a:pt x="456" y="728"/>
                      </a:lnTo>
                      <a:lnTo>
                        <a:pt x="455" y="727"/>
                      </a:lnTo>
                      <a:lnTo>
                        <a:pt x="455" y="726"/>
                      </a:lnTo>
                      <a:lnTo>
                        <a:pt x="455" y="726"/>
                      </a:lnTo>
                      <a:lnTo>
                        <a:pt x="454" y="725"/>
                      </a:lnTo>
                      <a:lnTo>
                        <a:pt x="454" y="724"/>
                      </a:lnTo>
                      <a:lnTo>
                        <a:pt x="454" y="724"/>
                      </a:lnTo>
                      <a:lnTo>
                        <a:pt x="454" y="724"/>
                      </a:lnTo>
                      <a:lnTo>
                        <a:pt x="454" y="723"/>
                      </a:lnTo>
                      <a:lnTo>
                        <a:pt x="454" y="722"/>
                      </a:lnTo>
                      <a:lnTo>
                        <a:pt x="454" y="722"/>
                      </a:lnTo>
                      <a:lnTo>
                        <a:pt x="454" y="721"/>
                      </a:lnTo>
                      <a:lnTo>
                        <a:pt x="454" y="720"/>
                      </a:lnTo>
                      <a:lnTo>
                        <a:pt x="454" y="720"/>
                      </a:lnTo>
                      <a:lnTo>
                        <a:pt x="454" y="719"/>
                      </a:lnTo>
                      <a:lnTo>
                        <a:pt x="454" y="718"/>
                      </a:lnTo>
                      <a:lnTo>
                        <a:pt x="454" y="718"/>
                      </a:lnTo>
                      <a:lnTo>
                        <a:pt x="454" y="717"/>
                      </a:lnTo>
                      <a:lnTo>
                        <a:pt x="454" y="716"/>
                      </a:lnTo>
                      <a:lnTo>
                        <a:pt x="453" y="716"/>
                      </a:lnTo>
                      <a:lnTo>
                        <a:pt x="452" y="716"/>
                      </a:lnTo>
                      <a:lnTo>
                        <a:pt x="452" y="716"/>
                      </a:lnTo>
                      <a:lnTo>
                        <a:pt x="451" y="716"/>
                      </a:lnTo>
                      <a:lnTo>
                        <a:pt x="450" y="716"/>
                      </a:lnTo>
                      <a:lnTo>
                        <a:pt x="450" y="717"/>
                      </a:lnTo>
                      <a:lnTo>
                        <a:pt x="449" y="717"/>
                      </a:lnTo>
                      <a:lnTo>
                        <a:pt x="448" y="717"/>
                      </a:lnTo>
                      <a:lnTo>
                        <a:pt x="448" y="717"/>
                      </a:lnTo>
                      <a:lnTo>
                        <a:pt x="447" y="718"/>
                      </a:lnTo>
                      <a:lnTo>
                        <a:pt x="446" y="718"/>
                      </a:lnTo>
                      <a:lnTo>
                        <a:pt x="446" y="718"/>
                      </a:lnTo>
                      <a:lnTo>
                        <a:pt x="445" y="718"/>
                      </a:lnTo>
                      <a:lnTo>
                        <a:pt x="445" y="717"/>
                      </a:lnTo>
                      <a:lnTo>
                        <a:pt x="444" y="717"/>
                      </a:lnTo>
                      <a:lnTo>
                        <a:pt x="444" y="716"/>
                      </a:lnTo>
                      <a:lnTo>
                        <a:pt x="444" y="716"/>
                      </a:lnTo>
                      <a:lnTo>
                        <a:pt x="444" y="716"/>
                      </a:lnTo>
                      <a:lnTo>
                        <a:pt x="443" y="716"/>
                      </a:lnTo>
                      <a:lnTo>
                        <a:pt x="443" y="715"/>
                      </a:lnTo>
                      <a:lnTo>
                        <a:pt x="443" y="714"/>
                      </a:lnTo>
                      <a:lnTo>
                        <a:pt x="443" y="714"/>
                      </a:lnTo>
                      <a:lnTo>
                        <a:pt x="442" y="714"/>
                      </a:lnTo>
                      <a:lnTo>
                        <a:pt x="442" y="713"/>
                      </a:lnTo>
                      <a:lnTo>
                        <a:pt x="442" y="713"/>
                      </a:lnTo>
                      <a:lnTo>
                        <a:pt x="442" y="712"/>
                      </a:lnTo>
                      <a:lnTo>
                        <a:pt x="442" y="712"/>
                      </a:lnTo>
                      <a:lnTo>
                        <a:pt x="442" y="712"/>
                      </a:lnTo>
                      <a:lnTo>
                        <a:pt x="442" y="711"/>
                      </a:lnTo>
                      <a:lnTo>
                        <a:pt x="442" y="710"/>
                      </a:lnTo>
                      <a:lnTo>
                        <a:pt x="442" y="710"/>
                      </a:lnTo>
                      <a:lnTo>
                        <a:pt x="442" y="709"/>
                      </a:lnTo>
                      <a:lnTo>
                        <a:pt x="442" y="708"/>
                      </a:lnTo>
                      <a:lnTo>
                        <a:pt x="442" y="707"/>
                      </a:lnTo>
                      <a:lnTo>
                        <a:pt x="442" y="707"/>
                      </a:lnTo>
                      <a:lnTo>
                        <a:pt x="442" y="706"/>
                      </a:lnTo>
                      <a:lnTo>
                        <a:pt x="442" y="705"/>
                      </a:lnTo>
                      <a:lnTo>
                        <a:pt x="441" y="705"/>
                      </a:lnTo>
                      <a:lnTo>
                        <a:pt x="441" y="704"/>
                      </a:lnTo>
                      <a:lnTo>
                        <a:pt x="441" y="703"/>
                      </a:lnTo>
                      <a:lnTo>
                        <a:pt x="440" y="703"/>
                      </a:lnTo>
                      <a:lnTo>
                        <a:pt x="440" y="703"/>
                      </a:lnTo>
                      <a:lnTo>
                        <a:pt x="440" y="702"/>
                      </a:lnTo>
                      <a:lnTo>
                        <a:pt x="439" y="702"/>
                      </a:lnTo>
                      <a:lnTo>
                        <a:pt x="439" y="701"/>
                      </a:lnTo>
                      <a:lnTo>
                        <a:pt x="438" y="701"/>
                      </a:lnTo>
                      <a:lnTo>
                        <a:pt x="438" y="701"/>
                      </a:lnTo>
                      <a:lnTo>
                        <a:pt x="438" y="701"/>
                      </a:lnTo>
                      <a:lnTo>
                        <a:pt x="438" y="700"/>
                      </a:lnTo>
                      <a:lnTo>
                        <a:pt x="437" y="700"/>
                      </a:lnTo>
                      <a:lnTo>
                        <a:pt x="436" y="700"/>
                      </a:lnTo>
                      <a:lnTo>
                        <a:pt x="435" y="701"/>
                      </a:lnTo>
                      <a:lnTo>
                        <a:pt x="435" y="701"/>
                      </a:lnTo>
                      <a:lnTo>
                        <a:pt x="435" y="701"/>
                      </a:lnTo>
                      <a:lnTo>
                        <a:pt x="435" y="702"/>
                      </a:lnTo>
                      <a:lnTo>
                        <a:pt x="435" y="703"/>
                      </a:lnTo>
                      <a:lnTo>
                        <a:pt x="434" y="703"/>
                      </a:lnTo>
                      <a:lnTo>
                        <a:pt x="433" y="703"/>
                      </a:lnTo>
                      <a:lnTo>
                        <a:pt x="433" y="704"/>
                      </a:lnTo>
                      <a:lnTo>
                        <a:pt x="433" y="705"/>
                      </a:lnTo>
                      <a:lnTo>
                        <a:pt x="433" y="704"/>
                      </a:lnTo>
                      <a:lnTo>
                        <a:pt x="432" y="704"/>
                      </a:lnTo>
                      <a:lnTo>
                        <a:pt x="431" y="704"/>
                      </a:lnTo>
                      <a:lnTo>
                        <a:pt x="431" y="703"/>
                      </a:lnTo>
                      <a:lnTo>
                        <a:pt x="431" y="703"/>
                      </a:lnTo>
                      <a:lnTo>
                        <a:pt x="431" y="703"/>
                      </a:lnTo>
                      <a:lnTo>
                        <a:pt x="431" y="702"/>
                      </a:lnTo>
                      <a:lnTo>
                        <a:pt x="431" y="701"/>
                      </a:lnTo>
                      <a:lnTo>
                        <a:pt x="431" y="701"/>
                      </a:lnTo>
                      <a:lnTo>
                        <a:pt x="431" y="701"/>
                      </a:lnTo>
                      <a:lnTo>
                        <a:pt x="431" y="700"/>
                      </a:lnTo>
                      <a:lnTo>
                        <a:pt x="431" y="699"/>
                      </a:lnTo>
                      <a:lnTo>
                        <a:pt x="431" y="699"/>
                      </a:lnTo>
                      <a:lnTo>
                        <a:pt x="431" y="698"/>
                      </a:lnTo>
                      <a:lnTo>
                        <a:pt x="431" y="698"/>
                      </a:lnTo>
                      <a:lnTo>
                        <a:pt x="431" y="698"/>
                      </a:lnTo>
                      <a:lnTo>
                        <a:pt x="431" y="697"/>
                      </a:lnTo>
                      <a:lnTo>
                        <a:pt x="431" y="697"/>
                      </a:lnTo>
                      <a:lnTo>
                        <a:pt x="432" y="696"/>
                      </a:lnTo>
                      <a:lnTo>
                        <a:pt x="432" y="695"/>
                      </a:lnTo>
                      <a:lnTo>
                        <a:pt x="431" y="695"/>
                      </a:lnTo>
                      <a:lnTo>
                        <a:pt x="431" y="695"/>
                      </a:lnTo>
                      <a:lnTo>
                        <a:pt x="431" y="695"/>
                      </a:lnTo>
                      <a:lnTo>
                        <a:pt x="429" y="695"/>
                      </a:lnTo>
                      <a:lnTo>
                        <a:pt x="429" y="694"/>
                      </a:lnTo>
                      <a:lnTo>
                        <a:pt x="428" y="693"/>
                      </a:lnTo>
                      <a:lnTo>
                        <a:pt x="428" y="693"/>
                      </a:lnTo>
                      <a:lnTo>
                        <a:pt x="427" y="693"/>
                      </a:lnTo>
                      <a:lnTo>
                        <a:pt x="427" y="692"/>
                      </a:lnTo>
                      <a:lnTo>
                        <a:pt x="427" y="691"/>
                      </a:lnTo>
                      <a:lnTo>
                        <a:pt x="427" y="691"/>
                      </a:lnTo>
                      <a:lnTo>
                        <a:pt x="426" y="691"/>
                      </a:lnTo>
                      <a:lnTo>
                        <a:pt x="425" y="690"/>
                      </a:lnTo>
                      <a:lnTo>
                        <a:pt x="425" y="690"/>
                      </a:lnTo>
                      <a:lnTo>
                        <a:pt x="425" y="689"/>
                      </a:lnTo>
                      <a:lnTo>
                        <a:pt x="424" y="689"/>
                      </a:lnTo>
                      <a:lnTo>
                        <a:pt x="423" y="689"/>
                      </a:lnTo>
                      <a:lnTo>
                        <a:pt x="423" y="689"/>
                      </a:lnTo>
                      <a:lnTo>
                        <a:pt x="423" y="689"/>
                      </a:lnTo>
                      <a:lnTo>
                        <a:pt x="423" y="688"/>
                      </a:lnTo>
                      <a:lnTo>
                        <a:pt x="422" y="688"/>
                      </a:lnTo>
                      <a:lnTo>
                        <a:pt x="421" y="688"/>
                      </a:lnTo>
                      <a:lnTo>
                        <a:pt x="421" y="687"/>
                      </a:lnTo>
                      <a:lnTo>
                        <a:pt x="421" y="687"/>
                      </a:lnTo>
                      <a:lnTo>
                        <a:pt x="421" y="686"/>
                      </a:lnTo>
                      <a:lnTo>
                        <a:pt x="420" y="686"/>
                      </a:lnTo>
                      <a:lnTo>
                        <a:pt x="420" y="686"/>
                      </a:lnTo>
                      <a:lnTo>
                        <a:pt x="419" y="686"/>
                      </a:lnTo>
                      <a:lnTo>
                        <a:pt x="419" y="685"/>
                      </a:lnTo>
                      <a:lnTo>
                        <a:pt x="419" y="684"/>
                      </a:lnTo>
                      <a:lnTo>
                        <a:pt x="418" y="684"/>
                      </a:lnTo>
                      <a:lnTo>
                        <a:pt x="418" y="684"/>
                      </a:lnTo>
                      <a:lnTo>
                        <a:pt x="417" y="684"/>
                      </a:lnTo>
                      <a:lnTo>
                        <a:pt x="416" y="683"/>
                      </a:lnTo>
                      <a:lnTo>
                        <a:pt x="416" y="683"/>
                      </a:lnTo>
                      <a:lnTo>
                        <a:pt x="416" y="682"/>
                      </a:lnTo>
                      <a:lnTo>
                        <a:pt x="415" y="682"/>
                      </a:lnTo>
                      <a:lnTo>
                        <a:pt x="414" y="682"/>
                      </a:lnTo>
                      <a:lnTo>
                        <a:pt x="414" y="681"/>
                      </a:lnTo>
                      <a:lnTo>
                        <a:pt x="414" y="681"/>
                      </a:lnTo>
                      <a:lnTo>
                        <a:pt x="414" y="680"/>
                      </a:lnTo>
                      <a:lnTo>
                        <a:pt x="413" y="680"/>
                      </a:lnTo>
                      <a:lnTo>
                        <a:pt x="412" y="680"/>
                      </a:lnTo>
                      <a:lnTo>
                        <a:pt x="412" y="680"/>
                      </a:lnTo>
                      <a:lnTo>
                        <a:pt x="412" y="680"/>
                      </a:lnTo>
                      <a:lnTo>
                        <a:pt x="411" y="680"/>
                      </a:lnTo>
                      <a:lnTo>
                        <a:pt x="410" y="680"/>
                      </a:lnTo>
                      <a:lnTo>
                        <a:pt x="410" y="679"/>
                      </a:lnTo>
                      <a:lnTo>
                        <a:pt x="409" y="679"/>
                      </a:lnTo>
                      <a:lnTo>
                        <a:pt x="408" y="679"/>
                      </a:lnTo>
                      <a:lnTo>
                        <a:pt x="408" y="680"/>
                      </a:lnTo>
                      <a:lnTo>
                        <a:pt x="408" y="680"/>
                      </a:lnTo>
                      <a:lnTo>
                        <a:pt x="408" y="680"/>
                      </a:lnTo>
                      <a:lnTo>
                        <a:pt x="407" y="681"/>
                      </a:lnTo>
                      <a:lnTo>
                        <a:pt x="406" y="681"/>
                      </a:lnTo>
                      <a:lnTo>
                        <a:pt x="406" y="680"/>
                      </a:lnTo>
                      <a:lnTo>
                        <a:pt x="405" y="680"/>
                      </a:lnTo>
                      <a:lnTo>
                        <a:pt x="404" y="680"/>
                      </a:lnTo>
                      <a:lnTo>
                        <a:pt x="404" y="680"/>
                      </a:lnTo>
                      <a:lnTo>
                        <a:pt x="404" y="679"/>
                      </a:lnTo>
                      <a:lnTo>
                        <a:pt x="404" y="679"/>
                      </a:lnTo>
                      <a:lnTo>
                        <a:pt x="404" y="678"/>
                      </a:lnTo>
                      <a:lnTo>
                        <a:pt x="403" y="678"/>
                      </a:lnTo>
                      <a:lnTo>
                        <a:pt x="402" y="678"/>
                      </a:lnTo>
                      <a:lnTo>
                        <a:pt x="402" y="678"/>
                      </a:lnTo>
                      <a:lnTo>
                        <a:pt x="402" y="677"/>
                      </a:lnTo>
                      <a:lnTo>
                        <a:pt x="402" y="677"/>
                      </a:lnTo>
                      <a:lnTo>
                        <a:pt x="401" y="676"/>
                      </a:lnTo>
                      <a:lnTo>
                        <a:pt x="400" y="676"/>
                      </a:lnTo>
                      <a:lnTo>
                        <a:pt x="400" y="676"/>
                      </a:lnTo>
                      <a:lnTo>
                        <a:pt x="400" y="675"/>
                      </a:lnTo>
                      <a:lnTo>
                        <a:pt x="400" y="674"/>
                      </a:lnTo>
                      <a:lnTo>
                        <a:pt x="399" y="674"/>
                      </a:lnTo>
                      <a:lnTo>
                        <a:pt x="398" y="674"/>
                      </a:lnTo>
                      <a:lnTo>
                        <a:pt x="398" y="674"/>
                      </a:lnTo>
                      <a:lnTo>
                        <a:pt x="398" y="673"/>
                      </a:lnTo>
                      <a:lnTo>
                        <a:pt x="398" y="672"/>
                      </a:lnTo>
                      <a:lnTo>
                        <a:pt x="398" y="672"/>
                      </a:lnTo>
                      <a:lnTo>
                        <a:pt x="397" y="672"/>
                      </a:lnTo>
                      <a:lnTo>
                        <a:pt x="397" y="671"/>
                      </a:lnTo>
                      <a:lnTo>
                        <a:pt x="397" y="671"/>
                      </a:lnTo>
                      <a:lnTo>
                        <a:pt x="397" y="670"/>
                      </a:lnTo>
                      <a:lnTo>
                        <a:pt x="396" y="670"/>
                      </a:lnTo>
                      <a:lnTo>
                        <a:pt x="396" y="669"/>
                      </a:lnTo>
                      <a:lnTo>
                        <a:pt x="395" y="669"/>
                      </a:lnTo>
                      <a:lnTo>
                        <a:pt x="395" y="668"/>
                      </a:lnTo>
                      <a:lnTo>
                        <a:pt x="395" y="667"/>
                      </a:lnTo>
                      <a:lnTo>
                        <a:pt x="395" y="667"/>
                      </a:lnTo>
                      <a:lnTo>
                        <a:pt x="395" y="667"/>
                      </a:lnTo>
                      <a:lnTo>
                        <a:pt x="395" y="666"/>
                      </a:lnTo>
                      <a:lnTo>
                        <a:pt x="395" y="665"/>
                      </a:lnTo>
                      <a:lnTo>
                        <a:pt x="395" y="665"/>
                      </a:lnTo>
                      <a:lnTo>
                        <a:pt x="395" y="664"/>
                      </a:lnTo>
                      <a:lnTo>
                        <a:pt x="395" y="663"/>
                      </a:lnTo>
                      <a:lnTo>
                        <a:pt x="395" y="663"/>
                      </a:lnTo>
                      <a:lnTo>
                        <a:pt x="394" y="663"/>
                      </a:lnTo>
                      <a:lnTo>
                        <a:pt x="394" y="663"/>
                      </a:lnTo>
                      <a:lnTo>
                        <a:pt x="394" y="662"/>
                      </a:lnTo>
                      <a:lnTo>
                        <a:pt x="394" y="661"/>
                      </a:lnTo>
                      <a:lnTo>
                        <a:pt x="395" y="661"/>
                      </a:lnTo>
                      <a:lnTo>
                        <a:pt x="394" y="661"/>
                      </a:lnTo>
                      <a:lnTo>
                        <a:pt x="394" y="661"/>
                      </a:lnTo>
                      <a:lnTo>
                        <a:pt x="394" y="661"/>
                      </a:lnTo>
                      <a:lnTo>
                        <a:pt x="393" y="661"/>
                      </a:lnTo>
                      <a:lnTo>
                        <a:pt x="393" y="662"/>
                      </a:lnTo>
                      <a:lnTo>
                        <a:pt x="393" y="661"/>
                      </a:lnTo>
                      <a:lnTo>
                        <a:pt x="392" y="661"/>
                      </a:lnTo>
                      <a:lnTo>
                        <a:pt x="392" y="661"/>
                      </a:lnTo>
                      <a:lnTo>
                        <a:pt x="391" y="661"/>
                      </a:lnTo>
                      <a:lnTo>
                        <a:pt x="391" y="660"/>
                      </a:lnTo>
                      <a:lnTo>
                        <a:pt x="391" y="659"/>
                      </a:lnTo>
                      <a:lnTo>
                        <a:pt x="391" y="659"/>
                      </a:lnTo>
                      <a:lnTo>
                        <a:pt x="391" y="659"/>
                      </a:lnTo>
                      <a:lnTo>
                        <a:pt x="391" y="658"/>
                      </a:lnTo>
                      <a:lnTo>
                        <a:pt x="391" y="657"/>
                      </a:lnTo>
                      <a:lnTo>
                        <a:pt x="390" y="657"/>
                      </a:lnTo>
                      <a:lnTo>
                        <a:pt x="390" y="657"/>
                      </a:lnTo>
                      <a:lnTo>
                        <a:pt x="389" y="657"/>
                      </a:lnTo>
                      <a:lnTo>
                        <a:pt x="389" y="656"/>
                      </a:lnTo>
                      <a:lnTo>
                        <a:pt x="389" y="655"/>
                      </a:lnTo>
                      <a:lnTo>
                        <a:pt x="389" y="655"/>
                      </a:lnTo>
                      <a:lnTo>
                        <a:pt x="389" y="655"/>
                      </a:lnTo>
                      <a:lnTo>
                        <a:pt x="388" y="655"/>
                      </a:lnTo>
                      <a:lnTo>
                        <a:pt x="388" y="654"/>
                      </a:lnTo>
                      <a:lnTo>
                        <a:pt x="388" y="653"/>
                      </a:lnTo>
                      <a:lnTo>
                        <a:pt x="388" y="653"/>
                      </a:lnTo>
                      <a:lnTo>
                        <a:pt x="388" y="652"/>
                      </a:lnTo>
                      <a:lnTo>
                        <a:pt x="388" y="651"/>
                      </a:lnTo>
                      <a:lnTo>
                        <a:pt x="387" y="651"/>
                      </a:lnTo>
                      <a:lnTo>
                        <a:pt x="387" y="651"/>
                      </a:lnTo>
                      <a:lnTo>
                        <a:pt x="386" y="651"/>
                      </a:lnTo>
                      <a:lnTo>
                        <a:pt x="385" y="651"/>
                      </a:lnTo>
                      <a:lnTo>
                        <a:pt x="385" y="651"/>
                      </a:lnTo>
                      <a:lnTo>
                        <a:pt x="384" y="651"/>
                      </a:lnTo>
                      <a:lnTo>
                        <a:pt x="383" y="651"/>
                      </a:lnTo>
                      <a:lnTo>
                        <a:pt x="383" y="651"/>
                      </a:lnTo>
                      <a:lnTo>
                        <a:pt x="383" y="650"/>
                      </a:lnTo>
                      <a:lnTo>
                        <a:pt x="383" y="649"/>
                      </a:lnTo>
                      <a:lnTo>
                        <a:pt x="382" y="649"/>
                      </a:lnTo>
                      <a:lnTo>
                        <a:pt x="382" y="649"/>
                      </a:lnTo>
                      <a:lnTo>
                        <a:pt x="381" y="649"/>
                      </a:lnTo>
                      <a:lnTo>
                        <a:pt x="381" y="649"/>
                      </a:lnTo>
                      <a:lnTo>
                        <a:pt x="381" y="648"/>
                      </a:lnTo>
                      <a:lnTo>
                        <a:pt x="380" y="648"/>
                      </a:lnTo>
                      <a:lnTo>
                        <a:pt x="380" y="649"/>
                      </a:lnTo>
                      <a:lnTo>
                        <a:pt x="380" y="649"/>
                      </a:lnTo>
                      <a:lnTo>
                        <a:pt x="379" y="649"/>
                      </a:lnTo>
                      <a:lnTo>
                        <a:pt x="379" y="649"/>
                      </a:lnTo>
                      <a:lnTo>
                        <a:pt x="378" y="649"/>
                      </a:lnTo>
                      <a:lnTo>
                        <a:pt x="378" y="649"/>
                      </a:lnTo>
                      <a:lnTo>
                        <a:pt x="378" y="649"/>
                      </a:lnTo>
                      <a:lnTo>
                        <a:pt x="377" y="649"/>
                      </a:lnTo>
                      <a:lnTo>
                        <a:pt x="377" y="649"/>
                      </a:lnTo>
                      <a:lnTo>
                        <a:pt x="376" y="648"/>
                      </a:lnTo>
                      <a:lnTo>
                        <a:pt x="376" y="647"/>
                      </a:lnTo>
                      <a:lnTo>
                        <a:pt x="376" y="646"/>
                      </a:lnTo>
                      <a:lnTo>
                        <a:pt x="376" y="646"/>
                      </a:lnTo>
                      <a:lnTo>
                        <a:pt x="375" y="646"/>
                      </a:lnTo>
                      <a:lnTo>
                        <a:pt x="374" y="646"/>
                      </a:lnTo>
                      <a:lnTo>
                        <a:pt x="374" y="646"/>
                      </a:lnTo>
                      <a:lnTo>
                        <a:pt x="374" y="646"/>
                      </a:lnTo>
                      <a:lnTo>
                        <a:pt x="373" y="646"/>
                      </a:lnTo>
                      <a:lnTo>
                        <a:pt x="372" y="646"/>
                      </a:lnTo>
                      <a:lnTo>
                        <a:pt x="372" y="646"/>
                      </a:lnTo>
                      <a:lnTo>
                        <a:pt x="372" y="645"/>
                      </a:lnTo>
                      <a:lnTo>
                        <a:pt x="372" y="644"/>
                      </a:lnTo>
                      <a:lnTo>
                        <a:pt x="371" y="644"/>
                      </a:lnTo>
                      <a:lnTo>
                        <a:pt x="371" y="644"/>
                      </a:lnTo>
                      <a:lnTo>
                        <a:pt x="371" y="643"/>
                      </a:lnTo>
                      <a:lnTo>
                        <a:pt x="370" y="643"/>
                      </a:lnTo>
                      <a:lnTo>
                        <a:pt x="370" y="642"/>
                      </a:lnTo>
                      <a:lnTo>
                        <a:pt x="370" y="642"/>
                      </a:lnTo>
                      <a:lnTo>
                        <a:pt x="369" y="642"/>
                      </a:lnTo>
                      <a:lnTo>
                        <a:pt x="369" y="641"/>
                      </a:lnTo>
                      <a:lnTo>
                        <a:pt x="368" y="641"/>
                      </a:lnTo>
                      <a:lnTo>
                        <a:pt x="368" y="641"/>
                      </a:lnTo>
                      <a:lnTo>
                        <a:pt x="368" y="640"/>
                      </a:lnTo>
                      <a:lnTo>
                        <a:pt x="367" y="640"/>
                      </a:lnTo>
                      <a:lnTo>
                        <a:pt x="367" y="640"/>
                      </a:lnTo>
                      <a:lnTo>
                        <a:pt x="367" y="639"/>
                      </a:lnTo>
                      <a:lnTo>
                        <a:pt x="366" y="639"/>
                      </a:lnTo>
                      <a:lnTo>
                        <a:pt x="366" y="639"/>
                      </a:lnTo>
                      <a:lnTo>
                        <a:pt x="365" y="639"/>
                      </a:lnTo>
                      <a:lnTo>
                        <a:pt x="365" y="638"/>
                      </a:lnTo>
                      <a:lnTo>
                        <a:pt x="365" y="638"/>
                      </a:lnTo>
                      <a:lnTo>
                        <a:pt x="364" y="638"/>
                      </a:lnTo>
                      <a:lnTo>
                        <a:pt x="364" y="638"/>
                      </a:lnTo>
                      <a:lnTo>
                        <a:pt x="364" y="637"/>
                      </a:lnTo>
                      <a:lnTo>
                        <a:pt x="364" y="636"/>
                      </a:lnTo>
                      <a:lnTo>
                        <a:pt x="364" y="636"/>
                      </a:lnTo>
                      <a:lnTo>
                        <a:pt x="364" y="635"/>
                      </a:lnTo>
                      <a:lnTo>
                        <a:pt x="363" y="635"/>
                      </a:lnTo>
                      <a:lnTo>
                        <a:pt x="363" y="634"/>
                      </a:lnTo>
                      <a:lnTo>
                        <a:pt x="363" y="634"/>
                      </a:lnTo>
                      <a:lnTo>
                        <a:pt x="362" y="634"/>
                      </a:lnTo>
                      <a:lnTo>
                        <a:pt x="362" y="633"/>
                      </a:lnTo>
                      <a:lnTo>
                        <a:pt x="362" y="632"/>
                      </a:lnTo>
                      <a:lnTo>
                        <a:pt x="362" y="632"/>
                      </a:lnTo>
                      <a:lnTo>
                        <a:pt x="362" y="631"/>
                      </a:lnTo>
                      <a:lnTo>
                        <a:pt x="362" y="630"/>
                      </a:lnTo>
                      <a:lnTo>
                        <a:pt x="362" y="630"/>
                      </a:lnTo>
                      <a:lnTo>
                        <a:pt x="362" y="630"/>
                      </a:lnTo>
                      <a:lnTo>
                        <a:pt x="361" y="630"/>
                      </a:lnTo>
                      <a:lnTo>
                        <a:pt x="360" y="630"/>
                      </a:lnTo>
                      <a:lnTo>
                        <a:pt x="360" y="629"/>
                      </a:lnTo>
                      <a:lnTo>
                        <a:pt x="359" y="629"/>
                      </a:lnTo>
                      <a:lnTo>
                        <a:pt x="359" y="628"/>
                      </a:lnTo>
                      <a:lnTo>
                        <a:pt x="359" y="627"/>
                      </a:lnTo>
                      <a:lnTo>
                        <a:pt x="359" y="627"/>
                      </a:lnTo>
                      <a:lnTo>
                        <a:pt x="358" y="627"/>
                      </a:lnTo>
                      <a:lnTo>
                        <a:pt x="358" y="626"/>
                      </a:lnTo>
                      <a:lnTo>
                        <a:pt x="357" y="626"/>
                      </a:lnTo>
                      <a:lnTo>
                        <a:pt x="357" y="625"/>
                      </a:lnTo>
                      <a:lnTo>
                        <a:pt x="357" y="625"/>
                      </a:lnTo>
                      <a:lnTo>
                        <a:pt x="356" y="625"/>
                      </a:lnTo>
                      <a:lnTo>
                        <a:pt x="356" y="625"/>
                      </a:lnTo>
                      <a:lnTo>
                        <a:pt x="355" y="625"/>
                      </a:lnTo>
                      <a:lnTo>
                        <a:pt x="355" y="624"/>
                      </a:lnTo>
                      <a:lnTo>
                        <a:pt x="355" y="623"/>
                      </a:lnTo>
                      <a:lnTo>
                        <a:pt x="355" y="623"/>
                      </a:lnTo>
                      <a:lnTo>
                        <a:pt x="354" y="623"/>
                      </a:lnTo>
                      <a:lnTo>
                        <a:pt x="354" y="622"/>
                      </a:lnTo>
                      <a:lnTo>
                        <a:pt x="353" y="622"/>
                      </a:lnTo>
                      <a:lnTo>
                        <a:pt x="353" y="622"/>
                      </a:lnTo>
                      <a:lnTo>
                        <a:pt x="353" y="621"/>
                      </a:lnTo>
                      <a:lnTo>
                        <a:pt x="353" y="621"/>
                      </a:lnTo>
                      <a:lnTo>
                        <a:pt x="353" y="621"/>
                      </a:lnTo>
                      <a:lnTo>
                        <a:pt x="353" y="620"/>
                      </a:lnTo>
                      <a:lnTo>
                        <a:pt x="353" y="620"/>
                      </a:lnTo>
                      <a:lnTo>
                        <a:pt x="352" y="620"/>
                      </a:lnTo>
                      <a:lnTo>
                        <a:pt x="352" y="621"/>
                      </a:lnTo>
                      <a:lnTo>
                        <a:pt x="351" y="621"/>
                      </a:lnTo>
                      <a:lnTo>
                        <a:pt x="351" y="621"/>
                      </a:lnTo>
                      <a:lnTo>
                        <a:pt x="350" y="621"/>
                      </a:lnTo>
                      <a:lnTo>
                        <a:pt x="350" y="620"/>
                      </a:lnTo>
                      <a:lnTo>
                        <a:pt x="349" y="620"/>
                      </a:lnTo>
                      <a:lnTo>
                        <a:pt x="349" y="619"/>
                      </a:lnTo>
                      <a:lnTo>
                        <a:pt x="349" y="619"/>
                      </a:lnTo>
                      <a:lnTo>
                        <a:pt x="348" y="619"/>
                      </a:lnTo>
                      <a:lnTo>
                        <a:pt x="347" y="619"/>
                      </a:lnTo>
                      <a:lnTo>
                        <a:pt x="347" y="618"/>
                      </a:lnTo>
                      <a:lnTo>
                        <a:pt x="346" y="617"/>
                      </a:lnTo>
                      <a:lnTo>
                        <a:pt x="345" y="617"/>
                      </a:lnTo>
                      <a:lnTo>
                        <a:pt x="345" y="617"/>
                      </a:lnTo>
                      <a:lnTo>
                        <a:pt x="345" y="616"/>
                      </a:lnTo>
                      <a:lnTo>
                        <a:pt x="344" y="616"/>
                      </a:lnTo>
                      <a:lnTo>
                        <a:pt x="343" y="616"/>
                      </a:lnTo>
                      <a:lnTo>
                        <a:pt x="343" y="615"/>
                      </a:lnTo>
                      <a:lnTo>
                        <a:pt x="343" y="615"/>
                      </a:lnTo>
                      <a:lnTo>
                        <a:pt x="342" y="615"/>
                      </a:lnTo>
                      <a:lnTo>
                        <a:pt x="342" y="614"/>
                      </a:lnTo>
                      <a:lnTo>
                        <a:pt x="341" y="614"/>
                      </a:lnTo>
                      <a:lnTo>
                        <a:pt x="341" y="613"/>
                      </a:lnTo>
                      <a:lnTo>
                        <a:pt x="341" y="613"/>
                      </a:lnTo>
                      <a:lnTo>
                        <a:pt x="341" y="612"/>
                      </a:lnTo>
                      <a:lnTo>
                        <a:pt x="340" y="611"/>
                      </a:lnTo>
                      <a:lnTo>
                        <a:pt x="340" y="611"/>
                      </a:lnTo>
                      <a:lnTo>
                        <a:pt x="340" y="610"/>
                      </a:lnTo>
                      <a:lnTo>
                        <a:pt x="339" y="609"/>
                      </a:lnTo>
                      <a:lnTo>
                        <a:pt x="338" y="609"/>
                      </a:lnTo>
                      <a:lnTo>
                        <a:pt x="338" y="609"/>
                      </a:lnTo>
                      <a:lnTo>
                        <a:pt x="338" y="608"/>
                      </a:lnTo>
                      <a:lnTo>
                        <a:pt x="337" y="608"/>
                      </a:lnTo>
                      <a:lnTo>
                        <a:pt x="337" y="608"/>
                      </a:lnTo>
                      <a:lnTo>
                        <a:pt x="336" y="608"/>
                      </a:lnTo>
                      <a:lnTo>
                        <a:pt x="336" y="607"/>
                      </a:lnTo>
                      <a:lnTo>
                        <a:pt x="336" y="606"/>
                      </a:lnTo>
                      <a:lnTo>
                        <a:pt x="335" y="606"/>
                      </a:lnTo>
                      <a:lnTo>
                        <a:pt x="335" y="606"/>
                      </a:lnTo>
                      <a:lnTo>
                        <a:pt x="335" y="605"/>
                      </a:lnTo>
                      <a:lnTo>
                        <a:pt x="334" y="605"/>
                      </a:lnTo>
                      <a:lnTo>
                        <a:pt x="334" y="604"/>
                      </a:lnTo>
                      <a:lnTo>
                        <a:pt x="334" y="604"/>
                      </a:lnTo>
                      <a:lnTo>
                        <a:pt x="333" y="604"/>
                      </a:lnTo>
                      <a:lnTo>
                        <a:pt x="333" y="604"/>
                      </a:lnTo>
                      <a:lnTo>
                        <a:pt x="332" y="604"/>
                      </a:lnTo>
                      <a:lnTo>
                        <a:pt x="332" y="603"/>
                      </a:lnTo>
                      <a:lnTo>
                        <a:pt x="332" y="604"/>
                      </a:lnTo>
                      <a:lnTo>
                        <a:pt x="332" y="603"/>
                      </a:lnTo>
                      <a:lnTo>
                        <a:pt x="332" y="603"/>
                      </a:lnTo>
                      <a:lnTo>
                        <a:pt x="332" y="602"/>
                      </a:lnTo>
                      <a:lnTo>
                        <a:pt x="331" y="602"/>
                      </a:lnTo>
                      <a:lnTo>
                        <a:pt x="330" y="602"/>
                      </a:lnTo>
                      <a:lnTo>
                        <a:pt x="330" y="602"/>
                      </a:lnTo>
                      <a:lnTo>
                        <a:pt x="330" y="601"/>
                      </a:lnTo>
                      <a:lnTo>
                        <a:pt x="330" y="600"/>
                      </a:lnTo>
                      <a:lnTo>
                        <a:pt x="329" y="600"/>
                      </a:lnTo>
                      <a:lnTo>
                        <a:pt x="328" y="600"/>
                      </a:lnTo>
                      <a:lnTo>
                        <a:pt x="328" y="600"/>
                      </a:lnTo>
                      <a:lnTo>
                        <a:pt x="327" y="600"/>
                      </a:lnTo>
                      <a:lnTo>
                        <a:pt x="327" y="600"/>
                      </a:lnTo>
                      <a:lnTo>
                        <a:pt x="327" y="599"/>
                      </a:lnTo>
                      <a:lnTo>
                        <a:pt x="327" y="598"/>
                      </a:lnTo>
                      <a:lnTo>
                        <a:pt x="326" y="598"/>
                      </a:lnTo>
                      <a:lnTo>
                        <a:pt x="326" y="598"/>
                      </a:lnTo>
                      <a:lnTo>
                        <a:pt x="326" y="598"/>
                      </a:lnTo>
                      <a:lnTo>
                        <a:pt x="325" y="598"/>
                      </a:lnTo>
                      <a:lnTo>
                        <a:pt x="324" y="598"/>
                      </a:lnTo>
                      <a:lnTo>
                        <a:pt x="324" y="597"/>
                      </a:lnTo>
                      <a:lnTo>
                        <a:pt x="324" y="597"/>
                      </a:lnTo>
                      <a:lnTo>
                        <a:pt x="324" y="596"/>
                      </a:lnTo>
                      <a:lnTo>
                        <a:pt x="323" y="596"/>
                      </a:lnTo>
                      <a:lnTo>
                        <a:pt x="323" y="596"/>
                      </a:lnTo>
                      <a:lnTo>
                        <a:pt x="322" y="596"/>
                      </a:lnTo>
                      <a:lnTo>
                        <a:pt x="321" y="596"/>
                      </a:lnTo>
                      <a:lnTo>
                        <a:pt x="321" y="596"/>
                      </a:lnTo>
                      <a:lnTo>
                        <a:pt x="321" y="595"/>
                      </a:lnTo>
                      <a:lnTo>
                        <a:pt x="320" y="595"/>
                      </a:lnTo>
                      <a:lnTo>
                        <a:pt x="320" y="594"/>
                      </a:lnTo>
                      <a:lnTo>
                        <a:pt x="319" y="594"/>
                      </a:lnTo>
                      <a:lnTo>
                        <a:pt x="319" y="594"/>
                      </a:lnTo>
                      <a:lnTo>
                        <a:pt x="318" y="594"/>
                      </a:lnTo>
                      <a:lnTo>
                        <a:pt x="318" y="594"/>
                      </a:lnTo>
                      <a:lnTo>
                        <a:pt x="317" y="594"/>
                      </a:lnTo>
                      <a:lnTo>
                        <a:pt x="317" y="594"/>
                      </a:lnTo>
                      <a:lnTo>
                        <a:pt x="316" y="593"/>
                      </a:lnTo>
                      <a:lnTo>
                        <a:pt x="316" y="592"/>
                      </a:lnTo>
                      <a:lnTo>
                        <a:pt x="316" y="592"/>
                      </a:lnTo>
                      <a:lnTo>
                        <a:pt x="316" y="591"/>
                      </a:lnTo>
                      <a:lnTo>
                        <a:pt x="317" y="591"/>
                      </a:lnTo>
                      <a:lnTo>
                        <a:pt x="316" y="590"/>
                      </a:lnTo>
                      <a:lnTo>
                        <a:pt x="315" y="590"/>
                      </a:lnTo>
                      <a:lnTo>
                        <a:pt x="315" y="590"/>
                      </a:lnTo>
                      <a:lnTo>
                        <a:pt x="315" y="589"/>
                      </a:lnTo>
                      <a:lnTo>
                        <a:pt x="314" y="588"/>
                      </a:lnTo>
                      <a:lnTo>
                        <a:pt x="313" y="588"/>
                      </a:lnTo>
                      <a:lnTo>
                        <a:pt x="313" y="588"/>
                      </a:lnTo>
                      <a:lnTo>
                        <a:pt x="312" y="588"/>
                      </a:lnTo>
                      <a:lnTo>
                        <a:pt x="312" y="587"/>
                      </a:lnTo>
                      <a:lnTo>
                        <a:pt x="311" y="587"/>
                      </a:lnTo>
                      <a:lnTo>
                        <a:pt x="311" y="587"/>
                      </a:lnTo>
                      <a:lnTo>
                        <a:pt x="311" y="587"/>
                      </a:lnTo>
                      <a:lnTo>
                        <a:pt x="310" y="587"/>
                      </a:lnTo>
                      <a:lnTo>
                        <a:pt x="309" y="587"/>
                      </a:lnTo>
                      <a:lnTo>
                        <a:pt x="309" y="587"/>
                      </a:lnTo>
                      <a:lnTo>
                        <a:pt x="308" y="586"/>
                      </a:lnTo>
                      <a:lnTo>
                        <a:pt x="308" y="585"/>
                      </a:lnTo>
                      <a:lnTo>
                        <a:pt x="307" y="585"/>
                      </a:lnTo>
                      <a:lnTo>
                        <a:pt x="307" y="585"/>
                      </a:lnTo>
                      <a:lnTo>
                        <a:pt x="307" y="585"/>
                      </a:lnTo>
                      <a:lnTo>
                        <a:pt x="306" y="585"/>
                      </a:lnTo>
                      <a:lnTo>
                        <a:pt x="306" y="584"/>
                      </a:lnTo>
                      <a:lnTo>
                        <a:pt x="305" y="584"/>
                      </a:lnTo>
                      <a:lnTo>
                        <a:pt x="305" y="584"/>
                      </a:lnTo>
                      <a:lnTo>
                        <a:pt x="305" y="583"/>
                      </a:lnTo>
                      <a:lnTo>
                        <a:pt x="305" y="583"/>
                      </a:lnTo>
                      <a:lnTo>
                        <a:pt x="305" y="582"/>
                      </a:lnTo>
                      <a:lnTo>
                        <a:pt x="304" y="582"/>
                      </a:lnTo>
                      <a:lnTo>
                        <a:pt x="304" y="581"/>
                      </a:lnTo>
                      <a:lnTo>
                        <a:pt x="303" y="581"/>
                      </a:lnTo>
                      <a:lnTo>
                        <a:pt x="302" y="581"/>
                      </a:lnTo>
                      <a:lnTo>
                        <a:pt x="302" y="581"/>
                      </a:lnTo>
                      <a:lnTo>
                        <a:pt x="302" y="581"/>
                      </a:lnTo>
                      <a:lnTo>
                        <a:pt x="302" y="580"/>
                      </a:lnTo>
                      <a:lnTo>
                        <a:pt x="301" y="580"/>
                      </a:lnTo>
                      <a:lnTo>
                        <a:pt x="301" y="579"/>
                      </a:lnTo>
                      <a:lnTo>
                        <a:pt x="300" y="579"/>
                      </a:lnTo>
                      <a:lnTo>
                        <a:pt x="300" y="579"/>
                      </a:lnTo>
                      <a:lnTo>
                        <a:pt x="300" y="578"/>
                      </a:lnTo>
                      <a:lnTo>
                        <a:pt x="300" y="578"/>
                      </a:lnTo>
                      <a:lnTo>
                        <a:pt x="299" y="578"/>
                      </a:lnTo>
                      <a:lnTo>
                        <a:pt x="298" y="578"/>
                      </a:lnTo>
                      <a:lnTo>
                        <a:pt x="298" y="579"/>
                      </a:lnTo>
                      <a:lnTo>
                        <a:pt x="298" y="578"/>
                      </a:lnTo>
                      <a:lnTo>
                        <a:pt x="298" y="578"/>
                      </a:lnTo>
                      <a:lnTo>
                        <a:pt x="297" y="578"/>
                      </a:lnTo>
                      <a:lnTo>
                        <a:pt x="296" y="578"/>
                      </a:lnTo>
                      <a:lnTo>
                        <a:pt x="296" y="577"/>
                      </a:lnTo>
                      <a:lnTo>
                        <a:pt x="295" y="577"/>
                      </a:lnTo>
                      <a:lnTo>
                        <a:pt x="294" y="577"/>
                      </a:lnTo>
                      <a:lnTo>
                        <a:pt x="294" y="577"/>
                      </a:lnTo>
                      <a:lnTo>
                        <a:pt x="294" y="578"/>
                      </a:lnTo>
                      <a:lnTo>
                        <a:pt x="294" y="579"/>
                      </a:lnTo>
                      <a:lnTo>
                        <a:pt x="293" y="579"/>
                      </a:lnTo>
                      <a:lnTo>
                        <a:pt x="292" y="579"/>
                      </a:lnTo>
                      <a:lnTo>
                        <a:pt x="292" y="579"/>
                      </a:lnTo>
                      <a:lnTo>
                        <a:pt x="292" y="579"/>
                      </a:lnTo>
                      <a:lnTo>
                        <a:pt x="291" y="579"/>
                      </a:lnTo>
                      <a:lnTo>
                        <a:pt x="290" y="579"/>
                      </a:lnTo>
                      <a:lnTo>
                        <a:pt x="290" y="579"/>
                      </a:lnTo>
                      <a:lnTo>
                        <a:pt x="289" y="579"/>
                      </a:lnTo>
                      <a:lnTo>
                        <a:pt x="289" y="580"/>
                      </a:lnTo>
                      <a:lnTo>
                        <a:pt x="290" y="580"/>
                      </a:lnTo>
                      <a:lnTo>
                        <a:pt x="289" y="581"/>
                      </a:lnTo>
                      <a:lnTo>
                        <a:pt x="288" y="581"/>
                      </a:lnTo>
                      <a:lnTo>
                        <a:pt x="288" y="581"/>
                      </a:lnTo>
                      <a:lnTo>
                        <a:pt x="288" y="581"/>
                      </a:lnTo>
                      <a:lnTo>
                        <a:pt x="287" y="581"/>
                      </a:lnTo>
                      <a:lnTo>
                        <a:pt x="286" y="581"/>
                      </a:lnTo>
                      <a:lnTo>
                        <a:pt x="286" y="581"/>
                      </a:lnTo>
                      <a:lnTo>
                        <a:pt x="285" y="581"/>
                      </a:lnTo>
                      <a:lnTo>
                        <a:pt x="284" y="581"/>
                      </a:lnTo>
                      <a:lnTo>
                        <a:pt x="284" y="582"/>
                      </a:lnTo>
                      <a:lnTo>
                        <a:pt x="283" y="582"/>
                      </a:lnTo>
                      <a:lnTo>
                        <a:pt x="283" y="583"/>
                      </a:lnTo>
                      <a:lnTo>
                        <a:pt x="282" y="583"/>
                      </a:lnTo>
                      <a:lnTo>
                        <a:pt x="281" y="583"/>
                      </a:lnTo>
                      <a:lnTo>
                        <a:pt x="281" y="583"/>
                      </a:lnTo>
                      <a:lnTo>
                        <a:pt x="281" y="583"/>
                      </a:lnTo>
                      <a:lnTo>
                        <a:pt x="280" y="583"/>
                      </a:lnTo>
                      <a:lnTo>
                        <a:pt x="279" y="583"/>
                      </a:lnTo>
                      <a:lnTo>
                        <a:pt x="279" y="583"/>
                      </a:lnTo>
                      <a:lnTo>
                        <a:pt x="278" y="583"/>
                      </a:lnTo>
                      <a:lnTo>
                        <a:pt x="277" y="583"/>
                      </a:lnTo>
                      <a:lnTo>
                        <a:pt x="277" y="583"/>
                      </a:lnTo>
                      <a:lnTo>
                        <a:pt x="277" y="582"/>
                      </a:lnTo>
                      <a:lnTo>
                        <a:pt x="277" y="581"/>
                      </a:lnTo>
                      <a:lnTo>
                        <a:pt x="277" y="581"/>
                      </a:lnTo>
                      <a:lnTo>
                        <a:pt x="277" y="581"/>
                      </a:lnTo>
                      <a:lnTo>
                        <a:pt x="276" y="581"/>
                      </a:lnTo>
                      <a:lnTo>
                        <a:pt x="276" y="580"/>
                      </a:lnTo>
                      <a:lnTo>
                        <a:pt x="275" y="580"/>
                      </a:lnTo>
                      <a:lnTo>
                        <a:pt x="275" y="579"/>
                      </a:lnTo>
                      <a:lnTo>
                        <a:pt x="275" y="579"/>
                      </a:lnTo>
                      <a:lnTo>
                        <a:pt x="275" y="578"/>
                      </a:lnTo>
                      <a:lnTo>
                        <a:pt x="275" y="577"/>
                      </a:lnTo>
                      <a:lnTo>
                        <a:pt x="275" y="577"/>
                      </a:lnTo>
                      <a:lnTo>
                        <a:pt x="275" y="576"/>
                      </a:lnTo>
                      <a:lnTo>
                        <a:pt x="275" y="575"/>
                      </a:lnTo>
                      <a:lnTo>
                        <a:pt x="275" y="575"/>
                      </a:lnTo>
                      <a:lnTo>
                        <a:pt x="275" y="574"/>
                      </a:lnTo>
                      <a:lnTo>
                        <a:pt x="275" y="573"/>
                      </a:lnTo>
                      <a:lnTo>
                        <a:pt x="275" y="573"/>
                      </a:lnTo>
                      <a:lnTo>
                        <a:pt x="274" y="573"/>
                      </a:lnTo>
                      <a:lnTo>
                        <a:pt x="273" y="573"/>
                      </a:lnTo>
                      <a:lnTo>
                        <a:pt x="273" y="573"/>
                      </a:lnTo>
                      <a:lnTo>
                        <a:pt x="273" y="572"/>
                      </a:lnTo>
                      <a:lnTo>
                        <a:pt x="273" y="571"/>
                      </a:lnTo>
                      <a:lnTo>
                        <a:pt x="273" y="571"/>
                      </a:lnTo>
                      <a:lnTo>
                        <a:pt x="272" y="571"/>
                      </a:lnTo>
                      <a:lnTo>
                        <a:pt x="271" y="571"/>
                      </a:lnTo>
                      <a:lnTo>
                        <a:pt x="271" y="571"/>
                      </a:lnTo>
                      <a:lnTo>
                        <a:pt x="271" y="572"/>
                      </a:lnTo>
                      <a:lnTo>
                        <a:pt x="271" y="573"/>
                      </a:lnTo>
                      <a:lnTo>
                        <a:pt x="271" y="573"/>
                      </a:lnTo>
                      <a:lnTo>
                        <a:pt x="270" y="573"/>
                      </a:lnTo>
                      <a:lnTo>
                        <a:pt x="270" y="573"/>
                      </a:lnTo>
                      <a:lnTo>
                        <a:pt x="269" y="573"/>
                      </a:lnTo>
                      <a:lnTo>
                        <a:pt x="269" y="573"/>
                      </a:lnTo>
                      <a:lnTo>
                        <a:pt x="269" y="572"/>
                      </a:lnTo>
                      <a:lnTo>
                        <a:pt x="269" y="571"/>
                      </a:lnTo>
                      <a:lnTo>
                        <a:pt x="268" y="571"/>
                      </a:lnTo>
                      <a:lnTo>
                        <a:pt x="267" y="571"/>
                      </a:lnTo>
                      <a:lnTo>
                        <a:pt x="267" y="570"/>
                      </a:lnTo>
                      <a:lnTo>
                        <a:pt x="267" y="570"/>
                      </a:lnTo>
                      <a:lnTo>
                        <a:pt x="266" y="570"/>
                      </a:lnTo>
                      <a:lnTo>
                        <a:pt x="265" y="569"/>
                      </a:lnTo>
                      <a:lnTo>
                        <a:pt x="264" y="569"/>
                      </a:lnTo>
                      <a:lnTo>
                        <a:pt x="264" y="568"/>
                      </a:lnTo>
                      <a:lnTo>
                        <a:pt x="263" y="568"/>
                      </a:lnTo>
                      <a:lnTo>
                        <a:pt x="263" y="567"/>
                      </a:lnTo>
                      <a:lnTo>
                        <a:pt x="263" y="566"/>
                      </a:lnTo>
                      <a:lnTo>
                        <a:pt x="263" y="566"/>
                      </a:lnTo>
                      <a:lnTo>
                        <a:pt x="263" y="565"/>
                      </a:lnTo>
                      <a:lnTo>
                        <a:pt x="262" y="565"/>
                      </a:lnTo>
                      <a:lnTo>
                        <a:pt x="262" y="564"/>
                      </a:lnTo>
                      <a:lnTo>
                        <a:pt x="262" y="564"/>
                      </a:lnTo>
                      <a:lnTo>
                        <a:pt x="262" y="563"/>
                      </a:lnTo>
                      <a:lnTo>
                        <a:pt x="261" y="562"/>
                      </a:lnTo>
                      <a:lnTo>
                        <a:pt x="260" y="562"/>
                      </a:lnTo>
                      <a:lnTo>
                        <a:pt x="260" y="562"/>
                      </a:lnTo>
                      <a:lnTo>
                        <a:pt x="260" y="562"/>
                      </a:lnTo>
                      <a:lnTo>
                        <a:pt x="260" y="561"/>
                      </a:lnTo>
                      <a:lnTo>
                        <a:pt x="260" y="560"/>
                      </a:lnTo>
                      <a:lnTo>
                        <a:pt x="259" y="560"/>
                      </a:lnTo>
                      <a:lnTo>
                        <a:pt x="259" y="560"/>
                      </a:lnTo>
                      <a:lnTo>
                        <a:pt x="259" y="559"/>
                      </a:lnTo>
                      <a:lnTo>
                        <a:pt x="258" y="559"/>
                      </a:lnTo>
                      <a:lnTo>
                        <a:pt x="258" y="558"/>
                      </a:lnTo>
                      <a:lnTo>
                        <a:pt x="258" y="558"/>
                      </a:lnTo>
                      <a:lnTo>
                        <a:pt x="258" y="557"/>
                      </a:lnTo>
                      <a:lnTo>
                        <a:pt x="257" y="557"/>
                      </a:lnTo>
                      <a:lnTo>
                        <a:pt x="257" y="556"/>
                      </a:lnTo>
                      <a:lnTo>
                        <a:pt x="257" y="556"/>
                      </a:lnTo>
                      <a:lnTo>
                        <a:pt x="256" y="556"/>
                      </a:lnTo>
                      <a:lnTo>
                        <a:pt x="256" y="555"/>
                      </a:lnTo>
                      <a:lnTo>
                        <a:pt x="256" y="554"/>
                      </a:lnTo>
                      <a:lnTo>
                        <a:pt x="256" y="554"/>
                      </a:lnTo>
                      <a:lnTo>
                        <a:pt x="256" y="554"/>
                      </a:lnTo>
                      <a:lnTo>
                        <a:pt x="256" y="553"/>
                      </a:lnTo>
                      <a:lnTo>
                        <a:pt x="256" y="552"/>
                      </a:lnTo>
                      <a:lnTo>
                        <a:pt x="256" y="552"/>
                      </a:lnTo>
                      <a:lnTo>
                        <a:pt x="255" y="552"/>
                      </a:lnTo>
                      <a:lnTo>
                        <a:pt x="254" y="552"/>
                      </a:lnTo>
                      <a:lnTo>
                        <a:pt x="254" y="552"/>
                      </a:lnTo>
                      <a:lnTo>
                        <a:pt x="254" y="551"/>
                      </a:lnTo>
                      <a:lnTo>
                        <a:pt x="254" y="551"/>
                      </a:lnTo>
                      <a:lnTo>
                        <a:pt x="254" y="550"/>
                      </a:lnTo>
                      <a:lnTo>
                        <a:pt x="254" y="549"/>
                      </a:lnTo>
                      <a:lnTo>
                        <a:pt x="254" y="549"/>
                      </a:lnTo>
                      <a:lnTo>
                        <a:pt x="253" y="549"/>
                      </a:lnTo>
                      <a:lnTo>
                        <a:pt x="253" y="548"/>
                      </a:lnTo>
                      <a:lnTo>
                        <a:pt x="252" y="548"/>
                      </a:lnTo>
                      <a:lnTo>
                        <a:pt x="252" y="547"/>
                      </a:lnTo>
                      <a:lnTo>
                        <a:pt x="251" y="547"/>
                      </a:lnTo>
                      <a:lnTo>
                        <a:pt x="251" y="546"/>
                      </a:lnTo>
                      <a:lnTo>
                        <a:pt x="251" y="545"/>
                      </a:lnTo>
                      <a:lnTo>
                        <a:pt x="250" y="545"/>
                      </a:lnTo>
                      <a:lnTo>
                        <a:pt x="250" y="545"/>
                      </a:lnTo>
                      <a:lnTo>
                        <a:pt x="250" y="545"/>
                      </a:lnTo>
                      <a:lnTo>
                        <a:pt x="250" y="544"/>
                      </a:lnTo>
                      <a:lnTo>
                        <a:pt x="250" y="543"/>
                      </a:lnTo>
                      <a:lnTo>
                        <a:pt x="249" y="543"/>
                      </a:lnTo>
                      <a:lnTo>
                        <a:pt x="248" y="542"/>
                      </a:lnTo>
                      <a:lnTo>
                        <a:pt x="248" y="542"/>
                      </a:lnTo>
                      <a:lnTo>
                        <a:pt x="247" y="542"/>
                      </a:lnTo>
                      <a:lnTo>
                        <a:pt x="246" y="541"/>
                      </a:lnTo>
                      <a:lnTo>
                        <a:pt x="246" y="541"/>
                      </a:lnTo>
                      <a:lnTo>
                        <a:pt x="245" y="541"/>
                      </a:lnTo>
                      <a:lnTo>
                        <a:pt x="245" y="540"/>
                      </a:lnTo>
                      <a:lnTo>
                        <a:pt x="245" y="540"/>
                      </a:lnTo>
                      <a:lnTo>
                        <a:pt x="244" y="540"/>
                      </a:lnTo>
                      <a:lnTo>
                        <a:pt x="243" y="539"/>
                      </a:lnTo>
                      <a:lnTo>
                        <a:pt x="243" y="539"/>
                      </a:lnTo>
                      <a:lnTo>
                        <a:pt x="242" y="539"/>
                      </a:lnTo>
                      <a:lnTo>
                        <a:pt x="241" y="539"/>
                      </a:lnTo>
                      <a:lnTo>
                        <a:pt x="241" y="538"/>
                      </a:lnTo>
                      <a:lnTo>
                        <a:pt x="241" y="538"/>
                      </a:lnTo>
                      <a:lnTo>
                        <a:pt x="240" y="538"/>
                      </a:lnTo>
                      <a:lnTo>
                        <a:pt x="239" y="538"/>
                      </a:lnTo>
                      <a:lnTo>
                        <a:pt x="239" y="537"/>
                      </a:lnTo>
                      <a:lnTo>
                        <a:pt x="239" y="537"/>
                      </a:lnTo>
                      <a:lnTo>
                        <a:pt x="239" y="537"/>
                      </a:lnTo>
                      <a:lnTo>
                        <a:pt x="239" y="536"/>
                      </a:lnTo>
                      <a:lnTo>
                        <a:pt x="238" y="536"/>
                      </a:lnTo>
                      <a:lnTo>
                        <a:pt x="238" y="535"/>
                      </a:lnTo>
                      <a:lnTo>
                        <a:pt x="237" y="535"/>
                      </a:lnTo>
                      <a:lnTo>
                        <a:pt x="237" y="535"/>
                      </a:lnTo>
                      <a:lnTo>
                        <a:pt x="236" y="535"/>
                      </a:lnTo>
                      <a:lnTo>
                        <a:pt x="236" y="535"/>
                      </a:lnTo>
                      <a:lnTo>
                        <a:pt x="235" y="535"/>
                      </a:lnTo>
                      <a:lnTo>
                        <a:pt x="235" y="535"/>
                      </a:lnTo>
                      <a:lnTo>
                        <a:pt x="235" y="535"/>
                      </a:lnTo>
                      <a:lnTo>
                        <a:pt x="235" y="535"/>
                      </a:lnTo>
                      <a:lnTo>
                        <a:pt x="234" y="535"/>
                      </a:lnTo>
                      <a:lnTo>
                        <a:pt x="234" y="536"/>
                      </a:lnTo>
                      <a:lnTo>
                        <a:pt x="234" y="537"/>
                      </a:lnTo>
                      <a:lnTo>
                        <a:pt x="234" y="537"/>
                      </a:lnTo>
                      <a:lnTo>
                        <a:pt x="233" y="537"/>
                      </a:lnTo>
                      <a:lnTo>
                        <a:pt x="233" y="538"/>
                      </a:lnTo>
                      <a:lnTo>
                        <a:pt x="233" y="538"/>
                      </a:lnTo>
                      <a:lnTo>
                        <a:pt x="233" y="539"/>
                      </a:lnTo>
                      <a:lnTo>
                        <a:pt x="233" y="539"/>
                      </a:lnTo>
                      <a:lnTo>
                        <a:pt x="233" y="540"/>
                      </a:lnTo>
                      <a:lnTo>
                        <a:pt x="232" y="540"/>
                      </a:lnTo>
                      <a:lnTo>
                        <a:pt x="231" y="540"/>
                      </a:lnTo>
                      <a:lnTo>
                        <a:pt x="231" y="541"/>
                      </a:lnTo>
                      <a:lnTo>
                        <a:pt x="232" y="541"/>
                      </a:lnTo>
                      <a:lnTo>
                        <a:pt x="231" y="541"/>
                      </a:lnTo>
                      <a:lnTo>
                        <a:pt x="231" y="541"/>
                      </a:lnTo>
                      <a:lnTo>
                        <a:pt x="231" y="542"/>
                      </a:lnTo>
                      <a:lnTo>
                        <a:pt x="231" y="543"/>
                      </a:lnTo>
                      <a:lnTo>
                        <a:pt x="231" y="543"/>
                      </a:lnTo>
                      <a:lnTo>
                        <a:pt x="231" y="543"/>
                      </a:lnTo>
                      <a:lnTo>
                        <a:pt x="231" y="544"/>
                      </a:lnTo>
                      <a:lnTo>
                        <a:pt x="231" y="545"/>
                      </a:lnTo>
                      <a:lnTo>
                        <a:pt x="231" y="545"/>
                      </a:lnTo>
                      <a:lnTo>
                        <a:pt x="231" y="546"/>
                      </a:lnTo>
                      <a:lnTo>
                        <a:pt x="231" y="547"/>
                      </a:lnTo>
                      <a:lnTo>
                        <a:pt x="231" y="547"/>
                      </a:lnTo>
                      <a:lnTo>
                        <a:pt x="231" y="548"/>
                      </a:lnTo>
                      <a:lnTo>
                        <a:pt x="231" y="549"/>
                      </a:lnTo>
                      <a:lnTo>
                        <a:pt x="230" y="549"/>
                      </a:lnTo>
                      <a:lnTo>
                        <a:pt x="226" y="554"/>
                      </a:lnTo>
                      <a:lnTo>
                        <a:pt x="223" y="556"/>
                      </a:lnTo>
                      <a:lnTo>
                        <a:pt x="222" y="557"/>
                      </a:lnTo>
                      <a:lnTo>
                        <a:pt x="220" y="560"/>
                      </a:lnTo>
                      <a:lnTo>
                        <a:pt x="220" y="560"/>
                      </a:lnTo>
                      <a:lnTo>
                        <a:pt x="220" y="560"/>
                      </a:lnTo>
                      <a:lnTo>
                        <a:pt x="220" y="561"/>
                      </a:lnTo>
                      <a:lnTo>
                        <a:pt x="219" y="562"/>
                      </a:lnTo>
                      <a:lnTo>
                        <a:pt x="219" y="562"/>
                      </a:lnTo>
                      <a:lnTo>
                        <a:pt x="220" y="562"/>
                      </a:lnTo>
                      <a:lnTo>
                        <a:pt x="219" y="563"/>
                      </a:lnTo>
                      <a:lnTo>
                        <a:pt x="218" y="563"/>
                      </a:lnTo>
                      <a:lnTo>
                        <a:pt x="218" y="564"/>
                      </a:lnTo>
                      <a:lnTo>
                        <a:pt x="218" y="564"/>
                      </a:lnTo>
                      <a:lnTo>
                        <a:pt x="218" y="565"/>
                      </a:lnTo>
                      <a:lnTo>
                        <a:pt x="218" y="566"/>
                      </a:lnTo>
                      <a:lnTo>
                        <a:pt x="219" y="566"/>
                      </a:lnTo>
                      <a:lnTo>
                        <a:pt x="218" y="566"/>
                      </a:lnTo>
                      <a:lnTo>
                        <a:pt x="217" y="567"/>
                      </a:lnTo>
                      <a:lnTo>
                        <a:pt x="216" y="568"/>
                      </a:lnTo>
                      <a:lnTo>
                        <a:pt x="216" y="568"/>
                      </a:lnTo>
                      <a:lnTo>
                        <a:pt x="215" y="568"/>
                      </a:lnTo>
                      <a:lnTo>
                        <a:pt x="214" y="568"/>
                      </a:lnTo>
                      <a:lnTo>
                        <a:pt x="214" y="568"/>
                      </a:lnTo>
                      <a:lnTo>
                        <a:pt x="213" y="568"/>
                      </a:lnTo>
                      <a:lnTo>
                        <a:pt x="212" y="568"/>
                      </a:lnTo>
                      <a:lnTo>
                        <a:pt x="211" y="566"/>
                      </a:lnTo>
                      <a:lnTo>
                        <a:pt x="209" y="568"/>
                      </a:lnTo>
                      <a:lnTo>
                        <a:pt x="208" y="568"/>
                      </a:lnTo>
                      <a:lnTo>
                        <a:pt x="207" y="568"/>
                      </a:lnTo>
                      <a:lnTo>
                        <a:pt x="207" y="569"/>
                      </a:lnTo>
                      <a:lnTo>
                        <a:pt x="205" y="569"/>
                      </a:lnTo>
                      <a:lnTo>
                        <a:pt x="205" y="570"/>
                      </a:lnTo>
                      <a:lnTo>
                        <a:pt x="205" y="571"/>
                      </a:lnTo>
                      <a:lnTo>
                        <a:pt x="204" y="571"/>
                      </a:lnTo>
                      <a:lnTo>
                        <a:pt x="204" y="573"/>
                      </a:lnTo>
                      <a:lnTo>
                        <a:pt x="203" y="574"/>
                      </a:lnTo>
                      <a:lnTo>
                        <a:pt x="203" y="574"/>
                      </a:lnTo>
                      <a:lnTo>
                        <a:pt x="202" y="573"/>
                      </a:lnTo>
                      <a:lnTo>
                        <a:pt x="201" y="573"/>
                      </a:lnTo>
                      <a:lnTo>
                        <a:pt x="199" y="573"/>
                      </a:lnTo>
                      <a:lnTo>
                        <a:pt x="198" y="574"/>
                      </a:lnTo>
                      <a:lnTo>
                        <a:pt x="197" y="573"/>
                      </a:lnTo>
                      <a:lnTo>
                        <a:pt x="198" y="572"/>
                      </a:lnTo>
                      <a:lnTo>
                        <a:pt x="197" y="570"/>
                      </a:lnTo>
                      <a:lnTo>
                        <a:pt x="197" y="569"/>
                      </a:lnTo>
                      <a:lnTo>
                        <a:pt x="195" y="570"/>
                      </a:lnTo>
                      <a:lnTo>
                        <a:pt x="195" y="570"/>
                      </a:lnTo>
                      <a:lnTo>
                        <a:pt x="195" y="571"/>
                      </a:lnTo>
                      <a:lnTo>
                        <a:pt x="194" y="571"/>
                      </a:lnTo>
                      <a:lnTo>
                        <a:pt x="194" y="571"/>
                      </a:lnTo>
                      <a:lnTo>
                        <a:pt x="194" y="572"/>
                      </a:lnTo>
                      <a:lnTo>
                        <a:pt x="193" y="572"/>
                      </a:lnTo>
                      <a:lnTo>
                        <a:pt x="193" y="573"/>
                      </a:lnTo>
                      <a:lnTo>
                        <a:pt x="193" y="573"/>
                      </a:lnTo>
                      <a:lnTo>
                        <a:pt x="193" y="574"/>
                      </a:lnTo>
                      <a:lnTo>
                        <a:pt x="193" y="574"/>
                      </a:lnTo>
                      <a:lnTo>
                        <a:pt x="192" y="574"/>
                      </a:lnTo>
                      <a:lnTo>
                        <a:pt x="192" y="575"/>
                      </a:lnTo>
                      <a:lnTo>
                        <a:pt x="191" y="575"/>
                      </a:lnTo>
                      <a:lnTo>
                        <a:pt x="190" y="576"/>
                      </a:lnTo>
                      <a:lnTo>
                        <a:pt x="190" y="577"/>
                      </a:lnTo>
                      <a:lnTo>
                        <a:pt x="189" y="577"/>
                      </a:lnTo>
                      <a:lnTo>
                        <a:pt x="188" y="577"/>
                      </a:lnTo>
                      <a:lnTo>
                        <a:pt x="188" y="577"/>
                      </a:lnTo>
                      <a:lnTo>
                        <a:pt x="187" y="577"/>
                      </a:lnTo>
                      <a:lnTo>
                        <a:pt x="186" y="577"/>
                      </a:lnTo>
                      <a:lnTo>
                        <a:pt x="186" y="577"/>
                      </a:lnTo>
                      <a:lnTo>
                        <a:pt x="185" y="577"/>
                      </a:lnTo>
                      <a:lnTo>
                        <a:pt x="184" y="577"/>
                      </a:lnTo>
                      <a:lnTo>
                        <a:pt x="184" y="577"/>
                      </a:lnTo>
                      <a:lnTo>
                        <a:pt x="183" y="577"/>
                      </a:lnTo>
                      <a:lnTo>
                        <a:pt x="182" y="577"/>
                      </a:lnTo>
                      <a:lnTo>
                        <a:pt x="182" y="576"/>
                      </a:lnTo>
                      <a:lnTo>
                        <a:pt x="182" y="575"/>
                      </a:lnTo>
                      <a:lnTo>
                        <a:pt x="181" y="575"/>
                      </a:lnTo>
                      <a:lnTo>
                        <a:pt x="180" y="575"/>
                      </a:lnTo>
                      <a:lnTo>
                        <a:pt x="180" y="574"/>
                      </a:lnTo>
                      <a:lnTo>
                        <a:pt x="180" y="574"/>
                      </a:lnTo>
                      <a:lnTo>
                        <a:pt x="180" y="573"/>
                      </a:lnTo>
                      <a:lnTo>
                        <a:pt x="179" y="573"/>
                      </a:lnTo>
                      <a:lnTo>
                        <a:pt x="179" y="574"/>
                      </a:lnTo>
                      <a:lnTo>
                        <a:pt x="178" y="574"/>
                      </a:lnTo>
                      <a:lnTo>
                        <a:pt x="178" y="574"/>
                      </a:lnTo>
                      <a:lnTo>
                        <a:pt x="178" y="575"/>
                      </a:lnTo>
                      <a:lnTo>
                        <a:pt x="177" y="575"/>
                      </a:lnTo>
                      <a:lnTo>
                        <a:pt x="175" y="575"/>
                      </a:lnTo>
                      <a:lnTo>
                        <a:pt x="174" y="575"/>
                      </a:lnTo>
                      <a:lnTo>
                        <a:pt x="174" y="576"/>
                      </a:lnTo>
                      <a:lnTo>
                        <a:pt x="172" y="576"/>
                      </a:lnTo>
                      <a:lnTo>
                        <a:pt x="171" y="577"/>
                      </a:lnTo>
                      <a:lnTo>
                        <a:pt x="169" y="575"/>
                      </a:lnTo>
                      <a:lnTo>
                        <a:pt x="166" y="575"/>
                      </a:lnTo>
                      <a:lnTo>
                        <a:pt x="166" y="576"/>
                      </a:lnTo>
                      <a:lnTo>
                        <a:pt x="165" y="577"/>
                      </a:lnTo>
                      <a:lnTo>
                        <a:pt x="164" y="577"/>
                      </a:lnTo>
                      <a:lnTo>
                        <a:pt x="163" y="577"/>
                      </a:lnTo>
                      <a:lnTo>
                        <a:pt x="163" y="577"/>
                      </a:lnTo>
                      <a:lnTo>
                        <a:pt x="162" y="577"/>
                      </a:lnTo>
                      <a:lnTo>
                        <a:pt x="161" y="577"/>
                      </a:lnTo>
                      <a:lnTo>
                        <a:pt x="161" y="578"/>
                      </a:lnTo>
                      <a:lnTo>
                        <a:pt x="161" y="577"/>
                      </a:lnTo>
                      <a:lnTo>
                        <a:pt x="158" y="579"/>
                      </a:lnTo>
                      <a:lnTo>
                        <a:pt x="156" y="579"/>
                      </a:lnTo>
                      <a:lnTo>
                        <a:pt x="155" y="580"/>
                      </a:lnTo>
                      <a:lnTo>
                        <a:pt x="155" y="581"/>
                      </a:lnTo>
                      <a:lnTo>
                        <a:pt x="155" y="581"/>
                      </a:lnTo>
                      <a:lnTo>
                        <a:pt x="153" y="581"/>
                      </a:lnTo>
                      <a:lnTo>
                        <a:pt x="152" y="581"/>
                      </a:lnTo>
                      <a:lnTo>
                        <a:pt x="151" y="580"/>
                      </a:lnTo>
                      <a:lnTo>
                        <a:pt x="150" y="581"/>
                      </a:lnTo>
                      <a:lnTo>
                        <a:pt x="150" y="581"/>
                      </a:lnTo>
                      <a:lnTo>
                        <a:pt x="148" y="581"/>
                      </a:lnTo>
                      <a:lnTo>
                        <a:pt x="148" y="582"/>
                      </a:lnTo>
                      <a:lnTo>
                        <a:pt x="144" y="585"/>
                      </a:lnTo>
                      <a:lnTo>
                        <a:pt x="141" y="587"/>
                      </a:lnTo>
                      <a:lnTo>
                        <a:pt x="141" y="588"/>
                      </a:lnTo>
                      <a:lnTo>
                        <a:pt x="140" y="590"/>
                      </a:lnTo>
                      <a:lnTo>
                        <a:pt x="140" y="590"/>
                      </a:lnTo>
                      <a:lnTo>
                        <a:pt x="138" y="591"/>
                      </a:lnTo>
                      <a:lnTo>
                        <a:pt x="136" y="594"/>
                      </a:lnTo>
                      <a:lnTo>
                        <a:pt x="135" y="594"/>
                      </a:lnTo>
                      <a:lnTo>
                        <a:pt x="133" y="595"/>
                      </a:lnTo>
                      <a:lnTo>
                        <a:pt x="131" y="597"/>
                      </a:lnTo>
                      <a:lnTo>
                        <a:pt x="129" y="600"/>
                      </a:lnTo>
                      <a:lnTo>
                        <a:pt x="126" y="603"/>
                      </a:lnTo>
                      <a:lnTo>
                        <a:pt x="126" y="604"/>
                      </a:lnTo>
                      <a:lnTo>
                        <a:pt x="126" y="605"/>
                      </a:lnTo>
                      <a:lnTo>
                        <a:pt x="127" y="606"/>
                      </a:lnTo>
                      <a:lnTo>
                        <a:pt x="127" y="606"/>
                      </a:lnTo>
                      <a:lnTo>
                        <a:pt x="127" y="606"/>
                      </a:lnTo>
                      <a:lnTo>
                        <a:pt x="127" y="607"/>
                      </a:lnTo>
                      <a:lnTo>
                        <a:pt x="127" y="608"/>
                      </a:lnTo>
                      <a:lnTo>
                        <a:pt x="128" y="608"/>
                      </a:lnTo>
                      <a:lnTo>
                        <a:pt x="128" y="609"/>
                      </a:lnTo>
                      <a:lnTo>
                        <a:pt x="128" y="610"/>
                      </a:lnTo>
                      <a:lnTo>
                        <a:pt x="129" y="611"/>
                      </a:lnTo>
                      <a:lnTo>
                        <a:pt x="129" y="611"/>
                      </a:lnTo>
                      <a:lnTo>
                        <a:pt x="128" y="611"/>
                      </a:lnTo>
                      <a:lnTo>
                        <a:pt x="127" y="611"/>
                      </a:lnTo>
                      <a:lnTo>
                        <a:pt x="127" y="611"/>
                      </a:lnTo>
                      <a:lnTo>
                        <a:pt x="127" y="611"/>
                      </a:lnTo>
                      <a:lnTo>
                        <a:pt x="126" y="611"/>
                      </a:lnTo>
                      <a:lnTo>
                        <a:pt x="125" y="611"/>
                      </a:lnTo>
                      <a:lnTo>
                        <a:pt x="125" y="610"/>
                      </a:lnTo>
                      <a:lnTo>
                        <a:pt x="125" y="610"/>
                      </a:lnTo>
                      <a:lnTo>
                        <a:pt x="124" y="610"/>
                      </a:lnTo>
                      <a:lnTo>
                        <a:pt x="123" y="610"/>
                      </a:lnTo>
                      <a:lnTo>
                        <a:pt x="123" y="610"/>
                      </a:lnTo>
                      <a:lnTo>
                        <a:pt x="123" y="609"/>
                      </a:lnTo>
                      <a:lnTo>
                        <a:pt x="122" y="609"/>
                      </a:lnTo>
                      <a:lnTo>
                        <a:pt x="121" y="609"/>
                      </a:lnTo>
                      <a:lnTo>
                        <a:pt x="121" y="609"/>
                      </a:lnTo>
                      <a:lnTo>
                        <a:pt x="120" y="608"/>
                      </a:lnTo>
                      <a:lnTo>
                        <a:pt x="119" y="608"/>
                      </a:lnTo>
                      <a:lnTo>
                        <a:pt x="119" y="608"/>
                      </a:lnTo>
                      <a:lnTo>
                        <a:pt x="119" y="608"/>
                      </a:lnTo>
                      <a:lnTo>
                        <a:pt x="118" y="608"/>
                      </a:lnTo>
                      <a:lnTo>
                        <a:pt x="118" y="608"/>
                      </a:lnTo>
                      <a:lnTo>
                        <a:pt x="117" y="608"/>
                      </a:lnTo>
                      <a:lnTo>
                        <a:pt x="117" y="608"/>
                      </a:lnTo>
                      <a:lnTo>
                        <a:pt x="117" y="609"/>
                      </a:lnTo>
                      <a:lnTo>
                        <a:pt x="116" y="609"/>
                      </a:lnTo>
                      <a:lnTo>
                        <a:pt x="115" y="609"/>
                      </a:lnTo>
                      <a:lnTo>
                        <a:pt x="115" y="610"/>
                      </a:lnTo>
                      <a:lnTo>
                        <a:pt x="114" y="610"/>
                      </a:lnTo>
                      <a:lnTo>
                        <a:pt x="114" y="610"/>
                      </a:lnTo>
                      <a:lnTo>
                        <a:pt x="112" y="610"/>
                      </a:lnTo>
                      <a:lnTo>
                        <a:pt x="110" y="611"/>
                      </a:lnTo>
                      <a:lnTo>
                        <a:pt x="109" y="610"/>
                      </a:lnTo>
                      <a:lnTo>
                        <a:pt x="108" y="611"/>
                      </a:lnTo>
                      <a:lnTo>
                        <a:pt x="107" y="611"/>
                      </a:lnTo>
                      <a:lnTo>
                        <a:pt x="107" y="611"/>
                      </a:lnTo>
                      <a:lnTo>
                        <a:pt x="106" y="612"/>
                      </a:lnTo>
                      <a:lnTo>
                        <a:pt x="106" y="613"/>
                      </a:lnTo>
                      <a:lnTo>
                        <a:pt x="106" y="613"/>
                      </a:lnTo>
                      <a:lnTo>
                        <a:pt x="106" y="613"/>
                      </a:lnTo>
                      <a:lnTo>
                        <a:pt x="106" y="614"/>
                      </a:lnTo>
                      <a:lnTo>
                        <a:pt x="105" y="614"/>
                      </a:lnTo>
                      <a:lnTo>
                        <a:pt x="104" y="614"/>
                      </a:lnTo>
                      <a:lnTo>
                        <a:pt x="104" y="615"/>
                      </a:lnTo>
                      <a:lnTo>
                        <a:pt x="104" y="615"/>
                      </a:lnTo>
                      <a:lnTo>
                        <a:pt x="104" y="616"/>
                      </a:lnTo>
                      <a:lnTo>
                        <a:pt x="104" y="617"/>
                      </a:lnTo>
                      <a:lnTo>
                        <a:pt x="104" y="617"/>
                      </a:lnTo>
                      <a:lnTo>
                        <a:pt x="103" y="617"/>
                      </a:lnTo>
                      <a:lnTo>
                        <a:pt x="103" y="618"/>
                      </a:lnTo>
                      <a:lnTo>
                        <a:pt x="102" y="618"/>
                      </a:lnTo>
                      <a:lnTo>
                        <a:pt x="102" y="619"/>
                      </a:lnTo>
                      <a:lnTo>
                        <a:pt x="102" y="619"/>
                      </a:lnTo>
                      <a:lnTo>
                        <a:pt x="102" y="619"/>
                      </a:lnTo>
                      <a:lnTo>
                        <a:pt x="101" y="619"/>
                      </a:lnTo>
                      <a:lnTo>
                        <a:pt x="100" y="619"/>
                      </a:lnTo>
                      <a:lnTo>
                        <a:pt x="100" y="620"/>
                      </a:lnTo>
                      <a:lnTo>
                        <a:pt x="100" y="620"/>
                      </a:lnTo>
                      <a:lnTo>
                        <a:pt x="99" y="620"/>
                      </a:lnTo>
                      <a:lnTo>
                        <a:pt x="98" y="620"/>
                      </a:lnTo>
                      <a:lnTo>
                        <a:pt x="98" y="619"/>
                      </a:lnTo>
                      <a:lnTo>
                        <a:pt x="98" y="620"/>
                      </a:lnTo>
                      <a:lnTo>
                        <a:pt x="97" y="620"/>
                      </a:lnTo>
                      <a:lnTo>
                        <a:pt x="96" y="620"/>
                      </a:lnTo>
                      <a:lnTo>
                        <a:pt x="95" y="620"/>
                      </a:lnTo>
                      <a:lnTo>
                        <a:pt x="95" y="619"/>
                      </a:lnTo>
                      <a:lnTo>
                        <a:pt x="94" y="619"/>
                      </a:lnTo>
                      <a:lnTo>
                        <a:pt x="93" y="619"/>
                      </a:lnTo>
                      <a:lnTo>
                        <a:pt x="93" y="619"/>
                      </a:lnTo>
                      <a:lnTo>
                        <a:pt x="93" y="619"/>
                      </a:lnTo>
                      <a:lnTo>
                        <a:pt x="92" y="619"/>
                      </a:lnTo>
                      <a:lnTo>
                        <a:pt x="92" y="618"/>
                      </a:lnTo>
                      <a:lnTo>
                        <a:pt x="91" y="618"/>
                      </a:lnTo>
                      <a:lnTo>
                        <a:pt x="91" y="618"/>
                      </a:lnTo>
                      <a:lnTo>
                        <a:pt x="90" y="617"/>
                      </a:lnTo>
                      <a:lnTo>
                        <a:pt x="89" y="618"/>
                      </a:lnTo>
                      <a:lnTo>
                        <a:pt x="89" y="619"/>
                      </a:lnTo>
                      <a:lnTo>
                        <a:pt x="89" y="619"/>
                      </a:lnTo>
                      <a:lnTo>
                        <a:pt x="89" y="618"/>
                      </a:lnTo>
                      <a:lnTo>
                        <a:pt x="88" y="618"/>
                      </a:lnTo>
                      <a:lnTo>
                        <a:pt x="87" y="619"/>
                      </a:lnTo>
                      <a:lnTo>
                        <a:pt x="88" y="619"/>
                      </a:lnTo>
                      <a:lnTo>
                        <a:pt x="88" y="619"/>
                      </a:lnTo>
                      <a:lnTo>
                        <a:pt x="87" y="619"/>
                      </a:lnTo>
                      <a:lnTo>
                        <a:pt x="87" y="620"/>
                      </a:lnTo>
                      <a:lnTo>
                        <a:pt x="87" y="620"/>
                      </a:lnTo>
                      <a:lnTo>
                        <a:pt x="87" y="621"/>
                      </a:lnTo>
                      <a:lnTo>
                        <a:pt x="86" y="621"/>
                      </a:lnTo>
                      <a:lnTo>
                        <a:pt x="85" y="621"/>
                      </a:lnTo>
                      <a:lnTo>
                        <a:pt x="83" y="621"/>
                      </a:lnTo>
                      <a:lnTo>
                        <a:pt x="81" y="619"/>
                      </a:lnTo>
                      <a:lnTo>
                        <a:pt x="78" y="619"/>
                      </a:lnTo>
                      <a:lnTo>
                        <a:pt x="70" y="625"/>
                      </a:lnTo>
                      <a:lnTo>
                        <a:pt x="68" y="625"/>
                      </a:lnTo>
                      <a:lnTo>
                        <a:pt x="62" y="625"/>
                      </a:lnTo>
                      <a:lnTo>
                        <a:pt x="62" y="624"/>
                      </a:lnTo>
                      <a:lnTo>
                        <a:pt x="60" y="624"/>
                      </a:lnTo>
                      <a:lnTo>
                        <a:pt x="60" y="623"/>
                      </a:lnTo>
                      <a:lnTo>
                        <a:pt x="59" y="622"/>
                      </a:lnTo>
                      <a:lnTo>
                        <a:pt x="56" y="620"/>
                      </a:lnTo>
                      <a:lnTo>
                        <a:pt x="55" y="619"/>
                      </a:lnTo>
                      <a:lnTo>
                        <a:pt x="54" y="616"/>
                      </a:lnTo>
                      <a:lnTo>
                        <a:pt x="53" y="616"/>
                      </a:lnTo>
                      <a:lnTo>
                        <a:pt x="53" y="615"/>
                      </a:lnTo>
                      <a:lnTo>
                        <a:pt x="53" y="615"/>
                      </a:lnTo>
                      <a:lnTo>
                        <a:pt x="53" y="615"/>
                      </a:lnTo>
                      <a:lnTo>
                        <a:pt x="53" y="614"/>
                      </a:lnTo>
                      <a:lnTo>
                        <a:pt x="52" y="613"/>
                      </a:lnTo>
                      <a:lnTo>
                        <a:pt x="51" y="613"/>
                      </a:lnTo>
                      <a:lnTo>
                        <a:pt x="51" y="613"/>
                      </a:lnTo>
                      <a:lnTo>
                        <a:pt x="51" y="613"/>
                      </a:lnTo>
                      <a:lnTo>
                        <a:pt x="51" y="612"/>
                      </a:lnTo>
                      <a:lnTo>
                        <a:pt x="50" y="611"/>
                      </a:lnTo>
                      <a:lnTo>
                        <a:pt x="50" y="611"/>
                      </a:lnTo>
                      <a:lnTo>
                        <a:pt x="50" y="610"/>
                      </a:lnTo>
                      <a:lnTo>
                        <a:pt x="50" y="609"/>
                      </a:lnTo>
                      <a:lnTo>
                        <a:pt x="50" y="608"/>
                      </a:lnTo>
                      <a:lnTo>
                        <a:pt x="50" y="608"/>
                      </a:lnTo>
                      <a:lnTo>
                        <a:pt x="50" y="607"/>
                      </a:lnTo>
                      <a:lnTo>
                        <a:pt x="50" y="606"/>
                      </a:lnTo>
                      <a:lnTo>
                        <a:pt x="50" y="606"/>
                      </a:lnTo>
                      <a:lnTo>
                        <a:pt x="49" y="604"/>
                      </a:lnTo>
                      <a:lnTo>
                        <a:pt x="48" y="603"/>
                      </a:lnTo>
                      <a:lnTo>
                        <a:pt x="49" y="602"/>
                      </a:lnTo>
                      <a:lnTo>
                        <a:pt x="50" y="601"/>
                      </a:lnTo>
                      <a:lnTo>
                        <a:pt x="51" y="599"/>
                      </a:lnTo>
                      <a:lnTo>
                        <a:pt x="52" y="596"/>
                      </a:lnTo>
                      <a:lnTo>
                        <a:pt x="53" y="596"/>
                      </a:lnTo>
                      <a:lnTo>
                        <a:pt x="57" y="590"/>
                      </a:lnTo>
                      <a:lnTo>
                        <a:pt x="61" y="586"/>
                      </a:lnTo>
                      <a:lnTo>
                        <a:pt x="62" y="585"/>
                      </a:lnTo>
                      <a:lnTo>
                        <a:pt x="66" y="581"/>
                      </a:lnTo>
                      <a:lnTo>
                        <a:pt x="71" y="577"/>
                      </a:lnTo>
                      <a:lnTo>
                        <a:pt x="72" y="575"/>
                      </a:lnTo>
                      <a:lnTo>
                        <a:pt x="73" y="573"/>
                      </a:lnTo>
                      <a:lnTo>
                        <a:pt x="79" y="562"/>
                      </a:lnTo>
                      <a:lnTo>
                        <a:pt x="79" y="560"/>
                      </a:lnTo>
                      <a:lnTo>
                        <a:pt x="79" y="558"/>
                      </a:lnTo>
                      <a:lnTo>
                        <a:pt x="79" y="556"/>
                      </a:lnTo>
                      <a:lnTo>
                        <a:pt x="77" y="555"/>
                      </a:lnTo>
                      <a:lnTo>
                        <a:pt x="77" y="554"/>
                      </a:lnTo>
                      <a:lnTo>
                        <a:pt x="77" y="554"/>
                      </a:lnTo>
                      <a:lnTo>
                        <a:pt x="76" y="554"/>
                      </a:lnTo>
                      <a:lnTo>
                        <a:pt x="76" y="553"/>
                      </a:lnTo>
                      <a:lnTo>
                        <a:pt x="77" y="553"/>
                      </a:lnTo>
                      <a:lnTo>
                        <a:pt x="77" y="552"/>
                      </a:lnTo>
                      <a:lnTo>
                        <a:pt x="77" y="552"/>
                      </a:lnTo>
                      <a:lnTo>
                        <a:pt x="77" y="551"/>
                      </a:lnTo>
                      <a:lnTo>
                        <a:pt x="77" y="550"/>
                      </a:lnTo>
                      <a:lnTo>
                        <a:pt x="77" y="549"/>
                      </a:lnTo>
                      <a:lnTo>
                        <a:pt x="76" y="549"/>
                      </a:lnTo>
                      <a:lnTo>
                        <a:pt x="76" y="549"/>
                      </a:lnTo>
                      <a:lnTo>
                        <a:pt x="76" y="548"/>
                      </a:lnTo>
                      <a:lnTo>
                        <a:pt x="75" y="547"/>
                      </a:lnTo>
                      <a:lnTo>
                        <a:pt x="75" y="547"/>
                      </a:lnTo>
                      <a:lnTo>
                        <a:pt x="74" y="547"/>
                      </a:lnTo>
                      <a:lnTo>
                        <a:pt x="74" y="547"/>
                      </a:lnTo>
                      <a:lnTo>
                        <a:pt x="74" y="546"/>
                      </a:lnTo>
                      <a:lnTo>
                        <a:pt x="73" y="546"/>
                      </a:lnTo>
                      <a:lnTo>
                        <a:pt x="72" y="546"/>
                      </a:lnTo>
                      <a:lnTo>
                        <a:pt x="70" y="546"/>
                      </a:lnTo>
                      <a:lnTo>
                        <a:pt x="70" y="545"/>
                      </a:lnTo>
                      <a:lnTo>
                        <a:pt x="70" y="545"/>
                      </a:lnTo>
                      <a:lnTo>
                        <a:pt x="69" y="544"/>
                      </a:lnTo>
                      <a:lnTo>
                        <a:pt x="68" y="543"/>
                      </a:lnTo>
                      <a:lnTo>
                        <a:pt x="68" y="542"/>
                      </a:lnTo>
                      <a:lnTo>
                        <a:pt x="66" y="537"/>
                      </a:lnTo>
                      <a:lnTo>
                        <a:pt x="66" y="537"/>
                      </a:lnTo>
                      <a:lnTo>
                        <a:pt x="66" y="537"/>
                      </a:lnTo>
                      <a:lnTo>
                        <a:pt x="66" y="536"/>
                      </a:lnTo>
                      <a:lnTo>
                        <a:pt x="65" y="536"/>
                      </a:lnTo>
                      <a:lnTo>
                        <a:pt x="65" y="535"/>
                      </a:lnTo>
                      <a:lnTo>
                        <a:pt x="65" y="535"/>
                      </a:lnTo>
                      <a:lnTo>
                        <a:pt x="64" y="535"/>
                      </a:lnTo>
                      <a:lnTo>
                        <a:pt x="64" y="534"/>
                      </a:lnTo>
                      <a:lnTo>
                        <a:pt x="64" y="534"/>
                      </a:lnTo>
                      <a:lnTo>
                        <a:pt x="63" y="534"/>
                      </a:lnTo>
                      <a:lnTo>
                        <a:pt x="64" y="531"/>
                      </a:lnTo>
                      <a:lnTo>
                        <a:pt x="63" y="531"/>
                      </a:lnTo>
                      <a:lnTo>
                        <a:pt x="62" y="532"/>
                      </a:lnTo>
                      <a:lnTo>
                        <a:pt x="62" y="531"/>
                      </a:lnTo>
                      <a:lnTo>
                        <a:pt x="60" y="531"/>
                      </a:lnTo>
                      <a:lnTo>
                        <a:pt x="59" y="531"/>
                      </a:lnTo>
                      <a:lnTo>
                        <a:pt x="58" y="531"/>
                      </a:lnTo>
                      <a:lnTo>
                        <a:pt x="57" y="531"/>
                      </a:lnTo>
                      <a:lnTo>
                        <a:pt x="57" y="530"/>
                      </a:lnTo>
                      <a:lnTo>
                        <a:pt x="57" y="529"/>
                      </a:lnTo>
                      <a:lnTo>
                        <a:pt x="56" y="528"/>
                      </a:lnTo>
                      <a:lnTo>
                        <a:pt x="53" y="524"/>
                      </a:lnTo>
                      <a:lnTo>
                        <a:pt x="51" y="520"/>
                      </a:lnTo>
                      <a:lnTo>
                        <a:pt x="48" y="517"/>
                      </a:lnTo>
                      <a:lnTo>
                        <a:pt x="43" y="515"/>
                      </a:lnTo>
                      <a:lnTo>
                        <a:pt x="41" y="514"/>
                      </a:lnTo>
                      <a:lnTo>
                        <a:pt x="38" y="510"/>
                      </a:lnTo>
                      <a:lnTo>
                        <a:pt x="38" y="508"/>
                      </a:lnTo>
                      <a:lnTo>
                        <a:pt x="36" y="507"/>
                      </a:lnTo>
                      <a:lnTo>
                        <a:pt x="36" y="505"/>
                      </a:lnTo>
                      <a:lnTo>
                        <a:pt x="33" y="501"/>
                      </a:lnTo>
                      <a:lnTo>
                        <a:pt x="34" y="494"/>
                      </a:lnTo>
                      <a:lnTo>
                        <a:pt x="35" y="493"/>
                      </a:lnTo>
                      <a:lnTo>
                        <a:pt x="38" y="490"/>
                      </a:lnTo>
                      <a:lnTo>
                        <a:pt x="37" y="488"/>
                      </a:lnTo>
                      <a:lnTo>
                        <a:pt x="34" y="484"/>
                      </a:lnTo>
                      <a:lnTo>
                        <a:pt x="30" y="481"/>
                      </a:lnTo>
                      <a:lnTo>
                        <a:pt x="32" y="480"/>
                      </a:lnTo>
                      <a:lnTo>
                        <a:pt x="32" y="479"/>
                      </a:lnTo>
                      <a:lnTo>
                        <a:pt x="33" y="479"/>
                      </a:lnTo>
                      <a:lnTo>
                        <a:pt x="33" y="478"/>
                      </a:lnTo>
                      <a:lnTo>
                        <a:pt x="34" y="478"/>
                      </a:lnTo>
                      <a:lnTo>
                        <a:pt x="34" y="477"/>
                      </a:lnTo>
                      <a:lnTo>
                        <a:pt x="34" y="476"/>
                      </a:lnTo>
                      <a:lnTo>
                        <a:pt x="34" y="476"/>
                      </a:lnTo>
                      <a:lnTo>
                        <a:pt x="34" y="475"/>
                      </a:lnTo>
                      <a:lnTo>
                        <a:pt x="34" y="475"/>
                      </a:lnTo>
                      <a:lnTo>
                        <a:pt x="34" y="474"/>
                      </a:lnTo>
                      <a:lnTo>
                        <a:pt x="34" y="474"/>
                      </a:lnTo>
                      <a:lnTo>
                        <a:pt x="35" y="474"/>
                      </a:lnTo>
                      <a:lnTo>
                        <a:pt x="35" y="473"/>
                      </a:lnTo>
                      <a:lnTo>
                        <a:pt x="36" y="473"/>
                      </a:lnTo>
                      <a:lnTo>
                        <a:pt x="36" y="473"/>
                      </a:lnTo>
                      <a:lnTo>
                        <a:pt x="36" y="472"/>
                      </a:lnTo>
                      <a:lnTo>
                        <a:pt x="37" y="472"/>
                      </a:lnTo>
                      <a:lnTo>
                        <a:pt x="37" y="472"/>
                      </a:lnTo>
                      <a:lnTo>
                        <a:pt x="36" y="472"/>
                      </a:lnTo>
                      <a:lnTo>
                        <a:pt x="36" y="471"/>
                      </a:lnTo>
                      <a:lnTo>
                        <a:pt x="36" y="470"/>
                      </a:lnTo>
                      <a:lnTo>
                        <a:pt x="36" y="469"/>
                      </a:lnTo>
                      <a:lnTo>
                        <a:pt x="36" y="469"/>
                      </a:lnTo>
                      <a:lnTo>
                        <a:pt x="36" y="468"/>
                      </a:lnTo>
                      <a:lnTo>
                        <a:pt x="36" y="468"/>
                      </a:lnTo>
                      <a:lnTo>
                        <a:pt x="36" y="467"/>
                      </a:lnTo>
                      <a:lnTo>
                        <a:pt x="37" y="467"/>
                      </a:lnTo>
                      <a:lnTo>
                        <a:pt x="38" y="467"/>
                      </a:lnTo>
                      <a:lnTo>
                        <a:pt x="38" y="467"/>
                      </a:lnTo>
                      <a:lnTo>
                        <a:pt x="39" y="467"/>
                      </a:lnTo>
                      <a:lnTo>
                        <a:pt x="40" y="467"/>
                      </a:lnTo>
                      <a:lnTo>
                        <a:pt x="41" y="467"/>
                      </a:lnTo>
                      <a:lnTo>
                        <a:pt x="41" y="467"/>
                      </a:lnTo>
                      <a:lnTo>
                        <a:pt x="41" y="467"/>
                      </a:lnTo>
                      <a:lnTo>
                        <a:pt x="42" y="467"/>
                      </a:lnTo>
                      <a:lnTo>
                        <a:pt x="42" y="466"/>
                      </a:lnTo>
                      <a:lnTo>
                        <a:pt x="43" y="466"/>
                      </a:lnTo>
                      <a:lnTo>
                        <a:pt x="43" y="466"/>
                      </a:lnTo>
                      <a:lnTo>
                        <a:pt x="44" y="466"/>
                      </a:lnTo>
                      <a:lnTo>
                        <a:pt x="45" y="465"/>
                      </a:lnTo>
                      <a:lnTo>
                        <a:pt x="45" y="465"/>
                      </a:lnTo>
                      <a:lnTo>
                        <a:pt x="46" y="465"/>
                      </a:lnTo>
                      <a:lnTo>
                        <a:pt x="46" y="465"/>
                      </a:lnTo>
                      <a:lnTo>
                        <a:pt x="46" y="464"/>
                      </a:lnTo>
                      <a:lnTo>
                        <a:pt x="47" y="464"/>
                      </a:lnTo>
                      <a:lnTo>
                        <a:pt x="47" y="464"/>
                      </a:lnTo>
                      <a:lnTo>
                        <a:pt x="48" y="464"/>
                      </a:lnTo>
                      <a:lnTo>
                        <a:pt x="49" y="464"/>
                      </a:lnTo>
                      <a:lnTo>
                        <a:pt x="49" y="463"/>
                      </a:lnTo>
                      <a:lnTo>
                        <a:pt x="49" y="463"/>
                      </a:lnTo>
                      <a:lnTo>
                        <a:pt x="49" y="463"/>
                      </a:lnTo>
                      <a:lnTo>
                        <a:pt x="50" y="463"/>
                      </a:lnTo>
                      <a:lnTo>
                        <a:pt x="50" y="462"/>
                      </a:lnTo>
                      <a:lnTo>
                        <a:pt x="51" y="461"/>
                      </a:lnTo>
                      <a:lnTo>
                        <a:pt x="51" y="461"/>
                      </a:lnTo>
                      <a:lnTo>
                        <a:pt x="51" y="460"/>
                      </a:lnTo>
                      <a:lnTo>
                        <a:pt x="51" y="459"/>
                      </a:lnTo>
                      <a:lnTo>
                        <a:pt x="51" y="459"/>
                      </a:lnTo>
                      <a:lnTo>
                        <a:pt x="51" y="458"/>
                      </a:lnTo>
                      <a:lnTo>
                        <a:pt x="51" y="458"/>
                      </a:lnTo>
                      <a:lnTo>
                        <a:pt x="51" y="457"/>
                      </a:lnTo>
                      <a:lnTo>
                        <a:pt x="50" y="457"/>
                      </a:lnTo>
                      <a:lnTo>
                        <a:pt x="50" y="457"/>
                      </a:lnTo>
                      <a:lnTo>
                        <a:pt x="49" y="457"/>
                      </a:lnTo>
                      <a:lnTo>
                        <a:pt x="49" y="456"/>
                      </a:lnTo>
                      <a:lnTo>
                        <a:pt x="49" y="455"/>
                      </a:lnTo>
                      <a:lnTo>
                        <a:pt x="49" y="455"/>
                      </a:lnTo>
                      <a:lnTo>
                        <a:pt x="49" y="455"/>
                      </a:lnTo>
                      <a:lnTo>
                        <a:pt x="49" y="454"/>
                      </a:lnTo>
                      <a:lnTo>
                        <a:pt x="48" y="454"/>
                      </a:lnTo>
                      <a:lnTo>
                        <a:pt x="48" y="453"/>
                      </a:lnTo>
                      <a:lnTo>
                        <a:pt x="48" y="453"/>
                      </a:lnTo>
                      <a:lnTo>
                        <a:pt x="47" y="453"/>
                      </a:lnTo>
                      <a:lnTo>
                        <a:pt x="47" y="452"/>
                      </a:lnTo>
                      <a:lnTo>
                        <a:pt x="47" y="451"/>
                      </a:lnTo>
                      <a:lnTo>
                        <a:pt x="47" y="451"/>
                      </a:lnTo>
                      <a:lnTo>
                        <a:pt x="46" y="450"/>
                      </a:lnTo>
                      <a:lnTo>
                        <a:pt x="46" y="450"/>
                      </a:lnTo>
                      <a:lnTo>
                        <a:pt x="46" y="449"/>
                      </a:lnTo>
                      <a:lnTo>
                        <a:pt x="46" y="448"/>
                      </a:lnTo>
                      <a:lnTo>
                        <a:pt x="46" y="448"/>
                      </a:lnTo>
                      <a:lnTo>
                        <a:pt x="46" y="447"/>
                      </a:lnTo>
                      <a:lnTo>
                        <a:pt x="45" y="447"/>
                      </a:lnTo>
                      <a:lnTo>
                        <a:pt x="46" y="447"/>
                      </a:lnTo>
                      <a:lnTo>
                        <a:pt x="46" y="446"/>
                      </a:lnTo>
                      <a:lnTo>
                        <a:pt x="45" y="446"/>
                      </a:lnTo>
                      <a:lnTo>
                        <a:pt x="46" y="446"/>
                      </a:lnTo>
                      <a:lnTo>
                        <a:pt x="46" y="446"/>
                      </a:lnTo>
                      <a:lnTo>
                        <a:pt x="46" y="445"/>
                      </a:lnTo>
                      <a:lnTo>
                        <a:pt x="46" y="444"/>
                      </a:lnTo>
                      <a:lnTo>
                        <a:pt x="46" y="444"/>
                      </a:lnTo>
                      <a:lnTo>
                        <a:pt x="45" y="444"/>
                      </a:lnTo>
                      <a:lnTo>
                        <a:pt x="45" y="443"/>
                      </a:lnTo>
                      <a:lnTo>
                        <a:pt x="45" y="443"/>
                      </a:lnTo>
                      <a:lnTo>
                        <a:pt x="45" y="442"/>
                      </a:lnTo>
                      <a:lnTo>
                        <a:pt x="45" y="442"/>
                      </a:lnTo>
                      <a:lnTo>
                        <a:pt x="44" y="442"/>
                      </a:lnTo>
                      <a:lnTo>
                        <a:pt x="44" y="441"/>
                      </a:lnTo>
                      <a:lnTo>
                        <a:pt x="43" y="441"/>
                      </a:lnTo>
                      <a:lnTo>
                        <a:pt x="43" y="441"/>
                      </a:lnTo>
                      <a:lnTo>
                        <a:pt x="42" y="441"/>
                      </a:lnTo>
                      <a:lnTo>
                        <a:pt x="42" y="440"/>
                      </a:lnTo>
                      <a:lnTo>
                        <a:pt x="41" y="440"/>
                      </a:lnTo>
                      <a:lnTo>
                        <a:pt x="41" y="440"/>
                      </a:lnTo>
                      <a:lnTo>
                        <a:pt x="40" y="440"/>
                      </a:lnTo>
                      <a:lnTo>
                        <a:pt x="39" y="440"/>
                      </a:lnTo>
                      <a:lnTo>
                        <a:pt x="38" y="440"/>
                      </a:lnTo>
                      <a:lnTo>
                        <a:pt x="38" y="439"/>
                      </a:lnTo>
                      <a:lnTo>
                        <a:pt x="38" y="439"/>
                      </a:lnTo>
                      <a:lnTo>
                        <a:pt x="38" y="438"/>
                      </a:lnTo>
                      <a:lnTo>
                        <a:pt x="37" y="438"/>
                      </a:lnTo>
                      <a:lnTo>
                        <a:pt x="36" y="438"/>
                      </a:lnTo>
                      <a:lnTo>
                        <a:pt x="36" y="437"/>
                      </a:lnTo>
                      <a:lnTo>
                        <a:pt x="36" y="437"/>
                      </a:lnTo>
                      <a:lnTo>
                        <a:pt x="36" y="436"/>
                      </a:lnTo>
                      <a:lnTo>
                        <a:pt x="36" y="436"/>
                      </a:lnTo>
                      <a:lnTo>
                        <a:pt x="35" y="435"/>
                      </a:lnTo>
                      <a:lnTo>
                        <a:pt x="35" y="434"/>
                      </a:lnTo>
                      <a:lnTo>
                        <a:pt x="36" y="434"/>
                      </a:lnTo>
                      <a:lnTo>
                        <a:pt x="36" y="434"/>
                      </a:lnTo>
                      <a:lnTo>
                        <a:pt x="36" y="433"/>
                      </a:lnTo>
                      <a:lnTo>
                        <a:pt x="36" y="433"/>
                      </a:lnTo>
                      <a:lnTo>
                        <a:pt x="36" y="432"/>
                      </a:lnTo>
                      <a:lnTo>
                        <a:pt x="37" y="432"/>
                      </a:lnTo>
                      <a:lnTo>
                        <a:pt x="37" y="432"/>
                      </a:lnTo>
                      <a:lnTo>
                        <a:pt x="38" y="432"/>
                      </a:lnTo>
                      <a:lnTo>
                        <a:pt x="38" y="431"/>
                      </a:lnTo>
                      <a:lnTo>
                        <a:pt x="38" y="430"/>
                      </a:lnTo>
                      <a:lnTo>
                        <a:pt x="38" y="429"/>
                      </a:lnTo>
                      <a:lnTo>
                        <a:pt x="38" y="429"/>
                      </a:lnTo>
                      <a:lnTo>
                        <a:pt x="38" y="428"/>
                      </a:lnTo>
                      <a:lnTo>
                        <a:pt x="38" y="427"/>
                      </a:lnTo>
                      <a:lnTo>
                        <a:pt x="38" y="427"/>
                      </a:lnTo>
                      <a:lnTo>
                        <a:pt x="39" y="427"/>
                      </a:lnTo>
                      <a:lnTo>
                        <a:pt x="40" y="427"/>
                      </a:lnTo>
                      <a:lnTo>
                        <a:pt x="41" y="427"/>
                      </a:lnTo>
                      <a:lnTo>
                        <a:pt x="41" y="426"/>
                      </a:lnTo>
                      <a:lnTo>
                        <a:pt x="41" y="426"/>
                      </a:lnTo>
                      <a:lnTo>
                        <a:pt x="41" y="427"/>
                      </a:lnTo>
                      <a:lnTo>
                        <a:pt x="42" y="427"/>
                      </a:lnTo>
                      <a:lnTo>
                        <a:pt x="43" y="427"/>
                      </a:lnTo>
                      <a:lnTo>
                        <a:pt x="43" y="426"/>
                      </a:lnTo>
                      <a:lnTo>
                        <a:pt x="42" y="426"/>
                      </a:lnTo>
                      <a:lnTo>
                        <a:pt x="42" y="425"/>
                      </a:lnTo>
                      <a:lnTo>
                        <a:pt x="42" y="425"/>
                      </a:lnTo>
                      <a:lnTo>
                        <a:pt x="41" y="425"/>
                      </a:lnTo>
                      <a:lnTo>
                        <a:pt x="42" y="424"/>
                      </a:lnTo>
                      <a:lnTo>
                        <a:pt x="42" y="423"/>
                      </a:lnTo>
                      <a:lnTo>
                        <a:pt x="42" y="423"/>
                      </a:lnTo>
                      <a:lnTo>
                        <a:pt x="43" y="423"/>
                      </a:lnTo>
                      <a:lnTo>
                        <a:pt x="43" y="422"/>
                      </a:lnTo>
                      <a:lnTo>
                        <a:pt x="43" y="421"/>
                      </a:lnTo>
                      <a:lnTo>
                        <a:pt x="43" y="421"/>
                      </a:lnTo>
                      <a:lnTo>
                        <a:pt x="43" y="420"/>
                      </a:lnTo>
                      <a:lnTo>
                        <a:pt x="43" y="419"/>
                      </a:lnTo>
                      <a:lnTo>
                        <a:pt x="43" y="419"/>
                      </a:lnTo>
                      <a:lnTo>
                        <a:pt x="43" y="418"/>
                      </a:lnTo>
                      <a:lnTo>
                        <a:pt x="43" y="418"/>
                      </a:lnTo>
                      <a:lnTo>
                        <a:pt x="43" y="417"/>
                      </a:lnTo>
                      <a:lnTo>
                        <a:pt x="42" y="417"/>
                      </a:lnTo>
                      <a:lnTo>
                        <a:pt x="42" y="417"/>
                      </a:lnTo>
                      <a:lnTo>
                        <a:pt x="41" y="417"/>
                      </a:lnTo>
                      <a:lnTo>
                        <a:pt x="41" y="417"/>
                      </a:lnTo>
                      <a:lnTo>
                        <a:pt x="40" y="417"/>
                      </a:lnTo>
                      <a:lnTo>
                        <a:pt x="39" y="416"/>
                      </a:lnTo>
                      <a:lnTo>
                        <a:pt x="39" y="415"/>
                      </a:lnTo>
                      <a:lnTo>
                        <a:pt x="39" y="415"/>
                      </a:lnTo>
                      <a:lnTo>
                        <a:pt x="40" y="415"/>
                      </a:lnTo>
                      <a:lnTo>
                        <a:pt x="40" y="414"/>
                      </a:lnTo>
                      <a:lnTo>
                        <a:pt x="41" y="414"/>
                      </a:lnTo>
                      <a:lnTo>
                        <a:pt x="41" y="414"/>
                      </a:lnTo>
                      <a:lnTo>
                        <a:pt x="42" y="414"/>
                      </a:lnTo>
                      <a:lnTo>
                        <a:pt x="43" y="414"/>
                      </a:lnTo>
                      <a:lnTo>
                        <a:pt x="43" y="413"/>
                      </a:lnTo>
                      <a:lnTo>
                        <a:pt x="43" y="413"/>
                      </a:lnTo>
                      <a:lnTo>
                        <a:pt x="43" y="412"/>
                      </a:lnTo>
                      <a:lnTo>
                        <a:pt x="43" y="411"/>
                      </a:lnTo>
                      <a:lnTo>
                        <a:pt x="43" y="411"/>
                      </a:lnTo>
                      <a:lnTo>
                        <a:pt x="43" y="410"/>
                      </a:lnTo>
                      <a:lnTo>
                        <a:pt x="43" y="410"/>
                      </a:lnTo>
                      <a:lnTo>
                        <a:pt x="43" y="409"/>
                      </a:lnTo>
                      <a:lnTo>
                        <a:pt x="43" y="408"/>
                      </a:lnTo>
                      <a:lnTo>
                        <a:pt x="43" y="408"/>
                      </a:lnTo>
                      <a:lnTo>
                        <a:pt x="43" y="408"/>
                      </a:lnTo>
                      <a:lnTo>
                        <a:pt x="42" y="408"/>
                      </a:lnTo>
                      <a:lnTo>
                        <a:pt x="41" y="408"/>
                      </a:lnTo>
                      <a:lnTo>
                        <a:pt x="41" y="407"/>
                      </a:lnTo>
                      <a:lnTo>
                        <a:pt x="41" y="407"/>
                      </a:lnTo>
                      <a:lnTo>
                        <a:pt x="40" y="407"/>
                      </a:lnTo>
                      <a:lnTo>
                        <a:pt x="40" y="406"/>
                      </a:lnTo>
                      <a:lnTo>
                        <a:pt x="39" y="406"/>
                      </a:lnTo>
                      <a:lnTo>
                        <a:pt x="38" y="406"/>
                      </a:lnTo>
                      <a:lnTo>
                        <a:pt x="38" y="406"/>
                      </a:lnTo>
                      <a:lnTo>
                        <a:pt x="38" y="406"/>
                      </a:lnTo>
                      <a:lnTo>
                        <a:pt x="38" y="405"/>
                      </a:lnTo>
                      <a:lnTo>
                        <a:pt x="37" y="405"/>
                      </a:lnTo>
                      <a:lnTo>
                        <a:pt x="36" y="405"/>
                      </a:lnTo>
                      <a:lnTo>
                        <a:pt x="36" y="404"/>
                      </a:lnTo>
                      <a:lnTo>
                        <a:pt x="36" y="404"/>
                      </a:lnTo>
                      <a:lnTo>
                        <a:pt x="35" y="404"/>
                      </a:lnTo>
                      <a:lnTo>
                        <a:pt x="35" y="404"/>
                      </a:lnTo>
                      <a:lnTo>
                        <a:pt x="34" y="404"/>
                      </a:lnTo>
                      <a:lnTo>
                        <a:pt x="34" y="403"/>
                      </a:lnTo>
                      <a:lnTo>
                        <a:pt x="34" y="403"/>
                      </a:lnTo>
                      <a:lnTo>
                        <a:pt x="34" y="402"/>
                      </a:lnTo>
                      <a:lnTo>
                        <a:pt x="33" y="402"/>
                      </a:lnTo>
                      <a:lnTo>
                        <a:pt x="33" y="402"/>
                      </a:lnTo>
                      <a:lnTo>
                        <a:pt x="32" y="402"/>
                      </a:lnTo>
                      <a:lnTo>
                        <a:pt x="32" y="402"/>
                      </a:lnTo>
                      <a:lnTo>
                        <a:pt x="32" y="401"/>
                      </a:lnTo>
                      <a:lnTo>
                        <a:pt x="32" y="400"/>
                      </a:lnTo>
                      <a:lnTo>
                        <a:pt x="32" y="400"/>
                      </a:lnTo>
                      <a:lnTo>
                        <a:pt x="32" y="399"/>
                      </a:lnTo>
                      <a:lnTo>
                        <a:pt x="32" y="398"/>
                      </a:lnTo>
                      <a:lnTo>
                        <a:pt x="31" y="398"/>
                      </a:lnTo>
                      <a:lnTo>
                        <a:pt x="32" y="398"/>
                      </a:lnTo>
                      <a:lnTo>
                        <a:pt x="32" y="397"/>
                      </a:lnTo>
                      <a:lnTo>
                        <a:pt x="32" y="396"/>
                      </a:lnTo>
                      <a:lnTo>
                        <a:pt x="32" y="396"/>
                      </a:lnTo>
                      <a:lnTo>
                        <a:pt x="32" y="395"/>
                      </a:lnTo>
                      <a:lnTo>
                        <a:pt x="32" y="394"/>
                      </a:lnTo>
                      <a:lnTo>
                        <a:pt x="32" y="394"/>
                      </a:lnTo>
                      <a:lnTo>
                        <a:pt x="32" y="394"/>
                      </a:lnTo>
                      <a:lnTo>
                        <a:pt x="32" y="393"/>
                      </a:lnTo>
                      <a:lnTo>
                        <a:pt x="32" y="392"/>
                      </a:lnTo>
                      <a:lnTo>
                        <a:pt x="33" y="392"/>
                      </a:lnTo>
                      <a:lnTo>
                        <a:pt x="33" y="391"/>
                      </a:lnTo>
                      <a:lnTo>
                        <a:pt x="34" y="391"/>
                      </a:lnTo>
                      <a:lnTo>
                        <a:pt x="34" y="391"/>
                      </a:lnTo>
                      <a:lnTo>
                        <a:pt x="34" y="390"/>
                      </a:lnTo>
                      <a:lnTo>
                        <a:pt x="34" y="389"/>
                      </a:lnTo>
                      <a:lnTo>
                        <a:pt x="34" y="389"/>
                      </a:lnTo>
                      <a:lnTo>
                        <a:pt x="34" y="388"/>
                      </a:lnTo>
                      <a:lnTo>
                        <a:pt x="34" y="388"/>
                      </a:lnTo>
                      <a:lnTo>
                        <a:pt x="34" y="388"/>
                      </a:lnTo>
                      <a:lnTo>
                        <a:pt x="34" y="387"/>
                      </a:lnTo>
                      <a:lnTo>
                        <a:pt x="34" y="387"/>
                      </a:lnTo>
                      <a:lnTo>
                        <a:pt x="34" y="386"/>
                      </a:lnTo>
                      <a:lnTo>
                        <a:pt x="34" y="385"/>
                      </a:lnTo>
                      <a:lnTo>
                        <a:pt x="33" y="385"/>
                      </a:lnTo>
                      <a:lnTo>
                        <a:pt x="33" y="385"/>
                      </a:lnTo>
                      <a:lnTo>
                        <a:pt x="33" y="384"/>
                      </a:lnTo>
                      <a:lnTo>
                        <a:pt x="33" y="383"/>
                      </a:lnTo>
                      <a:lnTo>
                        <a:pt x="33" y="383"/>
                      </a:lnTo>
                      <a:lnTo>
                        <a:pt x="32" y="383"/>
                      </a:lnTo>
                      <a:lnTo>
                        <a:pt x="32" y="382"/>
                      </a:lnTo>
                      <a:lnTo>
                        <a:pt x="32" y="381"/>
                      </a:lnTo>
                      <a:lnTo>
                        <a:pt x="31" y="381"/>
                      </a:lnTo>
                      <a:lnTo>
                        <a:pt x="31" y="381"/>
                      </a:lnTo>
                      <a:lnTo>
                        <a:pt x="31" y="380"/>
                      </a:lnTo>
                      <a:lnTo>
                        <a:pt x="31" y="379"/>
                      </a:lnTo>
                      <a:lnTo>
                        <a:pt x="31" y="379"/>
                      </a:lnTo>
                      <a:lnTo>
                        <a:pt x="31" y="378"/>
                      </a:lnTo>
                      <a:lnTo>
                        <a:pt x="31" y="377"/>
                      </a:lnTo>
                      <a:lnTo>
                        <a:pt x="31" y="377"/>
                      </a:lnTo>
                      <a:lnTo>
                        <a:pt x="30" y="376"/>
                      </a:lnTo>
                      <a:lnTo>
                        <a:pt x="31" y="376"/>
                      </a:lnTo>
                      <a:lnTo>
                        <a:pt x="31" y="375"/>
                      </a:lnTo>
                      <a:lnTo>
                        <a:pt x="31" y="375"/>
                      </a:lnTo>
                      <a:lnTo>
                        <a:pt x="32" y="374"/>
                      </a:lnTo>
                      <a:lnTo>
                        <a:pt x="32" y="373"/>
                      </a:lnTo>
                      <a:lnTo>
                        <a:pt x="32" y="373"/>
                      </a:lnTo>
                      <a:lnTo>
                        <a:pt x="32" y="372"/>
                      </a:lnTo>
                      <a:lnTo>
                        <a:pt x="32" y="371"/>
                      </a:lnTo>
                      <a:lnTo>
                        <a:pt x="32" y="370"/>
                      </a:lnTo>
                      <a:lnTo>
                        <a:pt x="32" y="370"/>
                      </a:lnTo>
                      <a:lnTo>
                        <a:pt x="32" y="369"/>
                      </a:lnTo>
                      <a:lnTo>
                        <a:pt x="32" y="368"/>
                      </a:lnTo>
                      <a:lnTo>
                        <a:pt x="32" y="368"/>
                      </a:lnTo>
                      <a:lnTo>
                        <a:pt x="32" y="368"/>
                      </a:lnTo>
                      <a:lnTo>
                        <a:pt x="32" y="367"/>
                      </a:lnTo>
                      <a:lnTo>
                        <a:pt x="32" y="366"/>
                      </a:lnTo>
                      <a:lnTo>
                        <a:pt x="32" y="366"/>
                      </a:lnTo>
                      <a:lnTo>
                        <a:pt x="32" y="365"/>
                      </a:lnTo>
                      <a:lnTo>
                        <a:pt x="31" y="365"/>
                      </a:lnTo>
                      <a:lnTo>
                        <a:pt x="31" y="364"/>
                      </a:lnTo>
                      <a:lnTo>
                        <a:pt x="30" y="364"/>
                      </a:lnTo>
                      <a:lnTo>
                        <a:pt x="30" y="363"/>
                      </a:lnTo>
                      <a:lnTo>
                        <a:pt x="30" y="362"/>
                      </a:lnTo>
                      <a:lnTo>
                        <a:pt x="30" y="362"/>
                      </a:lnTo>
                      <a:lnTo>
                        <a:pt x="30" y="361"/>
                      </a:lnTo>
                      <a:lnTo>
                        <a:pt x="30" y="360"/>
                      </a:lnTo>
                      <a:lnTo>
                        <a:pt x="29" y="360"/>
                      </a:lnTo>
                      <a:lnTo>
                        <a:pt x="28" y="360"/>
                      </a:lnTo>
                      <a:lnTo>
                        <a:pt x="28" y="360"/>
                      </a:lnTo>
                      <a:lnTo>
                        <a:pt x="28" y="359"/>
                      </a:lnTo>
                      <a:lnTo>
                        <a:pt x="28" y="359"/>
                      </a:lnTo>
                      <a:lnTo>
                        <a:pt x="28" y="358"/>
                      </a:lnTo>
                      <a:lnTo>
                        <a:pt x="27" y="358"/>
                      </a:lnTo>
                      <a:lnTo>
                        <a:pt x="27" y="358"/>
                      </a:lnTo>
                      <a:lnTo>
                        <a:pt x="26" y="357"/>
                      </a:lnTo>
                      <a:lnTo>
                        <a:pt x="26" y="357"/>
                      </a:lnTo>
                      <a:lnTo>
                        <a:pt x="26" y="356"/>
                      </a:lnTo>
                      <a:lnTo>
                        <a:pt x="25" y="356"/>
                      </a:lnTo>
                      <a:lnTo>
                        <a:pt x="25" y="356"/>
                      </a:lnTo>
                      <a:lnTo>
                        <a:pt x="24" y="356"/>
                      </a:lnTo>
                      <a:lnTo>
                        <a:pt x="24" y="355"/>
                      </a:lnTo>
                      <a:lnTo>
                        <a:pt x="24" y="355"/>
                      </a:lnTo>
                      <a:lnTo>
                        <a:pt x="23" y="355"/>
                      </a:lnTo>
                      <a:lnTo>
                        <a:pt x="22" y="354"/>
                      </a:lnTo>
                      <a:lnTo>
                        <a:pt x="22" y="354"/>
                      </a:lnTo>
                      <a:lnTo>
                        <a:pt x="21" y="354"/>
                      </a:lnTo>
                      <a:lnTo>
                        <a:pt x="20" y="354"/>
                      </a:lnTo>
                      <a:lnTo>
                        <a:pt x="20" y="353"/>
                      </a:lnTo>
                      <a:lnTo>
                        <a:pt x="19" y="353"/>
                      </a:lnTo>
                      <a:lnTo>
                        <a:pt x="19" y="352"/>
                      </a:lnTo>
                      <a:lnTo>
                        <a:pt x="19" y="352"/>
                      </a:lnTo>
                      <a:lnTo>
                        <a:pt x="19" y="351"/>
                      </a:lnTo>
                      <a:lnTo>
                        <a:pt x="18" y="351"/>
                      </a:lnTo>
                      <a:lnTo>
                        <a:pt x="18" y="351"/>
                      </a:lnTo>
                      <a:lnTo>
                        <a:pt x="18" y="350"/>
                      </a:lnTo>
                      <a:lnTo>
                        <a:pt x="17" y="350"/>
                      </a:lnTo>
                      <a:lnTo>
                        <a:pt x="17" y="349"/>
                      </a:lnTo>
                      <a:lnTo>
                        <a:pt x="17" y="349"/>
                      </a:lnTo>
                      <a:lnTo>
                        <a:pt x="17" y="348"/>
                      </a:lnTo>
                      <a:lnTo>
                        <a:pt x="17" y="347"/>
                      </a:lnTo>
                      <a:lnTo>
                        <a:pt x="16" y="347"/>
                      </a:lnTo>
                      <a:lnTo>
                        <a:pt x="16" y="347"/>
                      </a:lnTo>
                      <a:lnTo>
                        <a:pt x="15" y="347"/>
                      </a:lnTo>
                      <a:lnTo>
                        <a:pt x="15" y="346"/>
                      </a:lnTo>
                      <a:lnTo>
                        <a:pt x="15" y="345"/>
                      </a:lnTo>
                      <a:lnTo>
                        <a:pt x="14" y="345"/>
                      </a:lnTo>
                      <a:lnTo>
                        <a:pt x="14" y="345"/>
                      </a:lnTo>
                      <a:lnTo>
                        <a:pt x="13" y="344"/>
                      </a:lnTo>
                      <a:lnTo>
                        <a:pt x="13" y="344"/>
                      </a:lnTo>
                      <a:lnTo>
                        <a:pt x="13" y="343"/>
                      </a:lnTo>
                      <a:lnTo>
                        <a:pt x="13" y="343"/>
                      </a:lnTo>
                      <a:lnTo>
                        <a:pt x="13" y="343"/>
                      </a:lnTo>
                      <a:lnTo>
                        <a:pt x="13" y="343"/>
                      </a:lnTo>
                      <a:lnTo>
                        <a:pt x="13" y="342"/>
                      </a:lnTo>
                      <a:lnTo>
                        <a:pt x="12" y="342"/>
                      </a:lnTo>
                      <a:lnTo>
                        <a:pt x="12" y="341"/>
                      </a:lnTo>
                      <a:lnTo>
                        <a:pt x="11" y="341"/>
                      </a:lnTo>
                      <a:lnTo>
                        <a:pt x="11" y="341"/>
                      </a:lnTo>
                      <a:lnTo>
                        <a:pt x="10" y="341"/>
                      </a:lnTo>
                      <a:lnTo>
                        <a:pt x="10" y="340"/>
                      </a:lnTo>
                      <a:lnTo>
                        <a:pt x="9" y="340"/>
                      </a:lnTo>
                      <a:lnTo>
                        <a:pt x="9" y="339"/>
                      </a:lnTo>
                      <a:lnTo>
                        <a:pt x="9" y="339"/>
                      </a:lnTo>
                      <a:lnTo>
                        <a:pt x="9" y="339"/>
                      </a:lnTo>
                      <a:lnTo>
                        <a:pt x="8" y="339"/>
                      </a:lnTo>
                      <a:lnTo>
                        <a:pt x="7" y="338"/>
                      </a:lnTo>
                      <a:lnTo>
                        <a:pt x="7" y="338"/>
                      </a:lnTo>
                      <a:lnTo>
                        <a:pt x="7" y="337"/>
                      </a:lnTo>
                      <a:lnTo>
                        <a:pt x="7" y="337"/>
                      </a:lnTo>
                      <a:lnTo>
                        <a:pt x="6" y="337"/>
                      </a:lnTo>
                      <a:lnTo>
                        <a:pt x="6" y="336"/>
                      </a:lnTo>
                      <a:lnTo>
                        <a:pt x="6" y="335"/>
                      </a:lnTo>
                      <a:lnTo>
                        <a:pt x="6" y="335"/>
                      </a:lnTo>
                      <a:lnTo>
                        <a:pt x="6" y="334"/>
                      </a:lnTo>
                      <a:lnTo>
                        <a:pt x="6" y="333"/>
                      </a:lnTo>
                      <a:lnTo>
                        <a:pt x="5" y="333"/>
                      </a:lnTo>
                      <a:lnTo>
                        <a:pt x="5" y="333"/>
                      </a:lnTo>
                      <a:lnTo>
                        <a:pt x="5" y="332"/>
                      </a:lnTo>
                      <a:lnTo>
                        <a:pt x="5" y="331"/>
                      </a:lnTo>
                      <a:lnTo>
                        <a:pt x="5" y="330"/>
                      </a:lnTo>
                      <a:lnTo>
                        <a:pt x="4" y="330"/>
                      </a:lnTo>
                      <a:lnTo>
                        <a:pt x="4" y="330"/>
                      </a:lnTo>
                      <a:lnTo>
                        <a:pt x="4" y="329"/>
                      </a:lnTo>
                      <a:lnTo>
                        <a:pt x="4" y="328"/>
                      </a:lnTo>
                      <a:lnTo>
                        <a:pt x="4" y="328"/>
                      </a:lnTo>
                      <a:lnTo>
                        <a:pt x="3" y="328"/>
                      </a:lnTo>
                      <a:lnTo>
                        <a:pt x="3" y="327"/>
                      </a:lnTo>
                      <a:lnTo>
                        <a:pt x="3" y="326"/>
                      </a:lnTo>
                      <a:lnTo>
                        <a:pt x="3" y="326"/>
                      </a:lnTo>
                      <a:lnTo>
                        <a:pt x="3" y="326"/>
                      </a:lnTo>
                      <a:lnTo>
                        <a:pt x="3" y="325"/>
                      </a:lnTo>
                      <a:lnTo>
                        <a:pt x="2" y="325"/>
                      </a:lnTo>
                      <a:lnTo>
                        <a:pt x="2" y="324"/>
                      </a:lnTo>
                      <a:lnTo>
                        <a:pt x="2" y="324"/>
                      </a:lnTo>
                      <a:lnTo>
                        <a:pt x="1" y="324"/>
                      </a:lnTo>
                      <a:lnTo>
                        <a:pt x="1" y="323"/>
                      </a:lnTo>
                      <a:lnTo>
                        <a:pt x="1" y="322"/>
                      </a:lnTo>
                      <a:lnTo>
                        <a:pt x="1" y="322"/>
                      </a:lnTo>
                      <a:lnTo>
                        <a:pt x="1" y="321"/>
                      </a:lnTo>
                      <a:lnTo>
                        <a:pt x="1" y="320"/>
                      </a:lnTo>
                      <a:lnTo>
                        <a:pt x="1" y="320"/>
                      </a:lnTo>
                      <a:lnTo>
                        <a:pt x="1" y="319"/>
                      </a:lnTo>
                      <a:lnTo>
                        <a:pt x="1" y="318"/>
                      </a:lnTo>
                      <a:lnTo>
                        <a:pt x="1" y="318"/>
                      </a:lnTo>
                      <a:lnTo>
                        <a:pt x="1" y="317"/>
                      </a:lnTo>
                      <a:lnTo>
                        <a:pt x="1" y="316"/>
                      </a:lnTo>
                      <a:lnTo>
                        <a:pt x="1" y="316"/>
                      </a:lnTo>
                      <a:lnTo>
                        <a:pt x="1" y="315"/>
                      </a:lnTo>
                      <a:lnTo>
                        <a:pt x="0" y="315"/>
                      </a:lnTo>
                      <a:lnTo>
                        <a:pt x="0" y="314"/>
                      </a:lnTo>
                      <a:lnTo>
                        <a:pt x="0" y="314"/>
                      </a:lnTo>
                      <a:lnTo>
                        <a:pt x="0" y="314"/>
                      </a:lnTo>
                      <a:lnTo>
                        <a:pt x="0" y="313"/>
                      </a:lnTo>
                      <a:lnTo>
                        <a:pt x="0" y="312"/>
                      </a:lnTo>
                      <a:lnTo>
                        <a:pt x="0" y="312"/>
                      </a:lnTo>
                      <a:lnTo>
                        <a:pt x="0" y="311"/>
                      </a:lnTo>
                      <a:lnTo>
                        <a:pt x="0" y="311"/>
                      </a:lnTo>
                      <a:lnTo>
                        <a:pt x="1" y="311"/>
                      </a:lnTo>
                      <a:lnTo>
                        <a:pt x="2" y="311"/>
                      </a:lnTo>
                      <a:lnTo>
                        <a:pt x="3" y="311"/>
                      </a:lnTo>
                      <a:lnTo>
                        <a:pt x="3" y="310"/>
                      </a:lnTo>
                      <a:lnTo>
                        <a:pt x="3" y="310"/>
                      </a:lnTo>
                      <a:lnTo>
                        <a:pt x="3" y="309"/>
                      </a:lnTo>
                      <a:lnTo>
                        <a:pt x="3" y="309"/>
                      </a:lnTo>
                      <a:lnTo>
                        <a:pt x="3" y="308"/>
                      </a:lnTo>
                      <a:lnTo>
                        <a:pt x="3" y="307"/>
                      </a:lnTo>
                      <a:lnTo>
                        <a:pt x="4" y="307"/>
                      </a:lnTo>
                      <a:lnTo>
                        <a:pt x="5" y="307"/>
                      </a:lnTo>
                      <a:lnTo>
                        <a:pt x="5" y="307"/>
                      </a:lnTo>
                      <a:lnTo>
                        <a:pt x="5" y="307"/>
                      </a:lnTo>
                      <a:lnTo>
                        <a:pt x="6" y="307"/>
                      </a:lnTo>
                      <a:lnTo>
                        <a:pt x="6" y="306"/>
                      </a:lnTo>
                      <a:lnTo>
                        <a:pt x="7" y="306"/>
                      </a:lnTo>
                      <a:lnTo>
                        <a:pt x="7" y="306"/>
                      </a:lnTo>
                      <a:lnTo>
                        <a:pt x="7" y="305"/>
                      </a:lnTo>
                      <a:lnTo>
                        <a:pt x="8" y="305"/>
                      </a:lnTo>
                      <a:lnTo>
                        <a:pt x="9" y="305"/>
                      </a:lnTo>
                      <a:lnTo>
                        <a:pt x="9" y="305"/>
                      </a:lnTo>
                      <a:lnTo>
                        <a:pt x="9" y="304"/>
                      </a:lnTo>
                      <a:lnTo>
                        <a:pt x="8" y="303"/>
                      </a:lnTo>
                      <a:lnTo>
                        <a:pt x="8" y="303"/>
                      </a:lnTo>
                      <a:lnTo>
                        <a:pt x="8" y="302"/>
                      </a:lnTo>
                      <a:lnTo>
                        <a:pt x="7" y="301"/>
                      </a:lnTo>
                      <a:lnTo>
                        <a:pt x="7" y="301"/>
                      </a:lnTo>
                      <a:lnTo>
                        <a:pt x="7" y="300"/>
                      </a:lnTo>
                      <a:lnTo>
                        <a:pt x="7" y="299"/>
                      </a:lnTo>
                      <a:lnTo>
                        <a:pt x="7" y="298"/>
                      </a:lnTo>
                      <a:lnTo>
                        <a:pt x="7" y="297"/>
                      </a:lnTo>
                      <a:lnTo>
                        <a:pt x="8" y="297"/>
                      </a:lnTo>
                      <a:lnTo>
                        <a:pt x="8" y="296"/>
                      </a:lnTo>
                      <a:lnTo>
                        <a:pt x="9" y="296"/>
                      </a:lnTo>
                      <a:lnTo>
                        <a:pt x="9" y="295"/>
                      </a:lnTo>
                      <a:lnTo>
                        <a:pt x="10" y="295"/>
                      </a:lnTo>
                      <a:lnTo>
                        <a:pt x="11" y="295"/>
                      </a:lnTo>
                      <a:lnTo>
                        <a:pt x="11" y="293"/>
                      </a:lnTo>
                      <a:lnTo>
                        <a:pt x="12" y="292"/>
                      </a:lnTo>
                      <a:lnTo>
                        <a:pt x="13" y="292"/>
                      </a:lnTo>
                      <a:lnTo>
                        <a:pt x="13" y="291"/>
                      </a:lnTo>
                      <a:lnTo>
                        <a:pt x="14" y="290"/>
                      </a:lnTo>
                      <a:lnTo>
                        <a:pt x="15" y="290"/>
                      </a:lnTo>
                      <a:lnTo>
                        <a:pt x="15" y="290"/>
                      </a:lnTo>
                      <a:lnTo>
                        <a:pt x="15" y="288"/>
                      </a:lnTo>
                      <a:lnTo>
                        <a:pt x="15" y="288"/>
                      </a:lnTo>
                      <a:lnTo>
                        <a:pt x="15" y="287"/>
                      </a:lnTo>
                      <a:lnTo>
                        <a:pt x="15" y="286"/>
                      </a:lnTo>
                      <a:lnTo>
                        <a:pt x="16" y="286"/>
                      </a:lnTo>
                      <a:lnTo>
                        <a:pt x="16" y="286"/>
                      </a:lnTo>
                      <a:lnTo>
                        <a:pt x="17" y="286"/>
                      </a:lnTo>
                      <a:lnTo>
                        <a:pt x="17" y="286"/>
                      </a:lnTo>
                      <a:lnTo>
                        <a:pt x="17" y="285"/>
                      </a:lnTo>
                      <a:lnTo>
                        <a:pt x="18" y="284"/>
                      </a:lnTo>
                      <a:lnTo>
                        <a:pt x="19" y="283"/>
                      </a:lnTo>
                      <a:lnTo>
                        <a:pt x="19" y="283"/>
                      </a:lnTo>
                      <a:lnTo>
                        <a:pt x="19" y="282"/>
                      </a:lnTo>
                      <a:lnTo>
                        <a:pt x="19" y="282"/>
                      </a:lnTo>
                      <a:lnTo>
                        <a:pt x="20" y="282"/>
                      </a:lnTo>
                      <a:lnTo>
                        <a:pt x="20" y="281"/>
                      </a:lnTo>
                      <a:lnTo>
                        <a:pt x="21" y="281"/>
                      </a:lnTo>
                      <a:lnTo>
                        <a:pt x="22" y="281"/>
                      </a:lnTo>
                      <a:lnTo>
                        <a:pt x="22" y="281"/>
                      </a:lnTo>
                      <a:lnTo>
                        <a:pt x="23" y="281"/>
                      </a:lnTo>
                      <a:lnTo>
                        <a:pt x="24" y="280"/>
                      </a:lnTo>
                      <a:lnTo>
                        <a:pt x="24" y="281"/>
                      </a:lnTo>
                      <a:lnTo>
                        <a:pt x="24" y="282"/>
                      </a:lnTo>
                      <a:lnTo>
                        <a:pt x="25" y="282"/>
                      </a:lnTo>
                      <a:lnTo>
                        <a:pt x="26" y="282"/>
                      </a:lnTo>
                      <a:lnTo>
                        <a:pt x="26" y="281"/>
                      </a:lnTo>
                      <a:lnTo>
                        <a:pt x="26" y="280"/>
                      </a:lnTo>
                      <a:lnTo>
                        <a:pt x="26" y="280"/>
                      </a:lnTo>
                      <a:lnTo>
                        <a:pt x="26" y="281"/>
                      </a:lnTo>
                      <a:lnTo>
                        <a:pt x="27" y="280"/>
                      </a:lnTo>
                      <a:lnTo>
                        <a:pt x="28" y="280"/>
                      </a:lnTo>
                      <a:lnTo>
                        <a:pt x="28" y="281"/>
                      </a:lnTo>
                      <a:lnTo>
                        <a:pt x="29" y="281"/>
                      </a:lnTo>
                      <a:lnTo>
                        <a:pt x="29" y="280"/>
                      </a:lnTo>
                      <a:lnTo>
                        <a:pt x="30" y="280"/>
                      </a:lnTo>
                      <a:lnTo>
                        <a:pt x="30" y="281"/>
                      </a:lnTo>
                      <a:lnTo>
                        <a:pt x="30" y="282"/>
                      </a:lnTo>
                      <a:lnTo>
                        <a:pt x="30" y="282"/>
                      </a:lnTo>
                      <a:lnTo>
                        <a:pt x="30" y="281"/>
                      </a:lnTo>
                      <a:lnTo>
                        <a:pt x="31" y="281"/>
                      </a:lnTo>
                      <a:lnTo>
                        <a:pt x="32" y="281"/>
                      </a:lnTo>
                      <a:lnTo>
                        <a:pt x="32" y="281"/>
                      </a:lnTo>
                      <a:lnTo>
                        <a:pt x="33" y="281"/>
                      </a:lnTo>
                      <a:lnTo>
                        <a:pt x="34" y="281"/>
                      </a:lnTo>
                      <a:lnTo>
                        <a:pt x="34" y="281"/>
                      </a:lnTo>
                      <a:lnTo>
                        <a:pt x="34" y="280"/>
                      </a:lnTo>
                      <a:lnTo>
                        <a:pt x="35" y="280"/>
                      </a:lnTo>
                      <a:lnTo>
                        <a:pt x="36" y="280"/>
                      </a:lnTo>
                      <a:lnTo>
                        <a:pt x="36" y="281"/>
                      </a:lnTo>
                      <a:lnTo>
                        <a:pt x="37" y="281"/>
                      </a:lnTo>
                      <a:lnTo>
                        <a:pt x="38" y="281"/>
                      </a:lnTo>
                      <a:lnTo>
                        <a:pt x="38" y="280"/>
                      </a:lnTo>
                      <a:lnTo>
                        <a:pt x="38" y="281"/>
                      </a:lnTo>
                      <a:lnTo>
                        <a:pt x="39" y="281"/>
                      </a:lnTo>
                      <a:lnTo>
                        <a:pt x="40" y="281"/>
                      </a:lnTo>
                      <a:lnTo>
                        <a:pt x="40" y="282"/>
                      </a:lnTo>
                      <a:lnTo>
                        <a:pt x="41" y="282"/>
                      </a:lnTo>
                      <a:lnTo>
                        <a:pt x="41" y="282"/>
                      </a:lnTo>
                      <a:lnTo>
                        <a:pt x="41" y="282"/>
                      </a:lnTo>
                      <a:lnTo>
                        <a:pt x="41" y="282"/>
                      </a:lnTo>
                      <a:lnTo>
                        <a:pt x="42" y="282"/>
                      </a:lnTo>
                      <a:lnTo>
                        <a:pt x="42" y="282"/>
                      </a:lnTo>
                      <a:lnTo>
                        <a:pt x="43" y="282"/>
                      </a:lnTo>
                      <a:lnTo>
                        <a:pt x="43" y="282"/>
                      </a:lnTo>
                      <a:lnTo>
                        <a:pt x="43" y="282"/>
                      </a:lnTo>
                      <a:lnTo>
                        <a:pt x="44" y="282"/>
                      </a:lnTo>
                      <a:lnTo>
                        <a:pt x="44" y="281"/>
                      </a:lnTo>
                      <a:lnTo>
                        <a:pt x="45" y="281"/>
                      </a:lnTo>
                      <a:lnTo>
                        <a:pt x="45" y="280"/>
                      </a:lnTo>
                      <a:lnTo>
                        <a:pt x="46" y="280"/>
                      </a:lnTo>
                      <a:lnTo>
                        <a:pt x="46" y="280"/>
                      </a:lnTo>
                      <a:lnTo>
                        <a:pt x="47" y="280"/>
                      </a:lnTo>
                      <a:lnTo>
                        <a:pt x="47" y="280"/>
                      </a:lnTo>
                      <a:lnTo>
                        <a:pt x="48" y="279"/>
                      </a:lnTo>
                      <a:lnTo>
                        <a:pt x="49" y="278"/>
                      </a:lnTo>
                      <a:lnTo>
                        <a:pt x="49" y="278"/>
                      </a:lnTo>
                      <a:lnTo>
                        <a:pt x="49" y="278"/>
                      </a:lnTo>
                      <a:lnTo>
                        <a:pt x="50" y="277"/>
                      </a:lnTo>
                      <a:lnTo>
                        <a:pt x="50" y="276"/>
                      </a:lnTo>
                      <a:lnTo>
                        <a:pt x="51" y="276"/>
                      </a:lnTo>
                      <a:lnTo>
                        <a:pt x="51" y="276"/>
                      </a:lnTo>
                      <a:lnTo>
                        <a:pt x="52" y="276"/>
                      </a:lnTo>
                      <a:lnTo>
                        <a:pt x="52" y="275"/>
                      </a:lnTo>
                      <a:lnTo>
                        <a:pt x="52" y="274"/>
                      </a:lnTo>
                      <a:lnTo>
                        <a:pt x="53" y="274"/>
                      </a:lnTo>
                      <a:lnTo>
                        <a:pt x="53" y="274"/>
                      </a:lnTo>
                      <a:lnTo>
                        <a:pt x="53" y="274"/>
                      </a:lnTo>
                      <a:lnTo>
                        <a:pt x="54" y="274"/>
                      </a:lnTo>
                      <a:lnTo>
                        <a:pt x="54" y="273"/>
                      </a:lnTo>
                      <a:lnTo>
                        <a:pt x="55" y="273"/>
                      </a:lnTo>
                      <a:lnTo>
                        <a:pt x="55" y="273"/>
                      </a:lnTo>
                      <a:lnTo>
                        <a:pt x="55" y="272"/>
                      </a:lnTo>
                      <a:lnTo>
                        <a:pt x="56" y="271"/>
                      </a:lnTo>
                      <a:lnTo>
                        <a:pt x="57" y="271"/>
                      </a:lnTo>
                      <a:lnTo>
                        <a:pt x="57" y="271"/>
                      </a:lnTo>
                      <a:lnTo>
                        <a:pt x="56" y="271"/>
                      </a:lnTo>
                      <a:lnTo>
                        <a:pt x="56" y="270"/>
                      </a:lnTo>
                      <a:lnTo>
                        <a:pt x="55" y="270"/>
                      </a:lnTo>
                      <a:lnTo>
                        <a:pt x="55" y="269"/>
                      </a:lnTo>
                      <a:lnTo>
                        <a:pt x="56" y="269"/>
                      </a:lnTo>
                      <a:lnTo>
                        <a:pt x="56" y="268"/>
                      </a:lnTo>
                      <a:lnTo>
                        <a:pt x="57" y="268"/>
                      </a:lnTo>
                      <a:lnTo>
                        <a:pt x="57" y="267"/>
                      </a:lnTo>
                      <a:lnTo>
                        <a:pt x="57" y="267"/>
                      </a:lnTo>
                      <a:lnTo>
                        <a:pt x="58" y="267"/>
                      </a:lnTo>
                      <a:lnTo>
                        <a:pt x="59" y="267"/>
                      </a:lnTo>
                      <a:lnTo>
                        <a:pt x="59" y="267"/>
                      </a:lnTo>
                      <a:lnTo>
                        <a:pt x="60" y="267"/>
                      </a:lnTo>
                      <a:lnTo>
                        <a:pt x="60" y="267"/>
                      </a:lnTo>
                      <a:lnTo>
                        <a:pt x="61" y="267"/>
                      </a:lnTo>
                      <a:lnTo>
                        <a:pt x="61" y="266"/>
                      </a:lnTo>
                      <a:lnTo>
                        <a:pt x="62" y="266"/>
                      </a:lnTo>
                      <a:lnTo>
                        <a:pt x="62" y="265"/>
                      </a:lnTo>
                      <a:lnTo>
                        <a:pt x="62" y="265"/>
                      </a:lnTo>
                      <a:lnTo>
                        <a:pt x="62" y="264"/>
                      </a:lnTo>
                      <a:lnTo>
                        <a:pt x="62" y="263"/>
                      </a:lnTo>
                      <a:lnTo>
                        <a:pt x="62" y="263"/>
                      </a:lnTo>
                      <a:lnTo>
                        <a:pt x="63" y="263"/>
                      </a:lnTo>
                      <a:lnTo>
                        <a:pt x="64" y="263"/>
                      </a:lnTo>
                      <a:lnTo>
                        <a:pt x="64" y="263"/>
                      </a:lnTo>
                      <a:lnTo>
                        <a:pt x="64" y="262"/>
                      </a:lnTo>
                      <a:lnTo>
                        <a:pt x="64" y="261"/>
                      </a:lnTo>
                      <a:lnTo>
                        <a:pt x="65" y="261"/>
                      </a:lnTo>
                      <a:lnTo>
                        <a:pt x="66" y="260"/>
                      </a:lnTo>
                      <a:lnTo>
                        <a:pt x="66" y="259"/>
                      </a:lnTo>
                      <a:lnTo>
                        <a:pt x="66" y="258"/>
                      </a:lnTo>
                      <a:lnTo>
                        <a:pt x="66" y="257"/>
                      </a:lnTo>
                      <a:lnTo>
                        <a:pt x="66" y="256"/>
                      </a:lnTo>
                      <a:lnTo>
                        <a:pt x="65" y="256"/>
                      </a:lnTo>
                      <a:lnTo>
                        <a:pt x="65" y="255"/>
                      </a:lnTo>
                      <a:lnTo>
                        <a:pt x="65" y="255"/>
                      </a:lnTo>
                      <a:lnTo>
                        <a:pt x="66" y="255"/>
                      </a:lnTo>
                      <a:lnTo>
                        <a:pt x="66" y="254"/>
                      </a:lnTo>
                      <a:lnTo>
                        <a:pt x="66" y="253"/>
                      </a:lnTo>
                      <a:lnTo>
                        <a:pt x="66" y="253"/>
                      </a:lnTo>
                      <a:lnTo>
                        <a:pt x="66" y="252"/>
                      </a:lnTo>
                      <a:lnTo>
                        <a:pt x="66" y="252"/>
                      </a:lnTo>
                      <a:lnTo>
                        <a:pt x="66" y="251"/>
                      </a:lnTo>
                      <a:lnTo>
                        <a:pt x="66" y="250"/>
                      </a:lnTo>
                      <a:lnTo>
                        <a:pt x="66" y="250"/>
                      </a:lnTo>
                      <a:lnTo>
                        <a:pt x="65" y="249"/>
                      </a:lnTo>
                      <a:lnTo>
                        <a:pt x="64" y="248"/>
                      </a:lnTo>
                      <a:lnTo>
                        <a:pt x="64" y="248"/>
                      </a:lnTo>
                      <a:lnTo>
                        <a:pt x="64" y="247"/>
                      </a:lnTo>
                      <a:lnTo>
                        <a:pt x="64" y="246"/>
                      </a:lnTo>
                      <a:lnTo>
                        <a:pt x="63" y="246"/>
                      </a:lnTo>
                      <a:lnTo>
                        <a:pt x="63" y="246"/>
                      </a:lnTo>
                      <a:lnTo>
                        <a:pt x="62" y="246"/>
                      </a:lnTo>
                      <a:lnTo>
                        <a:pt x="62" y="245"/>
                      </a:lnTo>
                      <a:lnTo>
                        <a:pt x="62" y="245"/>
                      </a:lnTo>
                      <a:lnTo>
                        <a:pt x="62" y="244"/>
                      </a:lnTo>
                      <a:lnTo>
                        <a:pt x="62" y="244"/>
                      </a:lnTo>
                      <a:lnTo>
                        <a:pt x="62" y="244"/>
                      </a:lnTo>
                      <a:lnTo>
                        <a:pt x="62" y="243"/>
                      </a:lnTo>
                      <a:lnTo>
                        <a:pt x="62" y="243"/>
                      </a:lnTo>
                      <a:lnTo>
                        <a:pt x="62" y="242"/>
                      </a:lnTo>
                      <a:lnTo>
                        <a:pt x="62" y="242"/>
                      </a:lnTo>
                      <a:lnTo>
                        <a:pt x="62" y="242"/>
                      </a:lnTo>
                      <a:lnTo>
                        <a:pt x="62" y="241"/>
                      </a:lnTo>
                      <a:lnTo>
                        <a:pt x="62" y="240"/>
                      </a:lnTo>
                      <a:lnTo>
                        <a:pt x="63" y="240"/>
                      </a:lnTo>
                      <a:lnTo>
                        <a:pt x="63" y="240"/>
                      </a:lnTo>
                      <a:lnTo>
                        <a:pt x="63" y="239"/>
                      </a:lnTo>
                      <a:lnTo>
                        <a:pt x="63" y="238"/>
                      </a:lnTo>
                      <a:lnTo>
                        <a:pt x="63" y="238"/>
                      </a:lnTo>
                      <a:lnTo>
                        <a:pt x="64" y="237"/>
                      </a:lnTo>
                      <a:lnTo>
                        <a:pt x="64" y="236"/>
                      </a:lnTo>
                      <a:lnTo>
                        <a:pt x="64" y="236"/>
                      </a:lnTo>
                      <a:lnTo>
                        <a:pt x="64" y="236"/>
                      </a:lnTo>
                      <a:lnTo>
                        <a:pt x="65" y="235"/>
                      </a:lnTo>
                      <a:lnTo>
                        <a:pt x="64" y="235"/>
                      </a:lnTo>
                      <a:lnTo>
                        <a:pt x="64" y="234"/>
                      </a:lnTo>
                      <a:lnTo>
                        <a:pt x="65" y="234"/>
                      </a:lnTo>
                      <a:lnTo>
                        <a:pt x="66" y="233"/>
                      </a:lnTo>
                      <a:lnTo>
                        <a:pt x="66" y="233"/>
                      </a:lnTo>
                      <a:lnTo>
                        <a:pt x="66" y="232"/>
                      </a:lnTo>
                      <a:lnTo>
                        <a:pt x="66" y="231"/>
                      </a:lnTo>
                      <a:lnTo>
                        <a:pt x="66" y="231"/>
                      </a:lnTo>
                      <a:lnTo>
                        <a:pt x="66" y="230"/>
                      </a:lnTo>
                      <a:lnTo>
                        <a:pt x="66" y="229"/>
                      </a:lnTo>
                      <a:lnTo>
                        <a:pt x="65" y="229"/>
                      </a:lnTo>
                      <a:lnTo>
                        <a:pt x="65" y="229"/>
                      </a:lnTo>
                      <a:lnTo>
                        <a:pt x="65" y="228"/>
                      </a:lnTo>
                      <a:lnTo>
                        <a:pt x="65" y="227"/>
                      </a:lnTo>
                      <a:lnTo>
                        <a:pt x="65" y="227"/>
                      </a:lnTo>
                      <a:lnTo>
                        <a:pt x="64" y="227"/>
                      </a:lnTo>
                      <a:lnTo>
                        <a:pt x="64" y="226"/>
                      </a:lnTo>
                      <a:lnTo>
                        <a:pt x="65" y="226"/>
                      </a:lnTo>
                      <a:lnTo>
                        <a:pt x="66" y="225"/>
                      </a:lnTo>
                      <a:lnTo>
                        <a:pt x="66" y="225"/>
                      </a:lnTo>
                      <a:lnTo>
                        <a:pt x="66" y="224"/>
                      </a:lnTo>
                      <a:lnTo>
                        <a:pt x="66" y="224"/>
                      </a:lnTo>
                      <a:lnTo>
                        <a:pt x="67" y="224"/>
                      </a:lnTo>
                      <a:lnTo>
                        <a:pt x="67" y="223"/>
                      </a:lnTo>
                      <a:lnTo>
                        <a:pt x="67" y="223"/>
                      </a:lnTo>
                      <a:lnTo>
                        <a:pt x="67" y="222"/>
                      </a:lnTo>
                      <a:lnTo>
                        <a:pt x="68" y="221"/>
                      </a:lnTo>
                      <a:lnTo>
                        <a:pt x="67" y="221"/>
                      </a:lnTo>
                      <a:lnTo>
                        <a:pt x="67" y="221"/>
                      </a:lnTo>
                      <a:lnTo>
                        <a:pt x="67" y="220"/>
                      </a:lnTo>
                      <a:lnTo>
                        <a:pt x="66" y="220"/>
                      </a:lnTo>
                      <a:lnTo>
                        <a:pt x="67" y="219"/>
                      </a:lnTo>
                      <a:lnTo>
                        <a:pt x="67" y="219"/>
                      </a:lnTo>
                      <a:lnTo>
                        <a:pt x="66" y="219"/>
                      </a:lnTo>
                      <a:lnTo>
                        <a:pt x="66" y="218"/>
                      </a:lnTo>
                      <a:lnTo>
                        <a:pt x="67" y="218"/>
                      </a:lnTo>
                      <a:lnTo>
                        <a:pt x="67" y="217"/>
                      </a:lnTo>
                      <a:lnTo>
                        <a:pt x="68" y="217"/>
                      </a:lnTo>
                      <a:lnTo>
                        <a:pt x="68" y="216"/>
                      </a:lnTo>
                      <a:lnTo>
                        <a:pt x="68" y="215"/>
                      </a:lnTo>
                      <a:lnTo>
                        <a:pt x="68" y="215"/>
                      </a:lnTo>
                      <a:lnTo>
                        <a:pt x="67" y="214"/>
                      </a:lnTo>
                      <a:lnTo>
                        <a:pt x="67" y="213"/>
                      </a:lnTo>
                      <a:lnTo>
                        <a:pt x="66" y="213"/>
                      </a:lnTo>
                      <a:lnTo>
                        <a:pt x="66" y="212"/>
                      </a:lnTo>
                      <a:lnTo>
                        <a:pt x="66" y="212"/>
                      </a:lnTo>
                      <a:lnTo>
                        <a:pt x="66" y="212"/>
                      </a:lnTo>
                      <a:lnTo>
                        <a:pt x="65" y="212"/>
                      </a:lnTo>
                      <a:lnTo>
                        <a:pt x="65" y="211"/>
                      </a:lnTo>
                      <a:lnTo>
                        <a:pt x="66" y="211"/>
                      </a:lnTo>
                      <a:lnTo>
                        <a:pt x="65" y="210"/>
                      </a:lnTo>
                      <a:lnTo>
                        <a:pt x="65" y="210"/>
                      </a:lnTo>
                      <a:lnTo>
                        <a:pt x="64" y="209"/>
                      </a:lnTo>
                      <a:lnTo>
                        <a:pt x="64" y="208"/>
                      </a:lnTo>
                      <a:lnTo>
                        <a:pt x="64" y="208"/>
                      </a:lnTo>
                      <a:lnTo>
                        <a:pt x="63" y="207"/>
                      </a:lnTo>
                      <a:lnTo>
                        <a:pt x="63" y="206"/>
                      </a:lnTo>
                      <a:lnTo>
                        <a:pt x="62" y="206"/>
                      </a:lnTo>
                      <a:lnTo>
                        <a:pt x="62" y="206"/>
                      </a:lnTo>
                      <a:lnTo>
                        <a:pt x="62" y="205"/>
                      </a:lnTo>
                      <a:lnTo>
                        <a:pt x="62" y="205"/>
                      </a:lnTo>
                      <a:lnTo>
                        <a:pt x="62" y="204"/>
                      </a:lnTo>
                      <a:lnTo>
                        <a:pt x="61" y="204"/>
                      </a:lnTo>
                      <a:lnTo>
                        <a:pt x="61" y="204"/>
                      </a:lnTo>
                      <a:lnTo>
                        <a:pt x="61" y="203"/>
                      </a:lnTo>
                      <a:lnTo>
                        <a:pt x="60" y="203"/>
                      </a:lnTo>
                      <a:lnTo>
                        <a:pt x="60" y="203"/>
                      </a:lnTo>
                      <a:lnTo>
                        <a:pt x="59" y="202"/>
                      </a:lnTo>
                      <a:lnTo>
                        <a:pt x="60" y="202"/>
                      </a:lnTo>
                      <a:lnTo>
                        <a:pt x="60" y="202"/>
                      </a:lnTo>
                      <a:lnTo>
                        <a:pt x="60" y="201"/>
                      </a:lnTo>
                      <a:lnTo>
                        <a:pt x="59" y="201"/>
                      </a:lnTo>
                      <a:lnTo>
                        <a:pt x="58" y="201"/>
                      </a:lnTo>
                      <a:lnTo>
                        <a:pt x="58" y="200"/>
                      </a:lnTo>
                      <a:lnTo>
                        <a:pt x="58" y="200"/>
                      </a:lnTo>
                      <a:lnTo>
                        <a:pt x="57" y="200"/>
                      </a:lnTo>
                      <a:lnTo>
                        <a:pt x="57" y="199"/>
                      </a:lnTo>
                      <a:lnTo>
                        <a:pt x="57" y="199"/>
                      </a:lnTo>
                      <a:lnTo>
                        <a:pt x="57" y="198"/>
                      </a:lnTo>
                      <a:lnTo>
                        <a:pt x="56" y="198"/>
                      </a:lnTo>
                      <a:lnTo>
                        <a:pt x="56" y="197"/>
                      </a:lnTo>
                      <a:lnTo>
                        <a:pt x="56" y="196"/>
                      </a:lnTo>
                      <a:lnTo>
                        <a:pt x="56" y="196"/>
                      </a:lnTo>
                      <a:lnTo>
                        <a:pt x="57" y="196"/>
                      </a:lnTo>
                      <a:lnTo>
                        <a:pt x="57" y="196"/>
                      </a:lnTo>
                      <a:lnTo>
                        <a:pt x="58" y="195"/>
                      </a:lnTo>
                      <a:lnTo>
                        <a:pt x="58" y="194"/>
                      </a:lnTo>
                      <a:lnTo>
                        <a:pt x="58" y="193"/>
                      </a:lnTo>
                      <a:lnTo>
                        <a:pt x="58" y="193"/>
                      </a:lnTo>
                      <a:lnTo>
                        <a:pt x="57" y="192"/>
                      </a:lnTo>
                      <a:lnTo>
                        <a:pt x="57" y="191"/>
                      </a:lnTo>
                      <a:lnTo>
                        <a:pt x="56" y="191"/>
                      </a:lnTo>
                      <a:lnTo>
                        <a:pt x="55" y="190"/>
                      </a:lnTo>
                      <a:lnTo>
                        <a:pt x="55" y="190"/>
                      </a:lnTo>
                      <a:lnTo>
                        <a:pt x="54" y="189"/>
                      </a:lnTo>
                      <a:lnTo>
                        <a:pt x="54" y="189"/>
                      </a:lnTo>
                      <a:lnTo>
                        <a:pt x="53" y="188"/>
                      </a:lnTo>
                      <a:lnTo>
                        <a:pt x="53" y="188"/>
                      </a:lnTo>
                      <a:lnTo>
                        <a:pt x="53" y="187"/>
                      </a:lnTo>
                      <a:lnTo>
                        <a:pt x="53" y="187"/>
                      </a:lnTo>
                      <a:lnTo>
                        <a:pt x="53" y="186"/>
                      </a:lnTo>
                      <a:lnTo>
                        <a:pt x="53" y="185"/>
                      </a:lnTo>
                      <a:lnTo>
                        <a:pt x="53" y="185"/>
                      </a:lnTo>
                      <a:lnTo>
                        <a:pt x="53" y="184"/>
                      </a:lnTo>
                      <a:lnTo>
                        <a:pt x="54" y="184"/>
                      </a:lnTo>
                      <a:lnTo>
                        <a:pt x="54" y="183"/>
                      </a:lnTo>
                      <a:lnTo>
                        <a:pt x="54" y="183"/>
                      </a:lnTo>
                      <a:lnTo>
                        <a:pt x="54" y="182"/>
                      </a:lnTo>
                      <a:lnTo>
                        <a:pt x="54" y="181"/>
                      </a:lnTo>
                      <a:lnTo>
                        <a:pt x="54" y="181"/>
                      </a:lnTo>
                      <a:lnTo>
                        <a:pt x="53" y="181"/>
                      </a:lnTo>
                      <a:lnTo>
                        <a:pt x="53" y="180"/>
                      </a:lnTo>
                      <a:lnTo>
                        <a:pt x="53" y="179"/>
                      </a:lnTo>
                      <a:lnTo>
                        <a:pt x="53" y="179"/>
                      </a:lnTo>
                      <a:lnTo>
                        <a:pt x="53" y="178"/>
                      </a:lnTo>
                      <a:lnTo>
                        <a:pt x="53" y="177"/>
                      </a:lnTo>
                      <a:lnTo>
                        <a:pt x="53" y="177"/>
                      </a:lnTo>
                      <a:lnTo>
                        <a:pt x="53" y="176"/>
                      </a:lnTo>
                      <a:lnTo>
                        <a:pt x="53" y="175"/>
                      </a:lnTo>
                      <a:lnTo>
                        <a:pt x="53" y="175"/>
                      </a:lnTo>
                      <a:lnTo>
                        <a:pt x="53" y="175"/>
                      </a:lnTo>
                      <a:lnTo>
                        <a:pt x="53" y="174"/>
                      </a:lnTo>
                      <a:lnTo>
                        <a:pt x="53" y="173"/>
                      </a:lnTo>
                      <a:lnTo>
                        <a:pt x="53" y="172"/>
                      </a:lnTo>
                      <a:lnTo>
                        <a:pt x="53" y="172"/>
                      </a:lnTo>
                      <a:lnTo>
                        <a:pt x="54" y="171"/>
                      </a:lnTo>
                      <a:lnTo>
                        <a:pt x="54" y="170"/>
                      </a:lnTo>
                      <a:lnTo>
                        <a:pt x="54" y="170"/>
                      </a:lnTo>
                      <a:lnTo>
                        <a:pt x="53" y="169"/>
                      </a:lnTo>
                      <a:lnTo>
                        <a:pt x="53" y="168"/>
                      </a:lnTo>
                      <a:lnTo>
                        <a:pt x="52" y="168"/>
                      </a:lnTo>
                      <a:lnTo>
                        <a:pt x="52" y="168"/>
                      </a:lnTo>
                      <a:lnTo>
                        <a:pt x="52" y="167"/>
                      </a:lnTo>
                      <a:lnTo>
                        <a:pt x="52" y="166"/>
                      </a:lnTo>
                      <a:lnTo>
                        <a:pt x="51" y="166"/>
                      </a:lnTo>
                      <a:lnTo>
                        <a:pt x="51" y="165"/>
                      </a:lnTo>
                      <a:lnTo>
                        <a:pt x="51" y="164"/>
                      </a:lnTo>
                      <a:lnTo>
                        <a:pt x="51" y="164"/>
                      </a:lnTo>
                      <a:lnTo>
                        <a:pt x="51" y="163"/>
                      </a:lnTo>
                      <a:lnTo>
                        <a:pt x="51" y="162"/>
                      </a:lnTo>
                      <a:lnTo>
                        <a:pt x="51" y="162"/>
                      </a:lnTo>
                      <a:lnTo>
                        <a:pt x="51" y="161"/>
                      </a:lnTo>
                      <a:lnTo>
                        <a:pt x="51" y="160"/>
                      </a:lnTo>
                      <a:lnTo>
                        <a:pt x="50" y="159"/>
                      </a:lnTo>
                      <a:lnTo>
                        <a:pt x="50" y="158"/>
                      </a:lnTo>
                      <a:lnTo>
                        <a:pt x="50" y="158"/>
                      </a:lnTo>
                      <a:lnTo>
                        <a:pt x="50" y="157"/>
                      </a:lnTo>
                      <a:lnTo>
                        <a:pt x="50" y="156"/>
                      </a:lnTo>
                      <a:lnTo>
                        <a:pt x="51" y="156"/>
                      </a:lnTo>
                      <a:lnTo>
                        <a:pt x="51" y="156"/>
                      </a:lnTo>
                      <a:lnTo>
                        <a:pt x="50" y="156"/>
                      </a:lnTo>
                      <a:lnTo>
                        <a:pt x="50" y="155"/>
                      </a:lnTo>
                      <a:lnTo>
                        <a:pt x="50" y="154"/>
                      </a:lnTo>
                      <a:lnTo>
                        <a:pt x="50" y="153"/>
                      </a:lnTo>
                      <a:lnTo>
                        <a:pt x="49" y="153"/>
                      </a:lnTo>
                      <a:lnTo>
                        <a:pt x="49" y="152"/>
                      </a:lnTo>
                      <a:lnTo>
                        <a:pt x="50" y="152"/>
                      </a:lnTo>
                      <a:lnTo>
                        <a:pt x="50" y="151"/>
                      </a:lnTo>
                      <a:lnTo>
                        <a:pt x="50" y="151"/>
                      </a:lnTo>
                      <a:lnTo>
                        <a:pt x="51" y="151"/>
                      </a:lnTo>
                      <a:lnTo>
                        <a:pt x="51" y="150"/>
                      </a:lnTo>
                      <a:lnTo>
                        <a:pt x="51" y="149"/>
                      </a:lnTo>
                      <a:lnTo>
                        <a:pt x="50" y="149"/>
                      </a:lnTo>
                      <a:lnTo>
                        <a:pt x="51" y="149"/>
                      </a:lnTo>
                      <a:lnTo>
                        <a:pt x="50" y="148"/>
                      </a:lnTo>
                      <a:lnTo>
                        <a:pt x="50" y="147"/>
                      </a:lnTo>
                      <a:lnTo>
                        <a:pt x="49" y="146"/>
                      </a:lnTo>
                      <a:lnTo>
                        <a:pt x="50" y="145"/>
                      </a:lnTo>
                      <a:lnTo>
                        <a:pt x="49" y="145"/>
                      </a:lnTo>
                      <a:lnTo>
                        <a:pt x="49" y="144"/>
                      </a:lnTo>
                      <a:lnTo>
                        <a:pt x="49" y="143"/>
                      </a:lnTo>
                      <a:lnTo>
                        <a:pt x="49" y="143"/>
                      </a:lnTo>
                      <a:lnTo>
                        <a:pt x="49" y="142"/>
                      </a:lnTo>
                      <a:lnTo>
                        <a:pt x="49" y="141"/>
                      </a:lnTo>
                      <a:lnTo>
                        <a:pt x="49" y="141"/>
                      </a:lnTo>
                      <a:lnTo>
                        <a:pt x="48" y="140"/>
                      </a:lnTo>
                      <a:lnTo>
                        <a:pt x="48" y="139"/>
                      </a:lnTo>
                      <a:lnTo>
                        <a:pt x="49" y="139"/>
                      </a:lnTo>
                      <a:lnTo>
                        <a:pt x="49" y="139"/>
                      </a:lnTo>
                      <a:lnTo>
                        <a:pt x="49" y="138"/>
                      </a:lnTo>
                      <a:lnTo>
                        <a:pt x="49" y="137"/>
                      </a:lnTo>
                      <a:lnTo>
                        <a:pt x="49" y="137"/>
                      </a:lnTo>
                      <a:lnTo>
                        <a:pt x="48" y="136"/>
                      </a:lnTo>
                      <a:lnTo>
                        <a:pt x="47" y="136"/>
                      </a:lnTo>
                      <a:lnTo>
                        <a:pt x="47" y="135"/>
                      </a:lnTo>
                      <a:lnTo>
                        <a:pt x="47" y="134"/>
                      </a:lnTo>
                      <a:lnTo>
                        <a:pt x="47" y="134"/>
                      </a:lnTo>
                      <a:lnTo>
                        <a:pt x="46" y="134"/>
                      </a:lnTo>
                      <a:lnTo>
                        <a:pt x="45" y="134"/>
                      </a:lnTo>
                      <a:lnTo>
                        <a:pt x="45" y="134"/>
                      </a:lnTo>
                      <a:lnTo>
                        <a:pt x="45" y="133"/>
                      </a:lnTo>
                      <a:lnTo>
                        <a:pt x="45" y="132"/>
                      </a:lnTo>
                      <a:lnTo>
                        <a:pt x="44" y="132"/>
                      </a:lnTo>
                      <a:lnTo>
                        <a:pt x="44" y="131"/>
                      </a:lnTo>
                      <a:lnTo>
                        <a:pt x="44" y="130"/>
                      </a:lnTo>
                      <a:lnTo>
                        <a:pt x="43" y="130"/>
                      </a:lnTo>
                      <a:lnTo>
                        <a:pt x="43" y="130"/>
                      </a:lnTo>
                      <a:lnTo>
                        <a:pt x="42" y="130"/>
                      </a:lnTo>
                      <a:lnTo>
                        <a:pt x="42" y="130"/>
                      </a:lnTo>
                      <a:lnTo>
                        <a:pt x="41" y="130"/>
                      </a:lnTo>
                      <a:lnTo>
                        <a:pt x="41" y="128"/>
                      </a:lnTo>
                      <a:lnTo>
                        <a:pt x="40" y="128"/>
                      </a:lnTo>
                      <a:lnTo>
                        <a:pt x="39" y="128"/>
                      </a:lnTo>
                      <a:lnTo>
                        <a:pt x="38" y="128"/>
                      </a:lnTo>
                      <a:lnTo>
                        <a:pt x="38" y="128"/>
                      </a:lnTo>
                      <a:lnTo>
                        <a:pt x="37" y="128"/>
                      </a:lnTo>
                      <a:lnTo>
                        <a:pt x="37" y="127"/>
                      </a:lnTo>
                      <a:lnTo>
                        <a:pt x="36" y="127"/>
                      </a:lnTo>
                      <a:lnTo>
                        <a:pt x="36" y="126"/>
                      </a:lnTo>
                      <a:lnTo>
                        <a:pt x="36" y="126"/>
                      </a:lnTo>
                      <a:lnTo>
                        <a:pt x="36" y="126"/>
                      </a:lnTo>
                      <a:lnTo>
                        <a:pt x="36" y="125"/>
                      </a:lnTo>
                      <a:lnTo>
                        <a:pt x="35" y="125"/>
                      </a:lnTo>
                      <a:lnTo>
                        <a:pt x="35" y="124"/>
                      </a:lnTo>
                      <a:lnTo>
                        <a:pt x="36" y="124"/>
                      </a:lnTo>
                      <a:lnTo>
                        <a:pt x="36" y="124"/>
                      </a:lnTo>
                      <a:lnTo>
                        <a:pt x="36" y="123"/>
                      </a:lnTo>
                      <a:lnTo>
                        <a:pt x="36" y="122"/>
                      </a:lnTo>
                      <a:lnTo>
                        <a:pt x="36" y="122"/>
                      </a:lnTo>
                      <a:lnTo>
                        <a:pt x="35" y="122"/>
                      </a:lnTo>
                      <a:lnTo>
                        <a:pt x="35" y="121"/>
                      </a:lnTo>
                      <a:lnTo>
                        <a:pt x="36" y="121"/>
                      </a:lnTo>
                      <a:lnTo>
                        <a:pt x="36" y="120"/>
                      </a:lnTo>
                      <a:lnTo>
                        <a:pt x="36" y="120"/>
                      </a:lnTo>
                      <a:lnTo>
                        <a:pt x="36" y="119"/>
                      </a:lnTo>
                      <a:lnTo>
                        <a:pt x="36" y="119"/>
                      </a:lnTo>
                      <a:lnTo>
                        <a:pt x="36" y="118"/>
                      </a:lnTo>
                      <a:lnTo>
                        <a:pt x="36" y="118"/>
                      </a:lnTo>
                      <a:lnTo>
                        <a:pt x="36" y="117"/>
                      </a:lnTo>
                      <a:lnTo>
                        <a:pt x="36" y="116"/>
                      </a:lnTo>
                      <a:lnTo>
                        <a:pt x="36" y="116"/>
                      </a:lnTo>
                      <a:lnTo>
                        <a:pt x="36" y="115"/>
                      </a:lnTo>
                      <a:lnTo>
                        <a:pt x="37" y="115"/>
                      </a:lnTo>
                      <a:lnTo>
                        <a:pt x="37" y="114"/>
                      </a:lnTo>
                      <a:lnTo>
                        <a:pt x="37" y="113"/>
                      </a:lnTo>
                      <a:lnTo>
                        <a:pt x="37" y="113"/>
                      </a:lnTo>
                      <a:lnTo>
                        <a:pt x="37" y="112"/>
                      </a:lnTo>
                      <a:lnTo>
                        <a:pt x="37" y="111"/>
                      </a:lnTo>
                      <a:lnTo>
                        <a:pt x="37" y="111"/>
                      </a:lnTo>
                      <a:lnTo>
                        <a:pt x="36" y="111"/>
                      </a:lnTo>
                      <a:lnTo>
                        <a:pt x="36" y="110"/>
                      </a:lnTo>
                      <a:lnTo>
                        <a:pt x="36" y="109"/>
                      </a:lnTo>
                      <a:lnTo>
                        <a:pt x="36" y="109"/>
                      </a:lnTo>
                      <a:lnTo>
                        <a:pt x="36" y="108"/>
                      </a:lnTo>
                      <a:lnTo>
                        <a:pt x="36" y="107"/>
                      </a:lnTo>
                      <a:lnTo>
                        <a:pt x="35" y="107"/>
                      </a:lnTo>
                      <a:lnTo>
                        <a:pt x="35" y="107"/>
                      </a:lnTo>
                      <a:lnTo>
                        <a:pt x="34" y="107"/>
                      </a:lnTo>
                      <a:lnTo>
                        <a:pt x="34" y="106"/>
                      </a:lnTo>
                      <a:lnTo>
                        <a:pt x="34" y="105"/>
                      </a:lnTo>
                      <a:lnTo>
                        <a:pt x="33" y="105"/>
                      </a:lnTo>
                      <a:lnTo>
                        <a:pt x="33" y="105"/>
                      </a:lnTo>
                      <a:lnTo>
                        <a:pt x="32" y="104"/>
                      </a:lnTo>
                      <a:lnTo>
                        <a:pt x="32" y="103"/>
                      </a:lnTo>
                      <a:lnTo>
                        <a:pt x="32" y="103"/>
                      </a:lnTo>
                      <a:lnTo>
                        <a:pt x="31" y="103"/>
                      </a:lnTo>
                      <a:lnTo>
                        <a:pt x="30" y="102"/>
                      </a:lnTo>
                      <a:lnTo>
                        <a:pt x="30" y="101"/>
                      </a:lnTo>
                      <a:lnTo>
                        <a:pt x="31" y="101"/>
                      </a:lnTo>
                      <a:lnTo>
                        <a:pt x="31" y="100"/>
                      </a:lnTo>
                      <a:lnTo>
                        <a:pt x="30" y="99"/>
                      </a:lnTo>
                      <a:lnTo>
                        <a:pt x="30" y="99"/>
                      </a:lnTo>
                      <a:lnTo>
                        <a:pt x="29" y="99"/>
                      </a:lnTo>
                      <a:lnTo>
                        <a:pt x="29" y="98"/>
                      </a:lnTo>
                      <a:lnTo>
                        <a:pt x="29" y="97"/>
                      </a:lnTo>
                      <a:lnTo>
                        <a:pt x="29" y="97"/>
                      </a:lnTo>
                      <a:lnTo>
                        <a:pt x="28" y="96"/>
                      </a:lnTo>
                      <a:lnTo>
                        <a:pt x="28" y="96"/>
                      </a:lnTo>
                      <a:lnTo>
                        <a:pt x="28" y="95"/>
                      </a:lnTo>
                      <a:lnTo>
                        <a:pt x="27" y="95"/>
                      </a:lnTo>
                      <a:lnTo>
                        <a:pt x="27" y="94"/>
                      </a:lnTo>
                      <a:lnTo>
                        <a:pt x="26" y="94"/>
                      </a:lnTo>
                      <a:lnTo>
                        <a:pt x="27" y="93"/>
                      </a:lnTo>
                      <a:lnTo>
                        <a:pt x="26" y="93"/>
                      </a:lnTo>
                      <a:lnTo>
                        <a:pt x="26" y="92"/>
                      </a:lnTo>
                      <a:lnTo>
                        <a:pt x="25" y="92"/>
                      </a:lnTo>
                      <a:lnTo>
                        <a:pt x="26" y="92"/>
                      </a:lnTo>
                      <a:lnTo>
                        <a:pt x="26" y="91"/>
                      </a:lnTo>
                      <a:lnTo>
                        <a:pt x="25" y="90"/>
                      </a:lnTo>
                      <a:lnTo>
                        <a:pt x="24" y="90"/>
                      </a:lnTo>
                      <a:lnTo>
                        <a:pt x="24" y="90"/>
                      </a:lnTo>
                      <a:lnTo>
                        <a:pt x="24" y="89"/>
                      </a:lnTo>
                      <a:lnTo>
                        <a:pt x="24" y="89"/>
                      </a:lnTo>
                      <a:lnTo>
                        <a:pt x="23" y="89"/>
                      </a:lnTo>
                      <a:lnTo>
                        <a:pt x="23" y="88"/>
                      </a:lnTo>
                      <a:lnTo>
                        <a:pt x="22" y="88"/>
                      </a:lnTo>
                      <a:lnTo>
                        <a:pt x="22" y="88"/>
                      </a:lnTo>
                      <a:lnTo>
                        <a:pt x="22" y="87"/>
                      </a:lnTo>
                      <a:lnTo>
                        <a:pt x="21" y="87"/>
                      </a:lnTo>
                      <a:lnTo>
                        <a:pt x="21" y="88"/>
                      </a:lnTo>
                      <a:lnTo>
                        <a:pt x="20" y="88"/>
                      </a:lnTo>
                      <a:lnTo>
                        <a:pt x="19" y="87"/>
                      </a:lnTo>
                      <a:lnTo>
                        <a:pt x="19" y="86"/>
                      </a:lnTo>
                      <a:lnTo>
                        <a:pt x="19" y="86"/>
                      </a:lnTo>
                      <a:lnTo>
                        <a:pt x="19" y="85"/>
                      </a:lnTo>
                      <a:lnTo>
                        <a:pt x="18" y="85"/>
                      </a:lnTo>
                      <a:lnTo>
                        <a:pt x="17" y="85"/>
                      </a:lnTo>
                      <a:lnTo>
                        <a:pt x="17" y="84"/>
                      </a:lnTo>
                      <a:lnTo>
                        <a:pt x="17" y="84"/>
                      </a:lnTo>
                      <a:lnTo>
                        <a:pt x="17" y="83"/>
                      </a:lnTo>
                      <a:lnTo>
                        <a:pt x="17" y="82"/>
                      </a:lnTo>
                      <a:lnTo>
                        <a:pt x="17" y="82"/>
                      </a:lnTo>
                      <a:lnTo>
                        <a:pt x="18" y="81"/>
                      </a:lnTo>
                      <a:lnTo>
                        <a:pt x="17" y="80"/>
                      </a:lnTo>
                      <a:lnTo>
                        <a:pt x="17" y="80"/>
                      </a:lnTo>
                      <a:lnTo>
                        <a:pt x="18" y="79"/>
                      </a:lnTo>
                      <a:lnTo>
                        <a:pt x="17" y="78"/>
                      </a:lnTo>
                      <a:lnTo>
                        <a:pt x="18" y="78"/>
                      </a:lnTo>
                      <a:lnTo>
                        <a:pt x="19" y="78"/>
                      </a:lnTo>
                      <a:lnTo>
                        <a:pt x="19" y="77"/>
                      </a:lnTo>
                      <a:lnTo>
                        <a:pt x="19" y="76"/>
                      </a:lnTo>
                      <a:lnTo>
                        <a:pt x="19" y="76"/>
                      </a:lnTo>
                      <a:lnTo>
                        <a:pt x="19" y="75"/>
                      </a:lnTo>
                      <a:lnTo>
                        <a:pt x="19" y="75"/>
                      </a:lnTo>
                      <a:lnTo>
                        <a:pt x="19" y="74"/>
                      </a:lnTo>
                      <a:lnTo>
                        <a:pt x="19" y="73"/>
                      </a:lnTo>
                      <a:lnTo>
                        <a:pt x="19" y="73"/>
                      </a:lnTo>
                      <a:lnTo>
                        <a:pt x="19" y="72"/>
                      </a:lnTo>
                      <a:lnTo>
                        <a:pt x="20" y="72"/>
                      </a:lnTo>
                      <a:lnTo>
                        <a:pt x="19" y="71"/>
                      </a:lnTo>
                      <a:lnTo>
                        <a:pt x="19" y="71"/>
                      </a:lnTo>
                      <a:lnTo>
                        <a:pt x="19" y="71"/>
                      </a:lnTo>
                      <a:lnTo>
                        <a:pt x="19" y="70"/>
                      </a:lnTo>
                      <a:lnTo>
                        <a:pt x="19" y="69"/>
                      </a:lnTo>
                      <a:lnTo>
                        <a:pt x="19" y="69"/>
                      </a:lnTo>
                      <a:lnTo>
                        <a:pt x="19" y="68"/>
                      </a:lnTo>
                      <a:lnTo>
                        <a:pt x="19" y="67"/>
                      </a:lnTo>
                      <a:lnTo>
                        <a:pt x="19" y="67"/>
                      </a:lnTo>
                      <a:lnTo>
                        <a:pt x="19" y="66"/>
                      </a:lnTo>
                      <a:lnTo>
                        <a:pt x="18" y="66"/>
                      </a:lnTo>
                      <a:lnTo>
                        <a:pt x="18" y="65"/>
                      </a:lnTo>
                      <a:lnTo>
                        <a:pt x="18" y="65"/>
                      </a:lnTo>
                      <a:lnTo>
                        <a:pt x="19" y="64"/>
                      </a:lnTo>
                      <a:lnTo>
                        <a:pt x="18" y="63"/>
                      </a:lnTo>
                      <a:lnTo>
                        <a:pt x="17" y="63"/>
                      </a:lnTo>
                      <a:lnTo>
                        <a:pt x="18" y="62"/>
                      </a:lnTo>
                      <a:lnTo>
                        <a:pt x="18" y="61"/>
                      </a:lnTo>
                      <a:lnTo>
                        <a:pt x="17" y="61"/>
                      </a:lnTo>
                      <a:lnTo>
                        <a:pt x="17" y="61"/>
                      </a:lnTo>
                      <a:lnTo>
                        <a:pt x="17" y="60"/>
                      </a:lnTo>
                      <a:lnTo>
                        <a:pt x="16" y="60"/>
                      </a:lnTo>
                      <a:lnTo>
                        <a:pt x="17" y="60"/>
                      </a:lnTo>
                      <a:lnTo>
                        <a:pt x="17" y="59"/>
                      </a:lnTo>
                      <a:lnTo>
                        <a:pt x="17" y="59"/>
                      </a:lnTo>
                      <a:lnTo>
                        <a:pt x="17" y="59"/>
                      </a:lnTo>
                      <a:lnTo>
                        <a:pt x="18" y="59"/>
                      </a:lnTo>
                      <a:lnTo>
                        <a:pt x="18" y="58"/>
                      </a:lnTo>
                      <a:lnTo>
                        <a:pt x="19" y="58"/>
                      </a:lnTo>
                      <a:lnTo>
                        <a:pt x="19" y="58"/>
                      </a:lnTo>
                      <a:lnTo>
                        <a:pt x="19" y="57"/>
                      </a:lnTo>
                      <a:lnTo>
                        <a:pt x="19" y="57"/>
                      </a:lnTo>
                      <a:lnTo>
                        <a:pt x="19" y="56"/>
                      </a:lnTo>
                      <a:lnTo>
                        <a:pt x="19" y="55"/>
                      </a:lnTo>
                      <a:lnTo>
                        <a:pt x="18" y="55"/>
                      </a:lnTo>
                      <a:lnTo>
                        <a:pt x="18" y="54"/>
                      </a:lnTo>
                      <a:lnTo>
                        <a:pt x="18" y="54"/>
                      </a:lnTo>
                      <a:lnTo>
                        <a:pt x="19" y="54"/>
                      </a:lnTo>
                      <a:lnTo>
                        <a:pt x="19" y="53"/>
                      </a:lnTo>
                      <a:lnTo>
                        <a:pt x="19" y="52"/>
                      </a:lnTo>
                      <a:lnTo>
                        <a:pt x="19" y="52"/>
                      </a:lnTo>
                      <a:lnTo>
                        <a:pt x="19" y="52"/>
                      </a:lnTo>
                      <a:lnTo>
                        <a:pt x="20" y="52"/>
                      </a:lnTo>
                      <a:lnTo>
                        <a:pt x="20" y="51"/>
                      </a:lnTo>
                      <a:lnTo>
                        <a:pt x="20" y="50"/>
                      </a:lnTo>
                      <a:lnTo>
                        <a:pt x="20" y="50"/>
                      </a:lnTo>
                      <a:lnTo>
                        <a:pt x="21" y="50"/>
                      </a:lnTo>
                      <a:lnTo>
                        <a:pt x="21" y="49"/>
                      </a:lnTo>
                      <a:lnTo>
                        <a:pt x="22" y="49"/>
                      </a:lnTo>
                      <a:lnTo>
                        <a:pt x="22" y="49"/>
                      </a:lnTo>
                      <a:lnTo>
                        <a:pt x="22" y="48"/>
                      </a:lnTo>
                      <a:lnTo>
                        <a:pt x="22" y="48"/>
                      </a:lnTo>
                      <a:lnTo>
                        <a:pt x="23" y="48"/>
                      </a:lnTo>
                      <a:lnTo>
                        <a:pt x="23" y="47"/>
                      </a:lnTo>
                      <a:lnTo>
                        <a:pt x="24" y="47"/>
                      </a:lnTo>
                      <a:lnTo>
                        <a:pt x="24" y="46"/>
                      </a:lnTo>
                      <a:lnTo>
                        <a:pt x="24" y="46"/>
                      </a:lnTo>
                      <a:lnTo>
                        <a:pt x="25" y="46"/>
                      </a:lnTo>
                      <a:lnTo>
                        <a:pt x="25" y="46"/>
                      </a:lnTo>
                      <a:lnTo>
                        <a:pt x="25" y="45"/>
                      </a:lnTo>
                      <a:lnTo>
                        <a:pt x="26" y="45"/>
                      </a:lnTo>
                      <a:lnTo>
                        <a:pt x="26" y="44"/>
                      </a:lnTo>
                      <a:lnTo>
                        <a:pt x="26" y="44"/>
                      </a:lnTo>
                      <a:lnTo>
                        <a:pt x="27" y="44"/>
                      </a:lnTo>
                      <a:lnTo>
                        <a:pt x="28" y="44"/>
                      </a:lnTo>
                      <a:lnTo>
                        <a:pt x="28" y="44"/>
                      </a:lnTo>
                      <a:lnTo>
                        <a:pt x="28" y="43"/>
                      </a:lnTo>
                      <a:lnTo>
                        <a:pt x="29" y="43"/>
                      </a:lnTo>
                      <a:lnTo>
                        <a:pt x="30" y="43"/>
                      </a:lnTo>
                      <a:lnTo>
                        <a:pt x="30" y="42"/>
                      </a:lnTo>
                      <a:lnTo>
                        <a:pt x="29" y="42"/>
                      </a:lnTo>
                      <a:lnTo>
                        <a:pt x="28" y="41"/>
                      </a:lnTo>
                      <a:lnTo>
                        <a:pt x="28" y="41"/>
                      </a:lnTo>
                      <a:lnTo>
                        <a:pt x="28" y="40"/>
                      </a:lnTo>
                      <a:lnTo>
                        <a:pt x="27" y="40"/>
                      </a:lnTo>
                      <a:lnTo>
                        <a:pt x="27" y="39"/>
                      </a:lnTo>
                      <a:lnTo>
                        <a:pt x="28" y="38"/>
                      </a:lnTo>
                      <a:lnTo>
                        <a:pt x="28" y="38"/>
                      </a:lnTo>
                      <a:lnTo>
                        <a:pt x="28" y="38"/>
                      </a:lnTo>
                      <a:lnTo>
                        <a:pt x="27" y="37"/>
                      </a:lnTo>
                      <a:lnTo>
                        <a:pt x="27" y="36"/>
                      </a:lnTo>
                      <a:lnTo>
                        <a:pt x="26" y="35"/>
                      </a:lnTo>
                      <a:lnTo>
                        <a:pt x="26" y="35"/>
                      </a:lnTo>
                      <a:lnTo>
                        <a:pt x="26" y="35"/>
                      </a:lnTo>
                      <a:lnTo>
                        <a:pt x="26" y="34"/>
                      </a:lnTo>
                      <a:lnTo>
                        <a:pt x="25" y="34"/>
                      </a:lnTo>
                      <a:lnTo>
                        <a:pt x="25" y="33"/>
                      </a:lnTo>
                      <a:lnTo>
                        <a:pt x="24" y="33"/>
                      </a:lnTo>
                      <a:lnTo>
                        <a:pt x="24" y="33"/>
                      </a:lnTo>
                      <a:lnTo>
                        <a:pt x="24" y="32"/>
                      </a:lnTo>
                      <a:lnTo>
                        <a:pt x="24" y="31"/>
                      </a:lnTo>
                      <a:lnTo>
                        <a:pt x="25" y="31"/>
                      </a:lnTo>
                      <a:lnTo>
                        <a:pt x="25" y="31"/>
                      </a:lnTo>
                      <a:lnTo>
                        <a:pt x="26" y="31"/>
                      </a:lnTo>
                      <a:lnTo>
                        <a:pt x="26" y="30"/>
                      </a:lnTo>
                      <a:lnTo>
                        <a:pt x="26" y="30"/>
                      </a:lnTo>
                      <a:lnTo>
                        <a:pt x="26" y="29"/>
                      </a:lnTo>
                      <a:lnTo>
                        <a:pt x="26" y="29"/>
                      </a:lnTo>
                      <a:lnTo>
                        <a:pt x="26" y="28"/>
                      </a:lnTo>
                      <a:lnTo>
                        <a:pt x="26" y="27"/>
                      </a:lnTo>
                      <a:lnTo>
                        <a:pt x="26" y="27"/>
                      </a:lnTo>
                      <a:lnTo>
                        <a:pt x="25" y="27"/>
                      </a:lnTo>
                      <a:lnTo>
                        <a:pt x="25" y="26"/>
                      </a:lnTo>
                      <a:lnTo>
                        <a:pt x="24" y="26"/>
                      </a:lnTo>
                      <a:lnTo>
                        <a:pt x="24" y="26"/>
                      </a:lnTo>
                      <a:lnTo>
                        <a:pt x="23" y="25"/>
                      </a:lnTo>
                      <a:lnTo>
                        <a:pt x="22" y="25"/>
                      </a:lnTo>
                      <a:lnTo>
                        <a:pt x="22" y="25"/>
                      </a:lnTo>
                      <a:lnTo>
                        <a:pt x="22" y="25"/>
                      </a:lnTo>
                      <a:lnTo>
                        <a:pt x="21" y="25"/>
                      </a:lnTo>
                      <a:lnTo>
                        <a:pt x="21" y="24"/>
                      </a:lnTo>
                      <a:lnTo>
                        <a:pt x="20" y="23"/>
                      </a:lnTo>
                      <a:lnTo>
                        <a:pt x="21" y="23"/>
                      </a:lnTo>
                      <a:lnTo>
                        <a:pt x="21" y="22"/>
                      </a:lnTo>
                      <a:lnTo>
                        <a:pt x="22" y="21"/>
                      </a:lnTo>
                      <a:lnTo>
                        <a:pt x="21" y="21"/>
                      </a:lnTo>
                      <a:lnTo>
                        <a:pt x="21" y="21"/>
                      </a:lnTo>
                      <a:lnTo>
                        <a:pt x="21" y="20"/>
                      </a:lnTo>
                      <a:lnTo>
                        <a:pt x="21" y="19"/>
                      </a:lnTo>
                      <a:lnTo>
                        <a:pt x="20" y="20"/>
                      </a:lnTo>
                      <a:lnTo>
                        <a:pt x="19" y="20"/>
                      </a:lnTo>
                      <a:lnTo>
                        <a:pt x="19" y="19"/>
                      </a:lnTo>
                      <a:lnTo>
                        <a:pt x="19" y="19"/>
                      </a:lnTo>
                      <a:lnTo>
                        <a:pt x="19" y="19"/>
                      </a:lnTo>
                      <a:lnTo>
                        <a:pt x="19" y="18"/>
                      </a:lnTo>
                      <a:lnTo>
                        <a:pt x="20" y="18"/>
                      </a:lnTo>
                      <a:lnTo>
                        <a:pt x="20" y="17"/>
                      </a:lnTo>
                      <a:lnTo>
                        <a:pt x="20" y="17"/>
                      </a:lnTo>
                      <a:lnTo>
                        <a:pt x="21" y="17"/>
                      </a:lnTo>
                      <a:lnTo>
                        <a:pt x="21" y="16"/>
                      </a:lnTo>
                      <a:lnTo>
                        <a:pt x="22" y="16"/>
                      </a:lnTo>
                      <a:lnTo>
                        <a:pt x="22" y="15"/>
                      </a:lnTo>
                      <a:lnTo>
                        <a:pt x="22" y="14"/>
                      </a:lnTo>
                      <a:lnTo>
                        <a:pt x="22" y="14"/>
                      </a:lnTo>
                      <a:lnTo>
                        <a:pt x="22" y="14"/>
                      </a:lnTo>
                      <a:lnTo>
                        <a:pt x="22" y="13"/>
                      </a:lnTo>
                      <a:lnTo>
                        <a:pt x="22" y="13"/>
                      </a:lnTo>
                      <a:lnTo>
                        <a:pt x="22" y="12"/>
                      </a:lnTo>
                      <a:lnTo>
                        <a:pt x="22" y="12"/>
                      </a:lnTo>
                      <a:lnTo>
                        <a:pt x="23" y="12"/>
                      </a:lnTo>
                      <a:lnTo>
                        <a:pt x="24" y="11"/>
                      </a:lnTo>
                      <a:lnTo>
                        <a:pt x="24" y="10"/>
                      </a:lnTo>
                      <a:lnTo>
                        <a:pt x="24" y="10"/>
                      </a:lnTo>
                      <a:lnTo>
                        <a:pt x="24" y="10"/>
                      </a:lnTo>
                      <a:lnTo>
                        <a:pt x="25" y="10"/>
                      </a:lnTo>
                      <a:lnTo>
                        <a:pt x="25" y="9"/>
                      </a:lnTo>
                      <a:lnTo>
                        <a:pt x="26" y="9"/>
                      </a:lnTo>
                      <a:lnTo>
                        <a:pt x="26" y="8"/>
                      </a:lnTo>
                      <a:lnTo>
                        <a:pt x="26" y="8"/>
                      </a:lnTo>
                      <a:lnTo>
                        <a:pt x="26" y="7"/>
                      </a:lnTo>
                      <a:lnTo>
                        <a:pt x="27" y="7"/>
                      </a:lnTo>
                      <a:lnTo>
                        <a:pt x="27" y="6"/>
                      </a:lnTo>
                      <a:lnTo>
                        <a:pt x="28" y="6"/>
                      </a:lnTo>
                      <a:lnTo>
                        <a:pt x="28" y="6"/>
                      </a:lnTo>
                      <a:lnTo>
                        <a:pt x="28" y="5"/>
                      </a:lnTo>
                      <a:lnTo>
                        <a:pt x="29" y="5"/>
                      </a:lnTo>
                      <a:lnTo>
                        <a:pt x="30" y="4"/>
                      </a:lnTo>
                      <a:lnTo>
                        <a:pt x="30" y="4"/>
                      </a:lnTo>
                      <a:lnTo>
                        <a:pt x="30" y="4"/>
                      </a:lnTo>
                      <a:lnTo>
                        <a:pt x="30" y="3"/>
                      </a:lnTo>
                      <a:lnTo>
                        <a:pt x="31" y="2"/>
                      </a:lnTo>
                      <a:lnTo>
                        <a:pt x="32" y="2"/>
                      </a:lnTo>
                      <a:lnTo>
                        <a:pt x="32" y="3"/>
                      </a:lnTo>
                      <a:lnTo>
                        <a:pt x="33" y="3"/>
                      </a:lnTo>
                      <a:lnTo>
                        <a:pt x="34" y="3"/>
                      </a:lnTo>
                      <a:lnTo>
                        <a:pt x="34" y="4"/>
                      </a:lnTo>
                      <a:lnTo>
                        <a:pt x="35" y="4"/>
                      </a:lnTo>
                      <a:lnTo>
                        <a:pt x="35" y="4"/>
                      </a:lnTo>
                      <a:lnTo>
                        <a:pt x="36" y="5"/>
                      </a:lnTo>
                      <a:lnTo>
                        <a:pt x="36" y="5"/>
                      </a:lnTo>
                      <a:lnTo>
                        <a:pt x="37" y="6"/>
                      </a:lnTo>
                      <a:lnTo>
                        <a:pt x="38" y="5"/>
                      </a:lnTo>
                      <a:lnTo>
                        <a:pt x="38" y="4"/>
                      </a:lnTo>
                      <a:lnTo>
                        <a:pt x="38" y="4"/>
                      </a:lnTo>
                      <a:lnTo>
                        <a:pt x="39" y="4"/>
                      </a:lnTo>
                      <a:lnTo>
                        <a:pt x="40" y="4"/>
                      </a:lnTo>
                      <a:lnTo>
                        <a:pt x="41" y="3"/>
                      </a:lnTo>
                      <a:lnTo>
                        <a:pt x="41" y="3"/>
                      </a:lnTo>
                      <a:lnTo>
                        <a:pt x="42" y="3"/>
                      </a:lnTo>
                      <a:lnTo>
                        <a:pt x="43" y="3"/>
                      </a:lnTo>
                      <a:lnTo>
                        <a:pt x="43" y="2"/>
                      </a:lnTo>
                      <a:lnTo>
                        <a:pt x="43" y="2"/>
                      </a:lnTo>
                      <a:lnTo>
                        <a:pt x="44" y="2"/>
                      </a:lnTo>
                      <a:lnTo>
                        <a:pt x="44" y="1"/>
                      </a:lnTo>
                      <a:lnTo>
                        <a:pt x="45" y="1"/>
                      </a:lnTo>
                      <a:lnTo>
                        <a:pt x="45" y="2"/>
                      </a:lnTo>
                      <a:lnTo>
                        <a:pt x="45" y="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4" name="La Paz">
                  <a:extLst>
                    <a:ext uri="{FF2B5EF4-FFF2-40B4-BE49-F238E27FC236}">
                      <a16:creationId xmlns:a16="http://schemas.microsoft.com/office/drawing/2014/main" xmlns="" id="{11FA858F-1935-94BA-2FD9-31B22A509015}"/>
                    </a:ext>
                  </a:extLst>
                </p:cNvPr>
                <p:cNvSpPr>
                  <a:spLocks noEditPoints="1"/>
                </p:cNvSpPr>
                <p:nvPr/>
              </p:nvSpPr>
              <p:spPr bwMode="auto">
                <a:xfrm>
                  <a:off x="2015" y="1330"/>
                  <a:ext cx="740" cy="1652"/>
                </a:xfrm>
                <a:custGeom>
                  <a:avLst/>
                  <a:gdLst>
                    <a:gd name="T0" fmla="*/ 204 w 740"/>
                    <a:gd name="T1" fmla="*/ 1186 h 1652"/>
                    <a:gd name="T2" fmla="*/ 150 w 740"/>
                    <a:gd name="T3" fmla="*/ 1137 h 1652"/>
                    <a:gd name="T4" fmla="*/ 199 w 740"/>
                    <a:gd name="T5" fmla="*/ 1176 h 1652"/>
                    <a:gd name="T6" fmla="*/ 130 w 740"/>
                    <a:gd name="T7" fmla="*/ 1163 h 1652"/>
                    <a:gd name="T8" fmla="*/ 125 w 740"/>
                    <a:gd name="T9" fmla="*/ 1133 h 1652"/>
                    <a:gd name="T10" fmla="*/ 118 w 740"/>
                    <a:gd name="T11" fmla="*/ 1117 h 1652"/>
                    <a:gd name="T12" fmla="*/ 98 w 740"/>
                    <a:gd name="T13" fmla="*/ 1098 h 1652"/>
                    <a:gd name="T14" fmla="*/ 658 w 740"/>
                    <a:gd name="T15" fmla="*/ 230 h 1652"/>
                    <a:gd name="T16" fmla="*/ 642 w 740"/>
                    <a:gd name="T17" fmla="*/ 314 h 1652"/>
                    <a:gd name="T18" fmla="*/ 576 w 740"/>
                    <a:gd name="T19" fmla="*/ 384 h 1652"/>
                    <a:gd name="T20" fmla="*/ 560 w 740"/>
                    <a:gd name="T21" fmla="*/ 472 h 1652"/>
                    <a:gd name="T22" fmla="*/ 524 w 740"/>
                    <a:gd name="T23" fmla="*/ 580 h 1652"/>
                    <a:gd name="T24" fmla="*/ 525 w 740"/>
                    <a:gd name="T25" fmla="*/ 691 h 1652"/>
                    <a:gd name="T26" fmla="*/ 548 w 740"/>
                    <a:gd name="T27" fmla="*/ 761 h 1652"/>
                    <a:gd name="T28" fmla="*/ 552 w 740"/>
                    <a:gd name="T29" fmla="*/ 803 h 1652"/>
                    <a:gd name="T30" fmla="*/ 578 w 740"/>
                    <a:gd name="T31" fmla="*/ 843 h 1652"/>
                    <a:gd name="T32" fmla="*/ 608 w 740"/>
                    <a:gd name="T33" fmla="*/ 861 h 1652"/>
                    <a:gd name="T34" fmla="*/ 630 w 740"/>
                    <a:gd name="T35" fmla="*/ 903 h 1652"/>
                    <a:gd name="T36" fmla="*/ 649 w 740"/>
                    <a:gd name="T37" fmla="*/ 948 h 1652"/>
                    <a:gd name="T38" fmla="*/ 691 w 740"/>
                    <a:gd name="T39" fmla="*/ 989 h 1652"/>
                    <a:gd name="T40" fmla="*/ 702 w 740"/>
                    <a:gd name="T41" fmla="*/ 1077 h 1652"/>
                    <a:gd name="T42" fmla="*/ 709 w 740"/>
                    <a:gd name="T43" fmla="*/ 1146 h 1652"/>
                    <a:gd name="T44" fmla="*/ 730 w 740"/>
                    <a:gd name="T45" fmla="*/ 1228 h 1652"/>
                    <a:gd name="T46" fmla="*/ 732 w 740"/>
                    <a:gd name="T47" fmla="*/ 1302 h 1652"/>
                    <a:gd name="T48" fmla="*/ 675 w 740"/>
                    <a:gd name="T49" fmla="*/ 1346 h 1652"/>
                    <a:gd name="T50" fmla="*/ 704 w 740"/>
                    <a:gd name="T51" fmla="*/ 1417 h 1652"/>
                    <a:gd name="T52" fmla="*/ 717 w 740"/>
                    <a:gd name="T53" fmla="*/ 1477 h 1652"/>
                    <a:gd name="T54" fmla="*/ 628 w 740"/>
                    <a:gd name="T55" fmla="*/ 1469 h 1652"/>
                    <a:gd name="T56" fmla="*/ 586 w 740"/>
                    <a:gd name="T57" fmla="*/ 1482 h 1652"/>
                    <a:gd name="T58" fmla="*/ 535 w 740"/>
                    <a:gd name="T59" fmla="*/ 1550 h 1652"/>
                    <a:gd name="T60" fmla="*/ 367 w 740"/>
                    <a:gd name="T61" fmla="*/ 1542 h 1652"/>
                    <a:gd name="T62" fmla="*/ 286 w 740"/>
                    <a:gd name="T63" fmla="*/ 1560 h 1652"/>
                    <a:gd name="T64" fmla="*/ 223 w 740"/>
                    <a:gd name="T65" fmla="*/ 1618 h 1652"/>
                    <a:gd name="T66" fmla="*/ 90 w 740"/>
                    <a:gd name="T67" fmla="*/ 1591 h 1652"/>
                    <a:gd name="T68" fmla="*/ 68 w 740"/>
                    <a:gd name="T69" fmla="*/ 1391 h 1652"/>
                    <a:gd name="T70" fmla="*/ 150 w 740"/>
                    <a:gd name="T71" fmla="*/ 1265 h 1652"/>
                    <a:gd name="T72" fmla="*/ 197 w 740"/>
                    <a:gd name="T73" fmla="*/ 1262 h 1652"/>
                    <a:gd name="T74" fmla="*/ 190 w 740"/>
                    <a:gd name="T75" fmla="*/ 1232 h 1652"/>
                    <a:gd name="T76" fmla="*/ 204 w 740"/>
                    <a:gd name="T77" fmla="*/ 1218 h 1652"/>
                    <a:gd name="T78" fmla="*/ 232 w 740"/>
                    <a:gd name="T79" fmla="*/ 1195 h 1652"/>
                    <a:gd name="T80" fmla="*/ 261 w 740"/>
                    <a:gd name="T81" fmla="*/ 1185 h 1652"/>
                    <a:gd name="T82" fmla="*/ 241 w 740"/>
                    <a:gd name="T83" fmla="*/ 1163 h 1652"/>
                    <a:gd name="T84" fmla="*/ 195 w 740"/>
                    <a:gd name="T85" fmla="*/ 1150 h 1652"/>
                    <a:gd name="T86" fmla="*/ 197 w 740"/>
                    <a:gd name="T87" fmla="*/ 1121 h 1652"/>
                    <a:gd name="T88" fmla="*/ 225 w 740"/>
                    <a:gd name="T89" fmla="*/ 1097 h 1652"/>
                    <a:gd name="T90" fmla="*/ 187 w 740"/>
                    <a:gd name="T91" fmla="*/ 1089 h 1652"/>
                    <a:gd name="T92" fmla="*/ 136 w 740"/>
                    <a:gd name="T93" fmla="*/ 1047 h 1652"/>
                    <a:gd name="T94" fmla="*/ 108 w 740"/>
                    <a:gd name="T95" fmla="*/ 1022 h 1652"/>
                    <a:gd name="T96" fmla="*/ 75 w 740"/>
                    <a:gd name="T97" fmla="*/ 998 h 1652"/>
                    <a:gd name="T98" fmla="*/ 110 w 740"/>
                    <a:gd name="T99" fmla="*/ 900 h 1652"/>
                    <a:gd name="T100" fmla="*/ 70 w 740"/>
                    <a:gd name="T101" fmla="*/ 861 h 1652"/>
                    <a:gd name="T102" fmla="*/ 136 w 740"/>
                    <a:gd name="T103" fmla="*/ 685 h 1652"/>
                    <a:gd name="T104" fmla="*/ 171 w 740"/>
                    <a:gd name="T105" fmla="*/ 594 h 1652"/>
                    <a:gd name="T106" fmla="*/ 139 w 740"/>
                    <a:gd name="T107" fmla="*/ 508 h 1652"/>
                    <a:gd name="T108" fmla="*/ 136 w 740"/>
                    <a:gd name="T109" fmla="*/ 476 h 1652"/>
                    <a:gd name="T110" fmla="*/ 159 w 740"/>
                    <a:gd name="T111" fmla="*/ 439 h 1652"/>
                    <a:gd name="T112" fmla="*/ 170 w 740"/>
                    <a:gd name="T113" fmla="*/ 403 h 1652"/>
                    <a:gd name="T114" fmla="*/ 173 w 740"/>
                    <a:gd name="T115" fmla="*/ 365 h 1652"/>
                    <a:gd name="T116" fmla="*/ 169 w 740"/>
                    <a:gd name="T117" fmla="*/ 318 h 1652"/>
                    <a:gd name="T118" fmla="*/ 168 w 740"/>
                    <a:gd name="T119" fmla="*/ 283 h 1652"/>
                    <a:gd name="T120" fmla="*/ 187 w 740"/>
                    <a:gd name="T121" fmla="*/ 243 h 1652"/>
                    <a:gd name="T122" fmla="*/ 208 w 740"/>
                    <a:gd name="T123" fmla="*/ 199 h 1652"/>
                    <a:gd name="T124" fmla="*/ 271 w 740"/>
                    <a:gd name="T125" fmla="*/ 153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0" h="1652">
                      <a:moveTo>
                        <a:pt x="216" y="1204"/>
                      </a:moveTo>
                      <a:lnTo>
                        <a:pt x="216" y="1204"/>
                      </a:lnTo>
                      <a:lnTo>
                        <a:pt x="217" y="1204"/>
                      </a:lnTo>
                      <a:lnTo>
                        <a:pt x="217" y="1205"/>
                      </a:lnTo>
                      <a:lnTo>
                        <a:pt x="218" y="1205"/>
                      </a:lnTo>
                      <a:lnTo>
                        <a:pt x="218" y="1205"/>
                      </a:lnTo>
                      <a:lnTo>
                        <a:pt x="217" y="1205"/>
                      </a:lnTo>
                      <a:lnTo>
                        <a:pt x="217" y="1205"/>
                      </a:lnTo>
                      <a:lnTo>
                        <a:pt x="216" y="1205"/>
                      </a:lnTo>
                      <a:lnTo>
                        <a:pt x="216" y="1205"/>
                      </a:lnTo>
                      <a:lnTo>
                        <a:pt x="216" y="1204"/>
                      </a:lnTo>
                      <a:close/>
                      <a:moveTo>
                        <a:pt x="235" y="1200"/>
                      </a:moveTo>
                      <a:lnTo>
                        <a:pt x="234" y="1201"/>
                      </a:lnTo>
                      <a:lnTo>
                        <a:pt x="233" y="1201"/>
                      </a:lnTo>
                      <a:lnTo>
                        <a:pt x="233" y="1200"/>
                      </a:lnTo>
                      <a:lnTo>
                        <a:pt x="233" y="1199"/>
                      </a:lnTo>
                      <a:lnTo>
                        <a:pt x="234" y="1199"/>
                      </a:lnTo>
                      <a:lnTo>
                        <a:pt x="235" y="1199"/>
                      </a:lnTo>
                      <a:lnTo>
                        <a:pt x="235" y="1200"/>
                      </a:lnTo>
                      <a:close/>
                      <a:moveTo>
                        <a:pt x="237" y="1199"/>
                      </a:moveTo>
                      <a:lnTo>
                        <a:pt x="237" y="1199"/>
                      </a:lnTo>
                      <a:lnTo>
                        <a:pt x="237" y="1199"/>
                      </a:lnTo>
                      <a:lnTo>
                        <a:pt x="237" y="1199"/>
                      </a:lnTo>
                      <a:lnTo>
                        <a:pt x="236" y="1199"/>
                      </a:lnTo>
                      <a:lnTo>
                        <a:pt x="236" y="1198"/>
                      </a:lnTo>
                      <a:lnTo>
                        <a:pt x="236" y="1197"/>
                      </a:lnTo>
                      <a:lnTo>
                        <a:pt x="237" y="1197"/>
                      </a:lnTo>
                      <a:lnTo>
                        <a:pt x="237" y="1197"/>
                      </a:lnTo>
                      <a:lnTo>
                        <a:pt x="237" y="1198"/>
                      </a:lnTo>
                      <a:lnTo>
                        <a:pt x="237" y="1199"/>
                      </a:lnTo>
                      <a:close/>
                      <a:moveTo>
                        <a:pt x="225" y="1197"/>
                      </a:moveTo>
                      <a:lnTo>
                        <a:pt x="225" y="1197"/>
                      </a:lnTo>
                      <a:lnTo>
                        <a:pt x="225" y="1198"/>
                      </a:lnTo>
                      <a:lnTo>
                        <a:pt x="225" y="1199"/>
                      </a:lnTo>
                      <a:lnTo>
                        <a:pt x="226" y="1199"/>
                      </a:lnTo>
                      <a:lnTo>
                        <a:pt x="226" y="1199"/>
                      </a:lnTo>
                      <a:lnTo>
                        <a:pt x="226" y="1200"/>
                      </a:lnTo>
                      <a:lnTo>
                        <a:pt x="225" y="1200"/>
                      </a:lnTo>
                      <a:lnTo>
                        <a:pt x="226" y="1201"/>
                      </a:lnTo>
                      <a:lnTo>
                        <a:pt x="226" y="1201"/>
                      </a:lnTo>
                      <a:lnTo>
                        <a:pt x="226" y="1202"/>
                      </a:lnTo>
                      <a:lnTo>
                        <a:pt x="227" y="1202"/>
                      </a:lnTo>
                      <a:lnTo>
                        <a:pt x="227" y="1203"/>
                      </a:lnTo>
                      <a:lnTo>
                        <a:pt x="226" y="1202"/>
                      </a:lnTo>
                      <a:lnTo>
                        <a:pt x="225" y="1202"/>
                      </a:lnTo>
                      <a:lnTo>
                        <a:pt x="225" y="1201"/>
                      </a:lnTo>
                      <a:lnTo>
                        <a:pt x="225" y="1201"/>
                      </a:lnTo>
                      <a:lnTo>
                        <a:pt x="225" y="1200"/>
                      </a:lnTo>
                      <a:lnTo>
                        <a:pt x="225" y="1200"/>
                      </a:lnTo>
                      <a:lnTo>
                        <a:pt x="224" y="1199"/>
                      </a:lnTo>
                      <a:lnTo>
                        <a:pt x="223" y="1199"/>
                      </a:lnTo>
                      <a:lnTo>
                        <a:pt x="223" y="1199"/>
                      </a:lnTo>
                      <a:lnTo>
                        <a:pt x="223" y="1198"/>
                      </a:lnTo>
                      <a:lnTo>
                        <a:pt x="223" y="1197"/>
                      </a:lnTo>
                      <a:lnTo>
                        <a:pt x="223" y="1197"/>
                      </a:lnTo>
                      <a:lnTo>
                        <a:pt x="223" y="1197"/>
                      </a:lnTo>
                      <a:lnTo>
                        <a:pt x="224" y="1197"/>
                      </a:lnTo>
                      <a:lnTo>
                        <a:pt x="224" y="1197"/>
                      </a:lnTo>
                      <a:lnTo>
                        <a:pt x="225" y="1197"/>
                      </a:lnTo>
                      <a:close/>
                      <a:moveTo>
                        <a:pt x="220" y="1193"/>
                      </a:moveTo>
                      <a:lnTo>
                        <a:pt x="220" y="1193"/>
                      </a:lnTo>
                      <a:lnTo>
                        <a:pt x="219" y="1193"/>
                      </a:lnTo>
                      <a:lnTo>
                        <a:pt x="219" y="1193"/>
                      </a:lnTo>
                      <a:lnTo>
                        <a:pt x="219" y="1192"/>
                      </a:lnTo>
                      <a:lnTo>
                        <a:pt x="220" y="1192"/>
                      </a:lnTo>
                      <a:lnTo>
                        <a:pt x="220" y="1193"/>
                      </a:lnTo>
                      <a:lnTo>
                        <a:pt x="220" y="1193"/>
                      </a:lnTo>
                      <a:lnTo>
                        <a:pt x="220" y="1193"/>
                      </a:lnTo>
                      <a:close/>
                      <a:moveTo>
                        <a:pt x="216" y="1184"/>
                      </a:moveTo>
                      <a:lnTo>
                        <a:pt x="216" y="1184"/>
                      </a:lnTo>
                      <a:lnTo>
                        <a:pt x="217" y="1184"/>
                      </a:lnTo>
                      <a:lnTo>
                        <a:pt x="217" y="1184"/>
                      </a:lnTo>
                      <a:lnTo>
                        <a:pt x="218" y="1184"/>
                      </a:lnTo>
                      <a:lnTo>
                        <a:pt x="218" y="1185"/>
                      </a:lnTo>
                      <a:lnTo>
                        <a:pt x="218" y="1184"/>
                      </a:lnTo>
                      <a:lnTo>
                        <a:pt x="219" y="1184"/>
                      </a:lnTo>
                      <a:lnTo>
                        <a:pt x="219" y="1185"/>
                      </a:lnTo>
                      <a:lnTo>
                        <a:pt x="220" y="1185"/>
                      </a:lnTo>
                      <a:lnTo>
                        <a:pt x="220" y="1185"/>
                      </a:lnTo>
                      <a:lnTo>
                        <a:pt x="220" y="1186"/>
                      </a:lnTo>
                      <a:lnTo>
                        <a:pt x="220" y="1186"/>
                      </a:lnTo>
                      <a:lnTo>
                        <a:pt x="220" y="1186"/>
                      </a:lnTo>
                      <a:lnTo>
                        <a:pt x="220" y="1187"/>
                      </a:lnTo>
                      <a:lnTo>
                        <a:pt x="220" y="1187"/>
                      </a:lnTo>
                      <a:lnTo>
                        <a:pt x="221" y="1187"/>
                      </a:lnTo>
                      <a:lnTo>
                        <a:pt x="222" y="1187"/>
                      </a:lnTo>
                      <a:lnTo>
                        <a:pt x="222" y="1188"/>
                      </a:lnTo>
                      <a:lnTo>
                        <a:pt x="221" y="1188"/>
                      </a:lnTo>
                      <a:lnTo>
                        <a:pt x="220" y="1188"/>
                      </a:lnTo>
                      <a:lnTo>
                        <a:pt x="220" y="1188"/>
                      </a:lnTo>
                      <a:lnTo>
                        <a:pt x="220" y="1189"/>
                      </a:lnTo>
                      <a:lnTo>
                        <a:pt x="220" y="1188"/>
                      </a:lnTo>
                      <a:lnTo>
                        <a:pt x="219" y="1188"/>
                      </a:lnTo>
                      <a:lnTo>
                        <a:pt x="219" y="1188"/>
                      </a:lnTo>
                      <a:lnTo>
                        <a:pt x="218" y="1188"/>
                      </a:lnTo>
                      <a:lnTo>
                        <a:pt x="218" y="1188"/>
                      </a:lnTo>
                      <a:lnTo>
                        <a:pt x="218" y="1189"/>
                      </a:lnTo>
                      <a:lnTo>
                        <a:pt x="219" y="1189"/>
                      </a:lnTo>
                      <a:lnTo>
                        <a:pt x="218" y="1190"/>
                      </a:lnTo>
                      <a:lnTo>
                        <a:pt x="218" y="1190"/>
                      </a:lnTo>
                      <a:lnTo>
                        <a:pt x="217" y="1190"/>
                      </a:lnTo>
                      <a:lnTo>
                        <a:pt x="217" y="1189"/>
                      </a:lnTo>
                      <a:lnTo>
                        <a:pt x="216" y="1189"/>
                      </a:lnTo>
                      <a:lnTo>
                        <a:pt x="216" y="1188"/>
                      </a:lnTo>
                      <a:lnTo>
                        <a:pt x="216" y="1188"/>
                      </a:lnTo>
                      <a:lnTo>
                        <a:pt x="216" y="1188"/>
                      </a:lnTo>
                      <a:lnTo>
                        <a:pt x="215" y="1188"/>
                      </a:lnTo>
                      <a:lnTo>
                        <a:pt x="214" y="1188"/>
                      </a:lnTo>
                      <a:lnTo>
                        <a:pt x="214" y="1187"/>
                      </a:lnTo>
                      <a:lnTo>
                        <a:pt x="214" y="1186"/>
                      </a:lnTo>
                      <a:lnTo>
                        <a:pt x="213" y="1186"/>
                      </a:lnTo>
                      <a:lnTo>
                        <a:pt x="213" y="1186"/>
                      </a:lnTo>
                      <a:lnTo>
                        <a:pt x="213" y="1185"/>
                      </a:lnTo>
                      <a:lnTo>
                        <a:pt x="213" y="1184"/>
                      </a:lnTo>
                      <a:lnTo>
                        <a:pt x="214" y="1184"/>
                      </a:lnTo>
                      <a:lnTo>
                        <a:pt x="214" y="1184"/>
                      </a:lnTo>
                      <a:lnTo>
                        <a:pt x="214" y="1184"/>
                      </a:lnTo>
                      <a:lnTo>
                        <a:pt x="215" y="1184"/>
                      </a:lnTo>
                      <a:lnTo>
                        <a:pt x="216" y="1183"/>
                      </a:lnTo>
                      <a:lnTo>
                        <a:pt x="216" y="1184"/>
                      </a:lnTo>
                      <a:close/>
                      <a:moveTo>
                        <a:pt x="202" y="1180"/>
                      </a:moveTo>
                      <a:lnTo>
                        <a:pt x="202" y="1180"/>
                      </a:lnTo>
                      <a:lnTo>
                        <a:pt x="203" y="1180"/>
                      </a:lnTo>
                      <a:lnTo>
                        <a:pt x="204" y="1180"/>
                      </a:lnTo>
                      <a:lnTo>
                        <a:pt x="204" y="1181"/>
                      </a:lnTo>
                      <a:lnTo>
                        <a:pt x="204" y="1181"/>
                      </a:lnTo>
                      <a:lnTo>
                        <a:pt x="205" y="1181"/>
                      </a:lnTo>
                      <a:lnTo>
                        <a:pt x="206" y="1181"/>
                      </a:lnTo>
                      <a:lnTo>
                        <a:pt x="206" y="1181"/>
                      </a:lnTo>
                      <a:lnTo>
                        <a:pt x="206" y="1182"/>
                      </a:lnTo>
                      <a:lnTo>
                        <a:pt x="207" y="1182"/>
                      </a:lnTo>
                      <a:lnTo>
                        <a:pt x="207" y="1182"/>
                      </a:lnTo>
                      <a:lnTo>
                        <a:pt x="208" y="1182"/>
                      </a:lnTo>
                      <a:lnTo>
                        <a:pt x="208" y="1183"/>
                      </a:lnTo>
                      <a:lnTo>
                        <a:pt x="208" y="1184"/>
                      </a:lnTo>
                      <a:lnTo>
                        <a:pt x="208" y="1184"/>
                      </a:lnTo>
                      <a:lnTo>
                        <a:pt x="207" y="1184"/>
                      </a:lnTo>
                      <a:lnTo>
                        <a:pt x="207" y="1185"/>
                      </a:lnTo>
                      <a:lnTo>
                        <a:pt x="208" y="1185"/>
                      </a:lnTo>
                      <a:lnTo>
                        <a:pt x="208" y="1186"/>
                      </a:lnTo>
                      <a:lnTo>
                        <a:pt x="208" y="1186"/>
                      </a:lnTo>
                      <a:lnTo>
                        <a:pt x="207" y="1186"/>
                      </a:lnTo>
                      <a:lnTo>
                        <a:pt x="207" y="1186"/>
                      </a:lnTo>
                      <a:lnTo>
                        <a:pt x="207" y="1185"/>
                      </a:lnTo>
                      <a:lnTo>
                        <a:pt x="206" y="1185"/>
                      </a:lnTo>
                      <a:lnTo>
                        <a:pt x="206" y="1185"/>
                      </a:lnTo>
                      <a:lnTo>
                        <a:pt x="206" y="1186"/>
                      </a:lnTo>
                      <a:lnTo>
                        <a:pt x="205" y="1186"/>
                      </a:lnTo>
                      <a:lnTo>
                        <a:pt x="204" y="1186"/>
                      </a:lnTo>
                      <a:lnTo>
                        <a:pt x="204" y="1186"/>
                      </a:lnTo>
                      <a:lnTo>
                        <a:pt x="204" y="1186"/>
                      </a:lnTo>
                      <a:lnTo>
                        <a:pt x="203" y="1186"/>
                      </a:lnTo>
                      <a:lnTo>
                        <a:pt x="203" y="1185"/>
                      </a:lnTo>
                      <a:lnTo>
                        <a:pt x="202" y="1185"/>
                      </a:lnTo>
                      <a:lnTo>
                        <a:pt x="202" y="1184"/>
                      </a:lnTo>
                      <a:lnTo>
                        <a:pt x="202" y="1184"/>
                      </a:lnTo>
                      <a:lnTo>
                        <a:pt x="202" y="1183"/>
                      </a:lnTo>
                      <a:lnTo>
                        <a:pt x="203" y="1183"/>
                      </a:lnTo>
                      <a:lnTo>
                        <a:pt x="203" y="1182"/>
                      </a:lnTo>
                      <a:lnTo>
                        <a:pt x="202" y="1182"/>
                      </a:lnTo>
                      <a:lnTo>
                        <a:pt x="201" y="1182"/>
                      </a:lnTo>
                      <a:lnTo>
                        <a:pt x="201" y="1181"/>
                      </a:lnTo>
                      <a:lnTo>
                        <a:pt x="201" y="1180"/>
                      </a:lnTo>
                      <a:lnTo>
                        <a:pt x="201" y="1180"/>
                      </a:lnTo>
                      <a:lnTo>
                        <a:pt x="201" y="1180"/>
                      </a:lnTo>
                      <a:lnTo>
                        <a:pt x="200" y="1180"/>
                      </a:lnTo>
                      <a:lnTo>
                        <a:pt x="201" y="1180"/>
                      </a:lnTo>
                      <a:lnTo>
                        <a:pt x="201" y="1180"/>
                      </a:lnTo>
                      <a:lnTo>
                        <a:pt x="202" y="1180"/>
                      </a:lnTo>
                      <a:close/>
                      <a:moveTo>
                        <a:pt x="196" y="1178"/>
                      </a:moveTo>
                      <a:lnTo>
                        <a:pt x="196" y="1179"/>
                      </a:lnTo>
                      <a:lnTo>
                        <a:pt x="195" y="1179"/>
                      </a:lnTo>
                      <a:lnTo>
                        <a:pt x="195" y="1180"/>
                      </a:lnTo>
                      <a:lnTo>
                        <a:pt x="195" y="1180"/>
                      </a:lnTo>
                      <a:lnTo>
                        <a:pt x="195" y="1181"/>
                      </a:lnTo>
                      <a:lnTo>
                        <a:pt x="195" y="1180"/>
                      </a:lnTo>
                      <a:lnTo>
                        <a:pt x="195" y="1180"/>
                      </a:lnTo>
                      <a:lnTo>
                        <a:pt x="195" y="1180"/>
                      </a:lnTo>
                      <a:lnTo>
                        <a:pt x="195" y="1179"/>
                      </a:lnTo>
                      <a:lnTo>
                        <a:pt x="195" y="1179"/>
                      </a:lnTo>
                      <a:lnTo>
                        <a:pt x="195" y="1178"/>
                      </a:lnTo>
                      <a:lnTo>
                        <a:pt x="196" y="1178"/>
                      </a:lnTo>
                      <a:close/>
                      <a:moveTo>
                        <a:pt x="191" y="1178"/>
                      </a:moveTo>
                      <a:lnTo>
                        <a:pt x="191" y="1178"/>
                      </a:lnTo>
                      <a:lnTo>
                        <a:pt x="191" y="1178"/>
                      </a:lnTo>
                      <a:lnTo>
                        <a:pt x="191" y="1179"/>
                      </a:lnTo>
                      <a:lnTo>
                        <a:pt x="191" y="1179"/>
                      </a:lnTo>
                      <a:lnTo>
                        <a:pt x="191" y="1180"/>
                      </a:lnTo>
                      <a:lnTo>
                        <a:pt x="190" y="1180"/>
                      </a:lnTo>
                      <a:lnTo>
                        <a:pt x="190" y="1179"/>
                      </a:lnTo>
                      <a:lnTo>
                        <a:pt x="189" y="1179"/>
                      </a:lnTo>
                      <a:lnTo>
                        <a:pt x="189" y="1178"/>
                      </a:lnTo>
                      <a:lnTo>
                        <a:pt x="190" y="1178"/>
                      </a:lnTo>
                      <a:lnTo>
                        <a:pt x="190" y="1178"/>
                      </a:lnTo>
                      <a:lnTo>
                        <a:pt x="191" y="1178"/>
                      </a:lnTo>
                      <a:close/>
                      <a:moveTo>
                        <a:pt x="258" y="1164"/>
                      </a:moveTo>
                      <a:lnTo>
                        <a:pt x="258" y="1165"/>
                      </a:lnTo>
                      <a:lnTo>
                        <a:pt x="259" y="1165"/>
                      </a:lnTo>
                      <a:lnTo>
                        <a:pt x="259" y="1165"/>
                      </a:lnTo>
                      <a:lnTo>
                        <a:pt x="260" y="1165"/>
                      </a:lnTo>
                      <a:lnTo>
                        <a:pt x="260" y="1165"/>
                      </a:lnTo>
                      <a:lnTo>
                        <a:pt x="261" y="1165"/>
                      </a:lnTo>
                      <a:lnTo>
                        <a:pt x="261" y="1165"/>
                      </a:lnTo>
                      <a:lnTo>
                        <a:pt x="261" y="1166"/>
                      </a:lnTo>
                      <a:lnTo>
                        <a:pt x="261" y="1167"/>
                      </a:lnTo>
                      <a:lnTo>
                        <a:pt x="261" y="1167"/>
                      </a:lnTo>
                      <a:lnTo>
                        <a:pt x="262" y="1167"/>
                      </a:lnTo>
                      <a:lnTo>
                        <a:pt x="262" y="1168"/>
                      </a:lnTo>
                      <a:lnTo>
                        <a:pt x="262" y="1169"/>
                      </a:lnTo>
                      <a:lnTo>
                        <a:pt x="262" y="1169"/>
                      </a:lnTo>
                      <a:lnTo>
                        <a:pt x="261" y="1169"/>
                      </a:lnTo>
                      <a:lnTo>
                        <a:pt x="261" y="1170"/>
                      </a:lnTo>
                      <a:lnTo>
                        <a:pt x="261" y="1170"/>
                      </a:lnTo>
                      <a:lnTo>
                        <a:pt x="260" y="1170"/>
                      </a:lnTo>
                      <a:lnTo>
                        <a:pt x="260" y="1169"/>
                      </a:lnTo>
                      <a:lnTo>
                        <a:pt x="260" y="1169"/>
                      </a:lnTo>
                      <a:lnTo>
                        <a:pt x="259" y="1169"/>
                      </a:lnTo>
                      <a:lnTo>
                        <a:pt x="259" y="1168"/>
                      </a:lnTo>
                      <a:lnTo>
                        <a:pt x="259" y="1167"/>
                      </a:lnTo>
                      <a:lnTo>
                        <a:pt x="259" y="1167"/>
                      </a:lnTo>
                      <a:lnTo>
                        <a:pt x="259" y="1166"/>
                      </a:lnTo>
                      <a:lnTo>
                        <a:pt x="259" y="1165"/>
                      </a:lnTo>
                      <a:lnTo>
                        <a:pt x="258" y="1165"/>
                      </a:lnTo>
                      <a:lnTo>
                        <a:pt x="258" y="1165"/>
                      </a:lnTo>
                      <a:lnTo>
                        <a:pt x="258" y="1164"/>
                      </a:lnTo>
                      <a:lnTo>
                        <a:pt x="258" y="1164"/>
                      </a:lnTo>
                      <a:close/>
                      <a:moveTo>
                        <a:pt x="190" y="1126"/>
                      </a:moveTo>
                      <a:lnTo>
                        <a:pt x="189" y="1126"/>
                      </a:lnTo>
                      <a:lnTo>
                        <a:pt x="189" y="1125"/>
                      </a:lnTo>
                      <a:lnTo>
                        <a:pt x="190" y="1125"/>
                      </a:lnTo>
                      <a:lnTo>
                        <a:pt x="190" y="1125"/>
                      </a:lnTo>
                      <a:lnTo>
                        <a:pt x="191" y="1125"/>
                      </a:lnTo>
                      <a:lnTo>
                        <a:pt x="191" y="1125"/>
                      </a:lnTo>
                      <a:lnTo>
                        <a:pt x="190" y="1126"/>
                      </a:lnTo>
                      <a:close/>
                      <a:moveTo>
                        <a:pt x="121" y="1123"/>
                      </a:moveTo>
                      <a:lnTo>
                        <a:pt x="122" y="1123"/>
                      </a:lnTo>
                      <a:lnTo>
                        <a:pt x="122" y="1124"/>
                      </a:lnTo>
                      <a:lnTo>
                        <a:pt x="123" y="1124"/>
                      </a:lnTo>
                      <a:lnTo>
                        <a:pt x="123" y="1124"/>
                      </a:lnTo>
                      <a:lnTo>
                        <a:pt x="124" y="1124"/>
                      </a:lnTo>
                      <a:lnTo>
                        <a:pt x="125" y="1124"/>
                      </a:lnTo>
                      <a:lnTo>
                        <a:pt x="125" y="1124"/>
                      </a:lnTo>
                      <a:lnTo>
                        <a:pt x="125" y="1125"/>
                      </a:lnTo>
                      <a:lnTo>
                        <a:pt x="126" y="1125"/>
                      </a:lnTo>
                      <a:lnTo>
                        <a:pt x="126" y="1125"/>
                      </a:lnTo>
                      <a:lnTo>
                        <a:pt x="127" y="1125"/>
                      </a:lnTo>
                      <a:lnTo>
                        <a:pt x="127" y="1126"/>
                      </a:lnTo>
                      <a:lnTo>
                        <a:pt x="127" y="1126"/>
                      </a:lnTo>
                      <a:lnTo>
                        <a:pt x="128" y="1126"/>
                      </a:lnTo>
                      <a:lnTo>
                        <a:pt x="128" y="1127"/>
                      </a:lnTo>
                      <a:lnTo>
                        <a:pt x="129" y="1127"/>
                      </a:lnTo>
                      <a:lnTo>
                        <a:pt x="130" y="1127"/>
                      </a:lnTo>
                      <a:lnTo>
                        <a:pt x="130" y="1127"/>
                      </a:lnTo>
                      <a:lnTo>
                        <a:pt x="130" y="1127"/>
                      </a:lnTo>
                      <a:lnTo>
                        <a:pt x="130" y="1128"/>
                      </a:lnTo>
                      <a:lnTo>
                        <a:pt x="131" y="1128"/>
                      </a:lnTo>
                      <a:lnTo>
                        <a:pt x="132" y="1128"/>
                      </a:lnTo>
                      <a:lnTo>
                        <a:pt x="131" y="1128"/>
                      </a:lnTo>
                      <a:lnTo>
                        <a:pt x="132" y="1128"/>
                      </a:lnTo>
                      <a:lnTo>
                        <a:pt x="132" y="1129"/>
                      </a:lnTo>
                      <a:lnTo>
                        <a:pt x="132" y="1129"/>
                      </a:lnTo>
                      <a:lnTo>
                        <a:pt x="133" y="1129"/>
                      </a:lnTo>
                      <a:lnTo>
                        <a:pt x="133" y="1129"/>
                      </a:lnTo>
                      <a:lnTo>
                        <a:pt x="134" y="1129"/>
                      </a:lnTo>
                      <a:lnTo>
                        <a:pt x="134" y="1130"/>
                      </a:lnTo>
                      <a:lnTo>
                        <a:pt x="134" y="1130"/>
                      </a:lnTo>
                      <a:lnTo>
                        <a:pt x="134" y="1131"/>
                      </a:lnTo>
                      <a:lnTo>
                        <a:pt x="135" y="1131"/>
                      </a:lnTo>
                      <a:lnTo>
                        <a:pt x="135" y="1132"/>
                      </a:lnTo>
                      <a:lnTo>
                        <a:pt x="136" y="1132"/>
                      </a:lnTo>
                      <a:lnTo>
                        <a:pt x="136" y="1132"/>
                      </a:lnTo>
                      <a:lnTo>
                        <a:pt x="136" y="1132"/>
                      </a:lnTo>
                      <a:lnTo>
                        <a:pt x="137" y="1132"/>
                      </a:lnTo>
                      <a:lnTo>
                        <a:pt x="138" y="1132"/>
                      </a:lnTo>
                      <a:lnTo>
                        <a:pt x="138" y="1132"/>
                      </a:lnTo>
                      <a:lnTo>
                        <a:pt x="139" y="1132"/>
                      </a:lnTo>
                      <a:lnTo>
                        <a:pt x="139" y="1133"/>
                      </a:lnTo>
                      <a:lnTo>
                        <a:pt x="139" y="1132"/>
                      </a:lnTo>
                      <a:lnTo>
                        <a:pt x="140" y="1132"/>
                      </a:lnTo>
                      <a:lnTo>
                        <a:pt x="140" y="1133"/>
                      </a:lnTo>
                      <a:lnTo>
                        <a:pt x="140" y="1133"/>
                      </a:lnTo>
                      <a:lnTo>
                        <a:pt x="141" y="1133"/>
                      </a:lnTo>
                      <a:lnTo>
                        <a:pt x="141" y="1134"/>
                      </a:lnTo>
                      <a:lnTo>
                        <a:pt x="142" y="1134"/>
                      </a:lnTo>
                      <a:lnTo>
                        <a:pt x="142" y="1134"/>
                      </a:lnTo>
                      <a:lnTo>
                        <a:pt x="143" y="1134"/>
                      </a:lnTo>
                      <a:lnTo>
                        <a:pt x="143" y="1134"/>
                      </a:lnTo>
                      <a:lnTo>
                        <a:pt x="144" y="1134"/>
                      </a:lnTo>
                      <a:lnTo>
                        <a:pt x="144" y="1135"/>
                      </a:lnTo>
                      <a:lnTo>
                        <a:pt x="144" y="1135"/>
                      </a:lnTo>
                      <a:lnTo>
                        <a:pt x="145" y="1135"/>
                      </a:lnTo>
                      <a:lnTo>
                        <a:pt x="145" y="1134"/>
                      </a:lnTo>
                      <a:lnTo>
                        <a:pt x="145" y="1135"/>
                      </a:lnTo>
                      <a:lnTo>
                        <a:pt x="146" y="1135"/>
                      </a:lnTo>
                      <a:lnTo>
                        <a:pt x="147" y="1135"/>
                      </a:lnTo>
                      <a:lnTo>
                        <a:pt x="147" y="1136"/>
                      </a:lnTo>
                      <a:lnTo>
                        <a:pt x="148" y="1136"/>
                      </a:lnTo>
                      <a:lnTo>
                        <a:pt x="149" y="1136"/>
                      </a:lnTo>
                      <a:lnTo>
                        <a:pt x="149" y="1136"/>
                      </a:lnTo>
                      <a:lnTo>
                        <a:pt x="150" y="1137"/>
                      </a:lnTo>
                      <a:lnTo>
                        <a:pt x="151" y="1137"/>
                      </a:lnTo>
                      <a:lnTo>
                        <a:pt x="151" y="1137"/>
                      </a:lnTo>
                      <a:lnTo>
                        <a:pt x="151" y="1138"/>
                      </a:lnTo>
                      <a:lnTo>
                        <a:pt x="152" y="1138"/>
                      </a:lnTo>
                      <a:lnTo>
                        <a:pt x="153" y="1138"/>
                      </a:lnTo>
                      <a:lnTo>
                        <a:pt x="153" y="1138"/>
                      </a:lnTo>
                      <a:lnTo>
                        <a:pt x="153" y="1138"/>
                      </a:lnTo>
                      <a:lnTo>
                        <a:pt x="154" y="1139"/>
                      </a:lnTo>
                      <a:lnTo>
                        <a:pt x="153" y="1139"/>
                      </a:lnTo>
                      <a:lnTo>
                        <a:pt x="154" y="1139"/>
                      </a:lnTo>
                      <a:lnTo>
                        <a:pt x="154" y="1140"/>
                      </a:lnTo>
                      <a:lnTo>
                        <a:pt x="155" y="1140"/>
                      </a:lnTo>
                      <a:lnTo>
                        <a:pt x="155" y="1140"/>
                      </a:lnTo>
                      <a:lnTo>
                        <a:pt x="155" y="1140"/>
                      </a:lnTo>
                      <a:lnTo>
                        <a:pt x="156" y="1141"/>
                      </a:lnTo>
                      <a:lnTo>
                        <a:pt x="157" y="1141"/>
                      </a:lnTo>
                      <a:lnTo>
                        <a:pt x="157" y="1142"/>
                      </a:lnTo>
                      <a:lnTo>
                        <a:pt x="157" y="1142"/>
                      </a:lnTo>
                      <a:lnTo>
                        <a:pt x="158" y="1142"/>
                      </a:lnTo>
                      <a:lnTo>
                        <a:pt x="159" y="1142"/>
                      </a:lnTo>
                      <a:lnTo>
                        <a:pt x="159" y="1142"/>
                      </a:lnTo>
                      <a:lnTo>
                        <a:pt x="159" y="1143"/>
                      </a:lnTo>
                      <a:lnTo>
                        <a:pt x="160" y="1143"/>
                      </a:lnTo>
                      <a:lnTo>
                        <a:pt x="160" y="1144"/>
                      </a:lnTo>
                      <a:lnTo>
                        <a:pt x="161" y="1144"/>
                      </a:lnTo>
                      <a:lnTo>
                        <a:pt x="161" y="1144"/>
                      </a:lnTo>
                      <a:lnTo>
                        <a:pt x="161" y="1144"/>
                      </a:lnTo>
                      <a:lnTo>
                        <a:pt x="162" y="1144"/>
                      </a:lnTo>
                      <a:lnTo>
                        <a:pt x="162" y="1145"/>
                      </a:lnTo>
                      <a:lnTo>
                        <a:pt x="162" y="1146"/>
                      </a:lnTo>
                      <a:lnTo>
                        <a:pt x="162" y="1146"/>
                      </a:lnTo>
                      <a:lnTo>
                        <a:pt x="162" y="1147"/>
                      </a:lnTo>
                      <a:lnTo>
                        <a:pt x="163" y="1147"/>
                      </a:lnTo>
                      <a:lnTo>
                        <a:pt x="163" y="1148"/>
                      </a:lnTo>
                      <a:lnTo>
                        <a:pt x="163" y="1148"/>
                      </a:lnTo>
                      <a:lnTo>
                        <a:pt x="163" y="1148"/>
                      </a:lnTo>
                      <a:lnTo>
                        <a:pt x="164" y="1148"/>
                      </a:lnTo>
                      <a:lnTo>
                        <a:pt x="164" y="1149"/>
                      </a:lnTo>
                      <a:lnTo>
                        <a:pt x="164" y="1150"/>
                      </a:lnTo>
                      <a:lnTo>
                        <a:pt x="165" y="1150"/>
                      </a:lnTo>
                      <a:lnTo>
                        <a:pt x="165" y="1151"/>
                      </a:lnTo>
                      <a:lnTo>
                        <a:pt x="166" y="1151"/>
                      </a:lnTo>
                      <a:lnTo>
                        <a:pt x="166" y="1151"/>
                      </a:lnTo>
                      <a:lnTo>
                        <a:pt x="166" y="1152"/>
                      </a:lnTo>
                      <a:lnTo>
                        <a:pt x="166" y="1152"/>
                      </a:lnTo>
                      <a:lnTo>
                        <a:pt x="166" y="1153"/>
                      </a:lnTo>
                      <a:lnTo>
                        <a:pt x="166" y="1153"/>
                      </a:lnTo>
                      <a:lnTo>
                        <a:pt x="166" y="1154"/>
                      </a:lnTo>
                      <a:lnTo>
                        <a:pt x="167" y="1154"/>
                      </a:lnTo>
                      <a:lnTo>
                        <a:pt x="168" y="1154"/>
                      </a:lnTo>
                      <a:lnTo>
                        <a:pt x="168" y="1154"/>
                      </a:lnTo>
                      <a:lnTo>
                        <a:pt x="168" y="1153"/>
                      </a:lnTo>
                      <a:lnTo>
                        <a:pt x="168" y="1154"/>
                      </a:lnTo>
                      <a:lnTo>
                        <a:pt x="169" y="1154"/>
                      </a:lnTo>
                      <a:lnTo>
                        <a:pt x="169" y="1155"/>
                      </a:lnTo>
                      <a:lnTo>
                        <a:pt x="168" y="1155"/>
                      </a:lnTo>
                      <a:lnTo>
                        <a:pt x="169" y="1155"/>
                      </a:lnTo>
                      <a:lnTo>
                        <a:pt x="169" y="1155"/>
                      </a:lnTo>
                      <a:lnTo>
                        <a:pt x="170" y="1155"/>
                      </a:lnTo>
                      <a:lnTo>
                        <a:pt x="170" y="1155"/>
                      </a:lnTo>
                      <a:lnTo>
                        <a:pt x="170" y="1155"/>
                      </a:lnTo>
                      <a:lnTo>
                        <a:pt x="170" y="1155"/>
                      </a:lnTo>
                      <a:lnTo>
                        <a:pt x="171" y="1155"/>
                      </a:lnTo>
                      <a:lnTo>
                        <a:pt x="171" y="1155"/>
                      </a:lnTo>
                      <a:lnTo>
                        <a:pt x="172" y="1155"/>
                      </a:lnTo>
                      <a:lnTo>
                        <a:pt x="172" y="1155"/>
                      </a:lnTo>
                      <a:lnTo>
                        <a:pt x="172" y="1156"/>
                      </a:lnTo>
                      <a:lnTo>
                        <a:pt x="173" y="1156"/>
                      </a:lnTo>
                      <a:lnTo>
                        <a:pt x="174" y="1156"/>
                      </a:lnTo>
                      <a:lnTo>
                        <a:pt x="174" y="1156"/>
                      </a:lnTo>
                      <a:lnTo>
                        <a:pt x="175" y="1156"/>
                      </a:lnTo>
                      <a:lnTo>
                        <a:pt x="175" y="1157"/>
                      </a:lnTo>
                      <a:lnTo>
                        <a:pt x="176" y="1157"/>
                      </a:lnTo>
                      <a:lnTo>
                        <a:pt x="176" y="1157"/>
                      </a:lnTo>
                      <a:lnTo>
                        <a:pt x="177" y="1157"/>
                      </a:lnTo>
                      <a:lnTo>
                        <a:pt x="177" y="1157"/>
                      </a:lnTo>
                      <a:lnTo>
                        <a:pt x="178" y="1157"/>
                      </a:lnTo>
                      <a:lnTo>
                        <a:pt x="178" y="1157"/>
                      </a:lnTo>
                      <a:lnTo>
                        <a:pt x="178" y="1157"/>
                      </a:lnTo>
                      <a:lnTo>
                        <a:pt x="178" y="1157"/>
                      </a:lnTo>
                      <a:lnTo>
                        <a:pt x="179" y="1157"/>
                      </a:lnTo>
                      <a:lnTo>
                        <a:pt x="179" y="1157"/>
                      </a:lnTo>
                      <a:lnTo>
                        <a:pt x="180" y="1157"/>
                      </a:lnTo>
                      <a:lnTo>
                        <a:pt x="180" y="1157"/>
                      </a:lnTo>
                      <a:lnTo>
                        <a:pt x="181" y="1157"/>
                      </a:lnTo>
                      <a:lnTo>
                        <a:pt x="181" y="1158"/>
                      </a:lnTo>
                      <a:lnTo>
                        <a:pt x="182" y="1158"/>
                      </a:lnTo>
                      <a:lnTo>
                        <a:pt x="182" y="1159"/>
                      </a:lnTo>
                      <a:lnTo>
                        <a:pt x="182" y="1158"/>
                      </a:lnTo>
                      <a:lnTo>
                        <a:pt x="182" y="1159"/>
                      </a:lnTo>
                      <a:lnTo>
                        <a:pt x="182" y="1159"/>
                      </a:lnTo>
                      <a:lnTo>
                        <a:pt x="183" y="1159"/>
                      </a:lnTo>
                      <a:lnTo>
                        <a:pt x="183" y="1159"/>
                      </a:lnTo>
                      <a:lnTo>
                        <a:pt x="184" y="1159"/>
                      </a:lnTo>
                      <a:lnTo>
                        <a:pt x="184" y="1159"/>
                      </a:lnTo>
                      <a:lnTo>
                        <a:pt x="184" y="1160"/>
                      </a:lnTo>
                      <a:lnTo>
                        <a:pt x="185" y="1160"/>
                      </a:lnTo>
                      <a:lnTo>
                        <a:pt x="185" y="1160"/>
                      </a:lnTo>
                      <a:lnTo>
                        <a:pt x="185" y="1161"/>
                      </a:lnTo>
                      <a:lnTo>
                        <a:pt x="185" y="1160"/>
                      </a:lnTo>
                      <a:lnTo>
                        <a:pt x="186" y="1160"/>
                      </a:lnTo>
                      <a:lnTo>
                        <a:pt x="187" y="1160"/>
                      </a:lnTo>
                      <a:lnTo>
                        <a:pt x="187" y="1161"/>
                      </a:lnTo>
                      <a:lnTo>
                        <a:pt x="187" y="1161"/>
                      </a:lnTo>
                      <a:lnTo>
                        <a:pt x="187" y="1161"/>
                      </a:lnTo>
                      <a:lnTo>
                        <a:pt x="188" y="1161"/>
                      </a:lnTo>
                      <a:lnTo>
                        <a:pt x="189" y="1161"/>
                      </a:lnTo>
                      <a:lnTo>
                        <a:pt x="189" y="1162"/>
                      </a:lnTo>
                      <a:lnTo>
                        <a:pt x="189" y="1163"/>
                      </a:lnTo>
                      <a:lnTo>
                        <a:pt x="190" y="1163"/>
                      </a:lnTo>
                      <a:lnTo>
                        <a:pt x="191" y="1163"/>
                      </a:lnTo>
                      <a:lnTo>
                        <a:pt x="191" y="1163"/>
                      </a:lnTo>
                      <a:lnTo>
                        <a:pt x="191" y="1163"/>
                      </a:lnTo>
                      <a:lnTo>
                        <a:pt x="191" y="1164"/>
                      </a:lnTo>
                      <a:lnTo>
                        <a:pt x="192" y="1164"/>
                      </a:lnTo>
                      <a:lnTo>
                        <a:pt x="193" y="1164"/>
                      </a:lnTo>
                      <a:lnTo>
                        <a:pt x="193" y="1164"/>
                      </a:lnTo>
                      <a:lnTo>
                        <a:pt x="193" y="1165"/>
                      </a:lnTo>
                      <a:lnTo>
                        <a:pt x="194" y="1165"/>
                      </a:lnTo>
                      <a:lnTo>
                        <a:pt x="194" y="1165"/>
                      </a:lnTo>
                      <a:lnTo>
                        <a:pt x="195" y="1165"/>
                      </a:lnTo>
                      <a:lnTo>
                        <a:pt x="195" y="1166"/>
                      </a:lnTo>
                      <a:lnTo>
                        <a:pt x="195" y="1166"/>
                      </a:lnTo>
                      <a:lnTo>
                        <a:pt x="196" y="1166"/>
                      </a:lnTo>
                      <a:lnTo>
                        <a:pt x="196" y="1167"/>
                      </a:lnTo>
                      <a:lnTo>
                        <a:pt x="197" y="1167"/>
                      </a:lnTo>
                      <a:lnTo>
                        <a:pt x="197" y="1167"/>
                      </a:lnTo>
                      <a:lnTo>
                        <a:pt x="198" y="1168"/>
                      </a:lnTo>
                      <a:lnTo>
                        <a:pt x="198" y="1169"/>
                      </a:lnTo>
                      <a:lnTo>
                        <a:pt x="199" y="1169"/>
                      </a:lnTo>
                      <a:lnTo>
                        <a:pt x="199" y="1169"/>
                      </a:lnTo>
                      <a:lnTo>
                        <a:pt x="200" y="1169"/>
                      </a:lnTo>
                      <a:lnTo>
                        <a:pt x="200" y="1169"/>
                      </a:lnTo>
                      <a:lnTo>
                        <a:pt x="200" y="1170"/>
                      </a:lnTo>
                      <a:lnTo>
                        <a:pt x="200" y="1171"/>
                      </a:lnTo>
                      <a:lnTo>
                        <a:pt x="200" y="1172"/>
                      </a:lnTo>
                      <a:lnTo>
                        <a:pt x="200" y="1172"/>
                      </a:lnTo>
                      <a:lnTo>
                        <a:pt x="199" y="1172"/>
                      </a:lnTo>
                      <a:lnTo>
                        <a:pt x="199" y="1173"/>
                      </a:lnTo>
                      <a:lnTo>
                        <a:pt x="199" y="1174"/>
                      </a:lnTo>
                      <a:lnTo>
                        <a:pt x="199" y="1174"/>
                      </a:lnTo>
                      <a:lnTo>
                        <a:pt x="199" y="1173"/>
                      </a:lnTo>
                      <a:lnTo>
                        <a:pt x="198" y="1173"/>
                      </a:lnTo>
                      <a:lnTo>
                        <a:pt x="198" y="1174"/>
                      </a:lnTo>
                      <a:lnTo>
                        <a:pt x="198" y="1174"/>
                      </a:lnTo>
                      <a:lnTo>
                        <a:pt x="199" y="1175"/>
                      </a:lnTo>
                      <a:lnTo>
                        <a:pt x="199" y="1176"/>
                      </a:lnTo>
                      <a:lnTo>
                        <a:pt x="199" y="1176"/>
                      </a:lnTo>
                      <a:lnTo>
                        <a:pt x="199" y="1176"/>
                      </a:lnTo>
                      <a:lnTo>
                        <a:pt x="199" y="1176"/>
                      </a:lnTo>
                      <a:lnTo>
                        <a:pt x="198" y="1176"/>
                      </a:lnTo>
                      <a:lnTo>
                        <a:pt x="198" y="1176"/>
                      </a:lnTo>
                      <a:lnTo>
                        <a:pt x="198" y="1177"/>
                      </a:lnTo>
                      <a:lnTo>
                        <a:pt x="198" y="1178"/>
                      </a:lnTo>
                      <a:lnTo>
                        <a:pt x="199" y="1178"/>
                      </a:lnTo>
                      <a:lnTo>
                        <a:pt x="199" y="1178"/>
                      </a:lnTo>
                      <a:lnTo>
                        <a:pt x="199" y="1179"/>
                      </a:lnTo>
                      <a:lnTo>
                        <a:pt x="198" y="1179"/>
                      </a:lnTo>
                      <a:lnTo>
                        <a:pt x="198" y="1178"/>
                      </a:lnTo>
                      <a:lnTo>
                        <a:pt x="197" y="1178"/>
                      </a:lnTo>
                      <a:lnTo>
                        <a:pt x="197" y="1178"/>
                      </a:lnTo>
                      <a:lnTo>
                        <a:pt x="197" y="1178"/>
                      </a:lnTo>
                      <a:lnTo>
                        <a:pt x="197" y="1177"/>
                      </a:lnTo>
                      <a:lnTo>
                        <a:pt x="197" y="1176"/>
                      </a:lnTo>
                      <a:lnTo>
                        <a:pt x="196" y="1176"/>
                      </a:lnTo>
                      <a:lnTo>
                        <a:pt x="196" y="1177"/>
                      </a:lnTo>
                      <a:lnTo>
                        <a:pt x="196" y="1178"/>
                      </a:lnTo>
                      <a:lnTo>
                        <a:pt x="195" y="1178"/>
                      </a:lnTo>
                      <a:lnTo>
                        <a:pt x="195" y="1178"/>
                      </a:lnTo>
                      <a:lnTo>
                        <a:pt x="194" y="1178"/>
                      </a:lnTo>
                      <a:lnTo>
                        <a:pt x="193" y="1178"/>
                      </a:lnTo>
                      <a:lnTo>
                        <a:pt x="193" y="1177"/>
                      </a:lnTo>
                      <a:lnTo>
                        <a:pt x="193" y="1177"/>
                      </a:lnTo>
                      <a:lnTo>
                        <a:pt x="192" y="1178"/>
                      </a:lnTo>
                      <a:lnTo>
                        <a:pt x="192" y="1177"/>
                      </a:lnTo>
                      <a:lnTo>
                        <a:pt x="192" y="1178"/>
                      </a:lnTo>
                      <a:lnTo>
                        <a:pt x="192" y="1177"/>
                      </a:lnTo>
                      <a:lnTo>
                        <a:pt x="191" y="1177"/>
                      </a:lnTo>
                      <a:lnTo>
                        <a:pt x="191" y="1176"/>
                      </a:lnTo>
                      <a:lnTo>
                        <a:pt x="191" y="1176"/>
                      </a:lnTo>
                      <a:lnTo>
                        <a:pt x="191" y="1177"/>
                      </a:lnTo>
                      <a:lnTo>
                        <a:pt x="190" y="1177"/>
                      </a:lnTo>
                      <a:lnTo>
                        <a:pt x="189" y="1177"/>
                      </a:lnTo>
                      <a:lnTo>
                        <a:pt x="189" y="1178"/>
                      </a:lnTo>
                      <a:lnTo>
                        <a:pt x="189" y="1178"/>
                      </a:lnTo>
                      <a:lnTo>
                        <a:pt x="189" y="1177"/>
                      </a:lnTo>
                      <a:lnTo>
                        <a:pt x="189" y="1177"/>
                      </a:lnTo>
                      <a:lnTo>
                        <a:pt x="189" y="1177"/>
                      </a:lnTo>
                      <a:lnTo>
                        <a:pt x="188" y="1177"/>
                      </a:lnTo>
                      <a:lnTo>
                        <a:pt x="187" y="1177"/>
                      </a:lnTo>
                      <a:lnTo>
                        <a:pt x="187" y="1178"/>
                      </a:lnTo>
                      <a:lnTo>
                        <a:pt x="187" y="1177"/>
                      </a:lnTo>
                      <a:lnTo>
                        <a:pt x="187" y="1177"/>
                      </a:lnTo>
                      <a:lnTo>
                        <a:pt x="186" y="1177"/>
                      </a:lnTo>
                      <a:lnTo>
                        <a:pt x="186" y="1176"/>
                      </a:lnTo>
                      <a:lnTo>
                        <a:pt x="185" y="1176"/>
                      </a:lnTo>
                      <a:lnTo>
                        <a:pt x="185" y="1176"/>
                      </a:lnTo>
                      <a:lnTo>
                        <a:pt x="185" y="1176"/>
                      </a:lnTo>
                      <a:lnTo>
                        <a:pt x="184" y="1176"/>
                      </a:lnTo>
                      <a:lnTo>
                        <a:pt x="184" y="1175"/>
                      </a:lnTo>
                      <a:lnTo>
                        <a:pt x="184" y="1174"/>
                      </a:lnTo>
                      <a:lnTo>
                        <a:pt x="183" y="1174"/>
                      </a:lnTo>
                      <a:lnTo>
                        <a:pt x="183" y="1174"/>
                      </a:lnTo>
                      <a:lnTo>
                        <a:pt x="183" y="1173"/>
                      </a:lnTo>
                      <a:lnTo>
                        <a:pt x="182" y="1172"/>
                      </a:lnTo>
                      <a:lnTo>
                        <a:pt x="183" y="1172"/>
                      </a:lnTo>
                      <a:lnTo>
                        <a:pt x="183" y="1171"/>
                      </a:lnTo>
                      <a:lnTo>
                        <a:pt x="184" y="1171"/>
                      </a:lnTo>
                      <a:lnTo>
                        <a:pt x="184" y="1170"/>
                      </a:lnTo>
                      <a:lnTo>
                        <a:pt x="185" y="1170"/>
                      </a:lnTo>
                      <a:lnTo>
                        <a:pt x="185" y="1169"/>
                      </a:lnTo>
                      <a:lnTo>
                        <a:pt x="185" y="1169"/>
                      </a:lnTo>
                      <a:lnTo>
                        <a:pt x="185" y="1169"/>
                      </a:lnTo>
                      <a:lnTo>
                        <a:pt x="185" y="1169"/>
                      </a:lnTo>
                      <a:lnTo>
                        <a:pt x="184" y="1169"/>
                      </a:lnTo>
                      <a:lnTo>
                        <a:pt x="184" y="1168"/>
                      </a:lnTo>
                      <a:lnTo>
                        <a:pt x="183" y="1168"/>
                      </a:lnTo>
                      <a:lnTo>
                        <a:pt x="183" y="1167"/>
                      </a:lnTo>
                      <a:lnTo>
                        <a:pt x="182" y="1167"/>
                      </a:lnTo>
                      <a:lnTo>
                        <a:pt x="182" y="1167"/>
                      </a:lnTo>
                      <a:lnTo>
                        <a:pt x="182" y="1167"/>
                      </a:lnTo>
                      <a:lnTo>
                        <a:pt x="181" y="1167"/>
                      </a:lnTo>
                      <a:lnTo>
                        <a:pt x="181" y="1166"/>
                      </a:lnTo>
                      <a:lnTo>
                        <a:pt x="180" y="1166"/>
                      </a:lnTo>
                      <a:lnTo>
                        <a:pt x="180" y="1165"/>
                      </a:lnTo>
                      <a:lnTo>
                        <a:pt x="180" y="1165"/>
                      </a:lnTo>
                      <a:lnTo>
                        <a:pt x="180" y="1165"/>
                      </a:lnTo>
                      <a:lnTo>
                        <a:pt x="179" y="1165"/>
                      </a:lnTo>
                      <a:lnTo>
                        <a:pt x="179" y="1165"/>
                      </a:lnTo>
                      <a:lnTo>
                        <a:pt x="178" y="1165"/>
                      </a:lnTo>
                      <a:lnTo>
                        <a:pt x="178" y="1165"/>
                      </a:lnTo>
                      <a:lnTo>
                        <a:pt x="178" y="1164"/>
                      </a:lnTo>
                      <a:lnTo>
                        <a:pt x="177" y="1164"/>
                      </a:lnTo>
                      <a:lnTo>
                        <a:pt x="177" y="1163"/>
                      </a:lnTo>
                      <a:lnTo>
                        <a:pt x="177" y="1163"/>
                      </a:lnTo>
                      <a:lnTo>
                        <a:pt x="178" y="1163"/>
                      </a:lnTo>
                      <a:lnTo>
                        <a:pt x="178" y="1162"/>
                      </a:lnTo>
                      <a:lnTo>
                        <a:pt x="178" y="1161"/>
                      </a:lnTo>
                      <a:lnTo>
                        <a:pt x="177" y="1161"/>
                      </a:lnTo>
                      <a:lnTo>
                        <a:pt x="177" y="1161"/>
                      </a:lnTo>
                      <a:lnTo>
                        <a:pt x="176" y="1161"/>
                      </a:lnTo>
                      <a:lnTo>
                        <a:pt x="176" y="1161"/>
                      </a:lnTo>
                      <a:lnTo>
                        <a:pt x="176" y="1160"/>
                      </a:lnTo>
                      <a:lnTo>
                        <a:pt x="175" y="1160"/>
                      </a:lnTo>
                      <a:lnTo>
                        <a:pt x="174" y="1160"/>
                      </a:lnTo>
                      <a:lnTo>
                        <a:pt x="174" y="1160"/>
                      </a:lnTo>
                      <a:lnTo>
                        <a:pt x="173" y="1159"/>
                      </a:lnTo>
                      <a:lnTo>
                        <a:pt x="172" y="1159"/>
                      </a:lnTo>
                      <a:lnTo>
                        <a:pt x="172" y="1159"/>
                      </a:lnTo>
                      <a:lnTo>
                        <a:pt x="172" y="1159"/>
                      </a:lnTo>
                      <a:lnTo>
                        <a:pt x="171" y="1159"/>
                      </a:lnTo>
                      <a:lnTo>
                        <a:pt x="170" y="1159"/>
                      </a:lnTo>
                      <a:lnTo>
                        <a:pt x="170" y="1159"/>
                      </a:lnTo>
                      <a:lnTo>
                        <a:pt x="169" y="1159"/>
                      </a:lnTo>
                      <a:lnTo>
                        <a:pt x="168" y="1159"/>
                      </a:lnTo>
                      <a:lnTo>
                        <a:pt x="168" y="1159"/>
                      </a:lnTo>
                      <a:lnTo>
                        <a:pt x="168" y="1159"/>
                      </a:lnTo>
                      <a:lnTo>
                        <a:pt x="167" y="1159"/>
                      </a:lnTo>
                      <a:lnTo>
                        <a:pt x="166" y="1158"/>
                      </a:lnTo>
                      <a:lnTo>
                        <a:pt x="165" y="1159"/>
                      </a:lnTo>
                      <a:lnTo>
                        <a:pt x="163" y="1159"/>
                      </a:lnTo>
                      <a:lnTo>
                        <a:pt x="163" y="1159"/>
                      </a:lnTo>
                      <a:lnTo>
                        <a:pt x="162" y="1159"/>
                      </a:lnTo>
                      <a:lnTo>
                        <a:pt x="161" y="1158"/>
                      </a:lnTo>
                      <a:lnTo>
                        <a:pt x="160" y="1158"/>
                      </a:lnTo>
                      <a:lnTo>
                        <a:pt x="159" y="1159"/>
                      </a:lnTo>
                      <a:lnTo>
                        <a:pt x="157" y="1161"/>
                      </a:lnTo>
                      <a:lnTo>
                        <a:pt x="155" y="1162"/>
                      </a:lnTo>
                      <a:lnTo>
                        <a:pt x="154" y="1164"/>
                      </a:lnTo>
                      <a:lnTo>
                        <a:pt x="154" y="1166"/>
                      </a:lnTo>
                      <a:lnTo>
                        <a:pt x="153" y="1166"/>
                      </a:lnTo>
                      <a:lnTo>
                        <a:pt x="152" y="1167"/>
                      </a:lnTo>
                      <a:lnTo>
                        <a:pt x="151" y="1165"/>
                      </a:lnTo>
                      <a:lnTo>
                        <a:pt x="149" y="1163"/>
                      </a:lnTo>
                      <a:lnTo>
                        <a:pt x="147" y="1163"/>
                      </a:lnTo>
                      <a:lnTo>
                        <a:pt x="145" y="1162"/>
                      </a:lnTo>
                      <a:lnTo>
                        <a:pt x="142" y="1161"/>
                      </a:lnTo>
                      <a:lnTo>
                        <a:pt x="140" y="1163"/>
                      </a:lnTo>
                      <a:lnTo>
                        <a:pt x="139" y="1164"/>
                      </a:lnTo>
                      <a:lnTo>
                        <a:pt x="138" y="1165"/>
                      </a:lnTo>
                      <a:lnTo>
                        <a:pt x="137" y="1166"/>
                      </a:lnTo>
                      <a:lnTo>
                        <a:pt x="136" y="1167"/>
                      </a:lnTo>
                      <a:lnTo>
                        <a:pt x="135" y="1167"/>
                      </a:lnTo>
                      <a:lnTo>
                        <a:pt x="134" y="1167"/>
                      </a:lnTo>
                      <a:lnTo>
                        <a:pt x="132" y="1168"/>
                      </a:lnTo>
                      <a:lnTo>
                        <a:pt x="131" y="1168"/>
                      </a:lnTo>
                      <a:lnTo>
                        <a:pt x="130" y="1168"/>
                      </a:lnTo>
                      <a:lnTo>
                        <a:pt x="130" y="1167"/>
                      </a:lnTo>
                      <a:lnTo>
                        <a:pt x="131" y="1167"/>
                      </a:lnTo>
                      <a:lnTo>
                        <a:pt x="132" y="1167"/>
                      </a:lnTo>
                      <a:lnTo>
                        <a:pt x="132" y="1167"/>
                      </a:lnTo>
                      <a:lnTo>
                        <a:pt x="132" y="1167"/>
                      </a:lnTo>
                      <a:lnTo>
                        <a:pt x="132" y="1166"/>
                      </a:lnTo>
                      <a:lnTo>
                        <a:pt x="132" y="1165"/>
                      </a:lnTo>
                      <a:lnTo>
                        <a:pt x="132" y="1165"/>
                      </a:lnTo>
                      <a:lnTo>
                        <a:pt x="132" y="1165"/>
                      </a:lnTo>
                      <a:lnTo>
                        <a:pt x="132" y="1164"/>
                      </a:lnTo>
                      <a:lnTo>
                        <a:pt x="131" y="1164"/>
                      </a:lnTo>
                      <a:lnTo>
                        <a:pt x="131" y="1163"/>
                      </a:lnTo>
                      <a:lnTo>
                        <a:pt x="130" y="1163"/>
                      </a:lnTo>
                      <a:lnTo>
                        <a:pt x="130" y="1163"/>
                      </a:lnTo>
                      <a:lnTo>
                        <a:pt x="129" y="1163"/>
                      </a:lnTo>
                      <a:lnTo>
                        <a:pt x="129" y="1163"/>
                      </a:lnTo>
                      <a:lnTo>
                        <a:pt x="129" y="1162"/>
                      </a:lnTo>
                      <a:lnTo>
                        <a:pt x="129" y="1161"/>
                      </a:lnTo>
                      <a:lnTo>
                        <a:pt x="129" y="1161"/>
                      </a:lnTo>
                      <a:lnTo>
                        <a:pt x="128" y="1161"/>
                      </a:lnTo>
                      <a:lnTo>
                        <a:pt x="127" y="1161"/>
                      </a:lnTo>
                      <a:lnTo>
                        <a:pt x="127" y="1161"/>
                      </a:lnTo>
                      <a:lnTo>
                        <a:pt x="126" y="1161"/>
                      </a:lnTo>
                      <a:lnTo>
                        <a:pt x="125" y="1161"/>
                      </a:lnTo>
                      <a:lnTo>
                        <a:pt x="125" y="1160"/>
                      </a:lnTo>
                      <a:lnTo>
                        <a:pt x="125" y="1160"/>
                      </a:lnTo>
                      <a:lnTo>
                        <a:pt x="125" y="1161"/>
                      </a:lnTo>
                      <a:lnTo>
                        <a:pt x="125" y="1161"/>
                      </a:lnTo>
                      <a:lnTo>
                        <a:pt x="124" y="1161"/>
                      </a:lnTo>
                      <a:lnTo>
                        <a:pt x="124" y="1162"/>
                      </a:lnTo>
                      <a:lnTo>
                        <a:pt x="124" y="1161"/>
                      </a:lnTo>
                      <a:lnTo>
                        <a:pt x="123" y="1161"/>
                      </a:lnTo>
                      <a:lnTo>
                        <a:pt x="123" y="1161"/>
                      </a:lnTo>
                      <a:lnTo>
                        <a:pt x="124" y="1161"/>
                      </a:lnTo>
                      <a:lnTo>
                        <a:pt x="124" y="1160"/>
                      </a:lnTo>
                      <a:lnTo>
                        <a:pt x="124" y="1159"/>
                      </a:lnTo>
                      <a:lnTo>
                        <a:pt x="124" y="1159"/>
                      </a:lnTo>
                      <a:lnTo>
                        <a:pt x="124" y="1158"/>
                      </a:lnTo>
                      <a:lnTo>
                        <a:pt x="124" y="1157"/>
                      </a:lnTo>
                      <a:lnTo>
                        <a:pt x="125" y="1157"/>
                      </a:lnTo>
                      <a:lnTo>
                        <a:pt x="125" y="1157"/>
                      </a:lnTo>
                      <a:lnTo>
                        <a:pt x="125" y="1157"/>
                      </a:lnTo>
                      <a:lnTo>
                        <a:pt x="126" y="1157"/>
                      </a:lnTo>
                      <a:lnTo>
                        <a:pt x="127" y="1157"/>
                      </a:lnTo>
                      <a:lnTo>
                        <a:pt x="127" y="1157"/>
                      </a:lnTo>
                      <a:lnTo>
                        <a:pt x="127" y="1156"/>
                      </a:lnTo>
                      <a:lnTo>
                        <a:pt x="128" y="1156"/>
                      </a:lnTo>
                      <a:lnTo>
                        <a:pt x="129" y="1156"/>
                      </a:lnTo>
                      <a:lnTo>
                        <a:pt x="130" y="1156"/>
                      </a:lnTo>
                      <a:lnTo>
                        <a:pt x="130" y="1156"/>
                      </a:lnTo>
                      <a:lnTo>
                        <a:pt x="131" y="1156"/>
                      </a:lnTo>
                      <a:lnTo>
                        <a:pt x="131" y="1155"/>
                      </a:lnTo>
                      <a:lnTo>
                        <a:pt x="132" y="1155"/>
                      </a:lnTo>
                      <a:lnTo>
                        <a:pt x="132" y="1154"/>
                      </a:lnTo>
                      <a:lnTo>
                        <a:pt x="132" y="1153"/>
                      </a:lnTo>
                      <a:lnTo>
                        <a:pt x="133" y="1153"/>
                      </a:lnTo>
                      <a:lnTo>
                        <a:pt x="133" y="1153"/>
                      </a:lnTo>
                      <a:lnTo>
                        <a:pt x="133" y="1152"/>
                      </a:lnTo>
                      <a:lnTo>
                        <a:pt x="132" y="1152"/>
                      </a:lnTo>
                      <a:lnTo>
                        <a:pt x="132" y="1151"/>
                      </a:lnTo>
                      <a:lnTo>
                        <a:pt x="132" y="1151"/>
                      </a:lnTo>
                      <a:lnTo>
                        <a:pt x="132" y="1151"/>
                      </a:lnTo>
                      <a:lnTo>
                        <a:pt x="133" y="1151"/>
                      </a:lnTo>
                      <a:lnTo>
                        <a:pt x="133" y="1150"/>
                      </a:lnTo>
                      <a:lnTo>
                        <a:pt x="134" y="1150"/>
                      </a:lnTo>
                      <a:lnTo>
                        <a:pt x="134" y="1151"/>
                      </a:lnTo>
                      <a:lnTo>
                        <a:pt x="134" y="1151"/>
                      </a:lnTo>
                      <a:lnTo>
                        <a:pt x="135" y="1151"/>
                      </a:lnTo>
                      <a:lnTo>
                        <a:pt x="135" y="1150"/>
                      </a:lnTo>
                      <a:lnTo>
                        <a:pt x="136" y="1150"/>
                      </a:lnTo>
                      <a:lnTo>
                        <a:pt x="136" y="1149"/>
                      </a:lnTo>
                      <a:lnTo>
                        <a:pt x="136" y="1149"/>
                      </a:lnTo>
                      <a:lnTo>
                        <a:pt x="136" y="1148"/>
                      </a:lnTo>
                      <a:lnTo>
                        <a:pt x="136" y="1148"/>
                      </a:lnTo>
                      <a:lnTo>
                        <a:pt x="136" y="1147"/>
                      </a:lnTo>
                      <a:lnTo>
                        <a:pt x="136" y="1147"/>
                      </a:lnTo>
                      <a:lnTo>
                        <a:pt x="136" y="1146"/>
                      </a:lnTo>
                      <a:lnTo>
                        <a:pt x="136" y="1146"/>
                      </a:lnTo>
                      <a:lnTo>
                        <a:pt x="136" y="1145"/>
                      </a:lnTo>
                      <a:lnTo>
                        <a:pt x="135" y="1145"/>
                      </a:lnTo>
                      <a:lnTo>
                        <a:pt x="134" y="1145"/>
                      </a:lnTo>
                      <a:lnTo>
                        <a:pt x="134" y="1144"/>
                      </a:lnTo>
                      <a:lnTo>
                        <a:pt x="134" y="1144"/>
                      </a:lnTo>
                      <a:lnTo>
                        <a:pt x="134" y="1144"/>
                      </a:lnTo>
                      <a:lnTo>
                        <a:pt x="133" y="1144"/>
                      </a:lnTo>
                      <a:lnTo>
                        <a:pt x="133" y="1143"/>
                      </a:lnTo>
                      <a:lnTo>
                        <a:pt x="132" y="1143"/>
                      </a:lnTo>
                      <a:lnTo>
                        <a:pt x="132" y="1143"/>
                      </a:lnTo>
                      <a:lnTo>
                        <a:pt x="132" y="1142"/>
                      </a:lnTo>
                      <a:lnTo>
                        <a:pt x="132" y="1142"/>
                      </a:lnTo>
                      <a:lnTo>
                        <a:pt x="133" y="1142"/>
                      </a:lnTo>
                      <a:lnTo>
                        <a:pt x="133" y="1142"/>
                      </a:lnTo>
                      <a:lnTo>
                        <a:pt x="134" y="1142"/>
                      </a:lnTo>
                      <a:lnTo>
                        <a:pt x="134" y="1142"/>
                      </a:lnTo>
                      <a:lnTo>
                        <a:pt x="134" y="1142"/>
                      </a:lnTo>
                      <a:lnTo>
                        <a:pt x="134" y="1141"/>
                      </a:lnTo>
                      <a:lnTo>
                        <a:pt x="134" y="1140"/>
                      </a:lnTo>
                      <a:lnTo>
                        <a:pt x="134" y="1140"/>
                      </a:lnTo>
                      <a:lnTo>
                        <a:pt x="134" y="1140"/>
                      </a:lnTo>
                      <a:lnTo>
                        <a:pt x="134" y="1139"/>
                      </a:lnTo>
                      <a:lnTo>
                        <a:pt x="133" y="1139"/>
                      </a:lnTo>
                      <a:lnTo>
                        <a:pt x="132" y="1139"/>
                      </a:lnTo>
                      <a:lnTo>
                        <a:pt x="132" y="1138"/>
                      </a:lnTo>
                      <a:lnTo>
                        <a:pt x="132" y="1138"/>
                      </a:lnTo>
                      <a:lnTo>
                        <a:pt x="132" y="1138"/>
                      </a:lnTo>
                      <a:lnTo>
                        <a:pt x="131" y="1138"/>
                      </a:lnTo>
                      <a:lnTo>
                        <a:pt x="131" y="1137"/>
                      </a:lnTo>
                      <a:lnTo>
                        <a:pt x="131" y="1136"/>
                      </a:lnTo>
                      <a:lnTo>
                        <a:pt x="132" y="1136"/>
                      </a:lnTo>
                      <a:lnTo>
                        <a:pt x="132" y="1136"/>
                      </a:lnTo>
                      <a:lnTo>
                        <a:pt x="132" y="1135"/>
                      </a:lnTo>
                      <a:lnTo>
                        <a:pt x="131" y="1135"/>
                      </a:lnTo>
                      <a:lnTo>
                        <a:pt x="130" y="1135"/>
                      </a:lnTo>
                      <a:lnTo>
                        <a:pt x="130" y="1136"/>
                      </a:lnTo>
                      <a:lnTo>
                        <a:pt x="130" y="1136"/>
                      </a:lnTo>
                      <a:lnTo>
                        <a:pt x="130" y="1136"/>
                      </a:lnTo>
                      <a:lnTo>
                        <a:pt x="130" y="1136"/>
                      </a:lnTo>
                      <a:lnTo>
                        <a:pt x="130" y="1135"/>
                      </a:lnTo>
                      <a:lnTo>
                        <a:pt x="130" y="1135"/>
                      </a:lnTo>
                      <a:lnTo>
                        <a:pt x="130" y="1135"/>
                      </a:lnTo>
                      <a:lnTo>
                        <a:pt x="129" y="1135"/>
                      </a:lnTo>
                      <a:lnTo>
                        <a:pt x="129" y="1136"/>
                      </a:lnTo>
                      <a:lnTo>
                        <a:pt x="129" y="1135"/>
                      </a:lnTo>
                      <a:lnTo>
                        <a:pt x="129" y="1136"/>
                      </a:lnTo>
                      <a:lnTo>
                        <a:pt x="128" y="1136"/>
                      </a:lnTo>
                      <a:lnTo>
                        <a:pt x="128" y="1135"/>
                      </a:lnTo>
                      <a:lnTo>
                        <a:pt x="127" y="1135"/>
                      </a:lnTo>
                      <a:lnTo>
                        <a:pt x="127" y="1135"/>
                      </a:lnTo>
                      <a:lnTo>
                        <a:pt x="127" y="1134"/>
                      </a:lnTo>
                      <a:lnTo>
                        <a:pt x="126" y="1134"/>
                      </a:lnTo>
                      <a:lnTo>
                        <a:pt x="125" y="1134"/>
                      </a:lnTo>
                      <a:lnTo>
                        <a:pt x="125" y="1134"/>
                      </a:lnTo>
                      <a:lnTo>
                        <a:pt x="125" y="1134"/>
                      </a:lnTo>
                      <a:lnTo>
                        <a:pt x="125" y="1133"/>
                      </a:lnTo>
                      <a:lnTo>
                        <a:pt x="124" y="1133"/>
                      </a:lnTo>
                      <a:lnTo>
                        <a:pt x="124" y="1132"/>
                      </a:lnTo>
                      <a:lnTo>
                        <a:pt x="123" y="1132"/>
                      </a:lnTo>
                      <a:lnTo>
                        <a:pt x="123" y="1132"/>
                      </a:lnTo>
                      <a:lnTo>
                        <a:pt x="123" y="1132"/>
                      </a:lnTo>
                      <a:lnTo>
                        <a:pt x="123" y="1131"/>
                      </a:lnTo>
                      <a:lnTo>
                        <a:pt x="122" y="1131"/>
                      </a:lnTo>
                      <a:lnTo>
                        <a:pt x="122" y="1130"/>
                      </a:lnTo>
                      <a:lnTo>
                        <a:pt x="122" y="1131"/>
                      </a:lnTo>
                      <a:lnTo>
                        <a:pt x="122" y="1130"/>
                      </a:lnTo>
                      <a:lnTo>
                        <a:pt x="121" y="1130"/>
                      </a:lnTo>
                      <a:lnTo>
                        <a:pt x="121" y="1130"/>
                      </a:lnTo>
                      <a:lnTo>
                        <a:pt x="121" y="1129"/>
                      </a:lnTo>
                      <a:lnTo>
                        <a:pt x="120" y="1129"/>
                      </a:lnTo>
                      <a:lnTo>
                        <a:pt x="120" y="1129"/>
                      </a:lnTo>
                      <a:lnTo>
                        <a:pt x="121" y="1129"/>
                      </a:lnTo>
                      <a:lnTo>
                        <a:pt x="121" y="1129"/>
                      </a:lnTo>
                      <a:lnTo>
                        <a:pt x="121" y="1129"/>
                      </a:lnTo>
                      <a:lnTo>
                        <a:pt x="121" y="1130"/>
                      </a:lnTo>
                      <a:lnTo>
                        <a:pt x="122" y="1130"/>
                      </a:lnTo>
                      <a:lnTo>
                        <a:pt x="122" y="1131"/>
                      </a:lnTo>
                      <a:lnTo>
                        <a:pt x="123" y="1131"/>
                      </a:lnTo>
                      <a:lnTo>
                        <a:pt x="123" y="1132"/>
                      </a:lnTo>
                      <a:lnTo>
                        <a:pt x="123" y="1132"/>
                      </a:lnTo>
                      <a:lnTo>
                        <a:pt x="124" y="1132"/>
                      </a:lnTo>
                      <a:lnTo>
                        <a:pt x="124" y="1132"/>
                      </a:lnTo>
                      <a:lnTo>
                        <a:pt x="125" y="1132"/>
                      </a:lnTo>
                      <a:lnTo>
                        <a:pt x="125" y="1133"/>
                      </a:lnTo>
                      <a:lnTo>
                        <a:pt x="125" y="1133"/>
                      </a:lnTo>
                      <a:lnTo>
                        <a:pt x="126" y="1133"/>
                      </a:lnTo>
                      <a:lnTo>
                        <a:pt x="126" y="1134"/>
                      </a:lnTo>
                      <a:lnTo>
                        <a:pt x="127" y="1134"/>
                      </a:lnTo>
                      <a:lnTo>
                        <a:pt x="127" y="1133"/>
                      </a:lnTo>
                      <a:lnTo>
                        <a:pt x="127" y="1132"/>
                      </a:lnTo>
                      <a:lnTo>
                        <a:pt x="126" y="1132"/>
                      </a:lnTo>
                      <a:lnTo>
                        <a:pt x="126" y="1132"/>
                      </a:lnTo>
                      <a:lnTo>
                        <a:pt x="126" y="1131"/>
                      </a:lnTo>
                      <a:lnTo>
                        <a:pt x="125" y="1131"/>
                      </a:lnTo>
                      <a:lnTo>
                        <a:pt x="125" y="1130"/>
                      </a:lnTo>
                      <a:lnTo>
                        <a:pt x="125" y="1130"/>
                      </a:lnTo>
                      <a:lnTo>
                        <a:pt x="125" y="1129"/>
                      </a:lnTo>
                      <a:lnTo>
                        <a:pt x="124" y="1129"/>
                      </a:lnTo>
                      <a:lnTo>
                        <a:pt x="124" y="1129"/>
                      </a:lnTo>
                      <a:lnTo>
                        <a:pt x="124" y="1128"/>
                      </a:lnTo>
                      <a:lnTo>
                        <a:pt x="123" y="1127"/>
                      </a:lnTo>
                      <a:lnTo>
                        <a:pt x="123" y="1128"/>
                      </a:lnTo>
                      <a:lnTo>
                        <a:pt x="123" y="1128"/>
                      </a:lnTo>
                      <a:lnTo>
                        <a:pt x="123" y="1127"/>
                      </a:lnTo>
                      <a:lnTo>
                        <a:pt x="123" y="1127"/>
                      </a:lnTo>
                      <a:lnTo>
                        <a:pt x="122" y="1126"/>
                      </a:lnTo>
                      <a:lnTo>
                        <a:pt x="121" y="1126"/>
                      </a:lnTo>
                      <a:lnTo>
                        <a:pt x="122" y="1126"/>
                      </a:lnTo>
                      <a:lnTo>
                        <a:pt x="122" y="1125"/>
                      </a:lnTo>
                      <a:lnTo>
                        <a:pt x="122" y="1125"/>
                      </a:lnTo>
                      <a:lnTo>
                        <a:pt x="121" y="1125"/>
                      </a:lnTo>
                      <a:lnTo>
                        <a:pt x="121" y="1124"/>
                      </a:lnTo>
                      <a:lnTo>
                        <a:pt x="121" y="1124"/>
                      </a:lnTo>
                      <a:lnTo>
                        <a:pt x="121" y="1123"/>
                      </a:lnTo>
                      <a:lnTo>
                        <a:pt x="121" y="1123"/>
                      </a:lnTo>
                      <a:close/>
                      <a:moveTo>
                        <a:pt x="137" y="1118"/>
                      </a:moveTo>
                      <a:lnTo>
                        <a:pt x="137" y="1119"/>
                      </a:lnTo>
                      <a:lnTo>
                        <a:pt x="138" y="1119"/>
                      </a:lnTo>
                      <a:lnTo>
                        <a:pt x="138" y="1119"/>
                      </a:lnTo>
                      <a:lnTo>
                        <a:pt x="138" y="1119"/>
                      </a:lnTo>
                      <a:lnTo>
                        <a:pt x="139" y="1120"/>
                      </a:lnTo>
                      <a:lnTo>
                        <a:pt x="139" y="1121"/>
                      </a:lnTo>
                      <a:lnTo>
                        <a:pt x="139" y="1120"/>
                      </a:lnTo>
                      <a:lnTo>
                        <a:pt x="138" y="1120"/>
                      </a:lnTo>
                      <a:lnTo>
                        <a:pt x="138" y="1120"/>
                      </a:lnTo>
                      <a:lnTo>
                        <a:pt x="137" y="1120"/>
                      </a:lnTo>
                      <a:lnTo>
                        <a:pt x="136" y="1120"/>
                      </a:lnTo>
                      <a:lnTo>
                        <a:pt x="136" y="1119"/>
                      </a:lnTo>
                      <a:lnTo>
                        <a:pt x="136" y="1119"/>
                      </a:lnTo>
                      <a:lnTo>
                        <a:pt x="136" y="1119"/>
                      </a:lnTo>
                      <a:lnTo>
                        <a:pt x="135" y="1119"/>
                      </a:lnTo>
                      <a:lnTo>
                        <a:pt x="135" y="1118"/>
                      </a:lnTo>
                      <a:lnTo>
                        <a:pt x="134" y="1118"/>
                      </a:lnTo>
                      <a:lnTo>
                        <a:pt x="134" y="1117"/>
                      </a:lnTo>
                      <a:lnTo>
                        <a:pt x="134" y="1117"/>
                      </a:lnTo>
                      <a:lnTo>
                        <a:pt x="134" y="1117"/>
                      </a:lnTo>
                      <a:lnTo>
                        <a:pt x="134" y="1117"/>
                      </a:lnTo>
                      <a:lnTo>
                        <a:pt x="135" y="1117"/>
                      </a:lnTo>
                      <a:lnTo>
                        <a:pt x="135" y="1117"/>
                      </a:lnTo>
                      <a:lnTo>
                        <a:pt x="136" y="1117"/>
                      </a:lnTo>
                      <a:lnTo>
                        <a:pt x="136" y="1118"/>
                      </a:lnTo>
                      <a:lnTo>
                        <a:pt x="136" y="1118"/>
                      </a:lnTo>
                      <a:lnTo>
                        <a:pt x="137" y="1118"/>
                      </a:lnTo>
                      <a:close/>
                      <a:moveTo>
                        <a:pt x="97" y="1108"/>
                      </a:moveTo>
                      <a:lnTo>
                        <a:pt x="98" y="1108"/>
                      </a:lnTo>
                      <a:lnTo>
                        <a:pt x="98" y="1108"/>
                      </a:lnTo>
                      <a:lnTo>
                        <a:pt x="98" y="1108"/>
                      </a:lnTo>
                      <a:lnTo>
                        <a:pt x="99" y="1108"/>
                      </a:lnTo>
                      <a:lnTo>
                        <a:pt x="100" y="1108"/>
                      </a:lnTo>
                      <a:lnTo>
                        <a:pt x="99" y="1108"/>
                      </a:lnTo>
                      <a:lnTo>
                        <a:pt x="98" y="1108"/>
                      </a:lnTo>
                      <a:lnTo>
                        <a:pt x="98" y="1108"/>
                      </a:lnTo>
                      <a:lnTo>
                        <a:pt x="98" y="1108"/>
                      </a:lnTo>
                      <a:lnTo>
                        <a:pt x="97" y="1108"/>
                      </a:lnTo>
                      <a:close/>
                      <a:moveTo>
                        <a:pt x="108" y="1105"/>
                      </a:moveTo>
                      <a:lnTo>
                        <a:pt x="109" y="1105"/>
                      </a:lnTo>
                      <a:lnTo>
                        <a:pt x="109" y="1106"/>
                      </a:lnTo>
                      <a:lnTo>
                        <a:pt x="109" y="1105"/>
                      </a:lnTo>
                      <a:lnTo>
                        <a:pt x="108" y="1105"/>
                      </a:lnTo>
                      <a:close/>
                      <a:moveTo>
                        <a:pt x="105" y="1104"/>
                      </a:moveTo>
                      <a:lnTo>
                        <a:pt x="105" y="1105"/>
                      </a:lnTo>
                      <a:lnTo>
                        <a:pt x="106" y="1105"/>
                      </a:lnTo>
                      <a:lnTo>
                        <a:pt x="106" y="1106"/>
                      </a:lnTo>
                      <a:lnTo>
                        <a:pt x="106" y="1106"/>
                      </a:lnTo>
                      <a:lnTo>
                        <a:pt x="106" y="1106"/>
                      </a:lnTo>
                      <a:lnTo>
                        <a:pt x="106" y="1106"/>
                      </a:lnTo>
                      <a:lnTo>
                        <a:pt x="106" y="1107"/>
                      </a:lnTo>
                      <a:lnTo>
                        <a:pt x="106" y="1107"/>
                      </a:lnTo>
                      <a:lnTo>
                        <a:pt x="106" y="1108"/>
                      </a:lnTo>
                      <a:lnTo>
                        <a:pt x="107" y="1108"/>
                      </a:lnTo>
                      <a:lnTo>
                        <a:pt x="108" y="1108"/>
                      </a:lnTo>
                      <a:lnTo>
                        <a:pt x="108" y="1107"/>
                      </a:lnTo>
                      <a:lnTo>
                        <a:pt x="108" y="1106"/>
                      </a:lnTo>
                      <a:lnTo>
                        <a:pt x="108" y="1106"/>
                      </a:lnTo>
                      <a:lnTo>
                        <a:pt x="109" y="1106"/>
                      </a:lnTo>
                      <a:lnTo>
                        <a:pt x="109" y="1106"/>
                      </a:lnTo>
                      <a:lnTo>
                        <a:pt x="109" y="1106"/>
                      </a:lnTo>
                      <a:lnTo>
                        <a:pt x="110" y="1106"/>
                      </a:lnTo>
                      <a:lnTo>
                        <a:pt x="110" y="1107"/>
                      </a:lnTo>
                      <a:lnTo>
                        <a:pt x="111" y="1107"/>
                      </a:lnTo>
                      <a:lnTo>
                        <a:pt x="111" y="1107"/>
                      </a:lnTo>
                      <a:lnTo>
                        <a:pt x="111" y="1108"/>
                      </a:lnTo>
                      <a:lnTo>
                        <a:pt x="111" y="1108"/>
                      </a:lnTo>
                      <a:lnTo>
                        <a:pt x="111" y="1108"/>
                      </a:lnTo>
                      <a:lnTo>
                        <a:pt x="111" y="1108"/>
                      </a:lnTo>
                      <a:lnTo>
                        <a:pt x="111" y="1108"/>
                      </a:lnTo>
                      <a:lnTo>
                        <a:pt x="110" y="1108"/>
                      </a:lnTo>
                      <a:lnTo>
                        <a:pt x="110" y="1108"/>
                      </a:lnTo>
                      <a:lnTo>
                        <a:pt x="109" y="1108"/>
                      </a:lnTo>
                      <a:lnTo>
                        <a:pt x="108" y="1108"/>
                      </a:lnTo>
                      <a:lnTo>
                        <a:pt x="108" y="1108"/>
                      </a:lnTo>
                      <a:lnTo>
                        <a:pt x="108" y="1108"/>
                      </a:lnTo>
                      <a:lnTo>
                        <a:pt x="108" y="1109"/>
                      </a:lnTo>
                      <a:lnTo>
                        <a:pt x="108" y="1109"/>
                      </a:lnTo>
                      <a:lnTo>
                        <a:pt x="108" y="1110"/>
                      </a:lnTo>
                      <a:lnTo>
                        <a:pt x="109" y="1110"/>
                      </a:lnTo>
                      <a:lnTo>
                        <a:pt x="109" y="1110"/>
                      </a:lnTo>
                      <a:lnTo>
                        <a:pt x="110" y="1110"/>
                      </a:lnTo>
                      <a:lnTo>
                        <a:pt x="110" y="1111"/>
                      </a:lnTo>
                      <a:lnTo>
                        <a:pt x="110" y="1112"/>
                      </a:lnTo>
                      <a:lnTo>
                        <a:pt x="111" y="1112"/>
                      </a:lnTo>
                      <a:lnTo>
                        <a:pt x="111" y="1112"/>
                      </a:lnTo>
                      <a:lnTo>
                        <a:pt x="111" y="1113"/>
                      </a:lnTo>
                      <a:lnTo>
                        <a:pt x="111" y="1112"/>
                      </a:lnTo>
                      <a:lnTo>
                        <a:pt x="111" y="1113"/>
                      </a:lnTo>
                      <a:lnTo>
                        <a:pt x="111" y="1112"/>
                      </a:lnTo>
                      <a:lnTo>
                        <a:pt x="112" y="1112"/>
                      </a:lnTo>
                      <a:lnTo>
                        <a:pt x="112" y="1111"/>
                      </a:lnTo>
                      <a:lnTo>
                        <a:pt x="113" y="1111"/>
                      </a:lnTo>
                      <a:lnTo>
                        <a:pt x="113" y="1110"/>
                      </a:lnTo>
                      <a:lnTo>
                        <a:pt x="113" y="1110"/>
                      </a:lnTo>
                      <a:lnTo>
                        <a:pt x="113" y="1110"/>
                      </a:lnTo>
                      <a:lnTo>
                        <a:pt x="113" y="1110"/>
                      </a:lnTo>
                      <a:lnTo>
                        <a:pt x="113" y="1110"/>
                      </a:lnTo>
                      <a:lnTo>
                        <a:pt x="113" y="1110"/>
                      </a:lnTo>
                      <a:lnTo>
                        <a:pt x="114" y="1110"/>
                      </a:lnTo>
                      <a:lnTo>
                        <a:pt x="114" y="1111"/>
                      </a:lnTo>
                      <a:lnTo>
                        <a:pt x="115" y="1111"/>
                      </a:lnTo>
                      <a:lnTo>
                        <a:pt x="115" y="1112"/>
                      </a:lnTo>
                      <a:lnTo>
                        <a:pt x="115" y="1113"/>
                      </a:lnTo>
                      <a:lnTo>
                        <a:pt x="115" y="1113"/>
                      </a:lnTo>
                      <a:lnTo>
                        <a:pt x="114" y="1113"/>
                      </a:lnTo>
                      <a:lnTo>
                        <a:pt x="114" y="1114"/>
                      </a:lnTo>
                      <a:lnTo>
                        <a:pt x="115" y="1114"/>
                      </a:lnTo>
                      <a:lnTo>
                        <a:pt x="115" y="1114"/>
                      </a:lnTo>
                      <a:lnTo>
                        <a:pt x="116" y="1114"/>
                      </a:lnTo>
                      <a:lnTo>
                        <a:pt x="117" y="1114"/>
                      </a:lnTo>
                      <a:lnTo>
                        <a:pt x="117" y="1115"/>
                      </a:lnTo>
                      <a:lnTo>
                        <a:pt x="117" y="1115"/>
                      </a:lnTo>
                      <a:lnTo>
                        <a:pt x="118" y="1115"/>
                      </a:lnTo>
                      <a:lnTo>
                        <a:pt x="118" y="1115"/>
                      </a:lnTo>
                      <a:lnTo>
                        <a:pt x="117" y="1115"/>
                      </a:lnTo>
                      <a:lnTo>
                        <a:pt x="117" y="1116"/>
                      </a:lnTo>
                      <a:lnTo>
                        <a:pt x="118" y="1116"/>
                      </a:lnTo>
                      <a:lnTo>
                        <a:pt x="118" y="1117"/>
                      </a:lnTo>
                      <a:lnTo>
                        <a:pt x="118" y="1117"/>
                      </a:lnTo>
                      <a:lnTo>
                        <a:pt x="117" y="1117"/>
                      </a:lnTo>
                      <a:lnTo>
                        <a:pt x="118" y="1118"/>
                      </a:lnTo>
                      <a:lnTo>
                        <a:pt x="118" y="1119"/>
                      </a:lnTo>
                      <a:lnTo>
                        <a:pt x="118" y="1119"/>
                      </a:lnTo>
                      <a:lnTo>
                        <a:pt x="118" y="1120"/>
                      </a:lnTo>
                      <a:lnTo>
                        <a:pt x="119" y="1120"/>
                      </a:lnTo>
                      <a:lnTo>
                        <a:pt x="119" y="1121"/>
                      </a:lnTo>
                      <a:lnTo>
                        <a:pt x="118" y="1121"/>
                      </a:lnTo>
                      <a:lnTo>
                        <a:pt x="118" y="1121"/>
                      </a:lnTo>
                      <a:lnTo>
                        <a:pt x="118" y="1122"/>
                      </a:lnTo>
                      <a:lnTo>
                        <a:pt x="119" y="1122"/>
                      </a:lnTo>
                      <a:lnTo>
                        <a:pt x="119" y="1123"/>
                      </a:lnTo>
                      <a:lnTo>
                        <a:pt x="118" y="1123"/>
                      </a:lnTo>
                      <a:lnTo>
                        <a:pt x="117" y="1123"/>
                      </a:lnTo>
                      <a:lnTo>
                        <a:pt x="117" y="1122"/>
                      </a:lnTo>
                      <a:lnTo>
                        <a:pt x="117" y="1121"/>
                      </a:lnTo>
                      <a:lnTo>
                        <a:pt x="117" y="1121"/>
                      </a:lnTo>
                      <a:lnTo>
                        <a:pt x="116" y="1121"/>
                      </a:lnTo>
                      <a:lnTo>
                        <a:pt x="116" y="1120"/>
                      </a:lnTo>
                      <a:lnTo>
                        <a:pt x="115" y="1120"/>
                      </a:lnTo>
                      <a:lnTo>
                        <a:pt x="115" y="1119"/>
                      </a:lnTo>
                      <a:lnTo>
                        <a:pt x="115" y="1119"/>
                      </a:lnTo>
                      <a:lnTo>
                        <a:pt x="115" y="1119"/>
                      </a:lnTo>
                      <a:lnTo>
                        <a:pt x="114" y="1119"/>
                      </a:lnTo>
                      <a:lnTo>
                        <a:pt x="113" y="1119"/>
                      </a:lnTo>
                      <a:lnTo>
                        <a:pt x="113" y="1118"/>
                      </a:lnTo>
                      <a:lnTo>
                        <a:pt x="113" y="1119"/>
                      </a:lnTo>
                      <a:lnTo>
                        <a:pt x="113" y="1118"/>
                      </a:lnTo>
                      <a:lnTo>
                        <a:pt x="113" y="1117"/>
                      </a:lnTo>
                      <a:lnTo>
                        <a:pt x="112" y="1117"/>
                      </a:lnTo>
                      <a:lnTo>
                        <a:pt x="111" y="1117"/>
                      </a:lnTo>
                      <a:lnTo>
                        <a:pt x="111" y="1117"/>
                      </a:lnTo>
                      <a:lnTo>
                        <a:pt x="111" y="1117"/>
                      </a:lnTo>
                      <a:lnTo>
                        <a:pt x="110" y="1117"/>
                      </a:lnTo>
                      <a:lnTo>
                        <a:pt x="110" y="1117"/>
                      </a:lnTo>
                      <a:lnTo>
                        <a:pt x="110" y="1118"/>
                      </a:lnTo>
                      <a:lnTo>
                        <a:pt x="111" y="1118"/>
                      </a:lnTo>
                      <a:lnTo>
                        <a:pt x="111" y="1119"/>
                      </a:lnTo>
                      <a:lnTo>
                        <a:pt x="111" y="1119"/>
                      </a:lnTo>
                      <a:lnTo>
                        <a:pt x="111" y="1120"/>
                      </a:lnTo>
                      <a:lnTo>
                        <a:pt x="111" y="1121"/>
                      </a:lnTo>
                      <a:lnTo>
                        <a:pt x="112" y="1121"/>
                      </a:lnTo>
                      <a:lnTo>
                        <a:pt x="112" y="1121"/>
                      </a:lnTo>
                      <a:lnTo>
                        <a:pt x="112" y="1122"/>
                      </a:lnTo>
                      <a:lnTo>
                        <a:pt x="113" y="1122"/>
                      </a:lnTo>
                      <a:lnTo>
                        <a:pt x="113" y="1123"/>
                      </a:lnTo>
                      <a:lnTo>
                        <a:pt x="113" y="1123"/>
                      </a:lnTo>
                      <a:lnTo>
                        <a:pt x="113" y="1123"/>
                      </a:lnTo>
                      <a:lnTo>
                        <a:pt x="113" y="1124"/>
                      </a:lnTo>
                      <a:lnTo>
                        <a:pt x="113" y="1123"/>
                      </a:lnTo>
                      <a:lnTo>
                        <a:pt x="113" y="1123"/>
                      </a:lnTo>
                      <a:lnTo>
                        <a:pt x="113" y="1123"/>
                      </a:lnTo>
                      <a:lnTo>
                        <a:pt x="112" y="1123"/>
                      </a:lnTo>
                      <a:lnTo>
                        <a:pt x="112" y="1122"/>
                      </a:lnTo>
                      <a:lnTo>
                        <a:pt x="111" y="1122"/>
                      </a:lnTo>
                      <a:lnTo>
                        <a:pt x="111" y="1122"/>
                      </a:lnTo>
                      <a:lnTo>
                        <a:pt x="111" y="1121"/>
                      </a:lnTo>
                      <a:lnTo>
                        <a:pt x="111" y="1121"/>
                      </a:lnTo>
                      <a:lnTo>
                        <a:pt x="111" y="1120"/>
                      </a:lnTo>
                      <a:lnTo>
                        <a:pt x="111" y="1119"/>
                      </a:lnTo>
                      <a:lnTo>
                        <a:pt x="110" y="1119"/>
                      </a:lnTo>
                      <a:lnTo>
                        <a:pt x="109" y="1119"/>
                      </a:lnTo>
                      <a:lnTo>
                        <a:pt x="109" y="1119"/>
                      </a:lnTo>
                      <a:lnTo>
                        <a:pt x="108" y="1119"/>
                      </a:lnTo>
                      <a:lnTo>
                        <a:pt x="108" y="1118"/>
                      </a:lnTo>
                      <a:lnTo>
                        <a:pt x="107" y="1118"/>
                      </a:lnTo>
                      <a:lnTo>
                        <a:pt x="106" y="1117"/>
                      </a:lnTo>
                      <a:lnTo>
                        <a:pt x="106" y="1117"/>
                      </a:lnTo>
                      <a:lnTo>
                        <a:pt x="106" y="1117"/>
                      </a:lnTo>
                      <a:lnTo>
                        <a:pt x="106" y="1116"/>
                      </a:lnTo>
                      <a:lnTo>
                        <a:pt x="105" y="1116"/>
                      </a:lnTo>
                      <a:lnTo>
                        <a:pt x="105" y="1115"/>
                      </a:lnTo>
                      <a:lnTo>
                        <a:pt x="105" y="1115"/>
                      </a:lnTo>
                      <a:lnTo>
                        <a:pt x="104" y="1115"/>
                      </a:lnTo>
                      <a:lnTo>
                        <a:pt x="104" y="1114"/>
                      </a:lnTo>
                      <a:lnTo>
                        <a:pt x="104" y="1113"/>
                      </a:lnTo>
                      <a:lnTo>
                        <a:pt x="104" y="1113"/>
                      </a:lnTo>
                      <a:lnTo>
                        <a:pt x="104" y="1113"/>
                      </a:lnTo>
                      <a:lnTo>
                        <a:pt x="104" y="1112"/>
                      </a:lnTo>
                      <a:lnTo>
                        <a:pt x="103" y="1112"/>
                      </a:lnTo>
                      <a:lnTo>
                        <a:pt x="103" y="1111"/>
                      </a:lnTo>
                      <a:lnTo>
                        <a:pt x="103" y="1110"/>
                      </a:lnTo>
                      <a:lnTo>
                        <a:pt x="103" y="1111"/>
                      </a:lnTo>
                      <a:lnTo>
                        <a:pt x="104" y="1111"/>
                      </a:lnTo>
                      <a:lnTo>
                        <a:pt x="104" y="1112"/>
                      </a:lnTo>
                      <a:lnTo>
                        <a:pt x="104" y="1112"/>
                      </a:lnTo>
                      <a:lnTo>
                        <a:pt x="105" y="1112"/>
                      </a:lnTo>
                      <a:lnTo>
                        <a:pt x="105" y="1113"/>
                      </a:lnTo>
                      <a:lnTo>
                        <a:pt x="105" y="1112"/>
                      </a:lnTo>
                      <a:lnTo>
                        <a:pt x="106" y="1112"/>
                      </a:lnTo>
                      <a:lnTo>
                        <a:pt x="106" y="1111"/>
                      </a:lnTo>
                      <a:lnTo>
                        <a:pt x="106" y="1110"/>
                      </a:lnTo>
                      <a:lnTo>
                        <a:pt x="105" y="1110"/>
                      </a:lnTo>
                      <a:lnTo>
                        <a:pt x="105" y="1110"/>
                      </a:lnTo>
                      <a:lnTo>
                        <a:pt x="104" y="1110"/>
                      </a:lnTo>
                      <a:lnTo>
                        <a:pt x="104" y="1109"/>
                      </a:lnTo>
                      <a:lnTo>
                        <a:pt x="104" y="1109"/>
                      </a:lnTo>
                      <a:lnTo>
                        <a:pt x="104" y="1108"/>
                      </a:lnTo>
                      <a:lnTo>
                        <a:pt x="104" y="1108"/>
                      </a:lnTo>
                      <a:lnTo>
                        <a:pt x="103" y="1108"/>
                      </a:lnTo>
                      <a:lnTo>
                        <a:pt x="102" y="1108"/>
                      </a:lnTo>
                      <a:lnTo>
                        <a:pt x="102" y="1107"/>
                      </a:lnTo>
                      <a:lnTo>
                        <a:pt x="102" y="1106"/>
                      </a:lnTo>
                      <a:lnTo>
                        <a:pt x="102" y="1106"/>
                      </a:lnTo>
                      <a:lnTo>
                        <a:pt x="101" y="1106"/>
                      </a:lnTo>
                      <a:lnTo>
                        <a:pt x="101" y="1107"/>
                      </a:lnTo>
                      <a:lnTo>
                        <a:pt x="100" y="1107"/>
                      </a:lnTo>
                      <a:lnTo>
                        <a:pt x="100" y="1107"/>
                      </a:lnTo>
                      <a:lnTo>
                        <a:pt x="100" y="1106"/>
                      </a:lnTo>
                      <a:lnTo>
                        <a:pt x="100" y="1106"/>
                      </a:lnTo>
                      <a:lnTo>
                        <a:pt x="100" y="1105"/>
                      </a:lnTo>
                      <a:lnTo>
                        <a:pt x="100" y="1105"/>
                      </a:lnTo>
                      <a:lnTo>
                        <a:pt x="101" y="1105"/>
                      </a:lnTo>
                      <a:lnTo>
                        <a:pt x="101" y="1106"/>
                      </a:lnTo>
                      <a:lnTo>
                        <a:pt x="102" y="1106"/>
                      </a:lnTo>
                      <a:lnTo>
                        <a:pt x="102" y="1105"/>
                      </a:lnTo>
                      <a:lnTo>
                        <a:pt x="102" y="1106"/>
                      </a:lnTo>
                      <a:lnTo>
                        <a:pt x="102" y="1106"/>
                      </a:lnTo>
                      <a:lnTo>
                        <a:pt x="102" y="1105"/>
                      </a:lnTo>
                      <a:lnTo>
                        <a:pt x="102" y="1106"/>
                      </a:lnTo>
                      <a:lnTo>
                        <a:pt x="103" y="1106"/>
                      </a:lnTo>
                      <a:lnTo>
                        <a:pt x="103" y="1106"/>
                      </a:lnTo>
                      <a:lnTo>
                        <a:pt x="104" y="1106"/>
                      </a:lnTo>
                      <a:lnTo>
                        <a:pt x="104" y="1106"/>
                      </a:lnTo>
                      <a:lnTo>
                        <a:pt x="104" y="1106"/>
                      </a:lnTo>
                      <a:lnTo>
                        <a:pt x="104" y="1106"/>
                      </a:lnTo>
                      <a:lnTo>
                        <a:pt x="105" y="1106"/>
                      </a:lnTo>
                      <a:lnTo>
                        <a:pt x="105" y="1106"/>
                      </a:lnTo>
                      <a:lnTo>
                        <a:pt x="105" y="1105"/>
                      </a:lnTo>
                      <a:lnTo>
                        <a:pt x="105" y="1104"/>
                      </a:lnTo>
                      <a:lnTo>
                        <a:pt x="104" y="1104"/>
                      </a:lnTo>
                      <a:lnTo>
                        <a:pt x="104" y="1104"/>
                      </a:lnTo>
                      <a:lnTo>
                        <a:pt x="105" y="1104"/>
                      </a:lnTo>
                      <a:lnTo>
                        <a:pt x="105" y="1104"/>
                      </a:lnTo>
                      <a:close/>
                      <a:moveTo>
                        <a:pt x="106" y="1103"/>
                      </a:moveTo>
                      <a:lnTo>
                        <a:pt x="105" y="1103"/>
                      </a:lnTo>
                      <a:lnTo>
                        <a:pt x="105" y="1102"/>
                      </a:lnTo>
                      <a:lnTo>
                        <a:pt x="105" y="1103"/>
                      </a:lnTo>
                      <a:lnTo>
                        <a:pt x="106" y="1103"/>
                      </a:lnTo>
                      <a:close/>
                      <a:moveTo>
                        <a:pt x="101" y="1101"/>
                      </a:moveTo>
                      <a:lnTo>
                        <a:pt x="101" y="1102"/>
                      </a:lnTo>
                      <a:lnTo>
                        <a:pt x="101" y="1101"/>
                      </a:lnTo>
                      <a:close/>
                      <a:moveTo>
                        <a:pt x="95" y="1100"/>
                      </a:moveTo>
                      <a:lnTo>
                        <a:pt x="96" y="1100"/>
                      </a:lnTo>
                      <a:lnTo>
                        <a:pt x="96" y="1101"/>
                      </a:lnTo>
                      <a:lnTo>
                        <a:pt x="95" y="1101"/>
                      </a:lnTo>
                      <a:lnTo>
                        <a:pt x="95" y="1100"/>
                      </a:lnTo>
                      <a:close/>
                      <a:moveTo>
                        <a:pt x="99" y="1098"/>
                      </a:moveTo>
                      <a:lnTo>
                        <a:pt x="98" y="1098"/>
                      </a:lnTo>
                      <a:lnTo>
                        <a:pt x="98" y="1098"/>
                      </a:lnTo>
                      <a:lnTo>
                        <a:pt x="98" y="1097"/>
                      </a:lnTo>
                      <a:lnTo>
                        <a:pt x="98" y="1098"/>
                      </a:lnTo>
                      <a:lnTo>
                        <a:pt x="99" y="1098"/>
                      </a:lnTo>
                      <a:lnTo>
                        <a:pt x="99" y="1098"/>
                      </a:lnTo>
                      <a:close/>
                      <a:moveTo>
                        <a:pt x="78" y="1042"/>
                      </a:moveTo>
                      <a:lnTo>
                        <a:pt x="78" y="1041"/>
                      </a:lnTo>
                      <a:lnTo>
                        <a:pt x="78" y="1042"/>
                      </a:lnTo>
                      <a:close/>
                      <a:moveTo>
                        <a:pt x="98" y="1033"/>
                      </a:moveTo>
                      <a:lnTo>
                        <a:pt x="98" y="1033"/>
                      </a:lnTo>
                      <a:lnTo>
                        <a:pt x="98" y="1032"/>
                      </a:lnTo>
                      <a:lnTo>
                        <a:pt x="98" y="1032"/>
                      </a:lnTo>
                      <a:lnTo>
                        <a:pt x="98" y="1033"/>
                      </a:lnTo>
                      <a:close/>
                      <a:moveTo>
                        <a:pt x="65" y="1024"/>
                      </a:moveTo>
                      <a:lnTo>
                        <a:pt x="66" y="1024"/>
                      </a:lnTo>
                      <a:lnTo>
                        <a:pt x="66" y="1025"/>
                      </a:lnTo>
                      <a:lnTo>
                        <a:pt x="66" y="1025"/>
                      </a:lnTo>
                      <a:lnTo>
                        <a:pt x="67" y="1025"/>
                      </a:lnTo>
                      <a:lnTo>
                        <a:pt x="67" y="1026"/>
                      </a:lnTo>
                      <a:lnTo>
                        <a:pt x="68" y="1026"/>
                      </a:lnTo>
                      <a:lnTo>
                        <a:pt x="68" y="1026"/>
                      </a:lnTo>
                      <a:lnTo>
                        <a:pt x="68" y="1026"/>
                      </a:lnTo>
                      <a:lnTo>
                        <a:pt x="68" y="1027"/>
                      </a:lnTo>
                      <a:lnTo>
                        <a:pt x="69" y="1027"/>
                      </a:lnTo>
                      <a:lnTo>
                        <a:pt x="69" y="1028"/>
                      </a:lnTo>
                      <a:lnTo>
                        <a:pt x="69" y="1028"/>
                      </a:lnTo>
                      <a:lnTo>
                        <a:pt x="70" y="1028"/>
                      </a:lnTo>
                      <a:lnTo>
                        <a:pt x="69" y="1028"/>
                      </a:lnTo>
                      <a:lnTo>
                        <a:pt x="69" y="1028"/>
                      </a:lnTo>
                      <a:lnTo>
                        <a:pt x="68" y="1028"/>
                      </a:lnTo>
                      <a:lnTo>
                        <a:pt x="68" y="1027"/>
                      </a:lnTo>
                      <a:lnTo>
                        <a:pt x="68" y="1027"/>
                      </a:lnTo>
                      <a:lnTo>
                        <a:pt x="68" y="1026"/>
                      </a:lnTo>
                      <a:lnTo>
                        <a:pt x="67" y="1026"/>
                      </a:lnTo>
                      <a:lnTo>
                        <a:pt x="67" y="1026"/>
                      </a:lnTo>
                      <a:lnTo>
                        <a:pt x="66" y="1026"/>
                      </a:lnTo>
                      <a:lnTo>
                        <a:pt x="66" y="1026"/>
                      </a:lnTo>
                      <a:lnTo>
                        <a:pt x="66" y="1025"/>
                      </a:lnTo>
                      <a:lnTo>
                        <a:pt x="65" y="1025"/>
                      </a:lnTo>
                      <a:lnTo>
                        <a:pt x="65" y="1024"/>
                      </a:lnTo>
                      <a:lnTo>
                        <a:pt x="64" y="1024"/>
                      </a:lnTo>
                      <a:lnTo>
                        <a:pt x="64" y="1024"/>
                      </a:lnTo>
                      <a:lnTo>
                        <a:pt x="64" y="1023"/>
                      </a:lnTo>
                      <a:lnTo>
                        <a:pt x="64" y="1024"/>
                      </a:lnTo>
                      <a:lnTo>
                        <a:pt x="65" y="1024"/>
                      </a:lnTo>
                      <a:lnTo>
                        <a:pt x="65" y="1024"/>
                      </a:lnTo>
                      <a:close/>
                      <a:moveTo>
                        <a:pt x="389" y="0"/>
                      </a:moveTo>
                      <a:lnTo>
                        <a:pt x="652" y="160"/>
                      </a:lnTo>
                      <a:lnTo>
                        <a:pt x="661" y="165"/>
                      </a:lnTo>
                      <a:lnTo>
                        <a:pt x="661" y="166"/>
                      </a:lnTo>
                      <a:lnTo>
                        <a:pt x="662" y="167"/>
                      </a:lnTo>
                      <a:lnTo>
                        <a:pt x="662" y="169"/>
                      </a:lnTo>
                      <a:lnTo>
                        <a:pt x="664" y="170"/>
                      </a:lnTo>
                      <a:lnTo>
                        <a:pt x="666" y="171"/>
                      </a:lnTo>
                      <a:lnTo>
                        <a:pt x="668" y="172"/>
                      </a:lnTo>
                      <a:lnTo>
                        <a:pt x="670" y="173"/>
                      </a:lnTo>
                      <a:lnTo>
                        <a:pt x="672" y="174"/>
                      </a:lnTo>
                      <a:lnTo>
                        <a:pt x="673" y="175"/>
                      </a:lnTo>
                      <a:lnTo>
                        <a:pt x="674" y="175"/>
                      </a:lnTo>
                      <a:lnTo>
                        <a:pt x="674" y="176"/>
                      </a:lnTo>
                      <a:lnTo>
                        <a:pt x="674" y="177"/>
                      </a:lnTo>
                      <a:lnTo>
                        <a:pt x="672" y="177"/>
                      </a:lnTo>
                      <a:lnTo>
                        <a:pt x="671" y="178"/>
                      </a:lnTo>
                      <a:lnTo>
                        <a:pt x="670" y="178"/>
                      </a:lnTo>
                      <a:lnTo>
                        <a:pt x="669" y="179"/>
                      </a:lnTo>
                      <a:lnTo>
                        <a:pt x="668" y="180"/>
                      </a:lnTo>
                      <a:lnTo>
                        <a:pt x="668" y="181"/>
                      </a:lnTo>
                      <a:lnTo>
                        <a:pt x="667" y="183"/>
                      </a:lnTo>
                      <a:lnTo>
                        <a:pt x="666" y="184"/>
                      </a:lnTo>
                      <a:lnTo>
                        <a:pt x="666" y="184"/>
                      </a:lnTo>
                      <a:lnTo>
                        <a:pt x="664" y="184"/>
                      </a:lnTo>
                      <a:lnTo>
                        <a:pt x="662" y="185"/>
                      </a:lnTo>
                      <a:lnTo>
                        <a:pt x="660" y="186"/>
                      </a:lnTo>
                      <a:lnTo>
                        <a:pt x="660" y="186"/>
                      </a:lnTo>
                      <a:lnTo>
                        <a:pt x="660" y="188"/>
                      </a:lnTo>
                      <a:lnTo>
                        <a:pt x="659" y="190"/>
                      </a:lnTo>
                      <a:lnTo>
                        <a:pt x="659" y="191"/>
                      </a:lnTo>
                      <a:lnTo>
                        <a:pt x="659" y="192"/>
                      </a:lnTo>
                      <a:lnTo>
                        <a:pt x="660" y="193"/>
                      </a:lnTo>
                      <a:lnTo>
                        <a:pt x="662" y="193"/>
                      </a:lnTo>
                      <a:lnTo>
                        <a:pt x="664" y="193"/>
                      </a:lnTo>
                      <a:lnTo>
                        <a:pt x="665" y="194"/>
                      </a:lnTo>
                      <a:lnTo>
                        <a:pt x="666" y="194"/>
                      </a:lnTo>
                      <a:lnTo>
                        <a:pt x="667" y="194"/>
                      </a:lnTo>
                      <a:lnTo>
                        <a:pt x="668" y="196"/>
                      </a:lnTo>
                      <a:lnTo>
                        <a:pt x="670" y="198"/>
                      </a:lnTo>
                      <a:lnTo>
                        <a:pt x="671" y="199"/>
                      </a:lnTo>
                      <a:lnTo>
                        <a:pt x="672" y="200"/>
                      </a:lnTo>
                      <a:lnTo>
                        <a:pt x="672" y="200"/>
                      </a:lnTo>
                      <a:lnTo>
                        <a:pt x="672" y="202"/>
                      </a:lnTo>
                      <a:lnTo>
                        <a:pt x="671" y="203"/>
                      </a:lnTo>
                      <a:lnTo>
                        <a:pt x="670" y="203"/>
                      </a:lnTo>
                      <a:lnTo>
                        <a:pt x="669" y="203"/>
                      </a:lnTo>
                      <a:lnTo>
                        <a:pt x="668" y="203"/>
                      </a:lnTo>
                      <a:lnTo>
                        <a:pt x="668" y="202"/>
                      </a:lnTo>
                      <a:lnTo>
                        <a:pt x="668" y="201"/>
                      </a:lnTo>
                      <a:lnTo>
                        <a:pt x="667" y="200"/>
                      </a:lnTo>
                      <a:lnTo>
                        <a:pt x="666" y="200"/>
                      </a:lnTo>
                      <a:lnTo>
                        <a:pt x="666" y="200"/>
                      </a:lnTo>
                      <a:lnTo>
                        <a:pt x="665" y="201"/>
                      </a:lnTo>
                      <a:lnTo>
                        <a:pt x="665" y="202"/>
                      </a:lnTo>
                      <a:lnTo>
                        <a:pt x="665" y="203"/>
                      </a:lnTo>
                      <a:lnTo>
                        <a:pt x="664" y="205"/>
                      </a:lnTo>
                      <a:lnTo>
                        <a:pt x="664" y="206"/>
                      </a:lnTo>
                      <a:lnTo>
                        <a:pt x="664" y="207"/>
                      </a:lnTo>
                      <a:lnTo>
                        <a:pt x="662" y="207"/>
                      </a:lnTo>
                      <a:lnTo>
                        <a:pt x="662" y="207"/>
                      </a:lnTo>
                      <a:lnTo>
                        <a:pt x="660" y="208"/>
                      </a:lnTo>
                      <a:lnTo>
                        <a:pt x="660" y="209"/>
                      </a:lnTo>
                      <a:lnTo>
                        <a:pt x="660" y="209"/>
                      </a:lnTo>
                      <a:lnTo>
                        <a:pt x="660" y="210"/>
                      </a:lnTo>
                      <a:lnTo>
                        <a:pt x="660" y="211"/>
                      </a:lnTo>
                      <a:lnTo>
                        <a:pt x="661" y="211"/>
                      </a:lnTo>
                      <a:lnTo>
                        <a:pt x="662" y="211"/>
                      </a:lnTo>
                      <a:lnTo>
                        <a:pt x="664" y="212"/>
                      </a:lnTo>
                      <a:lnTo>
                        <a:pt x="666" y="212"/>
                      </a:lnTo>
                      <a:lnTo>
                        <a:pt x="667" y="213"/>
                      </a:lnTo>
                      <a:lnTo>
                        <a:pt x="668" y="214"/>
                      </a:lnTo>
                      <a:lnTo>
                        <a:pt x="668" y="215"/>
                      </a:lnTo>
                      <a:lnTo>
                        <a:pt x="669" y="217"/>
                      </a:lnTo>
                      <a:lnTo>
                        <a:pt x="669" y="217"/>
                      </a:lnTo>
                      <a:lnTo>
                        <a:pt x="668" y="217"/>
                      </a:lnTo>
                      <a:lnTo>
                        <a:pt x="667" y="217"/>
                      </a:lnTo>
                      <a:lnTo>
                        <a:pt x="666" y="217"/>
                      </a:lnTo>
                      <a:lnTo>
                        <a:pt x="665" y="217"/>
                      </a:lnTo>
                      <a:lnTo>
                        <a:pt x="664" y="217"/>
                      </a:lnTo>
                      <a:lnTo>
                        <a:pt x="663" y="217"/>
                      </a:lnTo>
                      <a:lnTo>
                        <a:pt x="662" y="217"/>
                      </a:lnTo>
                      <a:lnTo>
                        <a:pt x="661" y="217"/>
                      </a:lnTo>
                      <a:lnTo>
                        <a:pt x="660" y="218"/>
                      </a:lnTo>
                      <a:lnTo>
                        <a:pt x="660" y="219"/>
                      </a:lnTo>
                      <a:lnTo>
                        <a:pt x="661" y="219"/>
                      </a:lnTo>
                      <a:lnTo>
                        <a:pt x="662" y="221"/>
                      </a:lnTo>
                      <a:lnTo>
                        <a:pt x="664" y="223"/>
                      </a:lnTo>
                      <a:lnTo>
                        <a:pt x="664" y="224"/>
                      </a:lnTo>
                      <a:lnTo>
                        <a:pt x="665" y="226"/>
                      </a:lnTo>
                      <a:lnTo>
                        <a:pt x="666" y="227"/>
                      </a:lnTo>
                      <a:lnTo>
                        <a:pt x="666" y="228"/>
                      </a:lnTo>
                      <a:lnTo>
                        <a:pt x="665" y="229"/>
                      </a:lnTo>
                      <a:lnTo>
                        <a:pt x="664" y="229"/>
                      </a:lnTo>
                      <a:lnTo>
                        <a:pt x="664" y="230"/>
                      </a:lnTo>
                      <a:lnTo>
                        <a:pt x="663" y="230"/>
                      </a:lnTo>
                      <a:lnTo>
                        <a:pt x="662" y="229"/>
                      </a:lnTo>
                      <a:lnTo>
                        <a:pt x="661" y="228"/>
                      </a:lnTo>
                      <a:lnTo>
                        <a:pt x="660" y="228"/>
                      </a:lnTo>
                      <a:lnTo>
                        <a:pt x="659" y="228"/>
                      </a:lnTo>
                      <a:lnTo>
                        <a:pt x="658" y="228"/>
                      </a:lnTo>
                      <a:lnTo>
                        <a:pt x="658" y="229"/>
                      </a:lnTo>
                      <a:lnTo>
                        <a:pt x="658" y="230"/>
                      </a:lnTo>
                      <a:lnTo>
                        <a:pt x="658" y="230"/>
                      </a:lnTo>
                      <a:lnTo>
                        <a:pt x="658" y="232"/>
                      </a:lnTo>
                      <a:lnTo>
                        <a:pt x="660" y="232"/>
                      </a:lnTo>
                      <a:lnTo>
                        <a:pt x="661" y="234"/>
                      </a:lnTo>
                      <a:lnTo>
                        <a:pt x="662" y="235"/>
                      </a:lnTo>
                      <a:lnTo>
                        <a:pt x="662" y="236"/>
                      </a:lnTo>
                      <a:lnTo>
                        <a:pt x="662" y="236"/>
                      </a:lnTo>
                      <a:lnTo>
                        <a:pt x="662" y="237"/>
                      </a:lnTo>
                      <a:lnTo>
                        <a:pt x="662" y="238"/>
                      </a:lnTo>
                      <a:lnTo>
                        <a:pt x="662" y="239"/>
                      </a:lnTo>
                      <a:lnTo>
                        <a:pt x="662" y="240"/>
                      </a:lnTo>
                      <a:lnTo>
                        <a:pt x="662" y="240"/>
                      </a:lnTo>
                      <a:lnTo>
                        <a:pt x="664" y="240"/>
                      </a:lnTo>
                      <a:lnTo>
                        <a:pt x="665" y="241"/>
                      </a:lnTo>
                      <a:lnTo>
                        <a:pt x="666" y="242"/>
                      </a:lnTo>
                      <a:lnTo>
                        <a:pt x="666" y="243"/>
                      </a:lnTo>
                      <a:lnTo>
                        <a:pt x="667" y="245"/>
                      </a:lnTo>
                      <a:lnTo>
                        <a:pt x="667" y="245"/>
                      </a:lnTo>
                      <a:lnTo>
                        <a:pt x="667" y="246"/>
                      </a:lnTo>
                      <a:lnTo>
                        <a:pt x="666" y="247"/>
                      </a:lnTo>
                      <a:lnTo>
                        <a:pt x="666" y="247"/>
                      </a:lnTo>
                      <a:lnTo>
                        <a:pt x="663" y="247"/>
                      </a:lnTo>
                      <a:lnTo>
                        <a:pt x="661" y="245"/>
                      </a:lnTo>
                      <a:lnTo>
                        <a:pt x="660" y="244"/>
                      </a:lnTo>
                      <a:lnTo>
                        <a:pt x="659" y="243"/>
                      </a:lnTo>
                      <a:lnTo>
                        <a:pt x="658" y="243"/>
                      </a:lnTo>
                      <a:lnTo>
                        <a:pt x="658" y="243"/>
                      </a:lnTo>
                      <a:lnTo>
                        <a:pt x="658" y="243"/>
                      </a:lnTo>
                      <a:lnTo>
                        <a:pt x="657" y="244"/>
                      </a:lnTo>
                      <a:lnTo>
                        <a:pt x="657" y="245"/>
                      </a:lnTo>
                      <a:lnTo>
                        <a:pt x="658" y="247"/>
                      </a:lnTo>
                      <a:lnTo>
                        <a:pt x="658" y="248"/>
                      </a:lnTo>
                      <a:lnTo>
                        <a:pt x="658" y="250"/>
                      </a:lnTo>
                      <a:lnTo>
                        <a:pt x="659" y="251"/>
                      </a:lnTo>
                      <a:lnTo>
                        <a:pt x="660" y="251"/>
                      </a:lnTo>
                      <a:lnTo>
                        <a:pt x="660" y="252"/>
                      </a:lnTo>
                      <a:lnTo>
                        <a:pt x="662" y="252"/>
                      </a:lnTo>
                      <a:lnTo>
                        <a:pt x="664" y="252"/>
                      </a:lnTo>
                      <a:lnTo>
                        <a:pt x="665" y="252"/>
                      </a:lnTo>
                      <a:lnTo>
                        <a:pt x="666" y="253"/>
                      </a:lnTo>
                      <a:lnTo>
                        <a:pt x="667" y="253"/>
                      </a:lnTo>
                      <a:lnTo>
                        <a:pt x="668" y="253"/>
                      </a:lnTo>
                      <a:lnTo>
                        <a:pt x="668" y="254"/>
                      </a:lnTo>
                      <a:lnTo>
                        <a:pt x="668" y="255"/>
                      </a:lnTo>
                      <a:lnTo>
                        <a:pt x="668" y="256"/>
                      </a:lnTo>
                      <a:lnTo>
                        <a:pt x="668" y="257"/>
                      </a:lnTo>
                      <a:lnTo>
                        <a:pt x="667" y="258"/>
                      </a:lnTo>
                      <a:lnTo>
                        <a:pt x="667" y="259"/>
                      </a:lnTo>
                      <a:lnTo>
                        <a:pt x="666" y="259"/>
                      </a:lnTo>
                      <a:lnTo>
                        <a:pt x="666" y="258"/>
                      </a:lnTo>
                      <a:lnTo>
                        <a:pt x="665" y="257"/>
                      </a:lnTo>
                      <a:lnTo>
                        <a:pt x="664" y="257"/>
                      </a:lnTo>
                      <a:lnTo>
                        <a:pt x="664" y="257"/>
                      </a:lnTo>
                      <a:lnTo>
                        <a:pt x="663" y="257"/>
                      </a:lnTo>
                      <a:lnTo>
                        <a:pt x="662" y="257"/>
                      </a:lnTo>
                      <a:lnTo>
                        <a:pt x="662" y="257"/>
                      </a:lnTo>
                      <a:lnTo>
                        <a:pt x="661" y="257"/>
                      </a:lnTo>
                      <a:lnTo>
                        <a:pt x="661" y="259"/>
                      </a:lnTo>
                      <a:lnTo>
                        <a:pt x="661" y="259"/>
                      </a:lnTo>
                      <a:lnTo>
                        <a:pt x="660" y="260"/>
                      </a:lnTo>
                      <a:lnTo>
                        <a:pt x="660" y="261"/>
                      </a:lnTo>
                      <a:lnTo>
                        <a:pt x="659" y="261"/>
                      </a:lnTo>
                      <a:lnTo>
                        <a:pt x="658" y="261"/>
                      </a:lnTo>
                      <a:lnTo>
                        <a:pt x="658" y="260"/>
                      </a:lnTo>
                      <a:lnTo>
                        <a:pt x="657" y="260"/>
                      </a:lnTo>
                      <a:lnTo>
                        <a:pt x="656" y="261"/>
                      </a:lnTo>
                      <a:lnTo>
                        <a:pt x="656" y="262"/>
                      </a:lnTo>
                      <a:lnTo>
                        <a:pt x="656" y="262"/>
                      </a:lnTo>
                      <a:lnTo>
                        <a:pt x="656" y="263"/>
                      </a:lnTo>
                      <a:lnTo>
                        <a:pt x="656" y="264"/>
                      </a:lnTo>
                      <a:lnTo>
                        <a:pt x="656" y="265"/>
                      </a:lnTo>
                      <a:lnTo>
                        <a:pt x="656" y="266"/>
                      </a:lnTo>
                      <a:lnTo>
                        <a:pt x="656" y="268"/>
                      </a:lnTo>
                      <a:lnTo>
                        <a:pt x="656" y="268"/>
                      </a:lnTo>
                      <a:lnTo>
                        <a:pt x="656" y="270"/>
                      </a:lnTo>
                      <a:lnTo>
                        <a:pt x="656" y="270"/>
                      </a:lnTo>
                      <a:lnTo>
                        <a:pt x="655" y="271"/>
                      </a:lnTo>
                      <a:lnTo>
                        <a:pt x="653" y="271"/>
                      </a:lnTo>
                      <a:lnTo>
                        <a:pt x="653" y="271"/>
                      </a:lnTo>
                      <a:lnTo>
                        <a:pt x="651" y="270"/>
                      </a:lnTo>
                      <a:lnTo>
                        <a:pt x="651" y="270"/>
                      </a:lnTo>
                      <a:lnTo>
                        <a:pt x="650" y="270"/>
                      </a:lnTo>
                      <a:lnTo>
                        <a:pt x="649" y="270"/>
                      </a:lnTo>
                      <a:lnTo>
                        <a:pt x="648" y="270"/>
                      </a:lnTo>
                      <a:lnTo>
                        <a:pt x="647" y="270"/>
                      </a:lnTo>
                      <a:lnTo>
                        <a:pt x="646" y="271"/>
                      </a:lnTo>
                      <a:lnTo>
                        <a:pt x="645" y="272"/>
                      </a:lnTo>
                      <a:lnTo>
                        <a:pt x="645" y="273"/>
                      </a:lnTo>
                      <a:lnTo>
                        <a:pt x="645" y="274"/>
                      </a:lnTo>
                      <a:lnTo>
                        <a:pt x="645" y="275"/>
                      </a:lnTo>
                      <a:lnTo>
                        <a:pt x="645" y="276"/>
                      </a:lnTo>
                      <a:lnTo>
                        <a:pt x="646" y="276"/>
                      </a:lnTo>
                      <a:lnTo>
                        <a:pt x="648" y="277"/>
                      </a:lnTo>
                      <a:lnTo>
                        <a:pt x="649" y="276"/>
                      </a:lnTo>
                      <a:lnTo>
                        <a:pt x="651" y="276"/>
                      </a:lnTo>
                      <a:lnTo>
                        <a:pt x="652" y="276"/>
                      </a:lnTo>
                      <a:lnTo>
                        <a:pt x="653" y="277"/>
                      </a:lnTo>
                      <a:lnTo>
                        <a:pt x="654" y="277"/>
                      </a:lnTo>
                      <a:lnTo>
                        <a:pt x="655" y="278"/>
                      </a:lnTo>
                      <a:lnTo>
                        <a:pt x="654" y="278"/>
                      </a:lnTo>
                      <a:lnTo>
                        <a:pt x="654" y="279"/>
                      </a:lnTo>
                      <a:lnTo>
                        <a:pt x="653" y="280"/>
                      </a:lnTo>
                      <a:lnTo>
                        <a:pt x="653" y="280"/>
                      </a:lnTo>
                      <a:lnTo>
                        <a:pt x="652" y="281"/>
                      </a:lnTo>
                      <a:lnTo>
                        <a:pt x="651" y="282"/>
                      </a:lnTo>
                      <a:lnTo>
                        <a:pt x="649" y="282"/>
                      </a:lnTo>
                      <a:lnTo>
                        <a:pt x="649" y="282"/>
                      </a:lnTo>
                      <a:lnTo>
                        <a:pt x="648" y="282"/>
                      </a:lnTo>
                      <a:lnTo>
                        <a:pt x="647" y="281"/>
                      </a:lnTo>
                      <a:lnTo>
                        <a:pt x="646" y="281"/>
                      </a:lnTo>
                      <a:lnTo>
                        <a:pt x="645" y="282"/>
                      </a:lnTo>
                      <a:lnTo>
                        <a:pt x="645" y="283"/>
                      </a:lnTo>
                      <a:lnTo>
                        <a:pt x="644" y="283"/>
                      </a:lnTo>
                      <a:lnTo>
                        <a:pt x="643" y="285"/>
                      </a:lnTo>
                      <a:lnTo>
                        <a:pt x="643" y="286"/>
                      </a:lnTo>
                      <a:lnTo>
                        <a:pt x="643" y="287"/>
                      </a:lnTo>
                      <a:lnTo>
                        <a:pt x="642" y="288"/>
                      </a:lnTo>
                      <a:lnTo>
                        <a:pt x="642" y="289"/>
                      </a:lnTo>
                      <a:lnTo>
                        <a:pt x="642" y="289"/>
                      </a:lnTo>
                      <a:lnTo>
                        <a:pt x="643" y="291"/>
                      </a:lnTo>
                      <a:lnTo>
                        <a:pt x="643" y="291"/>
                      </a:lnTo>
                      <a:lnTo>
                        <a:pt x="644" y="291"/>
                      </a:lnTo>
                      <a:lnTo>
                        <a:pt x="644" y="292"/>
                      </a:lnTo>
                      <a:lnTo>
                        <a:pt x="645" y="293"/>
                      </a:lnTo>
                      <a:lnTo>
                        <a:pt x="644" y="293"/>
                      </a:lnTo>
                      <a:lnTo>
                        <a:pt x="644" y="294"/>
                      </a:lnTo>
                      <a:lnTo>
                        <a:pt x="643" y="295"/>
                      </a:lnTo>
                      <a:lnTo>
                        <a:pt x="642" y="295"/>
                      </a:lnTo>
                      <a:lnTo>
                        <a:pt x="641" y="295"/>
                      </a:lnTo>
                      <a:lnTo>
                        <a:pt x="640" y="295"/>
                      </a:lnTo>
                      <a:lnTo>
                        <a:pt x="639" y="296"/>
                      </a:lnTo>
                      <a:lnTo>
                        <a:pt x="638" y="297"/>
                      </a:lnTo>
                      <a:lnTo>
                        <a:pt x="637" y="297"/>
                      </a:lnTo>
                      <a:lnTo>
                        <a:pt x="636" y="297"/>
                      </a:lnTo>
                      <a:lnTo>
                        <a:pt x="636" y="298"/>
                      </a:lnTo>
                      <a:lnTo>
                        <a:pt x="636" y="299"/>
                      </a:lnTo>
                      <a:lnTo>
                        <a:pt x="636" y="299"/>
                      </a:lnTo>
                      <a:lnTo>
                        <a:pt x="636" y="300"/>
                      </a:lnTo>
                      <a:lnTo>
                        <a:pt x="636" y="301"/>
                      </a:lnTo>
                      <a:lnTo>
                        <a:pt x="637" y="302"/>
                      </a:lnTo>
                      <a:lnTo>
                        <a:pt x="639" y="302"/>
                      </a:lnTo>
                      <a:lnTo>
                        <a:pt x="641" y="303"/>
                      </a:lnTo>
                      <a:lnTo>
                        <a:pt x="643" y="304"/>
                      </a:lnTo>
                      <a:lnTo>
                        <a:pt x="643" y="304"/>
                      </a:lnTo>
                      <a:lnTo>
                        <a:pt x="643" y="305"/>
                      </a:lnTo>
                      <a:lnTo>
                        <a:pt x="643" y="306"/>
                      </a:lnTo>
                      <a:lnTo>
                        <a:pt x="643" y="309"/>
                      </a:lnTo>
                      <a:lnTo>
                        <a:pt x="643" y="311"/>
                      </a:lnTo>
                      <a:lnTo>
                        <a:pt x="643" y="312"/>
                      </a:lnTo>
                      <a:lnTo>
                        <a:pt x="643" y="314"/>
                      </a:lnTo>
                      <a:lnTo>
                        <a:pt x="642" y="314"/>
                      </a:lnTo>
                      <a:lnTo>
                        <a:pt x="641" y="314"/>
                      </a:lnTo>
                      <a:lnTo>
                        <a:pt x="640" y="314"/>
                      </a:lnTo>
                      <a:lnTo>
                        <a:pt x="639" y="313"/>
                      </a:lnTo>
                      <a:lnTo>
                        <a:pt x="639" y="312"/>
                      </a:lnTo>
                      <a:lnTo>
                        <a:pt x="639" y="310"/>
                      </a:lnTo>
                      <a:lnTo>
                        <a:pt x="639" y="309"/>
                      </a:lnTo>
                      <a:lnTo>
                        <a:pt x="639" y="308"/>
                      </a:lnTo>
                      <a:lnTo>
                        <a:pt x="637" y="308"/>
                      </a:lnTo>
                      <a:lnTo>
                        <a:pt x="636" y="309"/>
                      </a:lnTo>
                      <a:lnTo>
                        <a:pt x="634" y="311"/>
                      </a:lnTo>
                      <a:lnTo>
                        <a:pt x="632" y="312"/>
                      </a:lnTo>
                      <a:lnTo>
                        <a:pt x="631" y="312"/>
                      </a:lnTo>
                      <a:lnTo>
                        <a:pt x="630" y="312"/>
                      </a:lnTo>
                      <a:lnTo>
                        <a:pt x="630" y="312"/>
                      </a:lnTo>
                      <a:lnTo>
                        <a:pt x="629" y="312"/>
                      </a:lnTo>
                      <a:lnTo>
                        <a:pt x="629" y="310"/>
                      </a:lnTo>
                      <a:lnTo>
                        <a:pt x="630" y="310"/>
                      </a:lnTo>
                      <a:lnTo>
                        <a:pt x="630" y="309"/>
                      </a:lnTo>
                      <a:lnTo>
                        <a:pt x="630" y="308"/>
                      </a:lnTo>
                      <a:lnTo>
                        <a:pt x="630" y="308"/>
                      </a:lnTo>
                      <a:lnTo>
                        <a:pt x="627" y="308"/>
                      </a:lnTo>
                      <a:lnTo>
                        <a:pt x="626" y="309"/>
                      </a:lnTo>
                      <a:lnTo>
                        <a:pt x="626" y="310"/>
                      </a:lnTo>
                      <a:lnTo>
                        <a:pt x="626" y="311"/>
                      </a:lnTo>
                      <a:lnTo>
                        <a:pt x="627" y="312"/>
                      </a:lnTo>
                      <a:lnTo>
                        <a:pt x="628" y="314"/>
                      </a:lnTo>
                      <a:lnTo>
                        <a:pt x="628" y="316"/>
                      </a:lnTo>
                      <a:lnTo>
                        <a:pt x="628" y="318"/>
                      </a:lnTo>
                      <a:lnTo>
                        <a:pt x="627" y="318"/>
                      </a:lnTo>
                      <a:lnTo>
                        <a:pt x="626" y="318"/>
                      </a:lnTo>
                      <a:lnTo>
                        <a:pt x="624" y="318"/>
                      </a:lnTo>
                      <a:lnTo>
                        <a:pt x="624" y="316"/>
                      </a:lnTo>
                      <a:lnTo>
                        <a:pt x="625" y="315"/>
                      </a:lnTo>
                      <a:lnTo>
                        <a:pt x="626" y="314"/>
                      </a:lnTo>
                      <a:lnTo>
                        <a:pt x="625" y="313"/>
                      </a:lnTo>
                      <a:lnTo>
                        <a:pt x="624" y="314"/>
                      </a:lnTo>
                      <a:lnTo>
                        <a:pt x="622" y="314"/>
                      </a:lnTo>
                      <a:lnTo>
                        <a:pt x="620" y="313"/>
                      </a:lnTo>
                      <a:lnTo>
                        <a:pt x="618" y="313"/>
                      </a:lnTo>
                      <a:lnTo>
                        <a:pt x="616" y="315"/>
                      </a:lnTo>
                      <a:lnTo>
                        <a:pt x="616" y="318"/>
                      </a:lnTo>
                      <a:lnTo>
                        <a:pt x="617" y="320"/>
                      </a:lnTo>
                      <a:lnTo>
                        <a:pt x="617" y="323"/>
                      </a:lnTo>
                      <a:lnTo>
                        <a:pt x="618" y="323"/>
                      </a:lnTo>
                      <a:lnTo>
                        <a:pt x="620" y="325"/>
                      </a:lnTo>
                      <a:lnTo>
                        <a:pt x="620" y="325"/>
                      </a:lnTo>
                      <a:lnTo>
                        <a:pt x="620" y="326"/>
                      </a:lnTo>
                      <a:lnTo>
                        <a:pt x="619" y="327"/>
                      </a:lnTo>
                      <a:lnTo>
                        <a:pt x="617" y="327"/>
                      </a:lnTo>
                      <a:lnTo>
                        <a:pt x="615" y="328"/>
                      </a:lnTo>
                      <a:lnTo>
                        <a:pt x="613" y="328"/>
                      </a:lnTo>
                      <a:lnTo>
                        <a:pt x="613" y="329"/>
                      </a:lnTo>
                      <a:lnTo>
                        <a:pt x="613" y="331"/>
                      </a:lnTo>
                      <a:lnTo>
                        <a:pt x="612" y="332"/>
                      </a:lnTo>
                      <a:lnTo>
                        <a:pt x="612" y="333"/>
                      </a:lnTo>
                      <a:lnTo>
                        <a:pt x="612" y="333"/>
                      </a:lnTo>
                      <a:lnTo>
                        <a:pt x="611" y="334"/>
                      </a:lnTo>
                      <a:lnTo>
                        <a:pt x="609" y="333"/>
                      </a:lnTo>
                      <a:lnTo>
                        <a:pt x="608" y="333"/>
                      </a:lnTo>
                      <a:lnTo>
                        <a:pt x="607" y="333"/>
                      </a:lnTo>
                      <a:lnTo>
                        <a:pt x="607" y="333"/>
                      </a:lnTo>
                      <a:lnTo>
                        <a:pt x="606" y="334"/>
                      </a:lnTo>
                      <a:lnTo>
                        <a:pt x="606" y="335"/>
                      </a:lnTo>
                      <a:lnTo>
                        <a:pt x="607" y="335"/>
                      </a:lnTo>
                      <a:lnTo>
                        <a:pt x="609" y="335"/>
                      </a:lnTo>
                      <a:lnTo>
                        <a:pt x="611" y="337"/>
                      </a:lnTo>
                      <a:lnTo>
                        <a:pt x="611" y="337"/>
                      </a:lnTo>
                      <a:lnTo>
                        <a:pt x="613" y="342"/>
                      </a:lnTo>
                      <a:lnTo>
                        <a:pt x="613" y="344"/>
                      </a:lnTo>
                      <a:lnTo>
                        <a:pt x="613" y="345"/>
                      </a:lnTo>
                      <a:lnTo>
                        <a:pt x="612" y="345"/>
                      </a:lnTo>
                      <a:lnTo>
                        <a:pt x="609" y="345"/>
                      </a:lnTo>
                      <a:lnTo>
                        <a:pt x="607" y="344"/>
                      </a:lnTo>
                      <a:lnTo>
                        <a:pt x="605" y="344"/>
                      </a:lnTo>
                      <a:lnTo>
                        <a:pt x="601" y="345"/>
                      </a:lnTo>
                      <a:lnTo>
                        <a:pt x="598" y="345"/>
                      </a:lnTo>
                      <a:lnTo>
                        <a:pt x="596" y="346"/>
                      </a:lnTo>
                      <a:lnTo>
                        <a:pt x="596" y="346"/>
                      </a:lnTo>
                      <a:lnTo>
                        <a:pt x="596" y="348"/>
                      </a:lnTo>
                      <a:lnTo>
                        <a:pt x="596" y="348"/>
                      </a:lnTo>
                      <a:lnTo>
                        <a:pt x="597" y="349"/>
                      </a:lnTo>
                      <a:lnTo>
                        <a:pt x="598" y="350"/>
                      </a:lnTo>
                      <a:lnTo>
                        <a:pt x="601" y="350"/>
                      </a:lnTo>
                      <a:lnTo>
                        <a:pt x="603" y="350"/>
                      </a:lnTo>
                      <a:lnTo>
                        <a:pt x="604" y="351"/>
                      </a:lnTo>
                      <a:lnTo>
                        <a:pt x="604" y="352"/>
                      </a:lnTo>
                      <a:lnTo>
                        <a:pt x="604" y="353"/>
                      </a:lnTo>
                      <a:lnTo>
                        <a:pt x="602" y="354"/>
                      </a:lnTo>
                      <a:lnTo>
                        <a:pt x="600" y="354"/>
                      </a:lnTo>
                      <a:lnTo>
                        <a:pt x="598" y="354"/>
                      </a:lnTo>
                      <a:lnTo>
                        <a:pt x="596" y="353"/>
                      </a:lnTo>
                      <a:lnTo>
                        <a:pt x="593" y="352"/>
                      </a:lnTo>
                      <a:lnTo>
                        <a:pt x="591" y="354"/>
                      </a:lnTo>
                      <a:lnTo>
                        <a:pt x="590" y="355"/>
                      </a:lnTo>
                      <a:lnTo>
                        <a:pt x="589" y="356"/>
                      </a:lnTo>
                      <a:lnTo>
                        <a:pt x="588" y="356"/>
                      </a:lnTo>
                      <a:lnTo>
                        <a:pt x="586" y="356"/>
                      </a:lnTo>
                      <a:lnTo>
                        <a:pt x="586" y="357"/>
                      </a:lnTo>
                      <a:lnTo>
                        <a:pt x="586" y="358"/>
                      </a:lnTo>
                      <a:lnTo>
                        <a:pt x="586" y="360"/>
                      </a:lnTo>
                      <a:lnTo>
                        <a:pt x="586" y="362"/>
                      </a:lnTo>
                      <a:lnTo>
                        <a:pt x="588" y="363"/>
                      </a:lnTo>
                      <a:lnTo>
                        <a:pt x="589" y="365"/>
                      </a:lnTo>
                      <a:lnTo>
                        <a:pt x="590" y="368"/>
                      </a:lnTo>
                      <a:lnTo>
                        <a:pt x="590" y="369"/>
                      </a:lnTo>
                      <a:lnTo>
                        <a:pt x="590" y="370"/>
                      </a:lnTo>
                      <a:lnTo>
                        <a:pt x="590" y="370"/>
                      </a:lnTo>
                      <a:lnTo>
                        <a:pt x="588" y="370"/>
                      </a:lnTo>
                      <a:lnTo>
                        <a:pt x="588" y="370"/>
                      </a:lnTo>
                      <a:lnTo>
                        <a:pt x="586" y="369"/>
                      </a:lnTo>
                      <a:lnTo>
                        <a:pt x="586" y="369"/>
                      </a:lnTo>
                      <a:lnTo>
                        <a:pt x="585" y="367"/>
                      </a:lnTo>
                      <a:lnTo>
                        <a:pt x="585" y="367"/>
                      </a:lnTo>
                      <a:lnTo>
                        <a:pt x="584" y="365"/>
                      </a:lnTo>
                      <a:lnTo>
                        <a:pt x="583" y="365"/>
                      </a:lnTo>
                      <a:lnTo>
                        <a:pt x="582" y="365"/>
                      </a:lnTo>
                      <a:lnTo>
                        <a:pt x="580" y="367"/>
                      </a:lnTo>
                      <a:lnTo>
                        <a:pt x="579" y="367"/>
                      </a:lnTo>
                      <a:lnTo>
                        <a:pt x="579" y="368"/>
                      </a:lnTo>
                      <a:lnTo>
                        <a:pt x="579" y="369"/>
                      </a:lnTo>
                      <a:lnTo>
                        <a:pt x="579" y="369"/>
                      </a:lnTo>
                      <a:lnTo>
                        <a:pt x="580" y="370"/>
                      </a:lnTo>
                      <a:lnTo>
                        <a:pt x="581" y="370"/>
                      </a:lnTo>
                      <a:lnTo>
                        <a:pt x="584" y="371"/>
                      </a:lnTo>
                      <a:lnTo>
                        <a:pt x="585" y="371"/>
                      </a:lnTo>
                      <a:lnTo>
                        <a:pt x="586" y="371"/>
                      </a:lnTo>
                      <a:lnTo>
                        <a:pt x="587" y="372"/>
                      </a:lnTo>
                      <a:lnTo>
                        <a:pt x="587" y="373"/>
                      </a:lnTo>
                      <a:lnTo>
                        <a:pt x="587" y="377"/>
                      </a:lnTo>
                      <a:lnTo>
                        <a:pt x="586" y="379"/>
                      </a:lnTo>
                      <a:lnTo>
                        <a:pt x="585" y="380"/>
                      </a:lnTo>
                      <a:lnTo>
                        <a:pt x="584" y="382"/>
                      </a:lnTo>
                      <a:lnTo>
                        <a:pt x="582" y="382"/>
                      </a:lnTo>
                      <a:lnTo>
                        <a:pt x="582" y="382"/>
                      </a:lnTo>
                      <a:lnTo>
                        <a:pt x="581" y="382"/>
                      </a:lnTo>
                      <a:lnTo>
                        <a:pt x="581" y="380"/>
                      </a:lnTo>
                      <a:lnTo>
                        <a:pt x="581" y="378"/>
                      </a:lnTo>
                      <a:lnTo>
                        <a:pt x="581" y="375"/>
                      </a:lnTo>
                      <a:lnTo>
                        <a:pt x="581" y="373"/>
                      </a:lnTo>
                      <a:lnTo>
                        <a:pt x="580" y="373"/>
                      </a:lnTo>
                      <a:lnTo>
                        <a:pt x="579" y="373"/>
                      </a:lnTo>
                      <a:lnTo>
                        <a:pt x="577" y="375"/>
                      </a:lnTo>
                      <a:lnTo>
                        <a:pt x="577" y="377"/>
                      </a:lnTo>
                      <a:lnTo>
                        <a:pt x="577" y="378"/>
                      </a:lnTo>
                      <a:lnTo>
                        <a:pt x="577" y="379"/>
                      </a:lnTo>
                      <a:lnTo>
                        <a:pt x="579" y="379"/>
                      </a:lnTo>
                      <a:lnTo>
                        <a:pt x="579" y="381"/>
                      </a:lnTo>
                      <a:lnTo>
                        <a:pt x="578" y="382"/>
                      </a:lnTo>
                      <a:lnTo>
                        <a:pt x="577" y="382"/>
                      </a:lnTo>
                      <a:lnTo>
                        <a:pt x="576" y="384"/>
                      </a:lnTo>
                      <a:lnTo>
                        <a:pt x="573" y="385"/>
                      </a:lnTo>
                      <a:lnTo>
                        <a:pt x="571" y="388"/>
                      </a:lnTo>
                      <a:lnTo>
                        <a:pt x="569" y="390"/>
                      </a:lnTo>
                      <a:lnTo>
                        <a:pt x="565" y="392"/>
                      </a:lnTo>
                      <a:lnTo>
                        <a:pt x="564" y="393"/>
                      </a:lnTo>
                      <a:lnTo>
                        <a:pt x="563" y="394"/>
                      </a:lnTo>
                      <a:lnTo>
                        <a:pt x="563" y="394"/>
                      </a:lnTo>
                      <a:lnTo>
                        <a:pt x="563" y="396"/>
                      </a:lnTo>
                      <a:lnTo>
                        <a:pt x="564" y="396"/>
                      </a:lnTo>
                      <a:lnTo>
                        <a:pt x="565" y="396"/>
                      </a:lnTo>
                      <a:lnTo>
                        <a:pt x="567" y="395"/>
                      </a:lnTo>
                      <a:lnTo>
                        <a:pt x="570" y="396"/>
                      </a:lnTo>
                      <a:lnTo>
                        <a:pt x="571" y="396"/>
                      </a:lnTo>
                      <a:lnTo>
                        <a:pt x="571" y="398"/>
                      </a:lnTo>
                      <a:lnTo>
                        <a:pt x="571" y="398"/>
                      </a:lnTo>
                      <a:lnTo>
                        <a:pt x="569" y="400"/>
                      </a:lnTo>
                      <a:lnTo>
                        <a:pt x="568" y="401"/>
                      </a:lnTo>
                      <a:lnTo>
                        <a:pt x="562" y="403"/>
                      </a:lnTo>
                      <a:lnTo>
                        <a:pt x="559" y="403"/>
                      </a:lnTo>
                      <a:lnTo>
                        <a:pt x="558" y="404"/>
                      </a:lnTo>
                      <a:lnTo>
                        <a:pt x="556" y="405"/>
                      </a:lnTo>
                      <a:lnTo>
                        <a:pt x="555" y="407"/>
                      </a:lnTo>
                      <a:lnTo>
                        <a:pt x="554" y="408"/>
                      </a:lnTo>
                      <a:lnTo>
                        <a:pt x="555" y="410"/>
                      </a:lnTo>
                      <a:lnTo>
                        <a:pt x="556" y="411"/>
                      </a:lnTo>
                      <a:lnTo>
                        <a:pt x="556" y="411"/>
                      </a:lnTo>
                      <a:lnTo>
                        <a:pt x="558" y="411"/>
                      </a:lnTo>
                      <a:lnTo>
                        <a:pt x="558" y="412"/>
                      </a:lnTo>
                      <a:lnTo>
                        <a:pt x="558" y="413"/>
                      </a:lnTo>
                      <a:lnTo>
                        <a:pt x="558" y="413"/>
                      </a:lnTo>
                      <a:lnTo>
                        <a:pt x="556" y="414"/>
                      </a:lnTo>
                      <a:lnTo>
                        <a:pt x="554" y="415"/>
                      </a:lnTo>
                      <a:lnTo>
                        <a:pt x="553" y="415"/>
                      </a:lnTo>
                      <a:lnTo>
                        <a:pt x="553" y="416"/>
                      </a:lnTo>
                      <a:lnTo>
                        <a:pt x="553" y="417"/>
                      </a:lnTo>
                      <a:lnTo>
                        <a:pt x="554" y="418"/>
                      </a:lnTo>
                      <a:lnTo>
                        <a:pt x="554" y="419"/>
                      </a:lnTo>
                      <a:lnTo>
                        <a:pt x="556" y="419"/>
                      </a:lnTo>
                      <a:lnTo>
                        <a:pt x="558" y="420"/>
                      </a:lnTo>
                      <a:lnTo>
                        <a:pt x="560" y="420"/>
                      </a:lnTo>
                      <a:lnTo>
                        <a:pt x="563" y="419"/>
                      </a:lnTo>
                      <a:lnTo>
                        <a:pt x="563" y="419"/>
                      </a:lnTo>
                      <a:lnTo>
                        <a:pt x="564" y="420"/>
                      </a:lnTo>
                      <a:lnTo>
                        <a:pt x="564" y="420"/>
                      </a:lnTo>
                      <a:lnTo>
                        <a:pt x="564" y="421"/>
                      </a:lnTo>
                      <a:lnTo>
                        <a:pt x="564" y="422"/>
                      </a:lnTo>
                      <a:lnTo>
                        <a:pt x="563" y="422"/>
                      </a:lnTo>
                      <a:lnTo>
                        <a:pt x="563" y="423"/>
                      </a:lnTo>
                      <a:lnTo>
                        <a:pt x="562" y="423"/>
                      </a:lnTo>
                      <a:lnTo>
                        <a:pt x="558" y="423"/>
                      </a:lnTo>
                      <a:lnTo>
                        <a:pt x="557" y="422"/>
                      </a:lnTo>
                      <a:lnTo>
                        <a:pt x="555" y="423"/>
                      </a:lnTo>
                      <a:lnTo>
                        <a:pt x="554" y="424"/>
                      </a:lnTo>
                      <a:lnTo>
                        <a:pt x="554" y="426"/>
                      </a:lnTo>
                      <a:lnTo>
                        <a:pt x="555" y="427"/>
                      </a:lnTo>
                      <a:lnTo>
                        <a:pt x="556" y="428"/>
                      </a:lnTo>
                      <a:lnTo>
                        <a:pt x="556" y="430"/>
                      </a:lnTo>
                      <a:lnTo>
                        <a:pt x="557" y="430"/>
                      </a:lnTo>
                      <a:lnTo>
                        <a:pt x="558" y="430"/>
                      </a:lnTo>
                      <a:lnTo>
                        <a:pt x="558" y="430"/>
                      </a:lnTo>
                      <a:lnTo>
                        <a:pt x="559" y="430"/>
                      </a:lnTo>
                      <a:lnTo>
                        <a:pt x="560" y="430"/>
                      </a:lnTo>
                      <a:lnTo>
                        <a:pt x="561" y="428"/>
                      </a:lnTo>
                      <a:lnTo>
                        <a:pt x="563" y="426"/>
                      </a:lnTo>
                      <a:lnTo>
                        <a:pt x="564" y="426"/>
                      </a:lnTo>
                      <a:lnTo>
                        <a:pt x="565" y="426"/>
                      </a:lnTo>
                      <a:lnTo>
                        <a:pt x="566" y="426"/>
                      </a:lnTo>
                      <a:lnTo>
                        <a:pt x="566" y="426"/>
                      </a:lnTo>
                      <a:lnTo>
                        <a:pt x="566" y="428"/>
                      </a:lnTo>
                      <a:lnTo>
                        <a:pt x="566" y="428"/>
                      </a:lnTo>
                      <a:lnTo>
                        <a:pt x="565" y="430"/>
                      </a:lnTo>
                      <a:lnTo>
                        <a:pt x="565" y="430"/>
                      </a:lnTo>
                      <a:lnTo>
                        <a:pt x="563" y="432"/>
                      </a:lnTo>
                      <a:lnTo>
                        <a:pt x="562" y="432"/>
                      </a:lnTo>
                      <a:lnTo>
                        <a:pt x="560" y="432"/>
                      </a:lnTo>
                      <a:lnTo>
                        <a:pt x="560" y="433"/>
                      </a:lnTo>
                      <a:lnTo>
                        <a:pt x="559" y="434"/>
                      </a:lnTo>
                      <a:lnTo>
                        <a:pt x="559" y="435"/>
                      </a:lnTo>
                      <a:lnTo>
                        <a:pt x="559" y="436"/>
                      </a:lnTo>
                      <a:lnTo>
                        <a:pt x="560" y="436"/>
                      </a:lnTo>
                      <a:lnTo>
                        <a:pt x="560" y="438"/>
                      </a:lnTo>
                      <a:lnTo>
                        <a:pt x="559" y="438"/>
                      </a:lnTo>
                      <a:lnTo>
                        <a:pt x="558" y="439"/>
                      </a:lnTo>
                      <a:lnTo>
                        <a:pt x="558" y="439"/>
                      </a:lnTo>
                      <a:lnTo>
                        <a:pt x="557" y="439"/>
                      </a:lnTo>
                      <a:lnTo>
                        <a:pt x="556" y="439"/>
                      </a:lnTo>
                      <a:lnTo>
                        <a:pt x="555" y="438"/>
                      </a:lnTo>
                      <a:lnTo>
                        <a:pt x="555" y="439"/>
                      </a:lnTo>
                      <a:lnTo>
                        <a:pt x="554" y="439"/>
                      </a:lnTo>
                      <a:lnTo>
                        <a:pt x="554" y="439"/>
                      </a:lnTo>
                      <a:lnTo>
                        <a:pt x="553" y="440"/>
                      </a:lnTo>
                      <a:lnTo>
                        <a:pt x="552" y="441"/>
                      </a:lnTo>
                      <a:lnTo>
                        <a:pt x="552" y="442"/>
                      </a:lnTo>
                      <a:lnTo>
                        <a:pt x="552" y="443"/>
                      </a:lnTo>
                      <a:lnTo>
                        <a:pt x="552" y="443"/>
                      </a:lnTo>
                      <a:lnTo>
                        <a:pt x="553" y="444"/>
                      </a:lnTo>
                      <a:lnTo>
                        <a:pt x="554" y="444"/>
                      </a:lnTo>
                      <a:lnTo>
                        <a:pt x="555" y="443"/>
                      </a:lnTo>
                      <a:lnTo>
                        <a:pt x="556" y="443"/>
                      </a:lnTo>
                      <a:lnTo>
                        <a:pt x="556" y="443"/>
                      </a:lnTo>
                      <a:lnTo>
                        <a:pt x="558" y="445"/>
                      </a:lnTo>
                      <a:lnTo>
                        <a:pt x="558" y="446"/>
                      </a:lnTo>
                      <a:lnTo>
                        <a:pt x="558" y="447"/>
                      </a:lnTo>
                      <a:lnTo>
                        <a:pt x="558" y="449"/>
                      </a:lnTo>
                      <a:lnTo>
                        <a:pt x="558" y="450"/>
                      </a:lnTo>
                      <a:lnTo>
                        <a:pt x="558" y="451"/>
                      </a:lnTo>
                      <a:lnTo>
                        <a:pt x="558" y="452"/>
                      </a:lnTo>
                      <a:lnTo>
                        <a:pt x="559" y="453"/>
                      </a:lnTo>
                      <a:lnTo>
                        <a:pt x="560" y="453"/>
                      </a:lnTo>
                      <a:lnTo>
                        <a:pt x="560" y="453"/>
                      </a:lnTo>
                      <a:lnTo>
                        <a:pt x="561" y="453"/>
                      </a:lnTo>
                      <a:lnTo>
                        <a:pt x="563" y="452"/>
                      </a:lnTo>
                      <a:lnTo>
                        <a:pt x="563" y="451"/>
                      </a:lnTo>
                      <a:lnTo>
                        <a:pt x="564" y="451"/>
                      </a:lnTo>
                      <a:lnTo>
                        <a:pt x="565" y="452"/>
                      </a:lnTo>
                      <a:lnTo>
                        <a:pt x="565" y="453"/>
                      </a:lnTo>
                      <a:lnTo>
                        <a:pt x="565" y="453"/>
                      </a:lnTo>
                      <a:lnTo>
                        <a:pt x="565" y="454"/>
                      </a:lnTo>
                      <a:lnTo>
                        <a:pt x="565" y="455"/>
                      </a:lnTo>
                      <a:lnTo>
                        <a:pt x="565" y="455"/>
                      </a:lnTo>
                      <a:lnTo>
                        <a:pt x="563" y="456"/>
                      </a:lnTo>
                      <a:lnTo>
                        <a:pt x="563" y="457"/>
                      </a:lnTo>
                      <a:lnTo>
                        <a:pt x="563" y="457"/>
                      </a:lnTo>
                      <a:lnTo>
                        <a:pt x="563" y="458"/>
                      </a:lnTo>
                      <a:lnTo>
                        <a:pt x="563" y="460"/>
                      </a:lnTo>
                      <a:lnTo>
                        <a:pt x="563" y="461"/>
                      </a:lnTo>
                      <a:lnTo>
                        <a:pt x="563" y="462"/>
                      </a:lnTo>
                      <a:lnTo>
                        <a:pt x="563" y="462"/>
                      </a:lnTo>
                      <a:lnTo>
                        <a:pt x="563" y="463"/>
                      </a:lnTo>
                      <a:lnTo>
                        <a:pt x="562" y="464"/>
                      </a:lnTo>
                      <a:lnTo>
                        <a:pt x="560" y="464"/>
                      </a:lnTo>
                      <a:lnTo>
                        <a:pt x="560" y="464"/>
                      </a:lnTo>
                      <a:lnTo>
                        <a:pt x="560" y="463"/>
                      </a:lnTo>
                      <a:lnTo>
                        <a:pt x="559" y="462"/>
                      </a:lnTo>
                      <a:lnTo>
                        <a:pt x="558" y="462"/>
                      </a:lnTo>
                      <a:lnTo>
                        <a:pt x="557" y="461"/>
                      </a:lnTo>
                      <a:lnTo>
                        <a:pt x="556" y="462"/>
                      </a:lnTo>
                      <a:lnTo>
                        <a:pt x="556" y="463"/>
                      </a:lnTo>
                      <a:lnTo>
                        <a:pt x="556" y="464"/>
                      </a:lnTo>
                      <a:lnTo>
                        <a:pt x="557" y="464"/>
                      </a:lnTo>
                      <a:lnTo>
                        <a:pt x="559" y="466"/>
                      </a:lnTo>
                      <a:lnTo>
                        <a:pt x="560" y="467"/>
                      </a:lnTo>
                      <a:lnTo>
                        <a:pt x="561" y="469"/>
                      </a:lnTo>
                      <a:lnTo>
                        <a:pt x="562" y="470"/>
                      </a:lnTo>
                      <a:lnTo>
                        <a:pt x="563" y="470"/>
                      </a:lnTo>
                      <a:lnTo>
                        <a:pt x="563" y="470"/>
                      </a:lnTo>
                      <a:lnTo>
                        <a:pt x="563" y="471"/>
                      </a:lnTo>
                      <a:lnTo>
                        <a:pt x="562" y="472"/>
                      </a:lnTo>
                      <a:lnTo>
                        <a:pt x="561" y="472"/>
                      </a:lnTo>
                      <a:lnTo>
                        <a:pt x="560" y="472"/>
                      </a:lnTo>
                      <a:lnTo>
                        <a:pt x="557" y="472"/>
                      </a:lnTo>
                      <a:lnTo>
                        <a:pt x="555" y="472"/>
                      </a:lnTo>
                      <a:lnTo>
                        <a:pt x="553" y="472"/>
                      </a:lnTo>
                      <a:lnTo>
                        <a:pt x="550" y="474"/>
                      </a:lnTo>
                      <a:lnTo>
                        <a:pt x="548" y="475"/>
                      </a:lnTo>
                      <a:lnTo>
                        <a:pt x="547" y="476"/>
                      </a:lnTo>
                      <a:lnTo>
                        <a:pt x="545" y="476"/>
                      </a:lnTo>
                      <a:lnTo>
                        <a:pt x="544" y="476"/>
                      </a:lnTo>
                      <a:lnTo>
                        <a:pt x="544" y="477"/>
                      </a:lnTo>
                      <a:lnTo>
                        <a:pt x="544" y="478"/>
                      </a:lnTo>
                      <a:lnTo>
                        <a:pt x="544" y="479"/>
                      </a:lnTo>
                      <a:lnTo>
                        <a:pt x="544" y="480"/>
                      </a:lnTo>
                      <a:lnTo>
                        <a:pt x="544" y="482"/>
                      </a:lnTo>
                      <a:lnTo>
                        <a:pt x="544" y="483"/>
                      </a:lnTo>
                      <a:lnTo>
                        <a:pt x="546" y="485"/>
                      </a:lnTo>
                      <a:lnTo>
                        <a:pt x="546" y="485"/>
                      </a:lnTo>
                      <a:lnTo>
                        <a:pt x="548" y="487"/>
                      </a:lnTo>
                      <a:lnTo>
                        <a:pt x="549" y="487"/>
                      </a:lnTo>
                      <a:lnTo>
                        <a:pt x="549" y="488"/>
                      </a:lnTo>
                      <a:lnTo>
                        <a:pt x="549" y="489"/>
                      </a:lnTo>
                      <a:lnTo>
                        <a:pt x="549" y="489"/>
                      </a:lnTo>
                      <a:lnTo>
                        <a:pt x="548" y="489"/>
                      </a:lnTo>
                      <a:lnTo>
                        <a:pt x="547" y="489"/>
                      </a:lnTo>
                      <a:lnTo>
                        <a:pt x="546" y="489"/>
                      </a:lnTo>
                      <a:lnTo>
                        <a:pt x="546" y="490"/>
                      </a:lnTo>
                      <a:lnTo>
                        <a:pt x="546" y="492"/>
                      </a:lnTo>
                      <a:lnTo>
                        <a:pt x="546" y="493"/>
                      </a:lnTo>
                      <a:lnTo>
                        <a:pt x="546" y="494"/>
                      </a:lnTo>
                      <a:lnTo>
                        <a:pt x="546" y="495"/>
                      </a:lnTo>
                      <a:lnTo>
                        <a:pt x="547" y="496"/>
                      </a:lnTo>
                      <a:lnTo>
                        <a:pt x="547" y="497"/>
                      </a:lnTo>
                      <a:lnTo>
                        <a:pt x="546" y="497"/>
                      </a:lnTo>
                      <a:lnTo>
                        <a:pt x="546" y="497"/>
                      </a:lnTo>
                      <a:lnTo>
                        <a:pt x="545" y="497"/>
                      </a:lnTo>
                      <a:lnTo>
                        <a:pt x="543" y="496"/>
                      </a:lnTo>
                      <a:lnTo>
                        <a:pt x="542" y="496"/>
                      </a:lnTo>
                      <a:lnTo>
                        <a:pt x="541" y="495"/>
                      </a:lnTo>
                      <a:lnTo>
                        <a:pt x="541" y="495"/>
                      </a:lnTo>
                      <a:lnTo>
                        <a:pt x="541" y="493"/>
                      </a:lnTo>
                      <a:lnTo>
                        <a:pt x="540" y="491"/>
                      </a:lnTo>
                      <a:lnTo>
                        <a:pt x="539" y="491"/>
                      </a:lnTo>
                      <a:lnTo>
                        <a:pt x="539" y="491"/>
                      </a:lnTo>
                      <a:lnTo>
                        <a:pt x="538" y="491"/>
                      </a:lnTo>
                      <a:lnTo>
                        <a:pt x="537" y="493"/>
                      </a:lnTo>
                      <a:lnTo>
                        <a:pt x="537" y="493"/>
                      </a:lnTo>
                      <a:lnTo>
                        <a:pt x="538" y="495"/>
                      </a:lnTo>
                      <a:lnTo>
                        <a:pt x="539" y="496"/>
                      </a:lnTo>
                      <a:lnTo>
                        <a:pt x="541" y="497"/>
                      </a:lnTo>
                      <a:lnTo>
                        <a:pt x="541" y="498"/>
                      </a:lnTo>
                      <a:lnTo>
                        <a:pt x="539" y="500"/>
                      </a:lnTo>
                      <a:lnTo>
                        <a:pt x="537" y="500"/>
                      </a:lnTo>
                      <a:lnTo>
                        <a:pt x="535" y="501"/>
                      </a:lnTo>
                      <a:lnTo>
                        <a:pt x="534" y="502"/>
                      </a:lnTo>
                      <a:lnTo>
                        <a:pt x="533" y="504"/>
                      </a:lnTo>
                      <a:lnTo>
                        <a:pt x="532" y="506"/>
                      </a:lnTo>
                      <a:lnTo>
                        <a:pt x="531" y="506"/>
                      </a:lnTo>
                      <a:lnTo>
                        <a:pt x="529" y="506"/>
                      </a:lnTo>
                      <a:lnTo>
                        <a:pt x="527" y="507"/>
                      </a:lnTo>
                      <a:lnTo>
                        <a:pt x="526" y="507"/>
                      </a:lnTo>
                      <a:lnTo>
                        <a:pt x="525" y="508"/>
                      </a:lnTo>
                      <a:lnTo>
                        <a:pt x="525" y="508"/>
                      </a:lnTo>
                      <a:lnTo>
                        <a:pt x="522" y="509"/>
                      </a:lnTo>
                      <a:lnTo>
                        <a:pt x="522" y="510"/>
                      </a:lnTo>
                      <a:lnTo>
                        <a:pt x="522" y="512"/>
                      </a:lnTo>
                      <a:lnTo>
                        <a:pt x="522" y="512"/>
                      </a:lnTo>
                      <a:lnTo>
                        <a:pt x="525" y="513"/>
                      </a:lnTo>
                      <a:lnTo>
                        <a:pt x="526" y="513"/>
                      </a:lnTo>
                      <a:lnTo>
                        <a:pt x="527" y="513"/>
                      </a:lnTo>
                      <a:lnTo>
                        <a:pt x="529" y="512"/>
                      </a:lnTo>
                      <a:lnTo>
                        <a:pt x="529" y="512"/>
                      </a:lnTo>
                      <a:lnTo>
                        <a:pt x="531" y="512"/>
                      </a:lnTo>
                      <a:lnTo>
                        <a:pt x="532" y="512"/>
                      </a:lnTo>
                      <a:lnTo>
                        <a:pt x="533" y="513"/>
                      </a:lnTo>
                      <a:lnTo>
                        <a:pt x="533" y="515"/>
                      </a:lnTo>
                      <a:lnTo>
                        <a:pt x="531" y="516"/>
                      </a:lnTo>
                      <a:lnTo>
                        <a:pt x="531" y="516"/>
                      </a:lnTo>
                      <a:lnTo>
                        <a:pt x="528" y="518"/>
                      </a:lnTo>
                      <a:lnTo>
                        <a:pt x="527" y="519"/>
                      </a:lnTo>
                      <a:lnTo>
                        <a:pt x="526" y="520"/>
                      </a:lnTo>
                      <a:lnTo>
                        <a:pt x="525" y="521"/>
                      </a:lnTo>
                      <a:lnTo>
                        <a:pt x="525" y="522"/>
                      </a:lnTo>
                      <a:lnTo>
                        <a:pt x="525" y="523"/>
                      </a:lnTo>
                      <a:lnTo>
                        <a:pt x="525" y="523"/>
                      </a:lnTo>
                      <a:lnTo>
                        <a:pt x="527" y="524"/>
                      </a:lnTo>
                      <a:lnTo>
                        <a:pt x="528" y="524"/>
                      </a:lnTo>
                      <a:lnTo>
                        <a:pt x="529" y="525"/>
                      </a:lnTo>
                      <a:lnTo>
                        <a:pt x="531" y="526"/>
                      </a:lnTo>
                      <a:lnTo>
                        <a:pt x="531" y="527"/>
                      </a:lnTo>
                      <a:lnTo>
                        <a:pt x="532" y="529"/>
                      </a:lnTo>
                      <a:lnTo>
                        <a:pt x="533" y="528"/>
                      </a:lnTo>
                      <a:lnTo>
                        <a:pt x="535" y="527"/>
                      </a:lnTo>
                      <a:lnTo>
                        <a:pt x="536" y="525"/>
                      </a:lnTo>
                      <a:lnTo>
                        <a:pt x="537" y="525"/>
                      </a:lnTo>
                      <a:lnTo>
                        <a:pt x="537" y="525"/>
                      </a:lnTo>
                      <a:lnTo>
                        <a:pt x="538" y="525"/>
                      </a:lnTo>
                      <a:lnTo>
                        <a:pt x="539" y="527"/>
                      </a:lnTo>
                      <a:lnTo>
                        <a:pt x="539" y="527"/>
                      </a:lnTo>
                      <a:lnTo>
                        <a:pt x="537" y="529"/>
                      </a:lnTo>
                      <a:lnTo>
                        <a:pt x="537" y="530"/>
                      </a:lnTo>
                      <a:lnTo>
                        <a:pt x="535" y="531"/>
                      </a:lnTo>
                      <a:lnTo>
                        <a:pt x="535" y="533"/>
                      </a:lnTo>
                      <a:lnTo>
                        <a:pt x="534" y="533"/>
                      </a:lnTo>
                      <a:lnTo>
                        <a:pt x="534" y="535"/>
                      </a:lnTo>
                      <a:lnTo>
                        <a:pt x="534" y="537"/>
                      </a:lnTo>
                      <a:lnTo>
                        <a:pt x="531" y="537"/>
                      </a:lnTo>
                      <a:lnTo>
                        <a:pt x="529" y="539"/>
                      </a:lnTo>
                      <a:lnTo>
                        <a:pt x="527" y="540"/>
                      </a:lnTo>
                      <a:lnTo>
                        <a:pt x="527" y="542"/>
                      </a:lnTo>
                      <a:lnTo>
                        <a:pt x="526" y="543"/>
                      </a:lnTo>
                      <a:lnTo>
                        <a:pt x="525" y="544"/>
                      </a:lnTo>
                      <a:lnTo>
                        <a:pt x="526" y="545"/>
                      </a:lnTo>
                      <a:lnTo>
                        <a:pt x="527" y="544"/>
                      </a:lnTo>
                      <a:lnTo>
                        <a:pt x="529" y="544"/>
                      </a:lnTo>
                      <a:lnTo>
                        <a:pt x="530" y="543"/>
                      </a:lnTo>
                      <a:lnTo>
                        <a:pt x="531" y="543"/>
                      </a:lnTo>
                      <a:lnTo>
                        <a:pt x="533" y="544"/>
                      </a:lnTo>
                      <a:lnTo>
                        <a:pt x="533" y="545"/>
                      </a:lnTo>
                      <a:lnTo>
                        <a:pt x="533" y="546"/>
                      </a:lnTo>
                      <a:lnTo>
                        <a:pt x="531" y="548"/>
                      </a:lnTo>
                      <a:lnTo>
                        <a:pt x="530" y="549"/>
                      </a:lnTo>
                      <a:lnTo>
                        <a:pt x="529" y="550"/>
                      </a:lnTo>
                      <a:lnTo>
                        <a:pt x="526" y="552"/>
                      </a:lnTo>
                      <a:lnTo>
                        <a:pt x="524" y="554"/>
                      </a:lnTo>
                      <a:lnTo>
                        <a:pt x="522" y="555"/>
                      </a:lnTo>
                      <a:lnTo>
                        <a:pt x="521" y="556"/>
                      </a:lnTo>
                      <a:lnTo>
                        <a:pt x="520" y="557"/>
                      </a:lnTo>
                      <a:lnTo>
                        <a:pt x="520" y="559"/>
                      </a:lnTo>
                      <a:lnTo>
                        <a:pt x="520" y="561"/>
                      </a:lnTo>
                      <a:lnTo>
                        <a:pt x="519" y="562"/>
                      </a:lnTo>
                      <a:lnTo>
                        <a:pt x="519" y="563"/>
                      </a:lnTo>
                      <a:lnTo>
                        <a:pt x="520" y="565"/>
                      </a:lnTo>
                      <a:lnTo>
                        <a:pt x="521" y="568"/>
                      </a:lnTo>
                      <a:lnTo>
                        <a:pt x="522" y="569"/>
                      </a:lnTo>
                      <a:lnTo>
                        <a:pt x="522" y="569"/>
                      </a:lnTo>
                      <a:lnTo>
                        <a:pt x="522" y="571"/>
                      </a:lnTo>
                      <a:lnTo>
                        <a:pt x="522" y="572"/>
                      </a:lnTo>
                      <a:lnTo>
                        <a:pt x="522" y="573"/>
                      </a:lnTo>
                      <a:lnTo>
                        <a:pt x="521" y="573"/>
                      </a:lnTo>
                      <a:lnTo>
                        <a:pt x="520" y="573"/>
                      </a:lnTo>
                      <a:lnTo>
                        <a:pt x="518" y="573"/>
                      </a:lnTo>
                      <a:lnTo>
                        <a:pt x="518" y="574"/>
                      </a:lnTo>
                      <a:lnTo>
                        <a:pt x="517" y="575"/>
                      </a:lnTo>
                      <a:lnTo>
                        <a:pt x="517" y="576"/>
                      </a:lnTo>
                      <a:lnTo>
                        <a:pt x="517" y="578"/>
                      </a:lnTo>
                      <a:lnTo>
                        <a:pt x="518" y="578"/>
                      </a:lnTo>
                      <a:lnTo>
                        <a:pt x="518" y="578"/>
                      </a:lnTo>
                      <a:lnTo>
                        <a:pt x="520" y="579"/>
                      </a:lnTo>
                      <a:lnTo>
                        <a:pt x="521" y="579"/>
                      </a:lnTo>
                      <a:lnTo>
                        <a:pt x="522" y="580"/>
                      </a:lnTo>
                      <a:lnTo>
                        <a:pt x="524" y="580"/>
                      </a:lnTo>
                      <a:lnTo>
                        <a:pt x="525" y="581"/>
                      </a:lnTo>
                      <a:lnTo>
                        <a:pt x="527" y="582"/>
                      </a:lnTo>
                      <a:lnTo>
                        <a:pt x="527" y="582"/>
                      </a:lnTo>
                      <a:lnTo>
                        <a:pt x="529" y="583"/>
                      </a:lnTo>
                      <a:lnTo>
                        <a:pt x="530" y="584"/>
                      </a:lnTo>
                      <a:lnTo>
                        <a:pt x="531" y="584"/>
                      </a:lnTo>
                      <a:lnTo>
                        <a:pt x="531" y="584"/>
                      </a:lnTo>
                      <a:lnTo>
                        <a:pt x="531" y="586"/>
                      </a:lnTo>
                      <a:lnTo>
                        <a:pt x="531" y="586"/>
                      </a:lnTo>
                      <a:lnTo>
                        <a:pt x="529" y="587"/>
                      </a:lnTo>
                      <a:lnTo>
                        <a:pt x="529" y="588"/>
                      </a:lnTo>
                      <a:lnTo>
                        <a:pt x="527" y="588"/>
                      </a:lnTo>
                      <a:lnTo>
                        <a:pt x="526" y="590"/>
                      </a:lnTo>
                      <a:lnTo>
                        <a:pt x="525" y="591"/>
                      </a:lnTo>
                      <a:lnTo>
                        <a:pt x="525" y="591"/>
                      </a:lnTo>
                      <a:lnTo>
                        <a:pt x="524" y="592"/>
                      </a:lnTo>
                      <a:lnTo>
                        <a:pt x="523" y="592"/>
                      </a:lnTo>
                      <a:lnTo>
                        <a:pt x="522" y="591"/>
                      </a:lnTo>
                      <a:lnTo>
                        <a:pt x="520" y="591"/>
                      </a:lnTo>
                      <a:lnTo>
                        <a:pt x="520" y="590"/>
                      </a:lnTo>
                      <a:lnTo>
                        <a:pt x="518" y="590"/>
                      </a:lnTo>
                      <a:lnTo>
                        <a:pt x="518" y="591"/>
                      </a:lnTo>
                      <a:lnTo>
                        <a:pt x="517" y="591"/>
                      </a:lnTo>
                      <a:lnTo>
                        <a:pt x="517" y="592"/>
                      </a:lnTo>
                      <a:lnTo>
                        <a:pt x="516" y="592"/>
                      </a:lnTo>
                      <a:lnTo>
                        <a:pt x="516" y="593"/>
                      </a:lnTo>
                      <a:lnTo>
                        <a:pt x="517" y="594"/>
                      </a:lnTo>
                      <a:lnTo>
                        <a:pt x="518" y="595"/>
                      </a:lnTo>
                      <a:lnTo>
                        <a:pt x="518" y="596"/>
                      </a:lnTo>
                      <a:lnTo>
                        <a:pt x="519" y="596"/>
                      </a:lnTo>
                      <a:lnTo>
                        <a:pt x="520" y="597"/>
                      </a:lnTo>
                      <a:lnTo>
                        <a:pt x="522" y="596"/>
                      </a:lnTo>
                      <a:lnTo>
                        <a:pt x="524" y="595"/>
                      </a:lnTo>
                      <a:lnTo>
                        <a:pt x="525" y="595"/>
                      </a:lnTo>
                      <a:lnTo>
                        <a:pt x="526" y="595"/>
                      </a:lnTo>
                      <a:lnTo>
                        <a:pt x="527" y="595"/>
                      </a:lnTo>
                      <a:lnTo>
                        <a:pt x="527" y="596"/>
                      </a:lnTo>
                      <a:lnTo>
                        <a:pt x="528" y="596"/>
                      </a:lnTo>
                      <a:lnTo>
                        <a:pt x="529" y="597"/>
                      </a:lnTo>
                      <a:lnTo>
                        <a:pt x="529" y="598"/>
                      </a:lnTo>
                      <a:lnTo>
                        <a:pt x="529" y="599"/>
                      </a:lnTo>
                      <a:lnTo>
                        <a:pt x="528" y="601"/>
                      </a:lnTo>
                      <a:lnTo>
                        <a:pt x="527" y="602"/>
                      </a:lnTo>
                      <a:lnTo>
                        <a:pt x="526" y="603"/>
                      </a:lnTo>
                      <a:lnTo>
                        <a:pt x="525" y="604"/>
                      </a:lnTo>
                      <a:lnTo>
                        <a:pt x="525" y="605"/>
                      </a:lnTo>
                      <a:lnTo>
                        <a:pt x="524" y="607"/>
                      </a:lnTo>
                      <a:lnTo>
                        <a:pt x="522" y="609"/>
                      </a:lnTo>
                      <a:lnTo>
                        <a:pt x="522" y="610"/>
                      </a:lnTo>
                      <a:lnTo>
                        <a:pt x="521" y="611"/>
                      </a:lnTo>
                      <a:lnTo>
                        <a:pt x="521" y="613"/>
                      </a:lnTo>
                      <a:lnTo>
                        <a:pt x="520" y="614"/>
                      </a:lnTo>
                      <a:lnTo>
                        <a:pt x="521" y="615"/>
                      </a:lnTo>
                      <a:lnTo>
                        <a:pt x="521" y="617"/>
                      </a:lnTo>
                      <a:lnTo>
                        <a:pt x="521" y="619"/>
                      </a:lnTo>
                      <a:lnTo>
                        <a:pt x="522" y="620"/>
                      </a:lnTo>
                      <a:lnTo>
                        <a:pt x="522" y="621"/>
                      </a:lnTo>
                      <a:lnTo>
                        <a:pt x="523" y="622"/>
                      </a:lnTo>
                      <a:lnTo>
                        <a:pt x="525" y="623"/>
                      </a:lnTo>
                      <a:lnTo>
                        <a:pt x="526" y="624"/>
                      </a:lnTo>
                      <a:lnTo>
                        <a:pt x="527" y="626"/>
                      </a:lnTo>
                      <a:lnTo>
                        <a:pt x="528" y="627"/>
                      </a:lnTo>
                      <a:lnTo>
                        <a:pt x="528" y="628"/>
                      </a:lnTo>
                      <a:lnTo>
                        <a:pt x="528" y="629"/>
                      </a:lnTo>
                      <a:lnTo>
                        <a:pt x="528" y="630"/>
                      </a:lnTo>
                      <a:lnTo>
                        <a:pt x="527" y="631"/>
                      </a:lnTo>
                      <a:lnTo>
                        <a:pt x="527" y="632"/>
                      </a:lnTo>
                      <a:lnTo>
                        <a:pt x="526" y="633"/>
                      </a:lnTo>
                      <a:lnTo>
                        <a:pt x="525" y="634"/>
                      </a:lnTo>
                      <a:lnTo>
                        <a:pt x="525" y="634"/>
                      </a:lnTo>
                      <a:lnTo>
                        <a:pt x="526" y="636"/>
                      </a:lnTo>
                      <a:lnTo>
                        <a:pt x="527" y="636"/>
                      </a:lnTo>
                      <a:lnTo>
                        <a:pt x="527" y="637"/>
                      </a:lnTo>
                      <a:lnTo>
                        <a:pt x="528" y="637"/>
                      </a:lnTo>
                      <a:lnTo>
                        <a:pt x="530" y="638"/>
                      </a:lnTo>
                      <a:lnTo>
                        <a:pt x="531" y="639"/>
                      </a:lnTo>
                      <a:lnTo>
                        <a:pt x="532" y="639"/>
                      </a:lnTo>
                      <a:lnTo>
                        <a:pt x="533" y="639"/>
                      </a:lnTo>
                      <a:lnTo>
                        <a:pt x="535" y="640"/>
                      </a:lnTo>
                      <a:lnTo>
                        <a:pt x="536" y="641"/>
                      </a:lnTo>
                      <a:lnTo>
                        <a:pt x="537" y="641"/>
                      </a:lnTo>
                      <a:lnTo>
                        <a:pt x="537" y="643"/>
                      </a:lnTo>
                      <a:lnTo>
                        <a:pt x="537" y="644"/>
                      </a:lnTo>
                      <a:lnTo>
                        <a:pt x="537" y="645"/>
                      </a:lnTo>
                      <a:lnTo>
                        <a:pt x="537" y="645"/>
                      </a:lnTo>
                      <a:lnTo>
                        <a:pt x="537" y="646"/>
                      </a:lnTo>
                      <a:lnTo>
                        <a:pt x="535" y="647"/>
                      </a:lnTo>
                      <a:lnTo>
                        <a:pt x="534" y="647"/>
                      </a:lnTo>
                      <a:lnTo>
                        <a:pt x="533" y="646"/>
                      </a:lnTo>
                      <a:lnTo>
                        <a:pt x="532" y="646"/>
                      </a:lnTo>
                      <a:lnTo>
                        <a:pt x="531" y="645"/>
                      </a:lnTo>
                      <a:lnTo>
                        <a:pt x="529" y="645"/>
                      </a:lnTo>
                      <a:lnTo>
                        <a:pt x="528" y="645"/>
                      </a:lnTo>
                      <a:lnTo>
                        <a:pt x="527" y="645"/>
                      </a:lnTo>
                      <a:lnTo>
                        <a:pt x="525" y="647"/>
                      </a:lnTo>
                      <a:lnTo>
                        <a:pt x="524" y="648"/>
                      </a:lnTo>
                      <a:lnTo>
                        <a:pt x="523" y="650"/>
                      </a:lnTo>
                      <a:lnTo>
                        <a:pt x="521" y="653"/>
                      </a:lnTo>
                      <a:lnTo>
                        <a:pt x="520" y="654"/>
                      </a:lnTo>
                      <a:lnTo>
                        <a:pt x="518" y="655"/>
                      </a:lnTo>
                      <a:lnTo>
                        <a:pt x="517" y="656"/>
                      </a:lnTo>
                      <a:lnTo>
                        <a:pt x="516" y="657"/>
                      </a:lnTo>
                      <a:lnTo>
                        <a:pt x="515" y="658"/>
                      </a:lnTo>
                      <a:lnTo>
                        <a:pt x="515" y="658"/>
                      </a:lnTo>
                      <a:lnTo>
                        <a:pt x="515" y="659"/>
                      </a:lnTo>
                      <a:lnTo>
                        <a:pt x="515" y="660"/>
                      </a:lnTo>
                      <a:lnTo>
                        <a:pt x="516" y="660"/>
                      </a:lnTo>
                      <a:lnTo>
                        <a:pt x="517" y="660"/>
                      </a:lnTo>
                      <a:lnTo>
                        <a:pt x="518" y="658"/>
                      </a:lnTo>
                      <a:lnTo>
                        <a:pt x="519" y="658"/>
                      </a:lnTo>
                      <a:lnTo>
                        <a:pt x="520" y="658"/>
                      </a:lnTo>
                      <a:lnTo>
                        <a:pt x="520" y="659"/>
                      </a:lnTo>
                      <a:lnTo>
                        <a:pt x="521" y="659"/>
                      </a:lnTo>
                      <a:lnTo>
                        <a:pt x="522" y="660"/>
                      </a:lnTo>
                      <a:lnTo>
                        <a:pt x="522" y="662"/>
                      </a:lnTo>
                      <a:lnTo>
                        <a:pt x="521" y="663"/>
                      </a:lnTo>
                      <a:lnTo>
                        <a:pt x="520" y="664"/>
                      </a:lnTo>
                      <a:lnTo>
                        <a:pt x="517" y="665"/>
                      </a:lnTo>
                      <a:lnTo>
                        <a:pt x="516" y="666"/>
                      </a:lnTo>
                      <a:lnTo>
                        <a:pt x="516" y="666"/>
                      </a:lnTo>
                      <a:lnTo>
                        <a:pt x="517" y="667"/>
                      </a:lnTo>
                      <a:lnTo>
                        <a:pt x="519" y="668"/>
                      </a:lnTo>
                      <a:lnTo>
                        <a:pt x="520" y="669"/>
                      </a:lnTo>
                      <a:lnTo>
                        <a:pt x="520" y="670"/>
                      </a:lnTo>
                      <a:lnTo>
                        <a:pt x="520" y="671"/>
                      </a:lnTo>
                      <a:lnTo>
                        <a:pt x="519" y="672"/>
                      </a:lnTo>
                      <a:lnTo>
                        <a:pt x="518" y="672"/>
                      </a:lnTo>
                      <a:lnTo>
                        <a:pt x="516" y="674"/>
                      </a:lnTo>
                      <a:lnTo>
                        <a:pt x="516" y="674"/>
                      </a:lnTo>
                      <a:lnTo>
                        <a:pt x="516" y="675"/>
                      </a:lnTo>
                      <a:lnTo>
                        <a:pt x="516" y="676"/>
                      </a:lnTo>
                      <a:lnTo>
                        <a:pt x="516" y="677"/>
                      </a:lnTo>
                      <a:lnTo>
                        <a:pt x="518" y="677"/>
                      </a:lnTo>
                      <a:lnTo>
                        <a:pt x="518" y="678"/>
                      </a:lnTo>
                      <a:lnTo>
                        <a:pt x="520" y="678"/>
                      </a:lnTo>
                      <a:lnTo>
                        <a:pt x="521" y="678"/>
                      </a:lnTo>
                      <a:lnTo>
                        <a:pt x="522" y="678"/>
                      </a:lnTo>
                      <a:lnTo>
                        <a:pt x="523" y="679"/>
                      </a:lnTo>
                      <a:lnTo>
                        <a:pt x="523" y="679"/>
                      </a:lnTo>
                      <a:lnTo>
                        <a:pt x="523" y="681"/>
                      </a:lnTo>
                      <a:lnTo>
                        <a:pt x="523" y="682"/>
                      </a:lnTo>
                      <a:lnTo>
                        <a:pt x="523" y="683"/>
                      </a:lnTo>
                      <a:lnTo>
                        <a:pt x="523" y="685"/>
                      </a:lnTo>
                      <a:lnTo>
                        <a:pt x="522" y="685"/>
                      </a:lnTo>
                      <a:lnTo>
                        <a:pt x="522" y="687"/>
                      </a:lnTo>
                      <a:lnTo>
                        <a:pt x="523" y="688"/>
                      </a:lnTo>
                      <a:lnTo>
                        <a:pt x="524" y="688"/>
                      </a:lnTo>
                      <a:lnTo>
                        <a:pt x="524" y="689"/>
                      </a:lnTo>
                      <a:lnTo>
                        <a:pt x="524" y="690"/>
                      </a:lnTo>
                      <a:lnTo>
                        <a:pt x="525" y="691"/>
                      </a:lnTo>
                      <a:lnTo>
                        <a:pt x="526" y="692"/>
                      </a:lnTo>
                      <a:lnTo>
                        <a:pt x="527" y="693"/>
                      </a:lnTo>
                      <a:lnTo>
                        <a:pt x="528" y="694"/>
                      </a:lnTo>
                      <a:lnTo>
                        <a:pt x="529" y="696"/>
                      </a:lnTo>
                      <a:lnTo>
                        <a:pt x="529" y="698"/>
                      </a:lnTo>
                      <a:lnTo>
                        <a:pt x="529" y="698"/>
                      </a:lnTo>
                      <a:lnTo>
                        <a:pt x="530" y="699"/>
                      </a:lnTo>
                      <a:lnTo>
                        <a:pt x="531" y="699"/>
                      </a:lnTo>
                      <a:lnTo>
                        <a:pt x="531" y="699"/>
                      </a:lnTo>
                      <a:lnTo>
                        <a:pt x="532" y="699"/>
                      </a:lnTo>
                      <a:lnTo>
                        <a:pt x="533" y="698"/>
                      </a:lnTo>
                      <a:lnTo>
                        <a:pt x="534" y="698"/>
                      </a:lnTo>
                      <a:lnTo>
                        <a:pt x="535" y="698"/>
                      </a:lnTo>
                      <a:lnTo>
                        <a:pt x="536" y="699"/>
                      </a:lnTo>
                      <a:lnTo>
                        <a:pt x="536" y="700"/>
                      </a:lnTo>
                      <a:lnTo>
                        <a:pt x="537" y="701"/>
                      </a:lnTo>
                      <a:lnTo>
                        <a:pt x="536" y="702"/>
                      </a:lnTo>
                      <a:lnTo>
                        <a:pt x="535" y="703"/>
                      </a:lnTo>
                      <a:lnTo>
                        <a:pt x="535" y="703"/>
                      </a:lnTo>
                      <a:lnTo>
                        <a:pt x="535" y="704"/>
                      </a:lnTo>
                      <a:lnTo>
                        <a:pt x="534" y="704"/>
                      </a:lnTo>
                      <a:lnTo>
                        <a:pt x="533" y="704"/>
                      </a:lnTo>
                      <a:lnTo>
                        <a:pt x="533" y="706"/>
                      </a:lnTo>
                      <a:lnTo>
                        <a:pt x="533" y="707"/>
                      </a:lnTo>
                      <a:lnTo>
                        <a:pt x="533" y="708"/>
                      </a:lnTo>
                      <a:lnTo>
                        <a:pt x="533" y="710"/>
                      </a:lnTo>
                      <a:lnTo>
                        <a:pt x="532" y="710"/>
                      </a:lnTo>
                      <a:lnTo>
                        <a:pt x="532" y="711"/>
                      </a:lnTo>
                      <a:lnTo>
                        <a:pt x="533" y="712"/>
                      </a:lnTo>
                      <a:lnTo>
                        <a:pt x="533" y="713"/>
                      </a:lnTo>
                      <a:lnTo>
                        <a:pt x="532" y="714"/>
                      </a:lnTo>
                      <a:lnTo>
                        <a:pt x="532" y="714"/>
                      </a:lnTo>
                      <a:lnTo>
                        <a:pt x="532" y="715"/>
                      </a:lnTo>
                      <a:lnTo>
                        <a:pt x="532" y="716"/>
                      </a:lnTo>
                      <a:lnTo>
                        <a:pt x="532" y="717"/>
                      </a:lnTo>
                      <a:lnTo>
                        <a:pt x="531" y="717"/>
                      </a:lnTo>
                      <a:lnTo>
                        <a:pt x="531" y="717"/>
                      </a:lnTo>
                      <a:lnTo>
                        <a:pt x="529" y="718"/>
                      </a:lnTo>
                      <a:lnTo>
                        <a:pt x="529" y="719"/>
                      </a:lnTo>
                      <a:lnTo>
                        <a:pt x="527" y="719"/>
                      </a:lnTo>
                      <a:lnTo>
                        <a:pt x="527" y="720"/>
                      </a:lnTo>
                      <a:lnTo>
                        <a:pt x="527" y="721"/>
                      </a:lnTo>
                      <a:lnTo>
                        <a:pt x="527" y="721"/>
                      </a:lnTo>
                      <a:lnTo>
                        <a:pt x="527" y="722"/>
                      </a:lnTo>
                      <a:lnTo>
                        <a:pt x="527" y="723"/>
                      </a:lnTo>
                      <a:lnTo>
                        <a:pt x="526" y="723"/>
                      </a:lnTo>
                      <a:lnTo>
                        <a:pt x="525" y="724"/>
                      </a:lnTo>
                      <a:lnTo>
                        <a:pt x="524" y="725"/>
                      </a:lnTo>
                      <a:lnTo>
                        <a:pt x="522" y="725"/>
                      </a:lnTo>
                      <a:lnTo>
                        <a:pt x="522" y="726"/>
                      </a:lnTo>
                      <a:lnTo>
                        <a:pt x="522" y="727"/>
                      </a:lnTo>
                      <a:lnTo>
                        <a:pt x="522" y="727"/>
                      </a:lnTo>
                      <a:lnTo>
                        <a:pt x="523" y="728"/>
                      </a:lnTo>
                      <a:lnTo>
                        <a:pt x="524" y="728"/>
                      </a:lnTo>
                      <a:lnTo>
                        <a:pt x="525" y="729"/>
                      </a:lnTo>
                      <a:lnTo>
                        <a:pt x="525" y="729"/>
                      </a:lnTo>
                      <a:lnTo>
                        <a:pt x="525" y="729"/>
                      </a:lnTo>
                      <a:lnTo>
                        <a:pt x="525" y="730"/>
                      </a:lnTo>
                      <a:lnTo>
                        <a:pt x="526" y="731"/>
                      </a:lnTo>
                      <a:lnTo>
                        <a:pt x="526" y="731"/>
                      </a:lnTo>
                      <a:lnTo>
                        <a:pt x="526" y="733"/>
                      </a:lnTo>
                      <a:lnTo>
                        <a:pt x="526" y="733"/>
                      </a:lnTo>
                      <a:lnTo>
                        <a:pt x="526" y="734"/>
                      </a:lnTo>
                      <a:lnTo>
                        <a:pt x="525" y="735"/>
                      </a:lnTo>
                      <a:lnTo>
                        <a:pt x="525" y="736"/>
                      </a:lnTo>
                      <a:lnTo>
                        <a:pt x="525" y="736"/>
                      </a:lnTo>
                      <a:lnTo>
                        <a:pt x="525" y="737"/>
                      </a:lnTo>
                      <a:lnTo>
                        <a:pt x="526" y="737"/>
                      </a:lnTo>
                      <a:lnTo>
                        <a:pt x="527" y="737"/>
                      </a:lnTo>
                      <a:lnTo>
                        <a:pt x="527" y="737"/>
                      </a:lnTo>
                      <a:lnTo>
                        <a:pt x="527" y="738"/>
                      </a:lnTo>
                      <a:lnTo>
                        <a:pt x="527" y="738"/>
                      </a:lnTo>
                      <a:lnTo>
                        <a:pt x="527" y="738"/>
                      </a:lnTo>
                      <a:lnTo>
                        <a:pt x="526" y="738"/>
                      </a:lnTo>
                      <a:lnTo>
                        <a:pt x="525" y="738"/>
                      </a:lnTo>
                      <a:lnTo>
                        <a:pt x="525" y="739"/>
                      </a:lnTo>
                      <a:lnTo>
                        <a:pt x="525" y="740"/>
                      </a:lnTo>
                      <a:lnTo>
                        <a:pt x="525" y="740"/>
                      </a:lnTo>
                      <a:lnTo>
                        <a:pt x="525" y="741"/>
                      </a:lnTo>
                      <a:lnTo>
                        <a:pt x="526" y="741"/>
                      </a:lnTo>
                      <a:lnTo>
                        <a:pt x="527" y="741"/>
                      </a:lnTo>
                      <a:lnTo>
                        <a:pt x="527" y="740"/>
                      </a:lnTo>
                      <a:lnTo>
                        <a:pt x="527" y="740"/>
                      </a:lnTo>
                      <a:lnTo>
                        <a:pt x="527" y="740"/>
                      </a:lnTo>
                      <a:lnTo>
                        <a:pt x="527" y="739"/>
                      </a:lnTo>
                      <a:lnTo>
                        <a:pt x="528" y="738"/>
                      </a:lnTo>
                      <a:lnTo>
                        <a:pt x="529" y="738"/>
                      </a:lnTo>
                      <a:lnTo>
                        <a:pt x="529" y="738"/>
                      </a:lnTo>
                      <a:lnTo>
                        <a:pt x="530" y="738"/>
                      </a:lnTo>
                      <a:lnTo>
                        <a:pt x="530" y="739"/>
                      </a:lnTo>
                      <a:lnTo>
                        <a:pt x="530" y="740"/>
                      </a:lnTo>
                      <a:lnTo>
                        <a:pt x="529" y="740"/>
                      </a:lnTo>
                      <a:lnTo>
                        <a:pt x="529" y="741"/>
                      </a:lnTo>
                      <a:lnTo>
                        <a:pt x="529" y="742"/>
                      </a:lnTo>
                      <a:lnTo>
                        <a:pt x="529" y="742"/>
                      </a:lnTo>
                      <a:lnTo>
                        <a:pt x="529" y="742"/>
                      </a:lnTo>
                      <a:lnTo>
                        <a:pt x="530" y="743"/>
                      </a:lnTo>
                      <a:lnTo>
                        <a:pt x="530" y="744"/>
                      </a:lnTo>
                      <a:lnTo>
                        <a:pt x="531" y="744"/>
                      </a:lnTo>
                      <a:lnTo>
                        <a:pt x="531" y="744"/>
                      </a:lnTo>
                      <a:lnTo>
                        <a:pt x="531" y="745"/>
                      </a:lnTo>
                      <a:lnTo>
                        <a:pt x="532" y="745"/>
                      </a:lnTo>
                      <a:lnTo>
                        <a:pt x="532" y="746"/>
                      </a:lnTo>
                      <a:lnTo>
                        <a:pt x="533" y="746"/>
                      </a:lnTo>
                      <a:lnTo>
                        <a:pt x="533" y="746"/>
                      </a:lnTo>
                      <a:lnTo>
                        <a:pt x="534" y="746"/>
                      </a:lnTo>
                      <a:lnTo>
                        <a:pt x="535" y="746"/>
                      </a:lnTo>
                      <a:lnTo>
                        <a:pt x="535" y="747"/>
                      </a:lnTo>
                      <a:lnTo>
                        <a:pt x="535" y="747"/>
                      </a:lnTo>
                      <a:lnTo>
                        <a:pt x="535" y="748"/>
                      </a:lnTo>
                      <a:lnTo>
                        <a:pt x="535" y="748"/>
                      </a:lnTo>
                      <a:lnTo>
                        <a:pt x="535" y="748"/>
                      </a:lnTo>
                      <a:lnTo>
                        <a:pt x="534" y="748"/>
                      </a:lnTo>
                      <a:lnTo>
                        <a:pt x="533" y="748"/>
                      </a:lnTo>
                      <a:lnTo>
                        <a:pt x="533" y="749"/>
                      </a:lnTo>
                      <a:lnTo>
                        <a:pt x="533" y="750"/>
                      </a:lnTo>
                      <a:lnTo>
                        <a:pt x="534" y="750"/>
                      </a:lnTo>
                      <a:lnTo>
                        <a:pt x="535" y="750"/>
                      </a:lnTo>
                      <a:lnTo>
                        <a:pt x="535" y="750"/>
                      </a:lnTo>
                      <a:lnTo>
                        <a:pt x="536" y="750"/>
                      </a:lnTo>
                      <a:lnTo>
                        <a:pt x="537" y="750"/>
                      </a:lnTo>
                      <a:lnTo>
                        <a:pt x="537" y="750"/>
                      </a:lnTo>
                      <a:lnTo>
                        <a:pt x="538" y="750"/>
                      </a:lnTo>
                      <a:lnTo>
                        <a:pt x="538" y="749"/>
                      </a:lnTo>
                      <a:lnTo>
                        <a:pt x="539" y="749"/>
                      </a:lnTo>
                      <a:lnTo>
                        <a:pt x="539" y="750"/>
                      </a:lnTo>
                      <a:lnTo>
                        <a:pt x="539" y="750"/>
                      </a:lnTo>
                      <a:lnTo>
                        <a:pt x="539" y="750"/>
                      </a:lnTo>
                      <a:lnTo>
                        <a:pt x="538" y="752"/>
                      </a:lnTo>
                      <a:lnTo>
                        <a:pt x="538" y="752"/>
                      </a:lnTo>
                      <a:lnTo>
                        <a:pt x="539" y="752"/>
                      </a:lnTo>
                      <a:lnTo>
                        <a:pt x="539" y="753"/>
                      </a:lnTo>
                      <a:lnTo>
                        <a:pt x="540" y="753"/>
                      </a:lnTo>
                      <a:lnTo>
                        <a:pt x="541" y="753"/>
                      </a:lnTo>
                      <a:lnTo>
                        <a:pt x="541" y="754"/>
                      </a:lnTo>
                      <a:lnTo>
                        <a:pt x="541" y="754"/>
                      </a:lnTo>
                      <a:lnTo>
                        <a:pt x="541" y="754"/>
                      </a:lnTo>
                      <a:lnTo>
                        <a:pt x="542" y="755"/>
                      </a:lnTo>
                      <a:lnTo>
                        <a:pt x="543" y="756"/>
                      </a:lnTo>
                      <a:lnTo>
                        <a:pt x="543" y="757"/>
                      </a:lnTo>
                      <a:lnTo>
                        <a:pt x="544" y="757"/>
                      </a:lnTo>
                      <a:lnTo>
                        <a:pt x="544" y="758"/>
                      </a:lnTo>
                      <a:lnTo>
                        <a:pt x="545" y="758"/>
                      </a:lnTo>
                      <a:lnTo>
                        <a:pt x="546" y="759"/>
                      </a:lnTo>
                      <a:lnTo>
                        <a:pt x="546" y="759"/>
                      </a:lnTo>
                      <a:lnTo>
                        <a:pt x="547" y="759"/>
                      </a:lnTo>
                      <a:lnTo>
                        <a:pt x="548" y="759"/>
                      </a:lnTo>
                      <a:lnTo>
                        <a:pt x="548" y="760"/>
                      </a:lnTo>
                      <a:lnTo>
                        <a:pt x="548" y="760"/>
                      </a:lnTo>
                      <a:lnTo>
                        <a:pt x="548" y="761"/>
                      </a:lnTo>
                      <a:lnTo>
                        <a:pt x="548" y="761"/>
                      </a:lnTo>
                      <a:lnTo>
                        <a:pt x="549" y="761"/>
                      </a:lnTo>
                      <a:lnTo>
                        <a:pt x="549" y="762"/>
                      </a:lnTo>
                      <a:lnTo>
                        <a:pt x="550" y="763"/>
                      </a:lnTo>
                      <a:lnTo>
                        <a:pt x="550" y="763"/>
                      </a:lnTo>
                      <a:lnTo>
                        <a:pt x="551" y="762"/>
                      </a:lnTo>
                      <a:lnTo>
                        <a:pt x="552" y="762"/>
                      </a:lnTo>
                      <a:lnTo>
                        <a:pt x="552" y="763"/>
                      </a:lnTo>
                      <a:lnTo>
                        <a:pt x="552" y="763"/>
                      </a:lnTo>
                      <a:lnTo>
                        <a:pt x="552" y="764"/>
                      </a:lnTo>
                      <a:lnTo>
                        <a:pt x="552" y="764"/>
                      </a:lnTo>
                      <a:lnTo>
                        <a:pt x="552" y="765"/>
                      </a:lnTo>
                      <a:lnTo>
                        <a:pt x="552" y="765"/>
                      </a:lnTo>
                      <a:lnTo>
                        <a:pt x="552" y="765"/>
                      </a:lnTo>
                      <a:lnTo>
                        <a:pt x="553" y="765"/>
                      </a:lnTo>
                      <a:lnTo>
                        <a:pt x="553" y="765"/>
                      </a:lnTo>
                      <a:lnTo>
                        <a:pt x="554" y="765"/>
                      </a:lnTo>
                      <a:lnTo>
                        <a:pt x="554" y="764"/>
                      </a:lnTo>
                      <a:lnTo>
                        <a:pt x="554" y="764"/>
                      </a:lnTo>
                      <a:lnTo>
                        <a:pt x="554" y="765"/>
                      </a:lnTo>
                      <a:lnTo>
                        <a:pt x="555" y="765"/>
                      </a:lnTo>
                      <a:lnTo>
                        <a:pt x="555" y="765"/>
                      </a:lnTo>
                      <a:lnTo>
                        <a:pt x="554" y="765"/>
                      </a:lnTo>
                      <a:lnTo>
                        <a:pt x="554" y="766"/>
                      </a:lnTo>
                      <a:lnTo>
                        <a:pt x="554" y="766"/>
                      </a:lnTo>
                      <a:lnTo>
                        <a:pt x="554" y="767"/>
                      </a:lnTo>
                      <a:lnTo>
                        <a:pt x="553" y="767"/>
                      </a:lnTo>
                      <a:lnTo>
                        <a:pt x="553" y="768"/>
                      </a:lnTo>
                      <a:lnTo>
                        <a:pt x="552" y="769"/>
                      </a:lnTo>
                      <a:lnTo>
                        <a:pt x="553" y="769"/>
                      </a:lnTo>
                      <a:lnTo>
                        <a:pt x="553" y="770"/>
                      </a:lnTo>
                      <a:lnTo>
                        <a:pt x="554" y="770"/>
                      </a:lnTo>
                      <a:lnTo>
                        <a:pt x="554" y="770"/>
                      </a:lnTo>
                      <a:lnTo>
                        <a:pt x="554" y="769"/>
                      </a:lnTo>
                      <a:lnTo>
                        <a:pt x="555" y="769"/>
                      </a:lnTo>
                      <a:lnTo>
                        <a:pt x="555" y="769"/>
                      </a:lnTo>
                      <a:lnTo>
                        <a:pt x="556" y="770"/>
                      </a:lnTo>
                      <a:lnTo>
                        <a:pt x="556" y="771"/>
                      </a:lnTo>
                      <a:lnTo>
                        <a:pt x="556" y="771"/>
                      </a:lnTo>
                      <a:lnTo>
                        <a:pt x="556" y="772"/>
                      </a:lnTo>
                      <a:lnTo>
                        <a:pt x="555" y="772"/>
                      </a:lnTo>
                      <a:lnTo>
                        <a:pt x="555" y="773"/>
                      </a:lnTo>
                      <a:lnTo>
                        <a:pt x="555" y="773"/>
                      </a:lnTo>
                      <a:lnTo>
                        <a:pt x="555" y="774"/>
                      </a:lnTo>
                      <a:lnTo>
                        <a:pt x="556" y="774"/>
                      </a:lnTo>
                      <a:lnTo>
                        <a:pt x="556" y="774"/>
                      </a:lnTo>
                      <a:lnTo>
                        <a:pt x="556" y="773"/>
                      </a:lnTo>
                      <a:lnTo>
                        <a:pt x="557" y="773"/>
                      </a:lnTo>
                      <a:lnTo>
                        <a:pt x="557" y="774"/>
                      </a:lnTo>
                      <a:lnTo>
                        <a:pt x="558" y="774"/>
                      </a:lnTo>
                      <a:lnTo>
                        <a:pt x="558" y="775"/>
                      </a:lnTo>
                      <a:lnTo>
                        <a:pt x="558" y="776"/>
                      </a:lnTo>
                      <a:lnTo>
                        <a:pt x="558" y="776"/>
                      </a:lnTo>
                      <a:lnTo>
                        <a:pt x="558" y="777"/>
                      </a:lnTo>
                      <a:lnTo>
                        <a:pt x="558" y="778"/>
                      </a:lnTo>
                      <a:lnTo>
                        <a:pt x="558" y="778"/>
                      </a:lnTo>
                      <a:lnTo>
                        <a:pt x="558" y="778"/>
                      </a:lnTo>
                      <a:lnTo>
                        <a:pt x="559" y="778"/>
                      </a:lnTo>
                      <a:lnTo>
                        <a:pt x="560" y="778"/>
                      </a:lnTo>
                      <a:lnTo>
                        <a:pt x="560" y="777"/>
                      </a:lnTo>
                      <a:lnTo>
                        <a:pt x="560" y="777"/>
                      </a:lnTo>
                      <a:lnTo>
                        <a:pt x="560" y="778"/>
                      </a:lnTo>
                      <a:lnTo>
                        <a:pt x="561" y="778"/>
                      </a:lnTo>
                      <a:lnTo>
                        <a:pt x="561" y="778"/>
                      </a:lnTo>
                      <a:lnTo>
                        <a:pt x="560" y="778"/>
                      </a:lnTo>
                      <a:lnTo>
                        <a:pt x="560" y="779"/>
                      </a:lnTo>
                      <a:lnTo>
                        <a:pt x="560" y="780"/>
                      </a:lnTo>
                      <a:lnTo>
                        <a:pt x="560" y="780"/>
                      </a:lnTo>
                      <a:lnTo>
                        <a:pt x="560" y="781"/>
                      </a:lnTo>
                      <a:lnTo>
                        <a:pt x="560" y="782"/>
                      </a:lnTo>
                      <a:lnTo>
                        <a:pt x="559" y="782"/>
                      </a:lnTo>
                      <a:lnTo>
                        <a:pt x="559" y="783"/>
                      </a:lnTo>
                      <a:lnTo>
                        <a:pt x="559" y="784"/>
                      </a:lnTo>
                      <a:lnTo>
                        <a:pt x="560" y="784"/>
                      </a:lnTo>
                      <a:lnTo>
                        <a:pt x="560" y="784"/>
                      </a:lnTo>
                      <a:lnTo>
                        <a:pt x="561" y="784"/>
                      </a:lnTo>
                      <a:lnTo>
                        <a:pt x="562" y="784"/>
                      </a:lnTo>
                      <a:lnTo>
                        <a:pt x="563" y="784"/>
                      </a:lnTo>
                      <a:lnTo>
                        <a:pt x="563" y="784"/>
                      </a:lnTo>
                      <a:lnTo>
                        <a:pt x="562" y="784"/>
                      </a:lnTo>
                      <a:lnTo>
                        <a:pt x="561" y="784"/>
                      </a:lnTo>
                      <a:lnTo>
                        <a:pt x="560" y="785"/>
                      </a:lnTo>
                      <a:lnTo>
                        <a:pt x="560" y="786"/>
                      </a:lnTo>
                      <a:lnTo>
                        <a:pt x="560" y="786"/>
                      </a:lnTo>
                      <a:lnTo>
                        <a:pt x="560" y="786"/>
                      </a:lnTo>
                      <a:lnTo>
                        <a:pt x="560" y="786"/>
                      </a:lnTo>
                      <a:lnTo>
                        <a:pt x="559" y="786"/>
                      </a:lnTo>
                      <a:lnTo>
                        <a:pt x="558" y="786"/>
                      </a:lnTo>
                      <a:lnTo>
                        <a:pt x="558" y="786"/>
                      </a:lnTo>
                      <a:lnTo>
                        <a:pt x="558" y="786"/>
                      </a:lnTo>
                      <a:lnTo>
                        <a:pt x="557" y="786"/>
                      </a:lnTo>
                      <a:lnTo>
                        <a:pt x="557" y="787"/>
                      </a:lnTo>
                      <a:lnTo>
                        <a:pt x="558" y="787"/>
                      </a:lnTo>
                      <a:lnTo>
                        <a:pt x="558" y="787"/>
                      </a:lnTo>
                      <a:lnTo>
                        <a:pt x="559" y="787"/>
                      </a:lnTo>
                      <a:lnTo>
                        <a:pt x="560" y="788"/>
                      </a:lnTo>
                      <a:lnTo>
                        <a:pt x="560" y="788"/>
                      </a:lnTo>
                      <a:lnTo>
                        <a:pt x="559" y="788"/>
                      </a:lnTo>
                      <a:lnTo>
                        <a:pt x="559" y="789"/>
                      </a:lnTo>
                      <a:lnTo>
                        <a:pt x="558" y="788"/>
                      </a:lnTo>
                      <a:lnTo>
                        <a:pt x="558" y="788"/>
                      </a:lnTo>
                      <a:lnTo>
                        <a:pt x="557" y="788"/>
                      </a:lnTo>
                      <a:lnTo>
                        <a:pt x="557" y="789"/>
                      </a:lnTo>
                      <a:lnTo>
                        <a:pt x="558" y="789"/>
                      </a:lnTo>
                      <a:lnTo>
                        <a:pt x="558" y="789"/>
                      </a:lnTo>
                      <a:lnTo>
                        <a:pt x="558" y="790"/>
                      </a:lnTo>
                      <a:lnTo>
                        <a:pt x="558" y="790"/>
                      </a:lnTo>
                      <a:lnTo>
                        <a:pt x="558" y="791"/>
                      </a:lnTo>
                      <a:lnTo>
                        <a:pt x="558" y="791"/>
                      </a:lnTo>
                      <a:lnTo>
                        <a:pt x="558" y="790"/>
                      </a:lnTo>
                      <a:lnTo>
                        <a:pt x="557" y="790"/>
                      </a:lnTo>
                      <a:lnTo>
                        <a:pt x="556" y="790"/>
                      </a:lnTo>
                      <a:lnTo>
                        <a:pt x="556" y="791"/>
                      </a:lnTo>
                      <a:lnTo>
                        <a:pt x="557" y="791"/>
                      </a:lnTo>
                      <a:lnTo>
                        <a:pt x="558" y="791"/>
                      </a:lnTo>
                      <a:lnTo>
                        <a:pt x="558" y="792"/>
                      </a:lnTo>
                      <a:lnTo>
                        <a:pt x="558" y="792"/>
                      </a:lnTo>
                      <a:lnTo>
                        <a:pt x="558" y="792"/>
                      </a:lnTo>
                      <a:lnTo>
                        <a:pt x="558" y="793"/>
                      </a:lnTo>
                      <a:lnTo>
                        <a:pt x="558" y="794"/>
                      </a:lnTo>
                      <a:lnTo>
                        <a:pt x="558" y="794"/>
                      </a:lnTo>
                      <a:lnTo>
                        <a:pt x="558" y="794"/>
                      </a:lnTo>
                      <a:lnTo>
                        <a:pt x="557" y="795"/>
                      </a:lnTo>
                      <a:lnTo>
                        <a:pt x="557" y="796"/>
                      </a:lnTo>
                      <a:lnTo>
                        <a:pt x="558" y="795"/>
                      </a:lnTo>
                      <a:lnTo>
                        <a:pt x="558" y="795"/>
                      </a:lnTo>
                      <a:lnTo>
                        <a:pt x="558" y="796"/>
                      </a:lnTo>
                      <a:lnTo>
                        <a:pt x="559" y="796"/>
                      </a:lnTo>
                      <a:lnTo>
                        <a:pt x="559" y="797"/>
                      </a:lnTo>
                      <a:lnTo>
                        <a:pt x="559" y="797"/>
                      </a:lnTo>
                      <a:lnTo>
                        <a:pt x="558" y="797"/>
                      </a:lnTo>
                      <a:lnTo>
                        <a:pt x="558" y="797"/>
                      </a:lnTo>
                      <a:lnTo>
                        <a:pt x="558" y="797"/>
                      </a:lnTo>
                      <a:lnTo>
                        <a:pt x="557" y="797"/>
                      </a:lnTo>
                      <a:lnTo>
                        <a:pt x="556" y="797"/>
                      </a:lnTo>
                      <a:lnTo>
                        <a:pt x="556" y="797"/>
                      </a:lnTo>
                      <a:lnTo>
                        <a:pt x="556" y="797"/>
                      </a:lnTo>
                      <a:lnTo>
                        <a:pt x="556" y="798"/>
                      </a:lnTo>
                      <a:lnTo>
                        <a:pt x="556" y="799"/>
                      </a:lnTo>
                      <a:lnTo>
                        <a:pt x="555" y="799"/>
                      </a:lnTo>
                      <a:lnTo>
                        <a:pt x="555" y="799"/>
                      </a:lnTo>
                      <a:lnTo>
                        <a:pt x="554" y="799"/>
                      </a:lnTo>
                      <a:lnTo>
                        <a:pt x="554" y="800"/>
                      </a:lnTo>
                      <a:lnTo>
                        <a:pt x="554" y="801"/>
                      </a:lnTo>
                      <a:lnTo>
                        <a:pt x="553" y="801"/>
                      </a:lnTo>
                      <a:lnTo>
                        <a:pt x="552" y="801"/>
                      </a:lnTo>
                      <a:lnTo>
                        <a:pt x="552" y="801"/>
                      </a:lnTo>
                      <a:lnTo>
                        <a:pt x="552" y="802"/>
                      </a:lnTo>
                      <a:lnTo>
                        <a:pt x="552" y="802"/>
                      </a:lnTo>
                      <a:lnTo>
                        <a:pt x="552" y="803"/>
                      </a:lnTo>
                      <a:lnTo>
                        <a:pt x="552" y="803"/>
                      </a:lnTo>
                      <a:lnTo>
                        <a:pt x="552" y="804"/>
                      </a:lnTo>
                      <a:lnTo>
                        <a:pt x="552" y="805"/>
                      </a:lnTo>
                      <a:lnTo>
                        <a:pt x="552" y="805"/>
                      </a:lnTo>
                      <a:lnTo>
                        <a:pt x="552" y="805"/>
                      </a:lnTo>
                      <a:lnTo>
                        <a:pt x="553" y="805"/>
                      </a:lnTo>
                      <a:lnTo>
                        <a:pt x="553" y="805"/>
                      </a:lnTo>
                      <a:lnTo>
                        <a:pt x="554" y="805"/>
                      </a:lnTo>
                      <a:lnTo>
                        <a:pt x="554" y="806"/>
                      </a:lnTo>
                      <a:lnTo>
                        <a:pt x="554" y="807"/>
                      </a:lnTo>
                      <a:lnTo>
                        <a:pt x="554" y="807"/>
                      </a:lnTo>
                      <a:lnTo>
                        <a:pt x="554" y="807"/>
                      </a:lnTo>
                      <a:lnTo>
                        <a:pt x="554" y="807"/>
                      </a:lnTo>
                      <a:lnTo>
                        <a:pt x="555" y="807"/>
                      </a:lnTo>
                      <a:lnTo>
                        <a:pt x="556" y="807"/>
                      </a:lnTo>
                      <a:lnTo>
                        <a:pt x="556" y="807"/>
                      </a:lnTo>
                      <a:lnTo>
                        <a:pt x="556" y="808"/>
                      </a:lnTo>
                      <a:lnTo>
                        <a:pt x="555" y="808"/>
                      </a:lnTo>
                      <a:lnTo>
                        <a:pt x="554" y="808"/>
                      </a:lnTo>
                      <a:lnTo>
                        <a:pt x="554" y="809"/>
                      </a:lnTo>
                      <a:lnTo>
                        <a:pt x="553" y="809"/>
                      </a:lnTo>
                      <a:lnTo>
                        <a:pt x="553" y="809"/>
                      </a:lnTo>
                      <a:lnTo>
                        <a:pt x="553" y="810"/>
                      </a:lnTo>
                      <a:lnTo>
                        <a:pt x="553" y="811"/>
                      </a:lnTo>
                      <a:lnTo>
                        <a:pt x="552" y="811"/>
                      </a:lnTo>
                      <a:lnTo>
                        <a:pt x="552" y="812"/>
                      </a:lnTo>
                      <a:lnTo>
                        <a:pt x="552" y="813"/>
                      </a:lnTo>
                      <a:lnTo>
                        <a:pt x="553" y="813"/>
                      </a:lnTo>
                      <a:lnTo>
                        <a:pt x="554" y="813"/>
                      </a:lnTo>
                      <a:lnTo>
                        <a:pt x="554" y="812"/>
                      </a:lnTo>
                      <a:lnTo>
                        <a:pt x="554" y="811"/>
                      </a:lnTo>
                      <a:lnTo>
                        <a:pt x="554" y="811"/>
                      </a:lnTo>
                      <a:lnTo>
                        <a:pt x="554" y="812"/>
                      </a:lnTo>
                      <a:lnTo>
                        <a:pt x="554" y="813"/>
                      </a:lnTo>
                      <a:lnTo>
                        <a:pt x="555" y="813"/>
                      </a:lnTo>
                      <a:lnTo>
                        <a:pt x="555" y="813"/>
                      </a:lnTo>
                      <a:lnTo>
                        <a:pt x="555" y="814"/>
                      </a:lnTo>
                      <a:lnTo>
                        <a:pt x="554" y="814"/>
                      </a:lnTo>
                      <a:lnTo>
                        <a:pt x="554" y="815"/>
                      </a:lnTo>
                      <a:lnTo>
                        <a:pt x="554" y="816"/>
                      </a:lnTo>
                      <a:lnTo>
                        <a:pt x="554" y="816"/>
                      </a:lnTo>
                      <a:lnTo>
                        <a:pt x="554" y="817"/>
                      </a:lnTo>
                      <a:lnTo>
                        <a:pt x="554" y="818"/>
                      </a:lnTo>
                      <a:lnTo>
                        <a:pt x="554" y="818"/>
                      </a:lnTo>
                      <a:lnTo>
                        <a:pt x="554" y="818"/>
                      </a:lnTo>
                      <a:lnTo>
                        <a:pt x="555" y="818"/>
                      </a:lnTo>
                      <a:lnTo>
                        <a:pt x="556" y="818"/>
                      </a:lnTo>
                      <a:lnTo>
                        <a:pt x="556" y="819"/>
                      </a:lnTo>
                      <a:lnTo>
                        <a:pt x="556" y="819"/>
                      </a:lnTo>
                      <a:lnTo>
                        <a:pt x="556" y="820"/>
                      </a:lnTo>
                      <a:lnTo>
                        <a:pt x="556" y="820"/>
                      </a:lnTo>
                      <a:lnTo>
                        <a:pt x="555" y="820"/>
                      </a:lnTo>
                      <a:lnTo>
                        <a:pt x="555" y="821"/>
                      </a:lnTo>
                      <a:lnTo>
                        <a:pt x="556" y="821"/>
                      </a:lnTo>
                      <a:lnTo>
                        <a:pt x="556" y="822"/>
                      </a:lnTo>
                      <a:lnTo>
                        <a:pt x="555" y="822"/>
                      </a:lnTo>
                      <a:lnTo>
                        <a:pt x="554" y="823"/>
                      </a:lnTo>
                      <a:lnTo>
                        <a:pt x="555" y="824"/>
                      </a:lnTo>
                      <a:lnTo>
                        <a:pt x="555" y="824"/>
                      </a:lnTo>
                      <a:lnTo>
                        <a:pt x="556" y="824"/>
                      </a:lnTo>
                      <a:lnTo>
                        <a:pt x="556" y="824"/>
                      </a:lnTo>
                      <a:lnTo>
                        <a:pt x="556" y="824"/>
                      </a:lnTo>
                      <a:lnTo>
                        <a:pt x="557" y="824"/>
                      </a:lnTo>
                      <a:lnTo>
                        <a:pt x="558" y="824"/>
                      </a:lnTo>
                      <a:lnTo>
                        <a:pt x="558" y="824"/>
                      </a:lnTo>
                      <a:lnTo>
                        <a:pt x="558" y="825"/>
                      </a:lnTo>
                      <a:lnTo>
                        <a:pt x="558" y="825"/>
                      </a:lnTo>
                      <a:lnTo>
                        <a:pt x="558" y="826"/>
                      </a:lnTo>
                      <a:lnTo>
                        <a:pt x="557" y="826"/>
                      </a:lnTo>
                      <a:lnTo>
                        <a:pt x="557" y="826"/>
                      </a:lnTo>
                      <a:lnTo>
                        <a:pt x="557" y="827"/>
                      </a:lnTo>
                      <a:lnTo>
                        <a:pt x="557" y="828"/>
                      </a:lnTo>
                      <a:lnTo>
                        <a:pt x="556" y="828"/>
                      </a:lnTo>
                      <a:lnTo>
                        <a:pt x="556" y="828"/>
                      </a:lnTo>
                      <a:lnTo>
                        <a:pt x="556" y="828"/>
                      </a:lnTo>
                      <a:lnTo>
                        <a:pt x="556" y="829"/>
                      </a:lnTo>
                      <a:lnTo>
                        <a:pt x="556" y="830"/>
                      </a:lnTo>
                      <a:lnTo>
                        <a:pt x="556" y="830"/>
                      </a:lnTo>
                      <a:lnTo>
                        <a:pt x="557" y="830"/>
                      </a:lnTo>
                      <a:lnTo>
                        <a:pt x="558" y="830"/>
                      </a:lnTo>
                      <a:lnTo>
                        <a:pt x="558" y="830"/>
                      </a:lnTo>
                      <a:lnTo>
                        <a:pt x="559" y="830"/>
                      </a:lnTo>
                      <a:lnTo>
                        <a:pt x="560" y="830"/>
                      </a:lnTo>
                      <a:lnTo>
                        <a:pt x="560" y="829"/>
                      </a:lnTo>
                      <a:lnTo>
                        <a:pt x="560" y="829"/>
                      </a:lnTo>
                      <a:lnTo>
                        <a:pt x="561" y="829"/>
                      </a:lnTo>
                      <a:lnTo>
                        <a:pt x="562" y="829"/>
                      </a:lnTo>
                      <a:lnTo>
                        <a:pt x="562" y="830"/>
                      </a:lnTo>
                      <a:lnTo>
                        <a:pt x="561" y="830"/>
                      </a:lnTo>
                      <a:lnTo>
                        <a:pt x="561" y="830"/>
                      </a:lnTo>
                      <a:lnTo>
                        <a:pt x="560" y="830"/>
                      </a:lnTo>
                      <a:lnTo>
                        <a:pt x="560" y="830"/>
                      </a:lnTo>
                      <a:lnTo>
                        <a:pt x="560" y="831"/>
                      </a:lnTo>
                      <a:lnTo>
                        <a:pt x="560" y="832"/>
                      </a:lnTo>
                      <a:lnTo>
                        <a:pt x="560" y="832"/>
                      </a:lnTo>
                      <a:lnTo>
                        <a:pt x="560" y="833"/>
                      </a:lnTo>
                      <a:lnTo>
                        <a:pt x="561" y="834"/>
                      </a:lnTo>
                      <a:lnTo>
                        <a:pt x="561" y="835"/>
                      </a:lnTo>
                      <a:lnTo>
                        <a:pt x="562" y="835"/>
                      </a:lnTo>
                      <a:lnTo>
                        <a:pt x="563" y="835"/>
                      </a:lnTo>
                      <a:lnTo>
                        <a:pt x="563" y="835"/>
                      </a:lnTo>
                      <a:lnTo>
                        <a:pt x="563" y="835"/>
                      </a:lnTo>
                      <a:lnTo>
                        <a:pt x="564" y="835"/>
                      </a:lnTo>
                      <a:lnTo>
                        <a:pt x="564" y="836"/>
                      </a:lnTo>
                      <a:lnTo>
                        <a:pt x="564" y="837"/>
                      </a:lnTo>
                      <a:lnTo>
                        <a:pt x="564" y="837"/>
                      </a:lnTo>
                      <a:lnTo>
                        <a:pt x="565" y="837"/>
                      </a:lnTo>
                      <a:lnTo>
                        <a:pt x="565" y="837"/>
                      </a:lnTo>
                      <a:lnTo>
                        <a:pt x="565" y="837"/>
                      </a:lnTo>
                      <a:lnTo>
                        <a:pt x="565" y="836"/>
                      </a:lnTo>
                      <a:lnTo>
                        <a:pt x="566" y="836"/>
                      </a:lnTo>
                      <a:lnTo>
                        <a:pt x="566" y="837"/>
                      </a:lnTo>
                      <a:lnTo>
                        <a:pt x="566" y="837"/>
                      </a:lnTo>
                      <a:lnTo>
                        <a:pt x="567" y="838"/>
                      </a:lnTo>
                      <a:lnTo>
                        <a:pt x="567" y="839"/>
                      </a:lnTo>
                      <a:lnTo>
                        <a:pt x="567" y="839"/>
                      </a:lnTo>
                      <a:lnTo>
                        <a:pt x="567" y="839"/>
                      </a:lnTo>
                      <a:lnTo>
                        <a:pt x="568" y="839"/>
                      </a:lnTo>
                      <a:lnTo>
                        <a:pt x="569" y="839"/>
                      </a:lnTo>
                      <a:lnTo>
                        <a:pt x="569" y="840"/>
                      </a:lnTo>
                      <a:lnTo>
                        <a:pt x="570" y="841"/>
                      </a:lnTo>
                      <a:lnTo>
                        <a:pt x="571" y="841"/>
                      </a:lnTo>
                      <a:lnTo>
                        <a:pt x="571" y="840"/>
                      </a:lnTo>
                      <a:lnTo>
                        <a:pt x="571" y="839"/>
                      </a:lnTo>
                      <a:lnTo>
                        <a:pt x="571" y="839"/>
                      </a:lnTo>
                      <a:lnTo>
                        <a:pt x="571" y="838"/>
                      </a:lnTo>
                      <a:lnTo>
                        <a:pt x="571" y="838"/>
                      </a:lnTo>
                      <a:lnTo>
                        <a:pt x="571" y="837"/>
                      </a:lnTo>
                      <a:lnTo>
                        <a:pt x="572" y="838"/>
                      </a:lnTo>
                      <a:lnTo>
                        <a:pt x="572" y="839"/>
                      </a:lnTo>
                      <a:lnTo>
                        <a:pt x="572" y="839"/>
                      </a:lnTo>
                      <a:lnTo>
                        <a:pt x="572" y="840"/>
                      </a:lnTo>
                      <a:lnTo>
                        <a:pt x="573" y="841"/>
                      </a:lnTo>
                      <a:lnTo>
                        <a:pt x="573" y="841"/>
                      </a:lnTo>
                      <a:lnTo>
                        <a:pt x="573" y="842"/>
                      </a:lnTo>
                      <a:lnTo>
                        <a:pt x="573" y="841"/>
                      </a:lnTo>
                      <a:lnTo>
                        <a:pt x="574" y="841"/>
                      </a:lnTo>
                      <a:lnTo>
                        <a:pt x="575" y="840"/>
                      </a:lnTo>
                      <a:lnTo>
                        <a:pt x="575" y="840"/>
                      </a:lnTo>
                      <a:lnTo>
                        <a:pt x="575" y="841"/>
                      </a:lnTo>
                      <a:lnTo>
                        <a:pt x="575" y="841"/>
                      </a:lnTo>
                      <a:lnTo>
                        <a:pt x="575" y="841"/>
                      </a:lnTo>
                      <a:lnTo>
                        <a:pt x="575" y="842"/>
                      </a:lnTo>
                      <a:lnTo>
                        <a:pt x="576" y="842"/>
                      </a:lnTo>
                      <a:lnTo>
                        <a:pt x="577" y="842"/>
                      </a:lnTo>
                      <a:lnTo>
                        <a:pt x="577" y="843"/>
                      </a:lnTo>
                      <a:lnTo>
                        <a:pt x="577" y="843"/>
                      </a:lnTo>
                      <a:lnTo>
                        <a:pt x="577" y="843"/>
                      </a:lnTo>
                      <a:lnTo>
                        <a:pt x="577" y="843"/>
                      </a:lnTo>
                      <a:lnTo>
                        <a:pt x="578" y="843"/>
                      </a:lnTo>
                      <a:lnTo>
                        <a:pt x="578" y="842"/>
                      </a:lnTo>
                      <a:lnTo>
                        <a:pt x="579" y="842"/>
                      </a:lnTo>
                      <a:lnTo>
                        <a:pt x="579" y="843"/>
                      </a:lnTo>
                      <a:lnTo>
                        <a:pt x="580" y="843"/>
                      </a:lnTo>
                      <a:lnTo>
                        <a:pt x="581" y="844"/>
                      </a:lnTo>
                      <a:lnTo>
                        <a:pt x="582" y="844"/>
                      </a:lnTo>
                      <a:lnTo>
                        <a:pt x="582" y="843"/>
                      </a:lnTo>
                      <a:lnTo>
                        <a:pt x="582" y="843"/>
                      </a:lnTo>
                      <a:lnTo>
                        <a:pt x="582" y="842"/>
                      </a:lnTo>
                      <a:lnTo>
                        <a:pt x="582" y="841"/>
                      </a:lnTo>
                      <a:lnTo>
                        <a:pt x="583" y="841"/>
                      </a:lnTo>
                      <a:lnTo>
                        <a:pt x="583" y="842"/>
                      </a:lnTo>
                      <a:lnTo>
                        <a:pt x="584" y="842"/>
                      </a:lnTo>
                      <a:lnTo>
                        <a:pt x="584" y="842"/>
                      </a:lnTo>
                      <a:lnTo>
                        <a:pt x="584" y="843"/>
                      </a:lnTo>
                      <a:lnTo>
                        <a:pt x="585" y="843"/>
                      </a:lnTo>
                      <a:lnTo>
                        <a:pt x="585" y="843"/>
                      </a:lnTo>
                      <a:lnTo>
                        <a:pt x="586" y="843"/>
                      </a:lnTo>
                      <a:lnTo>
                        <a:pt x="586" y="843"/>
                      </a:lnTo>
                      <a:lnTo>
                        <a:pt x="586" y="843"/>
                      </a:lnTo>
                      <a:lnTo>
                        <a:pt x="586" y="842"/>
                      </a:lnTo>
                      <a:lnTo>
                        <a:pt x="586" y="841"/>
                      </a:lnTo>
                      <a:lnTo>
                        <a:pt x="586" y="841"/>
                      </a:lnTo>
                      <a:lnTo>
                        <a:pt x="586" y="840"/>
                      </a:lnTo>
                      <a:lnTo>
                        <a:pt x="586" y="840"/>
                      </a:lnTo>
                      <a:lnTo>
                        <a:pt x="587" y="839"/>
                      </a:lnTo>
                      <a:lnTo>
                        <a:pt x="587" y="839"/>
                      </a:lnTo>
                      <a:lnTo>
                        <a:pt x="588" y="839"/>
                      </a:lnTo>
                      <a:lnTo>
                        <a:pt x="588" y="839"/>
                      </a:lnTo>
                      <a:lnTo>
                        <a:pt x="589" y="839"/>
                      </a:lnTo>
                      <a:lnTo>
                        <a:pt x="589" y="839"/>
                      </a:lnTo>
                      <a:lnTo>
                        <a:pt x="589" y="840"/>
                      </a:lnTo>
                      <a:lnTo>
                        <a:pt x="588" y="841"/>
                      </a:lnTo>
                      <a:lnTo>
                        <a:pt x="588" y="841"/>
                      </a:lnTo>
                      <a:lnTo>
                        <a:pt x="589" y="841"/>
                      </a:lnTo>
                      <a:lnTo>
                        <a:pt x="589" y="842"/>
                      </a:lnTo>
                      <a:lnTo>
                        <a:pt x="590" y="842"/>
                      </a:lnTo>
                      <a:lnTo>
                        <a:pt x="590" y="841"/>
                      </a:lnTo>
                      <a:lnTo>
                        <a:pt x="590" y="841"/>
                      </a:lnTo>
                      <a:lnTo>
                        <a:pt x="590" y="840"/>
                      </a:lnTo>
                      <a:lnTo>
                        <a:pt x="590" y="839"/>
                      </a:lnTo>
                      <a:lnTo>
                        <a:pt x="591" y="839"/>
                      </a:lnTo>
                      <a:lnTo>
                        <a:pt x="592" y="839"/>
                      </a:lnTo>
                      <a:lnTo>
                        <a:pt x="592" y="840"/>
                      </a:lnTo>
                      <a:lnTo>
                        <a:pt x="592" y="841"/>
                      </a:lnTo>
                      <a:lnTo>
                        <a:pt x="591" y="841"/>
                      </a:lnTo>
                      <a:lnTo>
                        <a:pt x="591" y="842"/>
                      </a:lnTo>
                      <a:lnTo>
                        <a:pt x="591" y="843"/>
                      </a:lnTo>
                      <a:lnTo>
                        <a:pt x="592" y="843"/>
                      </a:lnTo>
                      <a:lnTo>
                        <a:pt x="592" y="843"/>
                      </a:lnTo>
                      <a:lnTo>
                        <a:pt x="593" y="843"/>
                      </a:lnTo>
                      <a:lnTo>
                        <a:pt x="594" y="843"/>
                      </a:lnTo>
                      <a:lnTo>
                        <a:pt x="594" y="844"/>
                      </a:lnTo>
                      <a:lnTo>
                        <a:pt x="595" y="844"/>
                      </a:lnTo>
                      <a:lnTo>
                        <a:pt x="596" y="844"/>
                      </a:lnTo>
                      <a:lnTo>
                        <a:pt x="596" y="845"/>
                      </a:lnTo>
                      <a:lnTo>
                        <a:pt x="596" y="845"/>
                      </a:lnTo>
                      <a:lnTo>
                        <a:pt x="596" y="845"/>
                      </a:lnTo>
                      <a:lnTo>
                        <a:pt x="597" y="845"/>
                      </a:lnTo>
                      <a:lnTo>
                        <a:pt x="598" y="845"/>
                      </a:lnTo>
                      <a:lnTo>
                        <a:pt x="598" y="846"/>
                      </a:lnTo>
                      <a:lnTo>
                        <a:pt x="597" y="846"/>
                      </a:lnTo>
                      <a:lnTo>
                        <a:pt x="598" y="846"/>
                      </a:lnTo>
                      <a:lnTo>
                        <a:pt x="598" y="847"/>
                      </a:lnTo>
                      <a:lnTo>
                        <a:pt x="598" y="847"/>
                      </a:lnTo>
                      <a:lnTo>
                        <a:pt x="598" y="846"/>
                      </a:lnTo>
                      <a:lnTo>
                        <a:pt x="598" y="845"/>
                      </a:lnTo>
                      <a:lnTo>
                        <a:pt x="599" y="845"/>
                      </a:lnTo>
                      <a:lnTo>
                        <a:pt x="599" y="844"/>
                      </a:lnTo>
                      <a:lnTo>
                        <a:pt x="600" y="844"/>
                      </a:lnTo>
                      <a:lnTo>
                        <a:pt x="600" y="845"/>
                      </a:lnTo>
                      <a:lnTo>
                        <a:pt x="600" y="845"/>
                      </a:lnTo>
                      <a:lnTo>
                        <a:pt x="601" y="846"/>
                      </a:lnTo>
                      <a:lnTo>
                        <a:pt x="601" y="845"/>
                      </a:lnTo>
                      <a:lnTo>
                        <a:pt x="601" y="845"/>
                      </a:lnTo>
                      <a:lnTo>
                        <a:pt x="601" y="846"/>
                      </a:lnTo>
                      <a:lnTo>
                        <a:pt x="601" y="847"/>
                      </a:lnTo>
                      <a:lnTo>
                        <a:pt x="602" y="847"/>
                      </a:lnTo>
                      <a:lnTo>
                        <a:pt x="603" y="847"/>
                      </a:lnTo>
                      <a:lnTo>
                        <a:pt x="602" y="847"/>
                      </a:lnTo>
                      <a:lnTo>
                        <a:pt x="602" y="847"/>
                      </a:lnTo>
                      <a:lnTo>
                        <a:pt x="602" y="848"/>
                      </a:lnTo>
                      <a:lnTo>
                        <a:pt x="603" y="848"/>
                      </a:lnTo>
                      <a:lnTo>
                        <a:pt x="603" y="849"/>
                      </a:lnTo>
                      <a:lnTo>
                        <a:pt x="602" y="849"/>
                      </a:lnTo>
                      <a:lnTo>
                        <a:pt x="602" y="849"/>
                      </a:lnTo>
                      <a:lnTo>
                        <a:pt x="602" y="850"/>
                      </a:lnTo>
                      <a:lnTo>
                        <a:pt x="601" y="850"/>
                      </a:lnTo>
                      <a:lnTo>
                        <a:pt x="601" y="850"/>
                      </a:lnTo>
                      <a:lnTo>
                        <a:pt x="601" y="851"/>
                      </a:lnTo>
                      <a:lnTo>
                        <a:pt x="601" y="851"/>
                      </a:lnTo>
                      <a:lnTo>
                        <a:pt x="601" y="851"/>
                      </a:lnTo>
                      <a:lnTo>
                        <a:pt x="602" y="851"/>
                      </a:lnTo>
                      <a:lnTo>
                        <a:pt x="602" y="851"/>
                      </a:lnTo>
                      <a:lnTo>
                        <a:pt x="603" y="851"/>
                      </a:lnTo>
                      <a:lnTo>
                        <a:pt x="603" y="851"/>
                      </a:lnTo>
                      <a:lnTo>
                        <a:pt x="603" y="852"/>
                      </a:lnTo>
                      <a:lnTo>
                        <a:pt x="603" y="852"/>
                      </a:lnTo>
                      <a:lnTo>
                        <a:pt x="602" y="852"/>
                      </a:lnTo>
                      <a:lnTo>
                        <a:pt x="603" y="853"/>
                      </a:lnTo>
                      <a:lnTo>
                        <a:pt x="603" y="853"/>
                      </a:lnTo>
                      <a:lnTo>
                        <a:pt x="603" y="853"/>
                      </a:lnTo>
                      <a:lnTo>
                        <a:pt x="604" y="853"/>
                      </a:lnTo>
                      <a:lnTo>
                        <a:pt x="604" y="854"/>
                      </a:lnTo>
                      <a:lnTo>
                        <a:pt x="603" y="854"/>
                      </a:lnTo>
                      <a:lnTo>
                        <a:pt x="603" y="854"/>
                      </a:lnTo>
                      <a:lnTo>
                        <a:pt x="603" y="855"/>
                      </a:lnTo>
                      <a:lnTo>
                        <a:pt x="602" y="855"/>
                      </a:lnTo>
                      <a:lnTo>
                        <a:pt x="603" y="855"/>
                      </a:lnTo>
                      <a:lnTo>
                        <a:pt x="603" y="856"/>
                      </a:lnTo>
                      <a:lnTo>
                        <a:pt x="602" y="856"/>
                      </a:lnTo>
                      <a:lnTo>
                        <a:pt x="602" y="855"/>
                      </a:lnTo>
                      <a:lnTo>
                        <a:pt x="601" y="855"/>
                      </a:lnTo>
                      <a:lnTo>
                        <a:pt x="601" y="856"/>
                      </a:lnTo>
                      <a:lnTo>
                        <a:pt x="601" y="856"/>
                      </a:lnTo>
                      <a:lnTo>
                        <a:pt x="601" y="856"/>
                      </a:lnTo>
                      <a:lnTo>
                        <a:pt x="601" y="856"/>
                      </a:lnTo>
                      <a:lnTo>
                        <a:pt x="601" y="858"/>
                      </a:lnTo>
                      <a:lnTo>
                        <a:pt x="601" y="858"/>
                      </a:lnTo>
                      <a:lnTo>
                        <a:pt x="602" y="858"/>
                      </a:lnTo>
                      <a:lnTo>
                        <a:pt x="603" y="858"/>
                      </a:lnTo>
                      <a:lnTo>
                        <a:pt x="603" y="859"/>
                      </a:lnTo>
                      <a:lnTo>
                        <a:pt x="603" y="860"/>
                      </a:lnTo>
                      <a:lnTo>
                        <a:pt x="603" y="860"/>
                      </a:lnTo>
                      <a:lnTo>
                        <a:pt x="604" y="860"/>
                      </a:lnTo>
                      <a:lnTo>
                        <a:pt x="604" y="860"/>
                      </a:lnTo>
                      <a:lnTo>
                        <a:pt x="603" y="860"/>
                      </a:lnTo>
                      <a:lnTo>
                        <a:pt x="603" y="860"/>
                      </a:lnTo>
                      <a:lnTo>
                        <a:pt x="603" y="860"/>
                      </a:lnTo>
                      <a:lnTo>
                        <a:pt x="603" y="860"/>
                      </a:lnTo>
                      <a:lnTo>
                        <a:pt x="603" y="861"/>
                      </a:lnTo>
                      <a:lnTo>
                        <a:pt x="603" y="862"/>
                      </a:lnTo>
                      <a:lnTo>
                        <a:pt x="603" y="862"/>
                      </a:lnTo>
                      <a:lnTo>
                        <a:pt x="604" y="861"/>
                      </a:lnTo>
                      <a:lnTo>
                        <a:pt x="605" y="861"/>
                      </a:lnTo>
                      <a:lnTo>
                        <a:pt x="605" y="862"/>
                      </a:lnTo>
                      <a:lnTo>
                        <a:pt x="605" y="862"/>
                      </a:lnTo>
                      <a:lnTo>
                        <a:pt x="605" y="862"/>
                      </a:lnTo>
                      <a:lnTo>
                        <a:pt x="606" y="862"/>
                      </a:lnTo>
                      <a:lnTo>
                        <a:pt x="606" y="862"/>
                      </a:lnTo>
                      <a:lnTo>
                        <a:pt x="606" y="861"/>
                      </a:lnTo>
                      <a:lnTo>
                        <a:pt x="606" y="860"/>
                      </a:lnTo>
                      <a:lnTo>
                        <a:pt x="606" y="860"/>
                      </a:lnTo>
                      <a:lnTo>
                        <a:pt x="607" y="860"/>
                      </a:lnTo>
                      <a:lnTo>
                        <a:pt x="607" y="861"/>
                      </a:lnTo>
                      <a:lnTo>
                        <a:pt x="607" y="862"/>
                      </a:lnTo>
                      <a:lnTo>
                        <a:pt x="607" y="862"/>
                      </a:lnTo>
                      <a:lnTo>
                        <a:pt x="608" y="862"/>
                      </a:lnTo>
                      <a:lnTo>
                        <a:pt x="608" y="862"/>
                      </a:lnTo>
                      <a:lnTo>
                        <a:pt x="608" y="861"/>
                      </a:lnTo>
                      <a:lnTo>
                        <a:pt x="609" y="861"/>
                      </a:lnTo>
                      <a:lnTo>
                        <a:pt x="609" y="861"/>
                      </a:lnTo>
                      <a:lnTo>
                        <a:pt x="609" y="862"/>
                      </a:lnTo>
                      <a:lnTo>
                        <a:pt x="610" y="862"/>
                      </a:lnTo>
                      <a:lnTo>
                        <a:pt x="610" y="862"/>
                      </a:lnTo>
                      <a:lnTo>
                        <a:pt x="611" y="862"/>
                      </a:lnTo>
                      <a:lnTo>
                        <a:pt x="611" y="863"/>
                      </a:lnTo>
                      <a:lnTo>
                        <a:pt x="611" y="864"/>
                      </a:lnTo>
                      <a:lnTo>
                        <a:pt x="611" y="864"/>
                      </a:lnTo>
                      <a:lnTo>
                        <a:pt x="611" y="864"/>
                      </a:lnTo>
                      <a:lnTo>
                        <a:pt x="611" y="865"/>
                      </a:lnTo>
                      <a:lnTo>
                        <a:pt x="611" y="865"/>
                      </a:lnTo>
                      <a:lnTo>
                        <a:pt x="611" y="866"/>
                      </a:lnTo>
                      <a:lnTo>
                        <a:pt x="611" y="866"/>
                      </a:lnTo>
                      <a:lnTo>
                        <a:pt x="612" y="866"/>
                      </a:lnTo>
                      <a:lnTo>
                        <a:pt x="613" y="866"/>
                      </a:lnTo>
                      <a:lnTo>
                        <a:pt x="613" y="866"/>
                      </a:lnTo>
                      <a:lnTo>
                        <a:pt x="613" y="866"/>
                      </a:lnTo>
                      <a:lnTo>
                        <a:pt x="613" y="867"/>
                      </a:lnTo>
                      <a:lnTo>
                        <a:pt x="614" y="867"/>
                      </a:lnTo>
                      <a:lnTo>
                        <a:pt x="615" y="867"/>
                      </a:lnTo>
                      <a:lnTo>
                        <a:pt x="615" y="868"/>
                      </a:lnTo>
                      <a:lnTo>
                        <a:pt x="615" y="868"/>
                      </a:lnTo>
                      <a:lnTo>
                        <a:pt x="614" y="868"/>
                      </a:lnTo>
                      <a:lnTo>
                        <a:pt x="614" y="868"/>
                      </a:lnTo>
                      <a:lnTo>
                        <a:pt x="614" y="868"/>
                      </a:lnTo>
                      <a:lnTo>
                        <a:pt x="613" y="868"/>
                      </a:lnTo>
                      <a:lnTo>
                        <a:pt x="613" y="869"/>
                      </a:lnTo>
                      <a:lnTo>
                        <a:pt x="614" y="869"/>
                      </a:lnTo>
                      <a:lnTo>
                        <a:pt x="614" y="870"/>
                      </a:lnTo>
                      <a:lnTo>
                        <a:pt x="614" y="870"/>
                      </a:lnTo>
                      <a:lnTo>
                        <a:pt x="613" y="870"/>
                      </a:lnTo>
                      <a:lnTo>
                        <a:pt x="613" y="871"/>
                      </a:lnTo>
                      <a:lnTo>
                        <a:pt x="613" y="872"/>
                      </a:lnTo>
                      <a:lnTo>
                        <a:pt x="614" y="872"/>
                      </a:lnTo>
                      <a:lnTo>
                        <a:pt x="615" y="871"/>
                      </a:lnTo>
                      <a:lnTo>
                        <a:pt x="615" y="870"/>
                      </a:lnTo>
                      <a:lnTo>
                        <a:pt x="615" y="870"/>
                      </a:lnTo>
                      <a:lnTo>
                        <a:pt x="615" y="871"/>
                      </a:lnTo>
                      <a:lnTo>
                        <a:pt x="615" y="870"/>
                      </a:lnTo>
                      <a:lnTo>
                        <a:pt x="616" y="870"/>
                      </a:lnTo>
                      <a:lnTo>
                        <a:pt x="616" y="871"/>
                      </a:lnTo>
                      <a:lnTo>
                        <a:pt x="616" y="872"/>
                      </a:lnTo>
                      <a:lnTo>
                        <a:pt x="616" y="872"/>
                      </a:lnTo>
                      <a:lnTo>
                        <a:pt x="616" y="873"/>
                      </a:lnTo>
                      <a:lnTo>
                        <a:pt x="617" y="873"/>
                      </a:lnTo>
                      <a:lnTo>
                        <a:pt x="617" y="872"/>
                      </a:lnTo>
                      <a:lnTo>
                        <a:pt x="617" y="872"/>
                      </a:lnTo>
                      <a:lnTo>
                        <a:pt x="618" y="872"/>
                      </a:lnTo>
                      <a:lnTo>
                        <a:pt x="618" y="873"/>
                      </a:lnTo>
                      <a:lnTo>
                        <a:pt x="618" y="874"/>
                      </a:lnTo>
                      <a:lnTo>
                        <a:pt x="619" y="874"/>
                      </a:lnTo>
                      <a:lnTo>
                        <a:pt x="619" y="875"/>
                      </a:lnTo>
                      <a:lnTo>
                        <a:pt x="619" y="874"/>
                      </a:lnTo>
                      <a:lnTo>
                        <a:pt x="620" y="874"/>
                      </a:lnTo>
                      <a:lnTo>
                        <a:pt x="620" y="875"/>
                      </a:lnTo>
                      <a:lnTo>
                        <a:pt x="620" y="875"/>
                      </a:lnTo>
                      <a:lnTo>
                        <a:pt x="620" y="875"/>
                      </a:lnTo>
                      <a:lnTo>
                        <a:pt x="620" y="876"/>
                      </a:lnTo>
                      <a:lnTo>
                        <a:pt x="620" y="876"/>
                      </a:lnTo>
                      <a:lnTo>
                        <a:pt x="620" y="877"/>
                      </a:lnTo>
                      <a:lnTo>
                        <a:pt x="620" y="877"/>
                      </a:lnTo>
                      <a:lnTo>
                        <a:pt x="620" y="876"/>
                      </a:lnTo>
                      <a:lnTo>
                        <a:pt x="621" y="876"/>
                      </a:lnTo>
                      <a:lnTo>
                        <a:pt x="621" y="877"/>
                      </a:lnTo>
                      <a:lnTo>
                        <a:pt x="621" y="877"/>
                      </a:lnTo>
                      <a:lnTo>
                        <a:pt x="621" y="878"/>
                      </a:lnTo>
                      <a:lnTo>
                        <a:pt x="621" y="879"/>
                      </a:lnTo>
                      <a:lnTo>
                        <a:pt x="621" y="879"/>
                      </a:lnTo>
                      <a:lnTo>
                        <a:pt x="622" y="879"/>
                      </a:lnTo>
                      <a:lnTo>
                        <a:pt x="621" y="879"/>
                      </a:lnTo>
                      <a:lnTo>
                        <a:pt x="621" y="880"/>
                      </a:lnTo>
                      <a:lnTo>
                        <a:pt x="622" y="880"/>
                      </a:lnTo>
                      <a:lnTo>
                        <a:pt x="622" y="880"/>
                      </a:lnTo>
                      <a:lnTo>
                        <a:pt x="623" y="880"/>
                      </a:lnTo>
                      <a:lnTo>
                        <a:pt x="623" y="879"/>
                      </a:lnTo>
                      <a:lnTo>
                        <a:pt x="624" y="879"/>
                      </a:lnTo>
                      <a:lnTo>
                        <a:pt x="624" y="880"/>
                      </a:lnTo>
                      <a:lnTo>
                        <a:pt x="624" y="881"/>
                      </a:lnTo>
                      <a:lnTo>
                        <a:pt x="624" y="881"/>
                      </a:lnTo>
                      <a:lnTo>
                        <a:pt x="624" y="881"/>
                      </a:lnTo>
                      <a:lnTo>
                        <a:pt x="623" y="881"/>
                      </a:lnTo>
                      <a:lnTo>
                        <a:pt x="623" y="881"/>
                      </a:lnTo>
                      <a:lnTo>
                        <a:pt x="623" y="882"/>
                      </a:lnTo>
                      <a:lnTo>
                        <a:pt x="624" y="882"/>
                      </a:lnTo>
                      <a:lnTo>
                        <a:pt x="624" y="881"/>
                      </a:lnTo>
                      <a:lnTo>
                        <a:pt x="624" y="882"/>
                      </a:lnTo>
                      <a:lnTo>
                        <a:pt x="624" y="882"/>
                      </a:lnTo>
                      <a:lnTo>
                        <a:pt x="624" y="883"/>
                      </a:lnTo>
                      <a:lnTo>
                        <a:pt x="624" y="883"/>
                      </a:lnTo>
                      <a:lnTo>
                        <a:pt x="624" y="884"/>
                      </a:lnTo>
                      <a:lnTo>
                        <a:pt x="625" y="884"/>
                      </a:lnTo>
                      <a:lnTo>
                        <a:pt x="625" y="883"/>
                      </a:lnTo>
                      <a:lnTo>
                        <a:pt x="625" y="883"/>
                      </a:lnTo>
                      <a:lnTo>
                        <a:pt x="626" y="883"/>
                      </a:lnTo>
                      <a:lnTo>
                        <a:pt x="626" y="884"/>
                      </a:lnTo>
                      <a:lnTo>
                        <a:pt x="626" y="885"/>
                      </a:lnTo>
                      <a:lnTo>
                        <a:pt x="626" y="885"/>
                      </a:lnTo>
                      <a:lnTo>
                        <a:pt x="626" y="885"/>
                      </a:lnTo>
                      <a:lnTo>
                        <a:pt x="626" y="886"/>
                      </a:lnTo>
                      <a:lnTo>
                        <a:pt x="627" y="886"/>
                      </a:lnTo>
                      <a:lnTo>
                        <a:pt x="627" y="887"/>
                      </a:lnTo>
                      <a:lnTo>
                        <a:pt x="627" y="887"/>
                      </a:lnTo>
                      <a:lnTo>
                        <a:pt x="628" y="887"/>
                      </a:lnTo>
                      <a:lnTo>
                        <a:pt x="628" y="888"/>
                      </a:lnTo>
                      <a:lnTo>
                        <a:pt x="628" y="889"/>
                      </a:lnTo>
                      <a:lnTo>
                        <a:pt x="628" y="889"/>
                      </a:lnTo>
                      <a:lnTo>
                        <a:pt x="629" y="889"/>
                      </a:lnTo>
                      <a:lnTo>
                        <a:pt x="629" y="889"/>
                      </a:lnTo>
                      <a:lnTo>
                        <a:pt x="629" y="890"/>
                      </a:lnTo>
                      <a:lnTo>
                        <a:pt x="629" y="891"/>
                      </a:lnTo>
                      <a:lnTo>
                        <a:pt x="630" y="891"/>
                      </a:lnTo>
                      <a:lnTo>
                        <a:pt x="630" y="892"/>
                      </a:lnTo>
                      <a:lnTo>
                        <a:pt x="629" y="892"/>
                      </a:lnTo>
                      <a:lnTo>
                        <a:pt x="628" y="893"/>
                      </a:lnTo>
                      <a:lnTo>
                        <a:pt x="629" y="893"/>
                      </a:lnTo>
                      <a:lnTo>
                        <a:pt x="630" y="893"/>
                      </a:lnTo>
                      <a:lnTo>
                        <a:pt x="630" y="892"/>
                      </a:lnTo>
                      <a:lnTo>
                        <a:pt x="630" y="893"/>
                      </a:lnTo>
                      <a:lnTo>
                        <a:pt x="630" y="893"/>
                      </a:lnTo>
                      <a:lnTo>
                        <a:pt x="630" y="894"/>
                      </a:lnTo>
                      <a:lnTo>
                        <a:pt x="631" y="894"/>
                      </a:lnTo>
                      <a:lnTo>
                        <a:pt x="631" y="895"/>
                      </a:lnTo>
                      <a:lnTo>
                        <a:pt x="631" y="896"/>
                      </a:lnTo>
                      <a:lnTo>
                        <a:pt x="631" y="896"/>
                      </a:lnTo>
                      <a:lnTo>
                        <a:pt x="632" y="896"/>
                      </a:lnTo>
                      <a:lnTo>
                        <a:pt x="632" y="897"/>
                      </a:lnTo>
                      <a:lnTo>
                        <a:pt x="632" y="898"/>
                      </a:lnTo>
                      <a:lnTo>
                        <a:pt x="631" y="898"/>
                      </a:lnTo>
                      <a:lnTo>
                        <a:pt x="631" y="897"/>
                      </a:lnTo>
                      <a:lnTo>
                        <a:pt x="630" y="897"/>
                      </a:lnTo>
                      <a:lnTo>
                        <a:pt x="630" y="897"/>
                      </a:lnTo>
                      <a:lnTo>
                        <a:pt x="630" y="898"/>
                      </a:lnTo>
                      <a:lnTo>
                        <a:pt x="630" y="898"/>
                      </a:lnTo>
                      <a:lnTo>
                        <a:pt x="630" y="898"/>
                      </a:lnTo>
                      <a:lnTo>
                        <a:pt x="631" y="899"/>
                      </a:lnTo>
                      <a:lnTo>
                        <a:pt x="631" y="900"/>
                      </a:lnTo>
                      <a:lnTo>
                        <a:pt x="630" y="900"/>
                      </a:lnTo>
                      <a:lnTo>
                        <a:pt x="630" y="900"/>
                      </a:lnTo>
                      <a:lnTo>
                        <a:pt x="629" y="900"/>
                      </a:lnTo>
                      <a:lnTo>
                        <a:pt x="629" y="900"/>
                      </a:lnTo>
                      <a:lnTo>
                        <a:pt x="629" y="901"/>
                      </a:lnTo>
                      <a:lnTo>
                        <a:pt x="630" y="901"/>
                      </a:lnTo>
                      <a:lnTo>
                        <a:pt x="630" y="900"/>
                      </a:lnTo>
                      <a:lnTo>
                        <a:pt x="631" y="901"/>
                      </a:lnTo>
                      <a:lnTo>
                        <a:pt x="631" y="902"/>
                      </a:lnTo>
                      <a:lnTo>
                        <a:pt x="631" y="902"/>
                      </a:lnTo>
                      <a:lnTo>
                        <a:pt x="631" y="903"/>
                      </a:lnTo>
                      <a:lnTo>
                        <a:pt x="630" y="902"/>
                      </a:lnTo>
                      <a:lnTo>
                        <a:pt x="630" y="903"/>
                      </a:lnTo>
                      <a:lnTo>
                        <a:pt x="630" y="904"/>
                      </a:lnTo>
                      <a:lnTo>
                        <a:pt x="630" y="904"/>
                      </a:lnTo>
                      <a:lnTo>
                        <a:pt x="631" y="903"/>
                      </a:lnTo>
                      <a:lnTo>
                        <a:pt x="632" y="903"/>
                      </a:lnTo>
                      <a:lnTo>
                        <a:pt x="632" y="904"/>
                      </a:lnTo>
                      <a:lnTo>
                        <a:pt x="632" y="904"/>
                      </a:lnTo>
                      <a:lnTo>
                        <a:pt x="633" y="904"/>
                      </a:lnTo>
                      <a:lnTo>
                        <a:pt x="634" y="904"/>
                      </a:lnTo>
                      <a:lnTo>
                        <a:pt x="634" y="904"/>
                      </a:lnTo>
                      <a:lnTo>
                        <a:pt x="635" y="904"/>
                      </a:lnTo>
                      <a:lnTo>
                        <a:pt x="635" y="905"/>
                      </a:lnTo>
                      <a:lnTo>
                        <a:pt x="636" y="905"/>
                      </a:lnTo>
                      <a:lnTo>
                        <a:pt x="636" y="906"/>
                      </a:lnTo>
                      <a:lnTo>
                        <a:pt x="636" y="906"/>
                      </a:lnTo>
                      <a:lnTo>
                        <a:pt x="636" y="906"/>
                      </a:lnTo>
                      <a:lnTo>
                        <a:pt x="636" y="907"/>
                      </a:lnTo>
                      <a:lnTo>
                        <a:pt x="636" y="908"/>
                      </a:lnTo>
                      <a:lnTo>
                        <a:pt x="637" y="908"/>
                      </a:lnTo>
                      <a:lnTo>
                        <a:pt x="638" y="908"/>
                      </a:lnTo>
                      <a:lnTo>
                        <a:pt x="638" y="907"/>
                      </a:lnTo>
                      <a:lnTo>
                        <a:pt x="638" y="908"/>
                      </a:lnTo>
                      <a:lnTo>
                        <a:pt x="638" y="908"/>
                      </a:lnTo>
                      <a:lnTo>
                        <a:pt x="637" y="909"/>
                      </a:lnTo>
                      <a:lnTo>
                        <a:pt x="638" y="909"/>
                      </a:lnTo>
                      <a:lnTo>
                        <a:pt x="638" y="910"/>
                      </a:lnTo>
                      <a:lnTo>
                        <a:pt x="639" y="910"/>
                      </a:lnTo>
                      <a:lnTo>
                        <a:pt x="639" y="910"/>
                      </a:lnTo>
                      <a:lnTo>
                        <a:pt x="639" y="910"/>
                      </a:lnTo>
                      <a:lnTo>
                        <a:pt x="640" y="910"/>
                      </a:lnTo>
                      <a:lnTo>
                        <a:pt x="641" y="910"/>
                      </a:lnTo>
                      <a:lnTo>
                        <a:pt x="641" y="910"/>
                      </a:lnTo>
                      <a:lnTo>
                        <a:pt x="641" y="910"/>
                      </a:lnTo>
                      <a:lnTo>
                        <a:pt x="642" y="910"/>
                      </a:lnTo>
                      <a:lnTo>
                        <a:pt x="642" y="911"/>
                      </a:lnTo>
                      <a:lnTo>
                        <a:pt x="643" y="911"/>
                      </a:lnTo>
                      <a:lnTo>
                        <a:pt x="643" y="912"/>
                      </a:lnTo>
                      <a:lnTo>
                        <a:pt x="643" y="912"/>
                      </a:lnTo>
                      <a:lnTo>
                        <a:pt x="643" y="913"/>
                      </a:lnTo>
                      <a:lnTo>
                        <a:pt x="644" y="913"/>
                      </a:lnTo>
                      <a:lnTo>
                        <a:pt x="644" y="914"/>
                      </a:lnTo>
                      <a:lnTo>
                        <a:pt x="644" y="915"/>
                      </a:lnTo>
                      <a:lnTo>
                        <a:pt x="644" y="915"/>
                      </a:lnTo>
                      <a:lnTo>
                        <a:pt x="644" y="916"/>
                      </a:lnTo>
                      <a:lnTo>
                        <a:pt x="643" y="916"/>
                      </a:lnTo>
                      <a:lnTo>
                        <a:pt x="643" y="916"/>
                      </a:lnTo>
                      <a:lnTo>
                        <a:pt x="643" y="917"/>
                      </a:lnTo>
                      <a:lnTo>
                        <a:pt x="643" y="917"/>
                      </a:lnTo>
                      <a:lnTo>
                        <a:pt x="643" y="917"/>
                      </a:lnTo>
                      <a:lnTo>
                        <a:pt x="643" y="918"/>
                      </a:lnTo>
                      <a:lnTo>
                        <a:pt x="643" y="919"/>
                      </a:lnTo>
                      <a:lnTo>
                        <a:pt x="643" y="919"/>
                      </a:lnTo>
                      <a:lnTo>
                        <a:pt x="643" y="920"/>
                      </a:lnTo>
                      <a:lnTo>
                        <a:pt x="643" y="921"/>
                      </a:lnTo>
                      <a:lnTo>
                        <a:pt x="643" y="921"/>
                      </a:lnTo>
                      <a:lnTo>
                        <a:pt x="643" y="921"/>
                      </a:lnTo>
                      <a:lnTo>
                        <a:pt x="643" y="922"/>
                      </a:lnTo>
                      <a:lnTo>
                        <a:pt x="642" y="923"/>
                      </a:lnTo>
                      <a:lnTo>
                        <a:pt x="643" y="923"/>
                      </a:lnTo>
                      <a:lnTo>
                        <a:pt x="643" y="923"/>
                      </a:lnTo>
                      <a:lnTo>
                        <a:pt x="643" y="924"/>
                      </a:lnTo>
                      <a:lnTo>
                        <a:pt x="642" y="924"/>
                      </a:lnTo>
                      <a:lnTo>
                        <a:pt x="642" y="925"/>
                      </a:lnTo>
                      <a:lnTo>
                        <a:pt x="641" y="925"/>
                      </a:lnTo>
                      <a:lnTo>
                        <a:pt x="641" y="925"/>
                      </a:lnTo>
                      <a:lnTo>
                        <a:pt x="641" y="926"/>
                      </a:lnTo>
                      <a:lnTo>
                        <a:pt x="641" y="926"/>
                      </a:lnTo>
                      <a:lnTo>
                        <a:pt x="640" y="926"/>
                      </a:lnTo>
                      <a:lnTo>
                        <a:pt x="639" y="926"/>
                      </a:lnTo>
                      <a:lnTo>
                        <a:pt x="639" y="927"/>
                      </a:lnTo>
                      <a:lnTo>
                        <a:pt x="639" y="927"/>
                      </a:lnTo>
                      <a:lnTo>
                        <a:pt x="638" y="927"/>
                      </a:lnTo>
                      <a:lnTo>
                        <a:pt x="638" y="928"/>
                      </a:lnTo>
                      <a:lnTo>
                        <a:pt x="638" y="929"/>
                      </a:lnTo>
                      <a:lnTo>
                        <a:pt x="638" y="929"/>
                      </a:lnTo>
                      <a:lnTo>
                        <a:pt x="637" y="929"/>
                      </a:lnTo>
                      <a:lnTo>
                        <a:pt x="637" y="930"/>
                      </a:lnTo>
                      <a:lnTo>
                        <a:pt x="637" y="931"/>
                      </a:lnTo>
                      <a:lnTo>
                        <a:pt x="636" y="931"/>
                      </a:lnTo>
                      <a:lnTo>
                        <a:pt x="636" y="931"/>
                      </a:lnTo>
                      <a:lnTo>
                        <a:pt x="636" y="932"/>
                      </a:lnTo>
                      <a:lnTo>
                        <a:pt x="636" y="932"/>
                      </a:lnTo>
                      <a:lnTo>
                        <a:pt x="636" y="933"/>
                      </a:lnTo>
                      <a:lnTo>
                        <a:pt x="635" y="933"/>
                      </a:lnTo>
                      <a:lnTo>
                        <a:pt x="635" y="934"/>
                      </a:lnTo>
                      <a:lnTo>
                        <a:pt x="636" y="934"/>
                      </a:lnTo>
                      <a:lnTo>
                        <a:pt x="635" y="934"/>
                      </a:lnTo>
                      <a:lnTo>
                        <a:pt x="635" y="935"/>
                      </a:lnTo>
                      <a:lnTo>
                        <a:pt x="634" y="935"/>
                      </a:lnTo>
                      <a:lnTo>
                        <a:pt x="635" y="935"/>
                      </a:lnTo>
                      <a:lnTo>
                        <a:pt x="636" y="935"/>
                      </a:lnTo>
                      <a:lnTo>
                        <a:pt x="636" y="934"/>
                      </a:lnTo>
                      <a:lnTo>
                        <a:pt x="636" y="935"/>
                      </a:lnTo>
                      <a:lnTo>
                        <a:pt x="637" y="935"/>
                      </a:lnTo>
                      <a:lnTo>
                        <a:pt x="637" y="936"/>
                      </a:lnTo>
                      <a:lnTo>
                        <a:pt x="636" y="936"/>
                      </a:lnTo>
                      <a:lnTo>
                        <a:pt x="636" y="936"/>
                      </a:lnTo>
                      <a:lnTo>
                        <a:pt x="636" y="936"/>
                      </a:lnTo>
                      <a:lnTo>
                        <a:pt x="636" y="936"/>
                      </a:lnTo>
                      <a:lnTo>
                        <a:pt x="636" y="937"/>
                      </a:lnTo>
                      <a:lnTo>
                        <a:pt x="637" y="937"/>
                      </a:lnTo>
                      <a:lnTo>
                        <a:pt x="637" y="936"/>
                      </a:lnTo>
                      <a:lnTo>
                        <a:pt x="638" y="936"/>
                      </a:lnTo>
                      <a:lnTo>
                        <a:pt x="638" y="937"/>
                      </a:lnTo>
                      <a:lnTo>
                        <a:pt x="638" y="938"/>
                      </a:lnTo>
                      <a:lnTo>
                        <a:pt x="639" y="938"/>
                      </a:lnTo>
                      <a:lnTo>
                        <a:pt x="639" y="938"/>
                      </a:lnTo>
                      <a:lnTo>
                        <a:pt x="639" y="938"/>
                      </a:lnTo>
                      <a:lnTo>
                        <a:pt x="639" y="938"/>
                      </a:lnTo>
                      <a:lnTo>
                        <a:pt x="640" y="938"/>
                      </a:lnTo>
                      <a:lnTo>
                        <a:pt x="640" y="939"/>
                      </a:lnTo>
                      <a:lnTo>
                        <a:pt x="639" y="939"/>
                      </a:lnTo>
                      <a:lnTo>
                        <a:pt x="639" y="940"/>
                      </a:lnTo>
                      <a:lnTo>
                        <a:pt x="640" y="940"/>
                      </a:lnTo>
                      <a:lnTo>
                        <a:pt x="641" y="940"/>
                      </a:lnTo>
                      <a:lnTo>
                        <a:pt x="641" y="939"/>
                      </a:lnTo>
                      <a:lnTo>
                        <a:pt x="641" y="938"/>
                      </a:lnTo>
                      <a:lnTo>
                        <a:pt x="641" y="938"/>
                      </a:lnTo>
                      <a:lnTo>
                        <a:pt x="642" y="938"/>
                      </a:lnTo>
                      <a:lnTo>
                        <a:pt x="642" y="939"/>
                      </a:lnTo>
                      <a:lnTo>
                        <a:pt x="641" y="939"/>
                      </a:lnTo>
                      <a:lnTo>
                        <a:pt x="641" y="940"/>
                      </a:lnTo>
                      <a:lnTo>
                        <a:pt x="642" y="940"/>
                      </a:lnTo>
                      <a:lnTo>
                        <a:pt x="643" y="940"/>
                      </a:lnTo>
                      <a:lnTo>
                        <a:pt x="643" y="940"/>
                      </a:lnTo>
                      <a:lnTo>
                        <a:pt x="643" y="940"/>
                      </a:lnTo>
                      <a:lnTo>
                        <a:pt x="643" y="941"/>
                      </a:lnTo>
                      <a:lnTo>
                        <a:pt x="643" y="942"/>
                      </a:lnTo>
                      <a:lnTo>
                        <a:pt x="643" y="942"/>
                      </a:lnTo>
                      <a:lnTo>
                        <a:pt x="644" y="942"/>
                      </a:lnTo>
                      <a:lnTo>
                        <a:pt x="644" y="943"/>
                      </a:lnTo>
                      <a:lnTo>
                        <a:pt x="645" y="943"/>
                      </a:lnTo>
                      <a:lnTo>
                        <a:pt x="645" y="944"/>
                      </a:lnTo>
                      <a:lnTo>
                        <a:pt x="645" y="944"/>
                      </a:lnTo>
                      <a:lnTo>
                        <a:pt x="646" y="944"/>
                      </a:lnTo>
                      <a:lnTo>
                        <a:pt x="647" y="944"/>
                      </a:lnTo>
                      <a:lnTo>
                        <a:pt x="647" y="944"/>
                      </a:lnTo>
                      <a:lnTo>
                        <a:pt x="647" y="944"/>
                      </a:lnTo>
                      <a:lnTo>
                        <a:pt x="648" y="944"/>
                      </a:lnTo>
                      <a:lnTo>
                        <a:pt x="648" y="945"/>
                      </a:lnTo>
                      <a:lnTo>
                        <a:pt x="647" y="945"/>
                      </a:lnTo>
                      <a:lnTo>
                        <a:pt x="647" y="946"/>
                      </a:lnTo>
                      <a:lnTo>
                        <a:pt x="648" y="946"/>
                      </a:lnTo>
                      <a:lnTo>
                        <a:pt x="648" y="946"/>
                      </a:lnTo>
                      <a:lnTo>
                        <a:pt x="649" y="946"/>
                      </a:lnTo>
                      <a:lnTo>
                        <a:pt x="649" y="947"/>
                      </a:lnTo>
                      <a:lnTo>
                        <a:pt x="649" y="947"/>
                      </a:lnTo>
                      <a:lnTo>
                        <a:pt x="650" y="947"/>
                      </a:lnTo>
                      <a:lnTo>
                        <a:pt x="650" y="948"/>
                      </a:lnTo>
                      <a:lnTo>
                        <a:pt x="649" y="948"/>
                      </a:lnTo>
                      <a:lnTo>
                        <a:pt x="649" y="948"/>
                      </a:lnTo>
                      <a:lnTo>
                        <a:pt x="650" y="948"/>
                      </a:lnTo>
                      <a:lnTo>
                        <a:pt x="651" y="948"/>
                      </a:lnTo>
                      <a:lnTo>
                        <a:pt x="651" y="948"/>
                      </a:lnTo>
                      <a:lnTo>
                        <a:pt x="652" y="948"/>
                      </a:lnTo>
                      <a:lnTo>
                        <a:pt x="652" y="949"/>
                      </a:lnTo>
                      <a:lnTo>
                        <a:pt x="653" y="949"/>
                      </a:lnTo>
                      <a:lnTo>
                        <a:pt x="653" y="950"/>
                      </a:lnTo>
                      <a:lnTo>
                        <a:pt x="653" y="950"/>
                      </a:lnTo>
                      <a:lnTo>
                        <a:pt x="653" y="949"/>
                      </a:lnTo>
                      <a:lnTo>
                        <a:pt x="653" y="948"/>
                      </a:lnTo>
                      <a:lnTo>
                        <a:pt x="654" y="949"/>
                      </a:lnTo>
                      <a:lnTo>
                        <a:pt x="654" y="950"/>
                      </a:lnTo>
                      <a:lnTo>
                        <a:pt x="655" y="950"/>
                      </a:lnTo>
                      <a:lnTo>
                        <a:pt x="656" y="950"/>
                      </a:lnTo>
                      <a:lnTo>
                        <a:pt x="656" y="950"/>
                      </a:lnTo>
                      <a:lnTo>
                        <a:pt x="655" y="950"/>
                      </a:lnTo>
                      <a:lnTo>
                        <a:pt x="654" y="950"/>
                      </a:lnTo>
                      <a:lnTo>
                        <a:pt x="655" y="951"/>
                      </a:lnTo>
                      <a:lnTo>
                        <a:pt x="655" y="950"/>
                      </a:lnTo>
                      <a:lnTo>
                        <a:pt x="655" y="951"/>
                      </a:lnTo>
                      <a:lnTo>
                        <a:pt x="656" y="951"/>
                      </a:lnTo>
                      <a:lnTo>
                        <a:pt x="656" y="951"/>
                      </a:lnTo>
                      <a:lnTo>
                        <a:pt x="656" y="952"/>
                      </a:lnTo>
                      <a:lnTo>
                        <a:pt x="657" y="952"/>
                      </a:lnTo>
                      <a:lnTo>
                        <a:pt x="658" y="952"/>
                      </a:lnTo>
                      <a:lnTo>
                        <a:pt x="658" y="952"/>
                      </a:lnTo>
                      <a:lnTo>
                        <a:pt x="658" y="953"/>
                      </a:lnTo>
                      <a:lnTo>
                        <a:pt x="658" y="953"/>
                      </a:lnTo>
                      <a:lnTo>
                        <a:pt x="658" y="952"/>
                      </a:lnTo>
                      <a:lnTo>
                        <a:pt x="659" y="952"/>
                      </a:lnTo>
                      <a:lnTo>
                        <a:pt x="658" y="953"/>
                      </a:lnTo>
                      <a:lnTo>
                        <a:pt x="659" y="953"/>
                      </a:lnTo>
                      <a:lnTo>
                        <a:pt x="659" y="954"/>
                      </a:lnTo>
                      <a:lnTo>
                        <a:pt x="660" y="954"/>
                      </a:lnTo>
                      <a:lnTo>
                        <a:pt x="660" y="954"/>
                      </a:lnTo>
                      <a:lnTo>
                        <a:pt x="660" y="955"/>
                      </a:lnTo>
                      <a:lnTo>
                        <a:pt x="661" y="955"/>
                      </a:lnTo>
                      <a:lnTo>
                        <a:pt x="661" y="955"/>
                      </a:lnTo>
                      <a:lnTo>
                        <a:pt x="662" y="955"/>
                      </a:lnTo>
                      <a:lnTo>
                        <a:pt x="662" y="955"/>
                      </a:lnTo>
                      <a:lnTo>
                        <a:pt x="663" y="956"/>
                      </a:lnTo>
                      <a:lnTo>
                        <a:pt x="664" y="956"/>
                      </a:lnTo>
                      <a:lnTo>
                        <a:pt x="664" y="957"/>
                      </a:lnTo>
                      <a:lnTo>
                        <a:pt x="664" y="957"/>
                      </a:lnTo>
                      <a:lnTo>
                        <a:pt x="665" y="957"/>
                      </a:lnTo>
                      <a:lnTo>
                        <a:pt x="665" y="957"/>
                      </a:lnTo>
                      <a:lnTo>
                        <a:pt x="665" y="958"/>
                      </a:lnTo>
                      <a:lnTo>
                        <a:pt x="665" y="959"/>
                      </a:lnTo>
                      <a:lnTo>
                        <a:pt x="665" y="959"/>
                      </a:lnTo>
                      <a:lnTo>
                        <a:pt x="666" y="959"/>
                      </a:lnTo>
                      <a:lnTo>
                        <a:pt x="666" y="959"/>
                      </a:lnTo>
                      <a:lnTo>
                        <a:pt x="666" y="959"/>
                      </a:lnTo>
                      <a:lnTo>
                        <a:pt x="667" y="959"/>
                      </a:lnTo>
                      <a:lnTo>
                        <a:pt x="667" y="959"/>
                      </a:lnTo>
                      <a:lnTo>
                        <a:pt x="667" y="959"/>
                      </a:lnTo>
                      <a:lnTo>
                        <a:pt x="667" y="959"/>
                      </a:lnTo>
                      <a:lnTo>
                        <a:pt x="667" y="959"/>
                      </a:lnTo>
                      <a:lnTo>
                        <a:pt x="668" y="959"/>
                      </a:lnTo>
                      <a:lnTo>
                        <a:pt x="668" y="960"/>
                      </a:lnTo>
                      <a:lnTo>
                        <a:pt x="668" y="960"/>
                      </a:lnTo>
                      <a:lnTo>
                        <a:pt x="669" y="960"/>
                      </a:lnTo>
                      <a:lnTo>
                        <a:pt x="670" y="961"/>
                      </a:lnTo>
                      <a:lnTo>
                        <a:pt x="670" y="961"/>
                      </a:lnTo>
                      <a:lnTo>
                        <a:pt x="669" y="961"/>
                      </a:lnTo>
                      <a:lnTo>
                        <a:pt x="670" y="962"/>
                      </a:lnTo>
                      <a:lnTo>
                        <a:pt x="670" y="962"/>
                      </a:lnTo>
                      <a:lnTo>
                        <a:pt x="671" y="962"/>
                      </a:lnTo>
                      <a:lnTo>
                        <a:pt x="671" y="963"/>
                      </a:lnTo>
                      <a:lnTo>
                        <a:pt x="671" y="963"/>
                      </a:lnTo>
                      <a:lnTo>
                        <a:pt x="672" y="963"/>
                      </a:lnTo>
                      <a:lnTo>
                        <a:pt x="672" y="963"/>
                      </a:lnTo>
                      <a:lnTo>
                        <a:pt x="672" y="963"/>
                      </a:lnTo>
                      <a:lnTo>
                        <a:pt x="673" y="963"/>
                      </a:lnTo>
                      <a:lnTo>
                        <a:pt x="673" y="963"/>
                      </a:lnTo>
                      <a:lnTo>
                        <a:pt x="674" y="963"/>
                      </a:lnTo>
                      <a:lnTo>
                        <a:pt x="674" y="964"/>
                      </a:lnTo>
                      <a:lnTo>
                        <a:pt x="675" y="964"/>
                      </a:lnTo>
                      <a:lnTo>
                        <a:pt x="675" y="965"/>
                      </a:lnTo>
                      <a:lnTo>
                        <a:pt x="675" y="965"/>
                      </a:lnTo>
                      <a:lnTo>
                        <a:pt x="675" y="964"/>
                      </a:lnTo>
                      <a:lnTo>
                        <a:pt x="676" y="964"/>
                      </a:lnTo>
                      <a:lnTo>
                        <a:pt x="676" y="965"/>
                      </a:lnTo>
                      <a:lnTo>
                        <a:pt x="675" y="965"/>
                      </a:lnTo>
                      <a:lnTo>
                        <a:pt x="676" y="965"/>
                      </a:lnTo>
                      <a:lnTo>
                        <a:pt x="676" y="966"/>
                      </a:lnTo>
                      <a:lnTo>
                        <a:pt x="677" y="967"/>
                      </a:lnTo>
                      <a:lnTo>
                        <a:pt x="677" y="967"/>
                      </a:lnTo>
                      <a:lnTo>
                        <a:pt x="677" y="968"/>
                      </a:lnTo>
                      <a:lnTo>
                        <a:pt x="677" y="968"/>
                      </a:lnTo>
                      <a:lnTo>
                        <a:pt x="677" y="969"/>
                      </a:lnTo>
                      <a:lnTo>
                        <a:pt x="677" y="969"/>
                      </a:lnTo>
                      <a:lnTo>
                        <a:pt x="677" y="969"/>
                      </a:lnTo>
                      <a:lnTo>
                        <a:pt x="678" y="969"/>
                      </a:lnTo>
                      <a:lnTo>
                        <a:pt x="678" y="969"/>
                      </a:lnTo>
                      <a:lnTo>
                        <a:pt x="679" y="969"/>
                      </a:lnTo>
                      <a:lnTo>
                        <a:pt x="679" y="969"/>
                      </a:lnTo>
                      <a:lnTo>
                        <a:pt x="679" y="969"/>
                      </a:lnTo>
                      <a:lnTo>
                        <a:pt x="679" y="970"/>
                      </a:lnTo>
                      <a:lnTo>
                        <a:pt x="679" y="970"/>
                      </a:lnTo>
                      <a:lnTo>
                        <a:pt x="679" y="971"/>
                      </a:lnTo>
                      <a:lnTo>
                        <a:pt x="679" y="971"/>
                      </a:lnTo>
                      <a:lnTo>
                        <a:pt x="680" y="971"/>
                      </a:lnTo>
                      <a:lnTo>
                        <a:pt x="680" y="971"/>
                      </a:lnTo>
                      <a:lnTo>
                        <a:pt x="681" y="971"/>
                      </a:lnTo>
                      <a:lnTo>
                        <a:pt x="681" y="972"/>
                      </a:lnTo>
                      <a:lnTo>
                        <a:pt x="681" y="973"/>
                      </a:lnTo>
                      <a:lnTo>
                        <a:pt x="681" y="973"/>
                      </a:lnTo>
                      <a:lnTo>
                        <a:pt x="681" y="974"/>
                      </a:lnTo>
                      <a:lnTo>
                        <a:pt x="682" y="974"/>
                      </a:lnTo>
                      <a:lnTo>
                        <a:pt x="682" y="974"/>
                      </a:lnTo>
                      <a:lnTo>
                        <a:pt x="683" y="975"/>
                      </a:lnTo>
                      <a:lnTo>
                        <a:pt x="682" y="975"/>
                      </a:lnTo>
                      <a:lnTo>
                        <a:pt x="683" y="976"/>
                      </a:lnTo>
                      <a:lnTo>
                        <a:pt x="683" y="976"/>
                      </a:lnTo>
                      <a:lnTo>
                        <a:pt x="683" y="976"/>
                      </a:lnTo>
                      <a:lnTo>
                        <a:pt x="684" y="976"/>
                      </a:lnTo>
                      <a:lnTo>
                        <a:pt x="683" y="976"/>
                      </a:lnTo>
                      <a:lnTo>
                        <a:pt x="683" y="977"/>
                      </a:lnTo>
                      <a:lnTo>
                        <a:pt x="683" y="977"/>
                      </a:lnTo>
                      <a:lnTo>
                        <a:pt x="683" y="978"/>
                      </a:lnTo>
                      <a:lnTo>
                        <a:pt x="683" y="978"/>
                      </a:lnTo>
                      <a:lnTo>
                        <a:pt x="683" y="979"/>
                      </a:lnTo>
                      <a:lnTo>
                        <a:pt x="683" y="980"/>
                      </a:lnTo>
                      <a:lnTo>
                        <a:pt x="683" y="980"/>
                      </a:lnTo>
                      <a:lnTo>
                        <a:pt x="684" y="980"/>
                      </a:lnTo>
                      <a:lnTo>
                        <a:pt x="685" y="980"/>
                      </a:lnTo>
                      <a:lnTo>
                        <a:pt x="685" y="980"/>
                      </a:lnTo>
                      <a:lnTo>
                        <a:pt x="686" y="980"/>
                      </a:lnTo>
                      <a:lnTo>
                        <a:pt x="686" y="981"/>
                      </a:lnTo>
                      <a:lnTo>
                        <a:pt x="686" y="982"/>
                      </a:lnTo>
                      <a:lnTo>
                        <a:pt x="686" y="982"/>
                      </a:lnTo>
                      <a:lnTo>
                        <a:pt x="687" y="982"/>
                      </a:lnTo>
                      <a:lnTo>
                        <a:pt x="687" y="983"/>
                      </a:lnTo>
                      <a:lnTo>
                        <a:pt x="687" y="983"/>
                      </a:lnTo>
                      <a:lnTo>
                        <a:pt x="687" y="984"/>
                      </a:lnTo>
                      <a:lnTo>
                        <a:pt x="688" y="984"/>
                      </a:lnTo>
                      <a:lnTo>
                        <a:pt x="688" y="984"/>
                      </a:lnTo>
                      <a:lnTo>
                        <a:pt x="688" y="985"/>
                      </a:lnTo>
                      <a:lnTo>
                        <a:pt x="689" y="985"/>
                      </a:lnTo>
                      <a:lnTo>
                        <a:pt x="689" y="984"/>
                      </a:lnTo>
                      <a:lnTo>
                        <a:pt x="689" y="985"/>
                      </a:lnTo>
                      <a:lnTo>
                        <a:pt x="689" y="986"/>
                      </a:lnTo>
                      <a:lnTo>
                        <a:pt x="689" y="986"/>
                      </a:lnTo>
                      <a:lnTo>
                        <a:pt x="689" y="986"/>
                      </a:lnTo>
                      <a:lnTo>
                        <a:pt x="689" y="987"/>
                      </a:lnTo>
                      <a:lnTo>
                        <a:pt x="690" y="987"/>
                      </a:lnTo>
                      <a:lnTo>
                        <a:pt x="690" y="988"/>
                      </a:lnTo>
                      <a:lnTo>
                        <a:pt x="690" y="988"/>
                      </a:lnTo>
                      <a:lnTo>
                        <a:pt x="691" y="988"/>
                      </a:lnTo>
                      <a:lnTo>
                        <a:pt x="691" y="989"/>
                      </a:lnTo>
                      <a:lnTo>
                        <a:pt x="691" y="989"/>
                      </a:lnTo>
                      <a:lnTo>
                        <a:pt x="691" y="990"/>
                      </a:lnTo>
                      <a:lnTo>
                        <a:pt x="691" y="989"/>
                      </a:lnTo>
                      <a:lnTo>
                        <a:pt x="692" y="990"/>
                      </a:lnTo>
                      <a:lnTo>
                        <a:pt x="692" y="990"/>
                      </a:lnTo>
                      <a:lnTo>
                        <a:pt x="692" y="991"/>
                      </a:lnTo>
                      <a:lnTo>
                        <a:pt x="692" y="992"/>
                      </a:lnTo>
                      <a:lnTo>
                        <a:pt x="692" y="993"/>
                      </a:lnTo>
                      <a:lnTo>
                        <a:pt x="692" y="993"/>
                      </a:lnTo>
                      <a:lnTo>
                        <a:pt x="691" y="993"/>
                      </a:lnTo>
                      <a:lnTo>
                        <a:pt x="691" y="994"/>
                      </a:lnTo>
                      <a:lnTo>
                        <a:pt x="691" y="994"/>
                      </a:lnTo>
                      <a:lnTo>
                        <a:pt x="690" y="995"/>
                      </a:lnTo>
                      <a:lnTo>
                        <a:pt x="690" y="995"/>
                      </a:lnTo>
                      <a:lnTo>
                        <a:pt x="691" y="995"/>
                      </a:lnTo>
                      <a:lnTo>
                        <a:pt x="691" y="996"/>
                      </a:lnTo>
                      <a:lnTo>
                        <a:pt x="691" y="997"/>
                      </a:lnTo>
                      <a:lnTo>
                        <a:pt x="691" y="997"/>
                      </a:lnTo>
                      <a:lnTo>
                        <a:pt x="691" y="998"/>
                      </a:lnTo>
                      <a:lnTo>
                        <a:pt x="691" y="999"/>
                      </a:lnTo>
                      <a:lnTo>
                        <a:pt x="690" y="999"/>
                      </a:lnTo>
                      <a:lnTo>
                        <a:pt x="695" y="1005"/>
                      </a:lnTo>
                      <a:lnTo>
                        <a:pt x="699" y="1014"/>
                      </a:lnTo>
                      <a:lnTo>
                        <a:pt x="704" y="1019"/>
                      </a:lnTo>
                      <a:lnTo>
                        <a:pt x="708" y="1024"/>
                      </a:lnTo>
                      <a:lnTo>
                        <a:pt x="710" y="1025"/>
                      </a:lnTo>
                      <a:lnTo>
                        <a:pt x="720" y="1037"/>
                      </a:lnTo>
                      <a:lnTo>
                        <a:pt x="719" y="1037"/>
                      </a:lnTo>
                      <a:lnTo>
                        <a:pt x="719" y="1037"/>
                      </a:lnTo>
                      <a:lnTo>
                        <a:pt x="719" y="1037"/>
                      </a:lnTo>
                      <a:lnTo>
                        <a:pt x="718" y="1037"/>
                      </a:lnTo>
                      <a:lnTo>
                        <a:pt x="718" y="1037"/>
                      </a:lnTo>
                      <a:lnTo>
                        <a:pt x="717" y="1037"/>
                      </a:lnTo>
                      <a:lnTo>
                        <a:pt x="717" y="1037"/>
                      </a:lnTo>
                      <a:lnTo>
                        <a:pt x="717" y="1036"/>
                      </a:lnTo>
                      <a:lnTo>
                        <a:pt x="716" y="1036"/>
                      </a:lnTo>
                      <a:lnTo>
                        <a:pt x="716" y="1037"/>
                      </a:lnTo>
                      <a:lnTo>
                        <a:pt x="715" y="1037"/>
                      </a:lnTo>
                      <a:lnTo>
                        <a:pt x="715" y="1037"/>
                      </a:lnTo>
                      <a:lnTo>
                        <a:pt x="715" y="1038"/>
                      </a:lnTo>
                      <a:lnTo>
                        <a:pt x="714" y="1038"/>
                      </a:lnTo>
                      <a:lnTo>
                        <a:pt x="713" y="1038"/>
                      </a:lnTo>
                      <a:lnTo>
                        <a:pt x="713" y="1038"/>
                      </a:lnTo>
                      <a:lnTo>
                        <a:pt x="712" y="1039"/>
                      </a:lnTo>
                      <a:lnTo>
                        <a:pt x="711" y="1039"/>
                      </a:lnTo>
                      <a:lnTo>
                        <a:pt x="710" y="1039"/>
                      </a:lnTo>
                      <a:lnTo>
                        <a:pt x="710" y="1039"/>
                      </a:lnTo>
                      <a:lnTo>
                        <a:pt x="710" y="1040"/>
                      </a:lnTo>
                      <a:lnTo>
                        <a:pt x="709" y="1041"/>
                      </a:lnTo>
                      <a:lnTo>
                        <a:pt x="708" y="1040"/>
                      </a:lnTo>
                      <a:lnTo>
                        <a:pt x="708" y="1040"/>
                      </a:lnTo>
                      <a:lnTo>
                        <a:pt x="707" y="1039"/>
                      </a:lnTo>
                      <a:lnTo>
                        <a:pt x="707" y="1039"/>
                      </a:lnTo>
                      <a:lnTo>
                        <a:pt x="706" y="1039"/>
                      </a:lnTo>
                      <a:lnTo>
                        <a:pt x="706" y="1038"/>
                      </a:lnTo>
                      <a:lnTo>
                        <a:pt x="705" y="1038"/>
                      </a:lnTo>
                      <a:lnTo>
                        <a:pt x="704" y="1038"/>
                      </a:lnTo>
                      <a:lnTo>
                        <a:pt x="704" y="1037"/>
                      </a:lnTo>
                      <a:lnTo>
                        <a:pt x="703" y="1037"/>
                      </a:lnTo>
                      <a:lnTo>
                        <a:pt x="702" y="1038"/>
                      </a:lnTo>
                      <a:lnTo>
                        <a:pt x="702" y="1039"/>
                      </a:lnTo>
                      <a:lnTo>
                        <a:pt x="702" y="1039"/>
                      </a:lnTo>
                      <a:lnTo>
                        <a:pt x="702" y="1039"/>
                      </a:lnTo>
                      <a:lnTo>
                        <a:pt x="701" y="1040"/>
                      </a:lnTo>
                      <a:lnTo>
                        <a:pt x="700" y="1040"/>
                      </a:lnTo>
                      <a:lnTo>
                        <a:pt x="700" y="1041"/>
                      </a:lnTo>
                      <a:lnTo>
                        <a:pt x="700" y="1041"/>
                      </a:lnTo>
                      <a:lnTo>
                        <a:pt x="699" y="1041"/>
                      </a:lnTo>
                      <a:lnTo>
                        <a:pt x="699" y="1042"/>
                      </a:lnTo>
                      <a:lnTo>
                        <a:pt x="698" y="1042"/>
                      </a:lnTo>
                      <a:lnTo>
                        <a:pt x="698" y="1043"/>
                      </a:lnTo>
                      <a:lnTo>
                        <a:pt x="698" y="1043"/>
                      </a:lnTo>
                      <a:lnTo>
                        <a:pt x="698" y="1044"/>
                      </a:lnTo>
                      <a:lnTo>
                        <a:pt x="697" y="1044"/>
                      </a:lnTo>
                      <a:lnTo>
                        <a:pt x="697" y="1045"/>
                      </a:lnTo>
                      <a:lnTo>
                        <a:pt x="696" y="1045"/>
                      </a:lnTo>
                      <a:lnTo>
                        <a:pt x="696" y="1045"/>
                      </a:lnTo>
                      <a:lnTo>
                        <a:pt x="696" y="1045"/>
                      </a:lnTo>
                      <a:lnTo>
                        <a:pt x="696" y="1046"/>
                      </a:lnTo>
                      <a:lnTo>
                        <a:pt x="695" y="1047"/>
                      </a:lnTo>
                      <a:lnTo>
                        <a:pt x="694" y="1047"/>
                      </a:lnTo>
                      <a:lnTo>
                        <a:pt x="694" y="1047"/>
                      </a:lnTo>
                      <a:lnTo>
                        <a:pt x="694" y="1048"/>
                      </a:lnTo>
                      <a:lnTo>
                        <a:pt x="694" y="1048"/>
                      </a:lnTo>
                      <a:lnTo>
                        <a:pt x="694" y="1049"/>
                      </a:lnTo>
                      <a:lnTo>
                        <a:pt x="694" y="1049"/>
                      </a:lnTo>
                      <a:lnTo>
                        <a:pt x="694" y="1049"/>
                      </a:lnTo>
                      <a:lnTo>
                        <a:pt x="694" y="1050"/>
                      </a:lnTo>
                      <a:lnTo>
                        <a:pt x="694" y="1051"/>
                      </a:lnTo>
                      <a:lnTo>
                        <a:pt x="693" y="1051"/>
                      </a:lnTo>
                      <a:lnTo>
                        <a:pt x="693" y="1052"/>
                      </a:lnTo>
                      <a:lnTo>
                        <a:pt x="692" y="1052"/>
                      </a:lnTo>
                      <a:lnTo>
                        <a:pt x="692" y="1052"/>
                      </a:lnTo>
                      <a:lnTo>
                        <a:pt x="692" y="1053"/>
                      </a:lnTo>
                      <a:lnTo>
                        <a:pt x="691" y="1053"/>
                      </a:lnTo>
                      <a:lnTo>
                        <a:pt x="691" y="1054"/>
                      </a:lnTo>
                      <a:lnTo>
                        <a:pt x="691" y="1054"/>
                      </a:lnTo>
                      <a:lnTo>
                        <a:pt x="691" y="1054"/>
                      </a:lnTo>
                      <a:lnTo>
                        <a:pt x="691" y="1055"/>
                      </a:lnTo>
                      <a:lnTo>
                        <a:pt x="692" y="1055"/>
                      </a:lnTo>
                      <a:lnTo>
                        <a:pt x="693" y="1054"/>
                      </a:lnTo>
                      <a:lnTo>
                        <a:pt x="693" y="1055"/>
                      </a:lnTo>
                      <a:lnTo>
                        <a:pt x="693" y="1056"/>
                      </a:lnTo>
                      <a:lnTo>
                        <a:pt x="693" y="1056"/>
                      </a:lnTo>
                      <a:lnTo>
                        <a:pt x="694" y="1056"/>
                      </a:lnTo>
                      <a:lnTo>
                        <a:pt x="693" y="1057"/>
                      </a:lnTo>
                      <a:lnTo>
                        <a:pt x="693" y="1058"/>
                      </a:lnTo>
                      <a:lnTo>
                        <a:pt x="692" y="1058"/>
                      </a:lnTo>
                      <a:lnTo>
                        <a:pt x="693" y="1059"/>
                      </a:lnTo>
                      <a:lnTo>
                        <a:pt x="693" y="1060"/>
                      </a:lnTo>
                      <a:lnTo>
                        <a:pt x="694" y="1060"/>
                      </a:lnTo>
                      <a:lnTo>
                        <a:pt x="694" y="1060"/>
                      </a:lnTo>
                      <a:lnTo>
                        <a:pt x="694" y="1060"/>
                      </a:lnTo>
                      <a:lnTo>
                        <a:pt x="695" y="1060"/>
                      </a:lnTo>
                      <a:lnTo>
                        <a:pt x="696" y="1061"/>
                      </a:lnTo>
                      <a:lnTo>
                        <a:pt x="696" y="1061"/>
                      </a:lnTo>
                      <a:lnTo>
                        <a:pt x="697" y="1061"/>
                      </a:lnTo>
                      <a:lnTo>
                        <a:pt x="697" y="1062"/>
                      </a:lnTo>
                      <a:lnTo>
                        <a:pt x="698" y="1062"/>
                      </a:lnTo>
                      <a:lnTo>
                        <a:pt x="698" y="1062"/>
                      </a:lnTo>
                      <a:lnTo>
                        <a:pt x="698" y="1063"/>
                      </a:lnTo>
                      <a:lnTo>
                        <a:pt x="698" y="1064"/>
                      </a:lnTo>
                      <a:lnTo>
                        <a:pt x="698" y="1064"/>
                      </a:lnTo>
                      <a:lnTo>
                        <a:pt x="698" y="1065"/>
                      </a:lnTo>
                      <a:lnTo>
                        <a:pt x="698" y="1065"/>
                      </a:lnTo>
                      <a:lnTo>
                        <a:pt x="698" y="1066"/>
                      </a:lnTo>
                      <a:lnTo>
                        <a:pt x="697" y="1066"/>
                      </a:lnTo>
                      <a:lnTo>
                        <a:pt x="697" y="1066"/>
                      </a:lnTo>
                      <a:lnTo>
                        <a:pt x="696" y="1066"/>
                      </a:lnTo>
                      <a:lnTo>
                        <a:pt x="696" y="1067"/>
                      </a:lnTo>
                      <a:lnTo>
                        <a:pt x="696" y="1068"/>
                      </a:lnTo>
                      <a:lnTo>
                        <a:pt x="696" y="1068"/>
                      </a:lnTo>
                      <a:lnTo>
                        <a:pt x="697" y="1068"/>
                      </a:lnTo>
                      <a:lnTo>
                        <a:pt x="697" y="1069"/>
                      </a:lnTo>
                      <a:lnTo>
                        <a:pt x="698" y="1069"/>
                      </a:lnTo>
                      <a:lnTo>
                        <a:pt x="698" y="1070"/>
                      </a:lnTo>
                      <a:lnTo>
                        <a:pt x="698" y="1070"/>
                      </a:lnTo>
                      <a:lnTo>
                        <a:pt x="698" y="1070"/>
                      </a:lnTo>
                      <a:lnTo>
                        <a:pt x="699" y="1071"/>
                      </a:lnTo>
                      <a:lnTo>
                        <a:pt x="699" y="1072"/>
                      </a:lnTo>
                      <a:lnTo>
                        <a:pt x="700" y="1073"/>
                      </a:lnTo>
                      <a:lnTo>
                        <a:pt x="700" y="1073"/>
                      </a:lnTo>
                      <a:lnTo>
                        <a:pt x="700" y="1073"/>
                      </a:lnTo>
                      <a:lnTo>
                        <a:pt x="699" y="1074"/>
                      </a:lnTo>
                      <a:lnTo>
                        <a:pt x="699" y="1075"/>
                      </a:lnTo>
                      <a:lnTo>
                        <a:pt x="700" y="1075"/>
                      </a:lnTo>
                      <a:lnTo>
                        <a:pt x="700" y="1076"/>
                      </a:lnTo>
                      <a:lnTo>
                        <a:pt x="700" y="1076"/>
                      </a:lnTo>
                      <a:lnTo>
                        <a:pt x="701" y="1077"/>
                      </a:lnTo>
                      <a:lnTo>
                        <a:pt x="702" y="1077"/>
                      </a:lnTo>
                      <a:lnTo>
                        <a:pt x="702" y="1078"/>
                      </a:lnTo>
                      <a:lnTo>
                        <a:pt x="701" y="1078"/>
                      </a:lnTo>
                      <a:lnTo>
                        <a:pt x="700" y="1078"/>
                      </a:lnTo>
                      <a:lnTo>
                        <a:pt x="700" y="1079"/>
                      </a:lnTo>
                      <a:lnTo>
                        <a:pt x="700" y="1079"/>
                      </a:lnTo>
                      <a:lnTo>
                        <a:pt x="699" y="1079"/>
                      </a:lnTo>
                      <a:lnTo>
                        <a:pt x="698" y="1079"/>
                      </a:lnTo>
                      <a:lnTo>
                        <a:pt x="698" y="1079"/>
                      </a:lnTo>
                      <a:lnTo>
                        <a:pt x="698" y="1080"/>
                      </a:lnTo>
                      <a:lnTo>
                        <a:pt x="697" y="1080"/>
                      </a:lnTo>
                      <a:lnTo>
                        <a:pt x="697" y="1081"/>
                      </a:lnTo>
                      <a:lnTo>
                        <a:pt x="697" y="1081"/>
                      </a:lnTo>
                      <a:lnTo>
                        <a:pt x="696" y="1081"/>
                      </a:lnTo>
                      <a:lnTo>
                        <a:pt x="696" y="1081"/>
                      </a:lnTo>
                      <a:lnTo>
                        <a:pt x="696" y="1082"/>
                      </a:lnTo>
                      <a:lnTo>
                        <a:pt x="695" y="1082"/>
                      </a:lnTo>
                      <a:lnTo>
                        <a:pt x="695" y="1083"/>
                      </a:lnTo>
                      <a:lnTo>
                        <a:pt x="694" y="1083"/>
                      </a:lnTo>
                      <a:lnTo>
                        <a:pt x="694" y="1083"/>
                      </a:lnTo>
                      <a:lnTo>
                        <a:pt x="694" y="1084"/>
                      </a:lnTo>
                      <a:lnTo>
                        <a:pt x="694" y="1084"/>
                      </a:lnTo>
                      <a:lnTo>
                        <a:pt x="693" y="1084"/>
                      </a:lnTo>
                      <a:lnTo>
                        <a:pt x="693" y="1085"/>
                      </a:lnTo>
                      <a:lnTo>
                        <a:pt x="692" y="1085"/>
                      </a:lnTo>
                      <a:lnTo>
                        <a:pt x="692" y="1085"/>
                      </a:lnTo>
                      <a:lnTo>
                        <a:pt x="692" y="1086"/>
                      </a:lnTo>
                      <a:lnTo>
                        <a:pt x="692" y="1087"/>
                      </a:lnTo>
                      <a:lnTo>
                        <a:pt x="691" y="1087"/>
                      </a:lnTo>
                      <a:lnTo>
                        <a:pt x="691" y="1087"/>
                      </a:lnTo>
                      <a:lnTo>
                        <a:pt x="691" y="1087"/>
                      </a:lnTo>
                      <a:lnTo>
                        <a:pt x="691" y="1088"/>
                      </a:lnTo>
                      <a:lnTo>
                        <a:pt x="691" y="1089"/>
                      </a:lnTo>
                      <a:lnTo>
                        <a:pt x="690" y="1089"/>
                      </a:lnTo>
                      <a:lnTo>
                        <a:pt x="690" y="1089"/>
                      </a:lnTo>
                      <a:lnTo>
                        <a:pt x="690" y="1090"/>
                      </a:lnTo>
                      <a:lnTo>
                        <a:pt x="691" y="1090"/>
                      </a:lnTo>
                      <a:lnTo>
                        <a:pt x="691" y="1091"/>
                      </a:lnTo>
                      <a:lnTo>
                        <a:pt x="691" y="1092"/>
                      </a:lnTo>
                      <a:lnTo>
                        <a:pt x="691" y="1092"/>
                      </a:lnTo>
                      <a:lnTo>
                        <a:pt x="691" y="1093"/>
                      </a:lnTo>
                      <a:lnTo>
                        <a:pt x="691" y="1093"/>
                      </a:lnTo>
                      <a:lnTo>
                        <a:pt x="690" y="1093"/>
                      </a:lnTo>
                      <a:lnTo>
                        <a:pt x="690" y="1094"/>
                      </a:lnTo>
                      <a:lnTo>
                        <a:pt x="689" y="1094"/>
                      </a:lnTo>
                      <a:lnTo>
                        <a:pt x="689" y="1094"/>
                      </a:lnTo>
                      <a:lnTo>
                        <a:pt x="689" y="1094"/>
                      </a:lnTo>
                      <a:lnTo>
                        <a:pt x="689" y="1095"/>
                      </a:lnTo>
                      <a:lnTo>
                        <a:pt x="688" y="1095"/>
                      </a:lnTo>
                      <a:lnTo>
                        <a:pt x="689" y="1095"/>
                      </a:lnTo>
                      <a:lnTo>
                        <a:pt x="689" y="1096"/>
                      </a:lnTo>
                      <a:lnTo>
                        <a:pt x="689" y="1096"/>
                      </a:lnTo>
                      <a:lnTo>
                        <a:pt x="690" y="1096"/>
                      </a:lnTo>
                      <a:lnTo>
                        <a:pt x="690" y="1097"/>
                      </a:lnTo>
                      <a:lnTo>
                        <a:pt x="689" y="1098"/>
                      </a:lnTo>
                      <a:lnTo>
                        <a:pt x="690" y="1098"/>
                      </a:lnTo>
                      <a:lnTo>
                        <a:pt x="691" y="1099"/>
                      </a:lnTo>
                      <a:lnTo>
                        <a:pt x="690" y="1100"/>
                      </a:lnTo>
                      <a:lnTo>
                        <a:pt x="690" y="1100"/>
                      </a:lnTo>
                      <a:lnTo>
                        <a:pt x="690" y="1101"/>
                      </a:lnTo>
                      <a:lnTo>
                        <a:pt x="691" y="1101"/>
                      </a:lnTo>
                      <a:lnTo>
                        <a:pt x="691" y="1102"/>
                      </a:lnTo>
                      <a:lnTo>
                        <a:pt x="691" y="1102"/>
                      </a:lnTo>
                      <a:lnTo>
                        <a:pt x="691" y="1103"/>
                      </a:lnTo>
                      <a:lnTo>
                        <a:pt x="691" y="1104"/>
                      </a:lnTo>
                      <a:lnTo>
                        <a:pt x="691" y="1104"/>
                      </a:lnTo>
                      <a:lnTo>
                        <a:pt x="691" y="1105"/>
                      </a:lnTo>
                      <a:lnTo>
                        <a:pt x="691" y="1106"/>
                      </a:lnTo>
                      <a:lnTo>
                        <a:pt x="691" y="1106"/>
                      </a:lnTo>
                      <a:lnTo>
                        <a:pt x="691" y="1106"/>
                      </a:lnTo>
                      <a:lnTo>
                        <a:pt x="692" y="1107"/>
                      </a:lnTo>
                      <a:lnTo>
                        <a:pt x="691" y="1107"/>
                      </a:lnTo>
                      <a:lnTo>
                        <a:pt x="691" y="1108"/>
                      </a:lnTo>
                      <a:lnTo>
                        <a:pt x="691" y="1108"/>
                      </a:lnTo>
                      <a:lnTo>
                        <a:pt x="691" y="1109"/>
                      </a:lnTo>
                      <a:lnTo>
                        <a:pt x="691" y="1110"/>
                      </a:lnTo>
                      <a:lnTo>
                        <a:pt x="691" y="1110"/>
                      </a:lnTo>
                      <a:lnTo>
                        <a:pt x="691" y="1111"/>
                      </a:lnTo>
                      <a:lnTo>
                        <a:pt x="691" y="1111"/>
                      </a:lnTo>
                      <a:lnTo>
                        <a:pt x="691" y="1112"/>
                      </a:lnTo>
                      <a:lnTo>
                        <a:pt x="691" y="1113"/>
                      </a:lnTo>
                      <a:lnTo>
                        <a:pt x="690" y="1113"/>
                      </a:lnTo>
                      <a:lnTo>
                        <a:pt x="689" y="1113"/>
                      </a:lnTo>
                      <a:lnTo>
                        <a:pt x="690" y="1114"/>
                      </a:lnTo>
                      <a:lnTo>
                        <a:pt x="689" y="1115"/>
                      </a:lnTo>
                      <a:lnTo>
                        <a:pt x="689" y="1115"/>
                      </a:lnTo>
                      <a:lnTo>
                        <a:pt x="690" y="1116"/>
                      </a:lnTo>
                      <a:lnTo>
                        <a:pt x="689" y="1117"/>
                      </a:lnTo>
                      <a:lnTo>
                        <a:pt x="689" y="1117"/>
                      </a:lnTo>
                      <a:lnTo>
                        <a:pt x="689" y="1118"/>
                      </a:lnTo>
                      <a:lnTo>
                        <a:pt x="689" y="1119"/>
                      </a:lnTo>
                      <a:lnTo>
                        <a:pt x="689" y="1119"/>
                      </a:lnTo>
                      <a:lnTo>
                        <a:pt x="689" y="1120"/>
                      </a:lnTo>
                      <a:lnTo>
                        <a:pt x="690" y="1120"/>
                      </a:lnTo>
                      <a:lnTo>
                        <a:pt x="691" y="1120"/>
                      </a:lnTo>
                      <a:lnTo>
                        <a:pt x="691" y="1121"/>
                      </a:lnTo>
                      <a:lnTo>
                        <a:pt x="691" y="1121"/>
                      </a:lnTo>
                      <a:lnTo>
                        <a:pt x="691" y="1122"/>
                      </a:lnTo>
                      <a:lnTo>
                        <a:pt x="692" y="1123"/>
                      </a:lnTo>
                      <a:lnTo>
                        <a:pt x="693" y="1123"/>
                      </a:lnTo>
                      <a:lnTo>
                        <a:pt x="693" y="1122"/>
                      </a:lnTo>
                      <a:lnTo>
                        <a:pt x="694" y="1122"/>
                      </a:lnTo>
                      <a:lnTo>
                        <a:pt x="694" y="1123"/>
                      </a:lnTo>
                      <a:lnTo>
                        <a:pt x="694" y="1123"/>
                      </a:lnTo>
                      <a:lnTo>
                        <a:pt x="695" y="1123"/>
                      </a:lnTo>
                      <a:lnTo>
                        <a:pt x="695" y="1124"/>
                      </a:lnTo>
                      <a:lnTo>
                        <a:pt x="696" y="1124"/>
                      </a:lnTo>
                      <a:lnTo>
                        <a:pt x="696" y="1124"/>
                      </a:lnTo>
                      <a:lnTo>
                        <a:pt x="696" y="1125"/>
                      </a:lnTo>
                      <a:lnTo>
                        <a:pt x="696" y="1125"/>
                      </a:lnTo>
                      <a:lnTo>
                        <a:pt x="697" y="1125"/>
                      </a:lnTo>
                      <a:lnTo>
                        <a:pt x="698" y="1126"/>
                      </a:lnTo>
                      <a:lnTo>
                        <a:pt x="698" y="1127"/>
                      </a:lnTo>
                      <a:lnTo>
                        <a:pt x="697" y="1127"/>
                      </a:lnTo>
                      <a:lnTo>
                        <a:pt x="698" y="1127"/>
                      </a:lnTo>
                      <a:lnTo>
                        <a:pt x="698" y="1128"/>
                      </a:lnTo>
                      <a:lnTo>
                        <a:pt x="699" y="1128"/>
                      </a:lnTo>
                      <a:lnTo>
                        <a:pt x="698" y="1129"/>
                      </a:lnTo>
                      <a:lnTo>
                        <a:pt x="699" y="1129"/>
                      </a:lnTo>
                      <a:lnTo>
                        <a:pt x="699" y="1130"/>
                      </a:lnTo>
                      <a:lnTo>
                        <a:pt x="700" y="1130"/>
                      </a:lnTo>
                      <a:lnTo>
                        <a:pt x="700" y="1131"/>
                      </a:lnTo>
                      <a:lnTo>
                        <a:pt x="700" y="1131"/>
                      </a:lnTo>
                      <a:lnTo>
                        <a:pt x="701" y="1132"/>
                      </a:lnTo>
                      <a:lnTo>
                        <a:pt x="701" y="1132"/>
                      </a:lnTo>
                      <a:lnTo>
                        <a:pt x="701" y="1133"/>
                      </a:lnTo>
                      <a:lnTo>
                        <a:pt x="701" y="1134"/>
                      </a:lnTo>
                      <a:lnTo>
                        <a:pt x="702" y="1134"/>
                      </a:lnTo>
                      <a:lnTo>
                        <a:pt x="702" y="1134"/>
                      </a:lnTo>
                      <a:lnTo>
                        <a:pt x="703" y="1135"/>
                      </a:lnTo>
                      <a:lnTo>
                        <a:pt x="703" y="1136"/>
                      </a:lnTo>
                      <a:lnTo>
                        <a:pt x="702" y="1136"/>
                      </a:lnTo>
                      <a:lnTo>
                        <a:pt x="702" y="1137"/>
                      </a:lnTo>
                      <a:lnTo>
                        <a:pt x="703" y="1138"/>
                      </a:lnTo>
                      <a:lnTo>
                        <a:pt x="704" y="1138"/>
                      </a:lnTo>
                      <a:lnTo>
                        <a:pt x="704" y="1138"/>
                      </a:lnTo>
                      <a:lnTo>
                        <a:pt x="704" y="1139"/>
                      </a:lnTo>
                      <a:lnTo>
                        <a:pt x="705" y="1140"/>
                      </a:lnTo>
                      <a:lnTo>
                        <a:pt x="705" y="1140"/>
                      </a:lnTo>
                      <a:lnTo>
                        <a:pt x="706" y="1140"/>
                      </a:lnTo>
                      <a:lnTo>
                        <a:pt x="706" y="1141"/>
                      </a:lnTo>
                      <a:lnTo>
                        <a:pt x="706" y="1142"/>
                      </a:lnTo>
                      <a:lnTo>
                        <a:pt x="707" y="1142"/>
                      </a:lnTo>
                      <a:lnTo>
                        <a:pt x="707" y="1142"/>
                      </a:lnTo>
                      <a:lnTo>
                        <a:pt x="708" y="1142"/>
                      </a:lnTo>
                      <a:lnTo>
                        <a:pt x="708" y="1143"/>
                      </a:lnTo>
                      <a:lnTo>
                        <a:pt x="708" y="1144"/>
                      </a:lnTo>
                      <a:lnTo>
                        <a:pt x="708" y="1144"/>
                      </a:lnTo>
                      <a:lnTo>
                        <a:pt x="708" y="1145"/>
                      </a:lnTo>
                      <a:lnTo>
                        <a:pt x="708" y="1146"/>
                      </a:lnTo>
                      <a:lnTo>
                        <a:pt x="709" y="1146"/>
                      </a:lnTo>
                      <a:lnTo>
                        <a:pt x="709" y="1146"/>
                      </a:lnTo>
                      <a:lnTo>
                        <a:pt x="709" y="1147"/>
                      </a:lnTo>
                      <a:lnTo>
                        <a:pt x="709" y="1148"/>
                      </a:lnTo>
                      <a:lnTo>
                        <a:pt x="709" y="1148"/>
                      </a:lnTo>
                      <a:lnTo>
                        <a:pt x="709" y="1149"/>
                      </a:lnTo>
                      <a:lnTo>
                        <a:pt x="709" y="1150"/>
                      </a:lnTo>
                      <a:lnTo>
                        <a:pt x="708" y="1150"/>
                      </a:lnTo>
                      <a:lnTo>
                        <a:pt x="708" y="1151"/>
                      </a:lnTo>
                      <a:lnTo>
                        <a:pt x="708" y="1151"/>
                      </a:lnTo>
                      <a:lnTo>
                        <a:pt x="708" y="1152"/>
                      </a:lnTo>
                      <a:lnTo>
                        <a:pt x="708" y="1153"/>
                      </a:lnTo>
                      <a:lnTo>
                        <a:pt x="708" y="1153"/>
                      </a:lnTo>
                      <a:lnTo>
                        <a:pt x="708" y="1154"/>
                      </a:lnTo>
                      <a:lnTo>
                        <a:pt x="708" y="1154"/>
                      </a:lnTo>
                      <a:lnTo>
                        <a:pt x="708" y="1155"/>
                      </a:lnTo>
                      <a:lnTo>
                        <a:pt x="708" y="1155"/>
                      </a:lnTo>
                      <a:lnTo>
                        <a:pt x="708" y="1156"/>
                      </a:lnTo>
                      <a:lnTo>
                        <a:pt x="707" y="1156"/>
                      </a:lnTo>
                      <a:lnTo>
                        <a:pt x="707" y="1157"/>
                      </a:lnTo>
                      <a:lnTo>
                        <a:pt x="708" y="1157"/>
                      </a:lnTo>
                      <a:lnTo>
                        <a:pt x="708" y="1157"/>
                      </a:lnTo>
                      <a:lnTo>
                        <a:pt x="708" y="1158"/>
                      </a:lnTo>
                      <a:lnTo>
                        <a:pt x="708" y="1159"/>
                      </a:lnTo>
                      <a:lnTo>
                        <a:pt x="708" y="1159"/>
                      </a:lnTo>
                      <a:lnTo>
                        <a:pt x="707" y="1159"/>
                      </a:lnTo>
                      <a:lnTo>
                        <a:pt x="707" y="1160"/>
                      </a:lnTo>
                      <a:lnTo>
                        <a:pt x="708" y="1160"/>
                      </a:lnTo>
                      <a:lnTo>
                        <a:pt x="708" y="1161"/>
                      </a:lnTo>
                      <a:lnTo>
                        <a:pt x="708" y="1161"/>
                      </a:lnTo>
                      <a:lnTo>
                        <a:pt x="708" y="1161"/>
                      </a:lnTo>
                      <a:lnTo>
                        <a:pt x="708" y="1162"/>
                      </a:lnTo>
                      <a:lnTo>
                        <a:pt x="709" y="1162"/>
                      </a:lnTo>
                      <a:lnTo>
                        <a:pt x="709" y="1163"/>
                      </a:lnTo>
                      <a:lnTo>
                        <a:pt x="710" y="1163"/>
                      </a:lnTo>
                      <a:lnTo>
                        <a:pt x="710" y="1163"/>
                      </a:lnTo>
                      <a:lnTo>
                        <a:pt x="711" y="1163"/>
                      </a:lnTo>
                      <a:lnTo>
                        <a:pt x="712" y="1163"/>
                      </a:lnTo>
                      <a:lnTo>
                        <a:pt x="713" y="1163"/>
                      </a:lnTo>
                      <a:lnTo>
                        <a:pt x="713" y="1165"/>
                      </a:lnTo>
                      <a:lnTo>
                        <a:pt x="714" y="1165"/>
                      </a:lnTo>
                      <a:lnTo>
                        <a:pt x="714" y="1165"/>
                      </a:lnTo>
                      <a:lnTo>
                        <a:pt x="715" y="1165"/>
                      </a:lnTo>
                      <a:lnTo>
                        <a:pt x="715" y="1165"/>
                      </a:lnTo>
                      <a:lnTo>
                        <a:pt x="716" y="1165"/>
                      </a:lnTo>
                      <a:lnTo>
                        <a:pt x="716" y="1166"/>
                      </a:lnTo>
                      <a:lnTo>
                        <a:pt x="716" y="1167"/>
                      </a:lnTo>
                      <a:lnTo>
                        <a:pt x="717" y="1167"/>
                      </a:lnTo>
                      <a:lnTo>
                        <a:pt x="717" y="1168"/>
                      </a:lnTo>
                      <a:lnTo>
                        <a:pt x="717" y="1169"/>
                      </a:lnTo>
                      <a:lnTo>
                        <a:pt x="717" y="1169"/>
                      </a:lnTo>
                      <a:lnTo>
                        <a:pt x="718" y="1169"/>
                      </a:lnTo>
                      <a:lnTo>
                        <a:pt x="719" y="1169"/>
                      </a:lnTo>
                      <a:lnTo>
                        <a:pt x="719" y="1169"/>
                      </a:lnTo>
                      <a:lnTo>
                        <a:pt x="719" y="1170"/>
                      </a:lnTo>
                      <a:lnTo>
                        <a:pt x="719" y="1171"/>
                      </a:lnTo>
                      <a:lnTo>
                        <a:pt x="720" y="1171"/>
                      </a:lnTo>
                      <a:lnTo>
                        <a:pt x="721" y="1172"/>
                      </a:lnTo>
                      <a:lnTo>
                        <a:pt x="721" y="1172"/>
                      </a:lnTo>
                      <a:lnTo>
                        <a:pt x="721" y="1173"/>
                      </a:lnTo>
                      <a:lnTo>
                        <a:pt x="721" y="1174"/>
                      </a:lnTo>
                      <a:lnTo>
                        <a:pt x="721" y="1174"/>
                      </a:lnTo>
                      <a:lnTo>
                        <a:pt x="720" y="1174"/>
                      </a:lnTo>
                      <a:lnTo>
                        <a:pt x="720" y="1175"/>
                      </a:lnTo>
                      <a:lnTo>
                        <a:pt x="721" y="1176"/>
                      </a:lnTo>
                      <a:lnTo>
                        <a:pt x="721" y="1176"/>
                      </a:lnTo>
                      <a:lnTo>
                        <a:pt x="721" y="1177"/>
                      </a:lnTo>
                      <a:lnTo>
                        <a:pt x="721" y="1178"/>
                      </a:lnTo>
                      <a:lnTo>
                        <a:pt x="721" y="1178"/>
                      </a:lnTo>
                      <a:lnTo>
                        <a:pt x="721" y="1179"/>
                      </a:lnTo>
                      <a:lnTo>
                        <a:pt x="721" y="1180"/>
                      </a:lnTo>
                      <a:lnTo>
                        <a:pt x="722" y="1180"/>
                      </a:lnTo>
                      <a:lnTo>
                        <a:pt x="721" y="1181"/>
                      </a:lnTo>
                      <a:lnTo>
                        <a:pt x="722" y="1182"/>
                      </a:lnTo>
                      <a:lnTo>
                        <a:pt x="722" y="1183"/>
                      </a:lnTo>
                      <a:lnTo>
                        <a:pt x="723" y="1184"/>
                      </a:lnTo>
                      <a:lnTo>
                        <a:pt x="722" y="1184"/>
                      </a:lnTo>
                      <a:lnTo>
                        <a:pt x="723" y="1184"/>
                      </a:lnTo>
                      <a:lnTo>
                        <a:pt x="723" y="1185"/>
                      </a:lnTo>
                      <a:lnTo>
                        <a:pt x="723" y="1186"/>
                      </a:lnTo>
                      <a:lnTo>
                        <a:pt x="722" y="1186"/>
                      </a:lnTo>
                      <a:lnTo>
                        <a:pt x="722" y="1186"/>
                      </a:lnTo>
                      <a:lnTo>
                        <a:pt x="722" y="1187"/>
                      </a:lnTo>
                      <a:lnTo>
                        <a:pt x="721" y="1187"/>
                      </a:lnTo>
                      <a:lnTo>
                        <a:pt x="721" y="1188"/>
                      </a:lnTo>
                      <a:lnTo>
                        <a:pt x="722" y="1188"/>
                      </a:lnTo>
                      <a:lnTo>
                        <a:pt x="722" y="1189"/>
                      </a:lnTo>
                      <a:lnTo>
                        <a:pt x="722" y="1190"/>
                      </a:lnTo>
                      <a:lnTo>
                        <a:pt x="722" y="1191"/>
                      </a:lnTo>
                      <a:lnTo>
                        <a:pt x="723" y="1191"/>
                      </a:lnTo>
                      <a:lnTo>
                        <a:pt x="723" y="1191"/>
                      </a:lnTo>
                      <a:lnTo>
                        <a:pt x="722" y="1191"/>
                      </a:lnTo>
                      <a:lnTo>
                        <a:pt x="722" y="1192"/>
                      </a:lnTo>
                      <a:lnTo>
                        <a:pt x="722" y="1193"/>
                      </a:lnTo>
                      <a:lnTo>
                        <a:pt x="722" y="1193"/>
                      </a:lnTo>
                      <a:lnTo>
                        <a:pt x="722" y="1194"/>
                      </a:lnTo>
                      <a:lnTo>
                        <a:pt x="723" y="1195"/>
                      </a:lnTo>
                      <a:lnTo>
                        <a:pt x="723" y="1196"/>
                      </a:lnTo>
                      <a:lnTo>
                        <a:pt x="723" y="1197"/>
                      </a:lnTo>
                      <a:lnTo>
                        <a:pt x="723" y="1197"/>
                      </a:lnTo>
                      <a:lnTo>
                        <a:pt x="723" y="1198"/>
                      </a:lnTo>
                      <a:lnTo>
                        <a:pt x="723" y="1199"/>
                      </a:lnTo>
                      <a:lnTo>
                        <a:pt x="723" y="1199"/>
                      </a:lnTo>
                      <a:lnTo>
                        <a:pt x="723" y="1200"/>
                      </a:lnTo>
                      <a:lnTo>
                        <a:pt x="723" y="1201"/>
                      </a:lnTo>
                      <a:lnTo>
                        <a:pt x="724" y="1201"/>
                      </a:lnTo>
                      <a:lnTo>
                        <a:pt x="724" y="1202"/>
                      </a:lnTo>
                      <a:lnTo>
                        <a:pt x="724" y="1203"/>
                      </a:lnTo>
                      <a:lnTo>
                        <a:pt x="724" y="1203"/>
                      </a:lnTo>
                      <a:lnTo>
                        <a:pt x="725" y="1203"/>
                      </a:lnTo>
                      <a:lnTo>
                        <a:pt x="725" y="1204"/>
                      </a:lnTo>
                      <a:lnTo>
                        <a:pt x="726" y="1205"/>
                      </a:lnTo>
                      <a:lnTo>
                        <a:pt x="726" y="1205"/>
                      </a:lnTo>
                      <a:lnTo>
                        <a:pt x="726" y="1206"/>
                      </a:lnTo>
                      <a:lnTo>
                        <a:pt x="725" y="1207"/>
                      </a:lnTo>
                      <a:lnTo>
                        <a:pt x="725" y="1207"/>
                      </a:lnTo>
                      <a:lnTo>
                        <a:pt x="725" y="1208"/>
                      </a:lnTo>
                      <a:lnTo>
                        <a:pt x="725" y="1209"/>
                      </a:lnTo>
                      <a:lnTo>
                        <a:pt x="725" y="1210"/>
                      </a:lnTo>
                      <a:lnTo>
                        <a:pt x="725" y="1210"/>
                      </a:lnTo>
                      <a:lnTo>
                        <a:pt x="725" y="1210"/>
                      </a:lnTo>
                      <a:lnTo>
                        <a:pt x="725" y="1211"/>
                      </a:lnTo>
                      <a:lnTo>
                        <a:pt x="725" y="1212"/>
                      </a:lnTo>
                      <a:lnTo>
                        <a:pt x="725" y="1212"/>
                      </a:lnTo>
                      <a:lnTo>
                        <a:pt x="725" y="1213"/>
                      </a:lnTo>
                      <a:lnTo>
                        <a:pt x="725" y="1214"/>
                      </a:lnTo>
                      <a:lnTo>
                        <a:pt x="725" y="1214"/>
                      </a:lnTo>
                      <a:lnTo>
                        <a:pt x="725" y="1215"/>
                      </a:lnTo>
                      <a:lnTo>
                        <a:pt x="725" y="1216"/>
                      </a:lnTo>
                      <a:lnTo>
                        <a:pt x="726" y="1216"/>
                      </a:lnTo>
                      <a:lnTo>
                        <a:pt x="726" y="1216"/>
                      </a:lnTo>
                      <a:lnTo>
                        <a:pt x="726" y="1217"/>
                      </a:lnTo>
                      <a:lnTo>
                        <a:pt x="726" y="1218"/>
                      </a:lnTo>
                      <a:lnTo>
                        <a:pt x="726" y="1218"/>
                      </a:lnTo>
                      <a:lnTo>
                        <a:pt x="726" y="1219"/>
                      </a:lnTo>
                      <a:lnTo>
                        <a:pt x="725" y="1219"/>
                      </a:lnTo>
                      <a:lnTo>
                        <a:pt x="725" y="1220"/>
                      </a:lnTo>
                      <a:lnTo>
                        <a:pt x="725" y="1220"/>
                      </a:lnTo>
                      <a:lnTo>
                        <a:pt x="725" y="1221"/>
                      </a:lnTo>
                      <a:lnTo>
                        <a:pt x="725" y="1222"/>
                      </a:lnTo>
                      <a:lnTo>
                        <a:pt x="725" y="1222"/>
                      </a:lnTo>
                      <a:lnTo>
                        <a:pt x="725" y="1223"/>
                      </a:lnTo>
                      <a:lnTo>
                        <a:pt x="725" y="1223"/>
                      </a:lnTo>
                      <a:lnTo>
                        <a:pt x="726" y="1224"/>
                      </a:lnTo>
                      <a:lnTo>
                        <a:pt x="726" y="1224"/>
                      </a:lnTo>
                      <a:lnTo>
                        <a:pt x="727" y="1225"/>
                      </a:lnTo>
                      <a:lnTo>
                        <a:pt x="727" y="1225"/>
                      </a:lnTo>
                      <a:lnTo>
                        <a:pt x="728" y="1226"/>
                      </a:lnTo>
                      <a:lnTo>
                        <a:pt x="729" y="1226"/>
                      </a:lnTo>
                      <a:lnTo>
                        <a:pt x="729" y="1227"/>
                      </a:lnTo>
                      <a:lnTo>
                        <a:pt x="730" y="1228"/>
                      </a:lnTo>
                      <a:lnTo>
                        <a:pt x="730" y="1228"/>
                      </a:lnTo>
                      <a:lnTo>
                        <a:pt x="730" y="1229"/>
                      </a:lnTo>
                      <a:lnTo>
                        <a:pt x="730" y="1230"/>
                      </a:lnTo>
                      <a:lnTo>
                        <a:pt x="729" y="1231"/>
                      </a:lnTo>
                      <a:lnTo>
                        <a:pt x="729" y="1231"/>
                      </a:lnTo>
                      <a:lnTo>
                        <a:pt x="728" y="1231"/>
                      </a:lnTo>
                      <a:lnTo>
                        <a:pt x="728" y="1231"/>
                      </a:lnTo>
                      <a:lnTo>
                        <a:pt x="728" y="1232"/>
                      </a:lnTo>
                      <a:lnTo>
                        <a:pt x="728" y="1233"/>
                      </a:lnTo>
                      <a:lnTo>
                        <a:pt x="729" y="1233"/>
                      </a:lnTo>
                      <a:lnTo>
                        <a:pt x="729" y="1234"/>
                      </a:lnTo>
                      <a:lnTo>
                        <a:pt x="729" y="1234"/>
                      </a:lnTo>
                      <a:lnTo>
                        <a:pt x="729" y="1235"/>
                      </a:lnTo>
                      <a:lnTo>
                        <a:pt x="730" y="1235"/>
                      </a:lnTo>
                      <a:lnTo>
                        <a:pt x="730" y="1235"/>
                      </a:lnTo>
                      <a:lnTo>
                        <a:pt x="730" y="1236"/>
                      </a:lnTo>
                      <a:lnTo>
                        <a:pt x="731" y="1236"/>
                      </a:lnTo>
                      <a:lnTo>
                        <a:pt x="732" y="1236"/>
                      </a:lnTo>
                      <a:lnTo>
                        <a:pt x="732" y="1237"/>
                      </a:lnTo>
                      <a:lnTo>
                        <a:pt x="732" y="1237"/>
                      </a:lnTo>
                      <a:lnTo>
                        <a:pt x="731" y="1237"/>
                      </a:lnTo>
                      <a:lnTo>
                        <a:pt x="732" y="1238"/>
                      </a:lnTo>
                      <a:lnTo>
                        <a:pt x="732" y="1238"/>
                      </a:lnTo>
                      <a:lnTo>
                        <a:pt x="733" y="1238"/>
                      </a:lnTo>
                      <a:lnTo>
                        <a:pt x="733" y="1239"/>
                      </a:lnTo>
                      <a:lnTo>
                        <a:pt x="733" y="1239"/>
                      </a:lnTo>
                      <a:lnTo>
                        <a:pt x="734" y="1239"/>
                      </a:lnTo>
                      <a:lnTo>
                        <a:pt x="734" y="1240"/>
                      </a:lnTo>
                      <a:lnTo>
                        <a:pt x="734" y="1240"/>
                      </a:lnTo>
                      <a:lnTo>
                        <a:pt x="734" y="1241"/>
                      </a:lnTo>
                      <a:lnTo>
                        <a:pt x="734" y="1241"/>
                      </a:lnTo>
                      <a:lnTo>
                        <a:pt x="735" y="1241"/>
                      </a:lnTo>
                      <a:lnTo>
                        <a:pt x="735" y="1242"/>
                      </a:lnTo>
                      <a:lnTo>
                        <a:pt x="736" y="1243"/>
                      </a:lnTo>
                      <a:lnTo>
                        <a:pt x="736" y="1243"/>
                      </a:lnTo>
                      <a:lnTo>
                        <a:pt x="736" y="1244"/>
                      </a:lnTo>
                      <a:lnTo>
                        <a:pt x="737" y="1245"/>
                      </a:lnTo>
                      <a:lnTo>
                        <a:pt x="737" y="1245"/>
                      </a:lnTo>
                      <a:lnTo>
                        <a:pt x="738" y="1246"/>
                      </a:lnTo>
                      <a:lnTo>
                        <a:pt x="737" y="1246"/>
                      </a:lnTo>
                      <a:lnTo>
                        <a:pt x="737" y="1247"/>
                      </a:lnTo>
                      <a:lnTo>
                        <a:pt x="738" y="1247"/>
                      </a:lnTo>
                      <a:lnTo>
                        <a:pt x="738" y="1247"/>
                      </a:lnTo>
                      <a:lnTo>
                        <a:pt x="738" y="1247"/>
                      </a:lnTo>
                      <a:lnTo>
                        <a:pt x="738" y="1248"/>
                      </a:lnTo>
                      <a:lnTo>
                        <a:pt x="739" y="1248"/>
                      </a:lnTo>
                      <a:lnTo>
                        <a:pt x="739" y="1249"/>
                      </a:lnTo>
                      <a:lnTo>
                        <a:pt x="740" y="1250"/>
                      </a:lnTo>
                      <a:lnTo>
                        <a:pt x="740" y="1250"/>
                      </a:lnTo>
                      <a:lnTo>
                        <a:pt x="740" y="1251"/>
                      </a:lnTo>
                      <a:lnTo>
                        <a:pt x="740" y="1252"/>
                      </a:lnTo>
                      <a:lnTo>
                        <a:pt x="739" y="1252"/>
                      </a:lnTo>
                      <a:lnTo>
                        <a:pt x="739" y="1253"/>
                      </a:lnTo>
                      <a:lnTo>
                        <a:pt x="738" y="1253"/>
                      </a:lnTo>
                      <a:lnTo>
                        <a:pt x="738" y="1254"/>
                      </a:lnTo>
                      <a:lnTo>
                        <a:pt x="739" y="1254"/>
                      </a:lnTo>
                      <a:lnTo>
                        <a:pt x="739" y="1254"/>
                      </a:lnTo>
                      <a:lnTo>
                        <a:pt x="738" y="1255"/>
                      </a:lnTo>
                      <a:lnTo>
                        <a:pt x="739" y="1255"/>
                      </a:lnTo>
                      <a:lnTo>
                        <a:pt x="739" y="1256"/>
                      </a:lnTo>
                      <a:lnTo>
                        <a:pt x="739" y="1256"/>
                      </a:lnTo>
                      <a:lnTo>
                        <a:pt x="740" y="1256"/>
                      </a:lnTo>
                      <a:lnTo>
                        <a:pt x="739" y="1257"/>
                      </a:lnTo>
                      <a:lnTo>
                        <a:pt x="739" y="1258"/>
                      </a:lnTo>
                      <a:lnTo>
                        <a:pt x="739" y="1258"/>
                      </a:lnTo>
                      <a:lnTo>
                        <a:pt x="739" y="1259"/>
                      </a:lnTo>
                      <a:lnTo>
                        <a:pt x="738" y="1259"/>
                      </a:lnTo>
                      <a:lnTo>
                        <a:pt x="738" y="1259"/>
                      </a:lnTo>
                      <a:lnTo>
                        <a:pt x="738" y="1260"/>
                      </a:lnTo>
                      <a:lnTo>
                        <a:pt x="738" y="1260"/>
                      </a:lnTo>
                      <a:lnTo>
                        <a:pt x="737" y="1261"/>
                      </a:lnTo>
                      <a:lnTo>
                        <a:pt x="736" y="1261"/>
                      </a:lnTo>
                      <a:lnTo>
                        <a:pt x="736" y="1262"/>
                      </a:lnTo>
                      <a:lnTo>
                        <a:pt x="737" y="1262"/>
                      </a:lnTo>
                      <a:lnTo>
                        <a:pt x="737" y="1262"/>
                      </a:lnTo>
                      <a:lnTo>
                        <a:pt x="737" y="1263"/>
                      </a:lnTo>
                      <a:lnTo>
                        <a:pt x="737" y="1264"/>
                      </a:lnTo>
                      <a:lnTo>
                        <a:pt x="737" y="1264"/>
                      </a:lnTo>
                      <a:lnTo>
                        <a:pt x="738" y="1264"/>
                      </a:lnTo>
                      <a:lnTo>
                        <a:pt x="738" y="1265"/>
                      </a:lnTo>
                      <a:lnTo>
                        <a:pt x="738" y="1266"/>
                      </a:lnTo>
                      <a:lnTo>
                        <a:pt x="738" y="1266"/>
                      </a:lnTo>
                      <a:lnTo>
                        <a:pt x="738" y="1267"/>
                      </a:lnTo>
                      <a:lnTo>
                        <a:pt x="738" y="1268"/>
                      </a:lnTo>
                      <a:lnTo>
                        <a:pt x="738" y="1268"/>
                      </a:lnTo>
                      <a:lnTo>
                        <a:pt x="737" y="1269"/>
                      </a:lnTo>
                      <a:lnTo>
                        <a:pt x="736" y="1269"/>
                      </a:lnTo>
                      <a:lnTo>
                        <a:pt x="736" y="1270"/>
                      </a:lnTo>
                      <a:lnTo>
                        <a:pt x="737" y="1270"/>
                      </a:lnTo>
                      <a:lnTo>
                        <a:pt x="736" y="1271"/>
                      </a:lnTo>
                      <a:lnTo>
                        <a:pt x="736" y="1271"/>
                      </a:lnTo>
                      <a:lnTo>
                        <a:pt x="736" y="1271"/>
                      </a:lnTo>
                      <a:lnTo>
                        <a:pt x="736" y="1272"/>
                      </a:lnTo>
                      <a:lnTo>
                        <a:pt x="735" y="1273"/>
                      </a:lnTo>
                      <a:lnTo>
                        <a:pt x="735" y="1273"/>
                      </a:lnTo>
                      <a:lnTo>
                        <a:pt x="735" y="1274"/>
                      </a:lnTo>
                      <a:lnTo>
                        <a:pt x="735" y="1275"/>
                      </a:lnTo>
                      <a:lnTo>
                        <a:pt x="735" y="1275"/>
                      </a:lnTo>
                      <a:lnTo>
                        <a:pt x="734" y="1275"/>
                      </a:lnTo>
                      <a:lnTo>
                        <a:pt x="734" y="1276"/>
                      </a:lnTo>
                      <a:lnTo>
                        <a:pt x="734" y="1277"/>
                      </a:lnTo>
                      <a:lnTo>
                        <a:pt x="734" y="1277"/>
                      </a:lnTo>
                      <a:lnTo>
                        <a:pt x="734" y="1277"/>
                      </a:lnTo>
                      <a:lnTo>
                        <a:pt x="734" y="1278"/>
                      </a:lnTo>
                      <a:lnTo>
                        <a:pt x="734" y="1278"/>
                      </a:lnTo>
                      <a:lnTo>
                        <a:pt x="734" y="1279"/>
                      </a:lnTo>
                      <a:lnTo>
                        <a:pt x="734" y="1279"/>
                      </a:lnTo>
                      <a:lnTo>
                        <a:pt x="734" y="1279"/>
                      </a:lnTo>
                      <a:lnTo>
                        <a:pt x="734" y="1280"/>
                      </a:lnTo>
                      <a:lnTo>
                        <a:pt x="734" y="1280"/>
                      </a:lnTo>
                      <a:lnTo>
                        <a:pt x="734" y="1281"/>
                      </a:lnTo>
                      <a:lnTo>
                        <a:pt x="735" y="1281"/>
                      </a:lnTo>
                      <a:lnTo>
                        <a:pt x="735" y="1281"/>
                      </a:lnTo>
                      <a:lnTo>
                        <a:pt x="736" y="1281"/>
                      </a:lnTo>
                      <a:lnTo>
                        <a:pt x="736" y="1282"/>
                      </a:lnTo>
                      <a:lnTo>
                        <a:pt x="736" y="1283"/>
                      </a:lnTo>
                      <a:lnTo>
                        <a:pt x="736" y="1283"/>
                      </a:lnTo>
                      <a:lnTo>
                        <a:pt x="737" y="1284"/>
                      </a:lnTo>
                      <a:lnTo>
                        <a:pt x="738" y="1285"/>
                      </a:lnTo>
                      <a:lnTo>
                        <a:pt x="738" y="1285"/>
                      </a:lnTo>
                      <a:lnTo>
                        <a:pt x="738" y="1286"/>
                      </a:lnTo>
                      <a:lnTo>
                        <a:pt x="738" y="1287"/>
                      </a:lnTo>
                      <a:lnTo>
                        <a:pt x="738" y="1287"/>
                      </a:lnTo>
                      <a:lnTo>
                        <a:pt x="738" y="1288"/>
                      </a:lnTo>
                      <a:lnTo>
                        <a:pt x="738" y="1288"/>
                      </a:lnTo>
                      <a:lnTo>
                        <a:pt x="738" y="1289"/>
                      </a:lnTo>
                      <a:lnTo>
                        <a:pt x="738" y="1290"/>
                      </a:lnTo>
                      <a:lnTo>
                        <a:pt x="737" y="1290"/>
                      </a:lnTo>
                      <a:lnTo>
                        <a:pt x="737" y="1290"/>
                      </a:lnTo>
                      <a:lnTo>
                        <a:pt x="737" y="1291"/>
                      </a:lnTo>
                      <a:lnTo>
                        <a:pt x="738" y="1291"/>
                      </a:lnTo>
                      <a:lnTo>
                        <a:pt x="738" y="1292"/>
                      </a:lnTo>
                      <a:lnTo>
                        <a:pt x="738" y="1293"/>
                      </a:lnTo>
                      <a:lnTo>
                        <a:pt x="738" y="1294"/>
                      </a:lnTo>
                      <a:lnTo>
                        <a:pt x="738" y="1295"/>
                      </a:lnTo>
                      <a:lnTo>
                        <a:pt x="737" y="1296"/>
                      </a:lnTo>
                      <a:lnTo>
                        <a:pt x="736" y="1296"/>
                      </a:lnTo>
                      <a:lnTo>
                        <a:pt x="736" y="1297"/>
                      </a:lnTo>
                      <a:lnTo>
                        <a:pt x="736" y="1298"/>
                      </a:lnTo>
                      <a:lnTo>
                        <a:pt x="736" y="1298"/>
                      </a:lnTo>
                      <a:lnTo>
                        <a:pt x="735" y="1298"/>
                      </a:lnTo>
                      <a:lnTo>
                        <a:pt x="734" y="1298"/>
                      </a:lnTo>
                      <a:lnTo>
                        <a:pt x="734" y="1298"/>
                      </a:lnTo>
                      <a:lnTo>
                        <a:pt x="734" y="1299"/>
                      </a:lnTo>
                      <a:lnTo>
                        <a:pt x="734" y="1300"/>
                      </a:lnTo>
                      <a:lnTo>
                        <a:pt x="734" y="1300"/>
                      </a:lnTo>
                      <a:lnTo>
                        <a:pt x="734" y="1301"/>
                      </a:lnTo>
                      <a:lnTo>
                        <a:pt x="733" y="1301"/>
                      </a:lnTo>
                      <a:lnTo>
                        <a:pt x="733" y="1302"/>
                      </a:lnTo>
                      <a:lnTo>
                        <a:pt x="732" y="1302"/>
                      </a:lnTo>
                      <a:lnTo>
                        <a:pt x="732" y="1302"/>
                      </a:lnTo>
                      <a:lnTo>
                        <a:pt x="731" y="1302"/>
                      </a:lnTo>
                      <a:lnTo>
                        <a:pt x="731" y="1302"/>
                      </a:lnTo>
                      <a:lnTo>
                        <a:pt x="730" y="1302"/>
                      </a:lnTo>
                      <a:lnTo>
                        <a:pt x="729" y="1302"/>
                      </a:lnTo>
                      <a:lnTo>
                        <a:pt x="729" y="1302"/>
                      </a:lnTo>
                      <a:lnTo>
                        <a:pt x="729" y="1303"/>
                      </a:lnTo>
                      <a:lnTo>
                        <a:pt x="728" y="1303"/>
                      </a:lnTo>
                      <a:lnTo>
                        <a:pt x="728" y="1304"/>
                      </a:lnTo>
                      <a:lnTo>
                        <a:pt x="727" y="1304"/>
                      </a:lnTo>
                      <a:lnTo>
                        <a:pt x="727" y="1305"/>
                      </a:lnTo>
                      <a:lnTo>
                        <a:pt x="728" y="1305"/>
                      </a:lnTo>
                      <a:lnTo>
                        <a:pt x="728" y="1306"/>
                      </a:lnTo>
                      <a:lnTo>
                        <a:pt x="729" y="1306"/>
                      </a:lnTo>
                      <a:lnTo>
                        <a:pt x="729" y="1306"/>
                      </a:lnTo>
                      <a:lnTo>
                        <a:pt x="728" y="1306"/>
                      </a:lnTo>
                      <a:lnTo>
                        <a:pt x="727" y="1307"/>
                      </a:lnTo>
                      <a:lnTo>
                        <a:pt x="727" y="1308"/>
                      </a:lnTo>
                      <a:lnTo>
                        <a:pt x="727" y="1308"/>
                      </a:lnTo>
                      <a:lnTo>
                        <a:pt x="726" y="1308"/>
                      </a:lnTo>
                      <a:lnTo>
                        <a:pt x="726" y="1309"/>
                      </a:lnTo>
                      <a:lnTo>
                        <a:pt x="725" y="1309"/>
                      </a:lnTo>
                      <a:lnTo>
                        <a:pt x="725" y="1309"/>
                      </a:lnTo>
                      <a:lnTo>
                        <a:pt x="725" y="1309"/>
                      </a:lnTo>
                      <a:lnTo>
                        <a:pt x="724" y="1309"/>
                      </a:lnTo>
                      <a:lnTo>
                        <a:pt x="724" y="1310"/>
                      </a:lnTo>
                      <a:lnTo>
                        <a:pt x="724" y="1311"/>
                      </a:lnTo>
                      <a:lnTo>
                        <a:pt x="723" y="1311"/>
                      </a:lnTo>
                      <a:lnTo>
                        <a:pt x="723" y="1311"/>
                      </a:lnTo>
                      <a:lnTo>
                        <a:pt x="722" y="1311"/>
                      </a:lnTo>
                      <a:lnTo>
                        <a:pt x="722" y="1312"/>
                      </a:lnTo>
                      <a:lnTo>
                        <a:pt x="721" y="1313"/>
                      </a:lnTo>
                      <a:lnTo>
                        <a:pt x="721" y="1313"/>
                      </a:lnTo>
                      <a:lnTo>
                        <a:pt x="721" y="1313"/>
                      </a:lnTo>
                      <a:lnTo>
                        <a:pt x="720" y="1314"/>
                      </a:lnTo>
                      <a:lnTo>
                        <a:pt x="719" y="1315"/>
                      </a:lnTo>
                      <a:lnTo>
                        <a:pt x="719" y="1315"/>
                      </a:lnTo>
                      <a:lnTo>
                        <a:pt x="718" y="1315"/>
                      </a:lnTo>
                      <a:lnTo>
                        <a:pt x="718" y="1315"/>
                      </a:lnTo>
                      <a:lnTo>
                        <a:pt x="717" y="1315"/>
                      </a:lnTo>
                      <a:lnTo>
                        <a:pt x="717" y="1316"/>
                      </a:lnTo>
                      <a:lnTo>
                        <a:pt x="716" y="1316"/>
                      </a:lnTo>
                      <a:lnTo>
                        <a:pt x="716" y="1317"/>
                      </a:lnTo>
                      <a:lnTo>
                        <a:pt x="715" y="1317"/>
                      </a:lnTo>
                      <a:lnTo>
                        <a:pt x="715" y="1317"/>
                      </a:lnTo>
                      <a:lnTo>
                        <a:pt x="715" y="1317"/>
                      </a:lnTo>
                      <a:lnTo>
                        <a:pt x="714" y="1317"/>
                      </a:lnTo>
                      <a:lnTo>
                        <a:pt x="714" y="1317"/>
                      </a:lnTo>
                      <a:lnTo>
                        <a:pt x="713" y="1317"/>
                      </a:lnTo>
                      <a:lnTo>
                        <a:pt x="713" y="1317"/>
                      </a:lnTo>
                      <a:lnTo>
                        <a:pt x="713" y="1317"/>
                      </a:lnTo>
                      <a:lnTo>
                        <a:pt x="713" y="1317"/>
                      </a:lnTo>
                      <a:lnTo>
                        <a:pt x="712" y="1317"/>
                      </a:lnTo>
                      <a:lnTo>
                        <a:pt x="712" y="1316"/>
                      </a:lnTo>
                      <a:lnTo>
                        <a:pt x="711" y="1316"/>
                      </a:lnTo>
                      <a:lnTo>
                        <a:pt x="710" y="1316"/>
                      </a:lnTo>
                      <a:lnTo>
                        <a:pt x="710" y="1315"/>
                      </a:lnTo>
                      <a:lnTo>
                        <a:pt x="710" y="1316"/>
                      </a:lnTo>
                      <a:lnTo>
                        <a:pt x="709" y="1316"/>
                      </a:lnTo>
                      <a:lnTo>
                        <a:pt x="708" y="1316"/>
                      </a:lnTo>
                      <a:lnTo>
                        <a:pt x="708" y="1315"/>
                      </a:lnTo>
                      <a:lnTo>
                        <a:pt x="707" y="1315"/>
                      </a:lnTo>
                      <a:lnTo>
                        <a:pt x="706" y="1315"/>
                      </a:lnTo>
                      <a:lnTo>
                        <a:pt x="706" y="1316"/>
                      </a:lnTo>
                      <a:lnTo>
                        <a:pt x="706" y="1316"/>
                      </a:lnTo>
                      <a:lnTo>
                        <a:pt x="705" y="1316"/>
                      </a:lnTo>
                      <a:lnTo>
                        <a:pt x="704" y="1316"/>
                      </a:lnTo>
                      <a:lnTo>
                        <a:pt x="704" y="1316"/>
                      </a:lnTo>
                      <a:lnTo>
                        <a:pt x="703" y="1316"/>
                      </a:lnTo>
                      <a:lnTo>
                        <a:pt x="702" y="1316"/>
                      </a:lnTo>
                      <a:lnTo>
                        <a:pt x="702" y="1317"/>
                      </a:lnTo>
                      <a:lnTo>
                        <a:pt x="702" y="1317"/>
                      </a:lnTo>
                      <a:lnTo>
                        <a:pt x="702" y="1316"/>
                      </a:lnTo>
                      <a:lnTo>
                        <a:pt x="702" y="1315"/>
                      </a:lnTo>
                      <a:lnTo>
                        <a:pt x="701" y="1315"/>
                      </a:lnTo>
                      <a:lnTo>
                        <a:pt x="701" y="1316"/>
                      </a:lnTo>
                      <a:lnTo>
                        <a:pt x="700" y="1316"/>
                      </a:lnTo>
                      <a:lnTo>
                        <a:pt x="700" y="1315"/>
                      </a:lnTo>
                      <a:lnTo>
                        <a:pt x="699" y="1315"/>
                      </a:lnTo>
                      <a:lnTo>
                        <a:pt x="698" y="1316"/>
                      </a:lnTo>
                      <a:lnTo>
                        <a:pt x="698" y="1315"/>
                      </a:lnTo>
                      <a:lnTo>
                        <a:pt x="698" y="1315"/>
                      </a:lnTo>
                      <a:lnTo>
                        <a:pt x="698" y="1316"/>
                      </a:lnTo>
                      <a:lnTo>
                        <a:pt x="698" y="1317"/>
                      </a:lnTo>
                      <a:lnTo>
                        <a:pt x="697" y="1317"/>
                      </a:lnTo>
                      <a:lnTo>
                        <a:pt x="696" y="1317"/>
                      </a:lnTo>
                      <a:lnTo>
                        <a:pt x="696" y="1316"/>
                      </a:lnTo>
                      <a:lnTo>
                        <a:pt x="696" y="1315"/>
                      </a:lnTo>
                      <a:lnTo>
                        <a:pt x="695" y="1316"/>
                      </a:lnTo>
                      <a:lnTo>
                        <a:pt x="694" y="1316"/>
                      </a:lnTo>
                      <a:lnTo>
                        <a:pt x="694" y="1316"/>
                      </a:lnTo>
                      <a:lnTo>
                        <a:pt x="693" y="1316"/>
                      </a:lnTo>
                      <a:lnTo>
                        <a:pt x="692" y="1316"/>
                      </a:lnTo>
                      <a:lnTo>
                        <a:pt x="692" y="1317"/>
                      </a:lnTo>
                      <a:lnTo>
                        <a:pt x="691" y="1317"/>
                      </a:lnTo>
                      <a:lnTo>
                        <a:pt x="691" y="1317"/>
                      </a:lnTo>
                      <a:lnTo>
                        <a:pt x="691" y="1318"/>
                      </a:lnTo>
                      <a:lnTo>
                        <a:pt x="691" y="1318"/>
                      </a:lnTo>
                      <a:lnTo>
                        <a:pt x="690" y="1319"/>
                      </a:lnTo>
                      <a:lnTo>
                        <a:pt x="689" y="1320"/>
                      </a:lnTo>
                      <a:lnTo>
                        <a:pt x="689" y="1321"/>
                      </a:lnTo>
                      <a:lnTo>
                        <a:pt x="689" y="1321"/>
                      </a:lnTo>
                      <a:lnTo>
                        <a:pt x="688" y="1321"/>
                      </a:lnTo>
                      <a:lnTo>
                        <a:pt x="688" y="1321"/>
                      </a:lnTo>
                      <a:lnTo>
                        <a:pt x="687" y="1321"/>
                      </a:lnTo>
                      <a:lnTo>
                        <a:pt x="687" y="1322"/>
                      </a:lnTo>
                      <a:lnTo>
                        <a:pt x="687" y="1323"/>
                      </a:lnTo>
                      <a:lnTo>
                        <a:pt x="687" y="1323"/>
                      </a:lnTo>
                      <a:lnTo>
                        <a:pt x="687" y="1325"/>
                      </a:lnTo>
                      <a:lnTo>
                        <a:pt x="687" y="1325"/>
                      </a:lnTo>
                      <a:lnTo>
                        <a:pt x="686" y="1325"/>
                      </a:lnTo>
                      <a:lnTo>
                        <a:pt x="685" y="1326"/>
                      </a:lnTo>
                      <a:lnTo>
                        <a:pt x="685" y="1327"/>
                      </a:lnTo>
                      <a:lnTo>
                        <a:pt x="684" y="1327"/>
                      </a:lnTo>
                      <a:lnTo>
                        <a:pt x="683" y="1328"/>
                      </a:lnTo>
                      <a:lnTo>
                        <a:pt x="683" y="1330"/>
                      </a:lnTo>
                      <a:lnTo>
                        <a:pt x="682" y="1330"/>
                      </a:lnTo>
                      <a:lnTo>
                        <a:pt x="681" y="1330"/>
                      </a:lnTo>
                      <a:lnTo>
                        <a:pt x="681" y="1331"/>
                      </a:lnTo>
                      <a:lnTo>
                        <a:pt x="680" y="1331"/>
                      </a:lnTo>
                      <a:lnTo>
                        <a:pt x="680" y="1332"/>
                      </a:lnTo>
                      <a:lnTo>
                        <a:pt x="679" y="1332"/>
                      </a:lnTo>
                      <a:lnTo>
                        <a:pt x="679" y="1333"/>
                      </a:lnTo>
                      <a:lnTo>
                        <a:pt x="679" y="1334"/>
                      </a:lnTo>
                      <a:lnTo>
                        <a:pt x="679" y="1335"/>
                      </a:lnTo>
                      <a:lnTo>
                        <a:pt x="679" y="1336"/>
                      </a:lnTo>
                      <a:lnTo>
                        <a:pt x="679" y="1336"/>
                      </a:lnTo>
                      <a:lnTo>
                        <a:pt x="680" y="1337"/>
                      </a:lnTo>
                      <a:lnTo>
                        <a:pt x="680" y="1338"/>
                      </a:lnTo>
                      <a:lnTo>
                        <a:pt x="680" y="1338"/>
                      </a:lnTo>
                      <a:lnTo>
                        <a:pt x="681" y="1339"/>
                      </a:lnTo>
                      <a:lnTo>
                        <a:pt x="681" y="1340"/>
                      </a:lnTo>
                      <a:lnTo>
                        <a:pt x="681" y="1340"/>
                      </a:lnTo>
                      <a:lnTo>
                        <a:pt x="680" y="1340"/>
                      </a:lnTo>
                      <a:lnTo>
                        <a:pt x="679" y="1340"/>
                      </a:lnTo>
                      <a:lnTo>
                        <a:pt x="679" y="1341"/>
                      </a:lnTo>
                      <a:lnTo>
                        <a:pt x="679" y="1341"/>
                      </a:lnTo>
                      <a:lnTo>
                        <a:pt x="678" y="1341"/>
                      </a:lnTo>
                      <a:lnTo>
                        <a:pt x="678" y="1342"/>
                      </a:lnTo>
                      <a:lnTo>
                        <a:pt x="677" y="1342"/>
                      </a:lnTo>
                      <a:lnTo>
                        <a:pt x="677" y="1342"/>
                      </a:lnTo>
                      <a:lnTo>
                        <a:pt x="677" y="1342"/>
                      </a:lnTo>
                      <a:lnTo>
                        <a:pt x="676" y="1342"/>
                      </a:lnTo>
                      <a:lnTo>
                        <a:pt x="675" y="1342"/>
                      </a:lnTo>
                      <a:lnTo>
                        <a:pt x="675" y="1343"/>
                      </a:lnTo>
                      <a:lnTo>
                        <a:pt x="675" y="1344"/>
                      </a:lnTo>
                      <a:lnTo>
                        <a:pt x="675" y="1344"/>
                      </a:lnTo>
                      <a:lnTo>
                        <a:pt x="675" y="1345"/>
                      </a:lnTo>
                      <a:lnTo>
                        <a:pt x="675" y="1345"/>
                      </a:lnTo>
                      <a:lnTo>
                        <a:pt x="675" y="1346"/>
                      </a:lnTo>
                      <a:lnTo>
                        <a:pt x="674" y="1346"/>
                      </a:lnTo>
                      <a:lnTo>
                        <a:pt x="673" y="1346"/>
                      </a:lnTo>
                      <a:lnTo>
                        <a:pt x="672" y="1346"/>
                      </a:lnTo>
                      <a:lnTo>
                        <a:pt x="672" y="1346"/>
                      </a:lnTo>
                      <a:lnTo>
                        <a:pt x="672" y="1347"/>
                      </a:lnTo>
                      <a:lnTo>
                        <a:pt x="672" y="1347"/>
                      </a:lnTo>
                      <a:lnTo>
                        <a:pt x="672" y="1348"/>
                      </a:lnTo>
                      <a:lnTo>
                        <a:pt x="672" y="1349"/>
                      </a:lnTo>
                      <a:lnTo>
                        <a:pt x="672" y="1349"/>
                      </a:lnTo>
                      <a:lnTo>
                        <a:pt x="672" y="1349"/>
                      </a:lnTo>
                      <a:lnTo>
                        <a:pt x="672" y="1350"/>
                      </a:lnTo>
                      <a:lnTo>
                        <a:pt x="673" y="1350"/>
                      </a:lnTo>
                      <a:lnTo>
                        <a:pt x="673" y="1351"/>
                      </a:lnTo>
                      <a:lnTo>
                        <a:pt x="673" y="1351"/>
                      </a:lnTo>
                      <a:lnTo>
                        <a:pt x="673" y="1352"/>
                      </a:lnTo>
                      <a:lnTo>
                        <a:pt x="673" y="1353"/>
                      </a:lnTo>
                      <a:lnTo>
                        <a:pt x="673" y="1353"/>
                      </a:lnTo>
                      <a:lnTo>
                        <a:pt x="673" y="1354"/>
                      </a:lnTo>
                      <a:lnTo>
                        <a:pt x="673" y="1355"/>
                      </a:lnTo>
                      <a:lnTo>
                        <a:pt x="673" y="1355"/>
                      </a:lnTo>
                      <a:lnTo>
                        <a:pt x="673" y="1356"/>
                      </a:lnTo>
                      <a:lnTo>
                        <a:pt x="673" y="1357"/>
                      </a:lnTo>
                      <a:lnTo>
                        <a:pt x="673" y="1357"/>
                      </a:lnTo>
                      <a:lnTo>
                        <a:pt x="673" y="1358"/>
                      </a:lnTo>
                      <a:lnTo>
                        <a:pt x="673" y="1359"/>
                      </a:lnTo>
                      <a:lnTo>
                        <a:pt x="674" y="1359"/>
                      </a:lnTo>
                      <a:lnTo>
                        <a:pt x="674" y="1359"/>
                      </a:lnTo>
                      <a:lnTo>
                        <a:pt x="674" y="1360"/>
                      </a:lnTo>
                      <a:lnTo>
                        <a:pt x="675" y="1360"/>
                      </a:lnTo>
                      <a:lnTo>
                        <a:pt x="675" y="1361"/>
                      </a:lnTo>
                      <a:lnTo>
                        <a:pt x="675" y="1361"/>
                      </a:lnTo>
                      <a:lnTo>
                        <a:pt x="675" y="1361"/>
                      </a:lnTo>
                      <a:lnTo>
                        <a:pt x="675" y="1362"/>
                      </a:lnTo>
                      <a:lnTo>
                        <a:pt x="675" y="1363"/>
                      </a:lnTo>
                      <a:lnTo>
                        <a:pt x="676" y="1363"/>
                      </a:lnTo>
                      <a:lnTo>
                        <a:pt x="676" y="1363"/>
                      </a:lnTo>
                      <a:lnTo>
                        <a:pt x="676" y="1364"/>
                      </a:lnTo>
                      <a:lnTo>
                        <a:pt x="676" y="1365"/>
                      </a:lnTo>
                      <a:lnTo>
                        <a:pt x="676" y="1365"/>
                      </a:lnTo>
                      <a:lnTo>
                        <a:pt x="677" y="1365"/>
                      </a:lnTo>
                      <a:lnTo>
                        <a:pt x="677" y="1366"/>
                      </a:lnTo>
                      <a:lnTo>
                        <a:pt x="677" y="1367"/>
                      </a:lnTo>
                      <a:lnTo>
                        <a:pt x="677" y="1368"/>
                      </a:lnTo>
                      <a:lnTo>
                        <a:pt x="677" y="1368"/>
                      </a:lnTo>
                      <a:lnTo>
                        <a:pt x="678" y="1368"/>
                      </a:lnTo>
                      <a:lnTo>
                        <a:pt x="678" y="1369"/>
                      </a:lnTo>
                      <a:lnTo>
                        <a:pt x="678" y="1370"/>
                      </a:lnTo>
                      <a:lnTo>
                        <a:pt x="678" y="1370"/>
                      </a:lnTo>
                      <a:lnTo>
                        <a:pt x="678" y="1371"/>
                      </a:lnTo>
                      <a:lnTo>
                        <a:pt x="678" y="1372"/>
                      </a:lnTo>
                      <a:lnTo>
                        <a:pt x="679" y="1372"/>
                      </a:lnTo>
                      <a:lnTo>
                        <a:pt x="679" y="1372"/>
                      </a:lnTo>
                      <a:lnTo>
                        <a:pt x="679" y="1373"/>
                      </a:lnTo>
                      <a:lnTo>
                        <a:pt x="679" y="1373"/>
                      </a:lnTo>
                      <a:lnTo>
                        <a:pt x="680" y="1374"/>
                      </a:lnTo>
                      <a:lnTo>
                        <a:pt x="681" y="1374"/>
                      </a:lnTo>
                      <a:lnTo>
                        <a:pt x="681" y="1374"/>
                      </a:lnTo>
                      <a:lnTo>
                        <a:pt x="681" y="1374"/>
                      </a:lnTo>
                      <a:lnTo>
                        <a:pt x="681" y="1375"/>
                      </a:lnTo>
                      <a:lnTo>
                        <a:pt x="682" y="1375"/>
                      </a:lnTo>
                      <a:lnTo>
                        <a:pt x="682" y="1376"/>
                      </a:lnTo>
                      <a:lnTo>
                        <a:pt x="683" y="1376"/>
                      </a:lnTo>
                      <a:lnTo>
                        <a:pt x="683" y="1376"/>
                      </a:lnTo>
                      <a:lnTo>
                        <a:pt x="684" y="1376"/>
                      </a:lnTo>
                      <a:lnTo>
                        <a:pt x="684" y="1377"/>
                      </a:lnTo>
                      <a:lnTo>
                        <a:pt x="685" y="1377"/>
                      </a:lnTo>
                      <a:lnTo>
                        <a:pt x="685" y="1378"/>
                      </a:lnTo>
                      <a:lnTo>
                        <a:pt x="685" y="1378"/>
                      </a:lnTo>
                      <a:lnTo>
                        <a:pt x="685" y="1378"/>
                      </a:lnTo>
                      <a:lnTo>
                        <a:pt x="685" y="1378"/>
                      </a:lnTo>
                      <a:lnTo>
                        <a:pt x="685" y="1379"/>
                      </a:lnTo>
                      <a:lnTo>
                        <a:pt x="685" y="1379"/>
                      </a:lnTo>
                      <a:lnTo>
                        <a:pt x="686" y="1380"/>
                      </a:lnTo>
                      <a:lnTo>
                        <a:pt x="686" y="1380"/>
                      </a:lnTo>
                      <a:lnTo>
                        <a:pt x="687" y="1380"/>
                      </a:lnTo>
                      <a:lnTo>
                        <a:pt x="687" y="1381"/>
                      </a:lnTo>
                      <a:lnTo>
                        <a:pt x="687" y="1382"/>
                      </a:lnTo>
                      <a:lnTo>
                        <a:pt x="688" y="1382"/>
                      </a:lnTo>
                      <a:lnTo>
                        <a:pt x="688" y="1382"/>
                      </a:lnTo>
                      <a:lnTo>
                        <a:pt x="689" y="1382"/>
                      </a:lnTo>
                      <a:lnTo>
                        <a:pt x="689" y="1383"/>
                      </a:lnTo>
                      <a:lnTo>
                        <a:pt x="689" y="1384"/>
                      </a:lnTo>
                      <a:lnTo>
                        <a:pt x="689" y="1384"/>
                      </a:lnTo>
                      <a:lnTo>
                        <a:pt x="689" y="1385"/>
                      </a:lnTo>
                      <a:lnTo>
                        <a:pt x="690" y="1385"/>
                      </a:lnTo>
                      <a:lnTo>
                        <a:pt x="690" y="1386"/>
                      </a:lnTo>
                      <a:lnTo>
                        <a:pt x="690" y="1386"/>
                      </a:lnTo>
                      <a:lnTo>
                        <a:pt x="691" y="1386"/>
                      </a:lnTo>
                      <a:lnTo>
                        <a:pt x="691" y="1387"/>
                      </a:lnTo>
                      <a:lnTo>
                        <a:pt x="691" y="1387"/>
                      </a:lnTo>
                      <a:lnTo>
                        <a:pt x="691" y="1388"/>
                      </a:lnTo>
                      <a:lnTo>
                        <a:pt x="692" y="1388"/>
                      </a:lnTo>
                      <a:lnTo>
                        <a:pt x="692" y="1389"/>
                      </a:lnTo>
                      <a:lnTo>
                        <a:pt x="693" y="1389"/>
                      </a:lnTo>
                      <a:lnTo>
                        <a:pt x="694" y="1389"/>
                      </a:lnTo>
                      <a:lnTo>
                        <a:pt x="694" y="1389"/>
                      </a:lnTo>
                      <a:lnTo>
                        <a:pt x="695" y="1390"/>
                      </a:lnTo>
                      <a:lnTo>
                        <a:pt x="696" y="1390"/>
                      </a:lnTo>
                      <a:lnTo>
                        <a:pt x="696" y="1390"/>
                      </a:lnTo>
                      <a:lnTo>
                        <a:pt x="696" y="1391"/>
                      </a:lnTo>
                      <a:lnTo>
                        <a:pt x="697" y="1391"/>
                      </a:lnTo>
                      <a:lnTo>
                        <a:pt x="697" y="1391"/>
                      </a:lnTo>
                      <a:lnTo>
                        <a:pt x="698" y="1391"/>
                      </a:lnTo>
                      <a:lnTo>
                        <a:pt x="698" y="1392"/>
                      </a:lnTo>
                      <a:lnTo>
                        <a:pt x="698" y="1392"/>
                      </a:lnTo>
                      <a:lnTo>
                        <a:pt x="699" y="1393"/>
                      </a:lnTo>
                      <a:lnTo>
                        <a:pt x="699" y="1393"/>
                      </a:lnTo>
                      <a:lnTo>
                        <a:pt x="700" y="1393"/>
                      </a:lnTo>
                      <a:lnTo>
                        <a:pt x="700" y="1394"/>
                      </a:lnTo>
                      <a:lnTo>
                        <a:pt x="700" y="1394"/>
                      </a:lnTo>
                      <a:lnTo>
                        <a:pt x="700" y="1395"/>
                      </a:lnTo>
                      <a:lnTo>
                        <a:pt x="700" y="1395"/>
                      </a:lnTo>
                      <a:lnTo>
                        <a:pt x="701" y="1395"/>
                      </a:lnTo>
                      <a:lnTo>
                        <a:pt x="702" y="1395"/>
                      </a:lnTo>
                      <a:lnTo>
                        <a:pt x="702" y="1396"/>
                      </a:lnTo>
                      <a:lnTo>
                        <a:pt x="702" y="1397"/>
                      </a:lnTo>
                      <a:lnTo>
                        <a:pt x="702" y="1397"/>
                      </a:lnTo>
                      <a:lnTo>
                        <a:pt x="702" y="1398"/>
                      </a:lnTo>
                      <a:lnTo>
                        <a:pt x="702" y="1399"/>
                      </a:lnTo>
                      <a:lnTo>
                        <a:pt x="703" y="1399"/>
                      </a:lnTo>
                      <a:lnTo>
                        <a:pt x="703" y="1400"/>
                      </a:lnTo>
                      <a:lnTo>
                        <a:pt x="704" y="1400"/>
                      </a:lnTo>
                      <a:lnTo>
                        <a:pt x="704" y="1401"/>
                      </a:lnTo>
                      <a:lnTo>
                        <a:pt x="704" y="1401"/>
                      </a:lnTo>
                      <a:lnTo>
                        <a:pt x="704" y="1402"/>
                      </a:lnTo>
                      <a:lnTo>
                        <a:pt x="704" y="1403"/>
                      </a:lnTo>
                      <a:lnTo>
                        <a:pt x="704" y="1403"/>
                      </a:lnTo>
                      <a:lnTo>
                        <a:pt x="704" y="1403"/>
                      </a:lnTo>
                      <a:lnTo>
                        <a:pt x="704" y="1404"/>
                      </a:lnTo>
                      <a:lnTo>
                        <a:pt x="704" y="1405"/>
                      </a:lnTo>
                      <a:lnTo>
                        <a:pt x="704" y="1405"/>
                      </a:lnTo>
                      <a:lnTo>
                        <a:pt x="704" y="1406"/>
                      </a:lnTo>
                      <a:lnTo>
                        <a:pt x="704" y="1407"/>
                      </a:lnTo>
                      <a:lnTo>
                        <a:pt x="704" y="1408"/>
                      </a:lnTo>
                      <a:lnTo>
                        <a:pt x="704" y="1408"/>
                      </a:lnTo>
                      <a:lnTo>
                        <a:pt x="704" y="1409"/>
                      </a:lnTo>
                      <a:lnTo>
                        <a:pt x="703" y="1410"/>
                      </a:lnTo>
                      <a:lnTo>
                        <a:pt x="703" y="1410"/>
                      </a:lnTo>
                      <a:lnTo>
                        <a:pt x="703" y="1411"/>
                      </a:lnTo>
                      <a:lnTo>
                        <a:pt x="702" y="1411"/>
                      </a:lnTo>
                      <a:lnTo>
                        <a:pt x="703" y="1412"/>
                      </a:lnTo>
                      <a:lnTo>
                        <a:pt x="703" y="1412"/>
                      </a:lnTo>
                      <a:lnTo>
                        <a:pt x="703" y="1413"/>
                      </a:lnTo>
                      <a:lnTo>
                        <a:pt x="703" y="1414"/>
                      </a:lnTo>
                      <a:lnTo>
                        <a:pt x="703" y="1414"/>
                      </a:lnTo>
                      <a:lnTo>
                        <a:pt x="703" y="1415"/>
                      </a:lnTo>
                      <a:lnTo>
                        <a:pt x="703" y="1416"/>
                      </a:lnTo>
                      <a:lnTo>
                        <a:pt x="703" y="1416"/>
                      </a:lnTo>
                      <a:lnTo>
                        <a:pt x="704" y="1416"/>
                      </a:lnTo>
                      <a:lnTo>
                        <a:pt x="704" y="1417"/>
                      </a:lnTo>
                      <a:lnTo>
                        <a:pt x="704" y="1418"/>
                      </a:lnTo>
                      <a:lnTo>
                        <a:pt x="705" y="1418"/>
                      </a:lnTo>
                      <a:lnTo>
                        <a:pt x="705" y="1418"/>
                      </a:lnTo>
                      <a:lnTo>
                        <a:pt x="705" y="1419"/>
                      </a:lnTo>
                      <a:lnTo>
                        <a:pt x="705" y="1420"/>
                      </a:lnTo>
                      <a:lnTo>
                        <a:pt x="705" y="1420"/>
                      </a:lnTo>
                      <a:lnTo>
                        <a:pt x="706" y="1420"/>
                      </a:lnTo>
                      <a:lnTo>
                        <a:pt x="706" y="1421"/>
                      </a:lnTo>
                      <a:lnTo>
                        <a:pt x="706" y="1422"/>
                      </a:lnTo>
                      <a:lnTo>
                        <a:pt x="706" y="1422"/>
                      </a:lnTo>
                      <a:lnTo>
                        <a:pt x="706" y="1423"/>
                      </a:lnTo>
                      <a:lnTo>
                        <a:pt x="706" y="1423"/>
                      </a:lnTo>
                      <a:lnTo>
                        <a:pt x="706" y="1423"/>
                      </a:lnTo>
                      <a:lnTo>
                        <a:pt x="706" y="1424"/>
                      </a:lnTo>
                      <a:lnTo>
                        <a:pt x="706" y="1424"/>
                      </a:lnTo>
                      <a:lnTo>
                        <a:pt x="706" y="1425"/>
                      </a:lnTo>
                      <a:lnTo>
                        <a:pt x="706" y="1426"/>
                      </a:lnTo>
                      <a:lnTo>
                        <a:pt x="706" y="1426"/>
                      </a:lnTo>
                      <a:lnTo>
                        <a:pt x="705" y="1426"/>
                      </a:lnTo>
                      <a:lnTo>
                        <a:pt x="705" y="1427"/>
                      </a:lnTo>
                      <a:lnTo>
                        <a:pt x="704" y="1427"/>
                      </a:lnTo>
                      <a:lnTo>
                        <a:pt x="704" y="1428"/>
                      </a:lnTo>
                      <a:lnTo>
                        <a:pt x="704" y="1429"/>
                      </a:lnTo>
                      <a:lnTo>
                        <a:pt x="704" y="1429"/>
                      </a:lnTo>
                      <a:lnTo>
                        <a:pt x="704" y="1429"/>
                      </a:lnTo>
                      <a:lnTo>
                        <a:pt x="704" y="1430"/>
                      </a:lnTo>
                      <a:lnTo>
                        <a:pt x="704" y="1431"/>
                      </a:lnTo>
                      <a:lnTo>
                        <a:pt x="704" y="1431"/>
                      </a:lnTo>
                      <a:lnTo>
                        <a:pt x="704" y="1432"/>
                      </a:lnTo>
                      <a:lnTo>
                        <a:pt x="704" y="1433"/>
                      </a:lnTo>
                      <a:lnTo>
                        <a:pt x="703" y="1433"/>
                      </a:lnTo>
                      <a:lnTo>
                        <a:pt x="704" y="1433"/>
                      </a:lnTo>
                      <a:lnTo>
                        <a:pt x="704" y="1434"/>
                      </a:lnTo>
                      <a:lnTo>
                        <a:pt x="704" y="1435"/>
                      </a:lnTo>
                      <a:lnTo>
                        <a:pt x="704" y="1435"/>
                      </a:lnTo>
                      <a:lnTo>
                        <a:pt x="704" y="1436"/>
                      </a:lnTo>
                      <a:lnTo>
                        <a:pt x="704" y="1437"/>
                      </a:lnTo>
                      <a:lnTo>
                        <a:pt x="704" y="1437"/>
                      </a:lnTo>
                      <a:lnTo>
                        <a:pt x="705" y="1437"/>
                      </a:lnTo>
                      <a:lnTo>
                        <a:pt x="705" y="1437"/>
                      </a:lnTo>
                      <a:lnTo>
                        <a:pt x="706" y="1437"/>
                      </a:lnTo>
                      <a:lnTo>
                        <a:pt x="706" y="1438"/>
                      </a:lnTo>
                      <a:lnTo>
                        <a:pt x="706" y="1438"/>
                      </a:lnTo>
                      <a:lnTo>
                        <a:pt x="706" y="1439"/>
                      </a:lnTo>
                      <a:lnTo>
                        <a:pt x="707" y="1439"/>
                      </a:lnTo>
                      <a:lnTo>
                        <a:pt x="707" y="1439"/>
                      </a:lnTo>
                      <a:lnTo>
                        <a:pt x="708" y="1439"/>
                      </a:lnTo>
                      <a:lnTo>
                        <a:pt x="708" y="1439"/>
                      </a:lnTo>
                      <a:lnTo>
                        <a:pt x="708" y="1440"/>
                      </a:lnTo>
                      <a:lnTo>
                        <a:pt x="709" y="1440"/>
                      </a:lnTo>
                      <a:lnTo>
                        <a:pt x="710" y="1440"/>
                      </a:lnTo>
                      <a:lnTo>
                        <a:pt x="710" y="1441"/>
                      </a:lnTo>
                      <a:lnTo>
                        <a:pt x="710" y="1441"/>
                      </a:lnTo>
                      <a:lnTo>
                        <a:pt x="710" y="1441"/>
                      </a:lnTo>
                      <a:lnTo>
                        <a:pt x="711" y="1441"/>
                      </a:lnTo>
                      <a:lnTo>
                        <a:pt x="712" y="1441"/>
                      </a:lnTo>
                      <a:lnTo>
                        <a:pt x="712" y="1442"/>
                      </a:lnTo>
                      <a:lnTo>
                        <a:pt x="713" y="1442"/>
                      </a:lnTo>
                      <a:lnTo>
                        <a:pt x="713" y="1442"/>
                      </a:lnTo>
                      <a:lnTo>
                        <a:pt x="713" y="1443"/>
                      </a:lnTo>
                      <a:lnTo>
                        <a:pt x="714" y="1443"/>
                      </a:lnTo>
                      <a:lnTo>
                        <a:pt x="715" y="1443"/>
                      </a:lnTo>
                      <a:lnTo>
                        <a:pt x="715" y="1443"/>
                      </a:lnTo>
                      <a:lnTo>
                        <a:pt x="715" y="1443"/>
                      </a:lnTo>
                      <a:lnTo>
                        <a:pt x="715" y="1444"/>
                      </a:lnTo>
                      <a:lnTo>
                        <a:pt x="715" y="1445"/>
                      </a:lnTo>
                      <a:lnTo>
                        <a:pt x="715" y="1445"/>
                      </a:lnTo>
                      <a:lnTo>
                        <a:pt x="715" y="1446"/>
                      </a:lnTo>
                      <a:lnTo>
                        <a:pt x="715" y="1446"/>
                      </a:lnTo>
                      <a:lnTo>
                        <a:pt x="715" y="1447"/>
                      </a:lnTo>
                      <a:lnTo>
                        <a:pt x="715" y="1448"/>
                      </a:lnTo>
                      <a:lnTo>
                        <a:pt x="715" y="1448"/>
                      </a:lnTo>
                      <a:lnTo>
                        <a:pt x="715" y="1449"/>
                      </a:lnTo>
                      <a:lnTo>
                        <a:pt x="714" y="1449"/>
                      </a:lnTo>
                      <a:lnTo>
                        <a:pt x="713" y="1449"/>
                      </a:lnTo>
                      <a:lnTo>
                        <a:pt x="713" y="1449"/>
                      </a:lnTo>
                      <a:lnTo>
                        <a:pt x="712" y="1449"/>
                      </a:lnTo>
                      <a:lnTo>
                        <a:pt x="712" y="1450"/>
                      </a:lnTo>
                      <a:lnTo>
                        <a:pt x="711" y="1450"/>
                      </a:lnTo>
                      <a:lnTo>
                        <a:pt x="711" y="1450"/>
                      </a:lnTo>
                      <a:lnTo>
                        <a:pt x="711" y="1451"/>
                      </a:lnTo>
                      <a:lnTo>
                        <a:pt x="712" y="1452"/>
                      </a:lnTo>
                      <a:lnTo>
                        <a:pt x="713" y="1452"/>
                      </a:lnTo>
                      <a:lnTo>
                        <a:pt x="713" y="1452"/>
                      </a:lnTo>
                      <a:lnTo>
                        <a:pt x="714" y="1452"/>
                      </a:lnTo>
                      <a:lnTo>
                        <a:pt x="714" y="1452"/>
                      </a:lnTo>
                      <a:lnTo>
                        <a:pt x="715" y="1452"/>
                      </a:lnTo>
                      <a:lnTo>
                        <a:pt x="715" y="1453"/>
                      </a:lnTo>
                      <a:lnTo>
                        <a:pt x="715" y="1453"/>
                      </a:lnTo>
                      <a:lnTo>
                        <a:pt x="715" y="1454"/>
                      </a:lnTo>
                      <a:lnTo>
                        <a:pt x="715" y="1454"/>
                      </a:lnTo>
                      <a:lnTo>
                        <a:pt x="715" y="1455"/>
                      </a:lnTo>
                      <a:lnTo>
                        <a:pt x="715" y="1456"/>
                      </a:lnTo>
                      <a:lnTo>
                        <a:pt x="715" y="1456"/>
                      </a:lnTo>
                      <a:lnTo>
                        <a:pt x="715" y="1457"/>
                      </a:lnTo>
                      <a:lnTo>
                        <a:pt x="715" y="1458"/>
                      </a:lnTo>
                      <a:lnTo>
                        <a:pt x="714" y="1458"/>
                      </a:lnTo>
                      <a:lnTo>
                        <a:pt x="714" y="1458"/>
                      </a:lnTo>
                      <a:lnTo>
                        <a:pt x="714" y="1459"/>
                      </a:lnTo>
                      <a:lnTo>
                        <a:pt x="713" y="1460"/>
                      </a:lnTo>
                      <a:lnTo>
                        <a:pt x="714" y="1460"/>
                      </a:lnTo>
                      <a:lnTo>
                        <a:pt x="714" y="1460"/>
                      </a:lnTo>
                      <a:lnTo>
                        <a:pt x="714" y="1461"/>
                      </a:lnTo>
                      <a:lnTo>
                        <a:pt x="715" y="1461"/>
                      </a:lnTo>
                      <a:lnTo>
                        <a:pt x="715" y="1462"/>
                      </a:lnTo>
                      <a:lnTo>
                        <a:pt x="714" y="1462"/>
                      </a:lnTo>
                      <a:lnTo>
                        <a:pt x="713" y="1462"/>
                      </a:lnTo>
                      <a:lnTo>
                        <a:pt x="713" y="1461"/>
                      </a:lnTo>
                      <a:lnTo>
                        <a:pt x="713" y="1461"/>
                      </a:lnTo>
                      <a:lnTo>
                        <a:pt x="713" y="1462"/>
                      </a:lnTo>
                      <a:lnTo>
                        <a:pt x="712" y="1462"/>
                      </a:lnTo>
                      <a:lnTo>
                        <a:pt x="711" y="1462"/>
                      </a:lnTo>
                      <a:lnTo>
                        <a:pt x="710" y="1462"/>
                      </a:lnTo>
                      <a:lnTo>
                        <a:pt x="710" y="1462"/>
                      </a:lnTo>
                      <a:lnTo>
                        <a:pt x="710" y="1463"/>
                      </a:lnTo>
                      <a:lnTo>
                        <a:pt x="710" y="1464"/>
                      </a:lnTo>
                      <a:lnTo>
                        <a:pt x="710" y="1464"/>
                      </a:lnTo>
                      <a:lnTo>
                        <a:pt x="710" y="1465"/>
                      </a:lnTo>
                      <a:lnTo>
                        <a:pt x="710" y="1466"/>
                      </a:lnTo>
                      <a:lnTo>
                        <a:pt x="710" y="1467"/>
                      </a:lnTo>
                      <a:lnTo>
                        <a:pt x="709" y="1467"/>
                      </a:lnTo>
                      <a:lnTo>
                        <a:pt x="709" y="1467"/>
                      </a:lnTo>
                      <a:lnTo>
                        <a:pt x="708" y="1467"/>
                      </a:lnTo>
                      <a:lnTo>
                        <a:pt x="708" y="1468"/>
                      </a:lnTo>
                      <a:lnTo>
                        <a:pt x="708" y="1468"/>
                      </a:lnTo>
                      <a:lnTo>
                        <a:pt x="708" y="1469"/>
                      </a:lnTo>
                      <a:lnTo>
                        <a:pt x="708" y="1469"/>
                      </a:lnTo>
                      <a:lnTo>
                        <a:pt x="707" y="1469"/>
                      </a:lnTo>
                      <a:lnTo>
                        <a:pt x="707" y="1470"/>
                      </a:lnTo>
                      <a:lnTo>
                        <a:pt x="708" y="1471"/>
                      </a:lnTo>
                      <a:lnTo>
                        <a:pt x="708" y="1471"/>
                      </a:lnTo>
                      <a:lnTo>
                        <a:pt x="708" y="1472"/>
                      </a:lnTo>
                      <a:lnTo>
                        <a:pt x="708" y="1472"/>
                      </a:lnTo>
                      <a:lnTo>
                        <a:pt x="708" y="1473"/>
                      </a:lnTo>
                      <a:lnTo>
                        <a:pt x="709" y="1473"/>
                      </a:lnTo>
                      <a:lnTo>
                        <a:pt x="710" y="1473"/>
                      </a:lnTo>
                      <a:lnTo>
                        <a:pt x="710" y="1474"/>
                      </a:lnTo>
                      <a:lnTo>
                        <a:pt x="710" y="1474"/>
                      </a:lnTo>
                      <a:lnTo>
                        <a:pt x="710" y="1475"/>
                      </a:lnTo>
                      <a:lnTo>
                        <a:pt x="711" y="1475"/>
                      </a:lnTo>
                      <a:lnTo>
                        <a:pt x="712" y="1475"/>
                      </a:lnTo>
                      <a:lnTo>
                        <a:pt x="713" y="1475"/>
                      </a:lnTo>
                      <a:lnTo>
                        <a:pt x="713" y="1475"/>
                      </a:lnTo>
                      <a:lnTo>
                        <a:pt x="714" y="1475"/>
                      </a:lnTo>
                      <a:lnTo>
                        <a:pt x="714" y="1476"/>
                      </a:lnTo>
                      <a:lnTo>
                        <a:pt x="715" y="1476"/>
                      </a:lnTo>
                      <a:lnTo>
                        <a:pt x="715" y="1476"/>
                      </a:lnTo>
                      <a:lnTo>
                        <a:pt x="716" y="1476"/>
                      </a:lnTo>
                      <a:lnTo>
                        <a:pt x="716" y="1477"/>
                      </a:lnTo>
                      <a:lnTo>
                        <a:pt x="717" y="1477"/>
                      </a:lnTo>
                      <a:lnTo>
                        <a:pt x="717" y="1477"/>
                      </a:lnTo>
                      <a:lnTo>
                        <a:pt x="717" y="1478"/>
                      </a:lnTo>
                      <a:lnTo>
                        <a:pt x="717" y="1478"/>
                      </a:lnTo>
                      <a:lnTo>
                        <a:pt x="717" y="1479"/>
                      </a:lnTo>
                      <a:lnTo>
                        <a:pt x="718" y="1479"/>
                      </a:lnTo>
                      <a:lnTo>
                        <a:pt x="718" y="1479"/>
                      </a:lnTo>
                      <a:lnTo>
                        <a:pt x="718" y="1480"/>
                      </a:lnTo>
                      <a:lnTo>
                        <a:pt x="718" y="1481"/>
                      </a:lnTo>
                      <a:lnTo>
                        <a:pt x="718" y="1481"/>
                      </a:lnTo>
                      <a:lnTo>
                        <a:pt x="717" y="1481"/>
                      </a:lnTo>
                      <a:lnTo>
                        <a:pt x="718" y="1481"/>
                      </a:lnTo>
                      <a:lnTo>
                        <a:pt x="718" y="1482"/>
                      </a:lnTo>
                      <a:lnTo>
                        <a:pt x="717" y="1482"/>
                      </a:lnTo>
                      <a:lnTo>
                        <a:pt x="718" y="1482"/>
                      </a:lnTo>
                      <a:lnTo>
                        <a:pt x="718" y="1483"/>
                      </a:lnTo>
                      <a:lnTo>
                        <a:pt x="718" y="1483"/>
                      </a:lnTo>
                      <a:lnTo>
                        <a:pt x="718" y="1484"/>
                      </a:lnTo>
                      <a:lnTo>
                        <a:pt x="718" y="1485"/>
                      </a:lnTo>
                      <a:lnTo>
                        <a:pt x="718" y="1485"/>
                      </a:lnTo>
                      <a:lnTo>
                        <a:pt x="719" y="1486"/>
                      </a:lnTo>
                      <a:lnTo>
                        <a:pt x="719" y="1486"/>
                      </a:lnTo>
                      <a:lnTo>
                        <a:pt x="719" y="1487"/>
                      </a:lnTo>
                      <a:lnTo>
                        <a:pt x="719" y="1488"/>
                      </a:lnTo>
                      <a:lnTo>
                        <a:pt x="720" y="1488"/>
                      </a:lnTo>
                      <a:lnTo>
                        <a:pt x="720" y="1488"/>
                      </a:lnTo>
                      <a:lnTo>
                        <a:pt x="720" y="1489"/>
                      </a:lnTo>
                      <a:lnTo>
                        <a:pt x="721" y="1489"/>
                      </a:lnTo>
                      <a:lnTo>
                        <a:pt x="721" y="1490"/>
                      </a:lnTo>
                      <a:lnTo>
                        <a:pt x="721" y="1490"/>
                      </a:lnTo>
                      <a:lnTo>
                        <a:pt x="721" y="1490"/>
                      </a:lnTo>
                      <a:lnTo>
                        <a:pt x="721" y="1491"/>
                      </a:lnTo>
                      <a:lnTo>
                        <a:pt x="721" y="1492"/>
                      </a:lnTo>
                      <a:lnTo>
                        <a:pt x="722" y="1492"/>
                      </a:lnTo>
                      <a:lnTo>
                        <a:pt x="722" y="1492"/>
                      </a:lnTo>
                      <a:lnTo>
                        <a:pt x="723" y="1492"/>
                      </a:lnTo>
                      <a:lnTo>
                        <a:pt x="723" y="1493"/>
                      </a:lnTo>
                      <a:lnTo>
                        <a:pt x="723" y="1493"/>
                      </a:lnTo>
                      <a:lnTo>
                        <a:pt x="723" y="1494"/>
                      </a:lnTo>
                      <a:lnTo>
                        <a:pt x="723" y="1494"/>
                      </a:lnTo>
                      <a:lnTo>
                        <a:pt x="723" y="1495"/>
                      </a:lnTo>
                      <a:lnTo>
                        <a:pt x="723" y="1496"/>
                      </a:lnTo>
                      <a:lnTo>
                        <a:pt x="723" y="1496"/>
                      </a:lnTo>
                      <a:lnTo>
                        <a:pt x="722" y="1497"/>
                      </a:lnTo>
                      <a:lnTo>
                        <a:pt x="722" y="1498"/>
                      </a:lnTo>
                      <a:lnTo>
                        <a:pt x="721" y="1498"/>
                      </a:lnTo>
                      <a:lnTo>
                        <a:pt x="721" y="1498"/>
                      </a:lnTo>
                      <a:lnTo>
                        <a:pt x="721" y="1498"/>
                      </a:lnTo>
                      <a:lnTo>
                        <a:pt x="721" y="1499"/>
                      </a:lnTo>
                      <a:lnTo>
                        <a:pt x="720" y="1499"/>
                      </a:lnTo>
                      <a:lnTo>
                        <a:pt x="719" y="1499"/>
                      </a:lnTo>
                      <a:lnTo>
                        <a:pt x="719" y="1499"/>
                      </a:lnTo>
                      <a:lnTo>
                        <a:pt x="718" y="1499"/>
                      </a:lnTo>
                      <a:lnTo>
                        <a:pt x="718" y="1500"/>
                      </a:lnTo>
                      <a:lnTo>
                        <a:pt x="718" y="1500"/>
                      </a:lnTo>
                      <a:lnTo>
                        <a:pt x="717" y="1500"/>
                      </a:lnTo>
                      <a:lnTo>
                        <a:pt x="717" y="1500"/>
                      </a:lnTo>
                      <a:lnTo>
                        <a:pt x="716" y="1501"/>
                      </a:lnTo>
                      <a:lnTo>
                        <a:pt x="715" y="1501"/>
                      </a:lnTo>
                      <a:lnTo>
                        <a:pt x="715" y="1501"/>
                      </a:lnTo>
                      <a:lnTo>
                        <a:pt x="714" y="1501"/>
                      </a:lnTo>
                      <a:lnTo>
                        <a:pt x="714" y="1502"/>
                      </a:lnTo>
                      <a:lnTo>
                        <a:pt x="713" y="1502"/>
                      </a:lnTo>
                      <a:lnTo>
                        <a:pt x="713" y="1502"/>
                      </a:lnTo>
                      <a:lnTo>
                        <a:pt x="713" y="1502"/>
                      </a:lnTo>
                      <a:lnTo>
                        <a:pt x="712" y="1502"/>
                      </a:lnTo>
                      <a:lnTo>
                        <a:pt x="711" y="1502"/>
                      </a:lnTo>
                      <a:lnTo>
                        <a:pt x="710" y="1502"/>
                      </a:lnTo>
                      <a:lnTo>
                        <a:pt x="710" y="1502"/>
                      </a:lnTo>
                      <a:lnTo>
                        <a:pt x="709" y="1502"/>
                      </a:lnTo>
                      <a:lnTo>
                        <a:pt x="708" y="1502"/>
                      </a:lnTo>
                      <a:lnTo>
                        <a:pt x="708" y="1503"/>
                      </a:lnTo>
                      <a:lnTo>
                        <a:pt x="708" y="1503"/>
                      </a:lnTo>
                      <a:lnTo>
                        <a:pt x="708" y="1504"/>
                      </a:lnTo>
                      <a:lnTo>
                        <a:pt x="708" y="1504"/>
                      </a:lnTo>
                      <a:lnTo>
                        <a:pt x="708" y="1505"/>
                      </a:lnTo>
                      <a:lnTo>
                        <a:pt x="708" y="1506"/>
                      </a:lnTo>
                      <a:lnTo>
                        <a:pt x="708" y="1507"/>
                      </a:lnTo>
                      <a:lnTo>
                        <a:pt x="709" y="1507"/>
                      </a:lnTo>
                      <a:lnTo>
                        <a:pt x="709" y="1507"/>
                      </a:lnTo>
                      <a:lnTo>
                        <a:pt x="708" y="1507"/>
                      </a:lnTo>
                      <a:lnTo>
                        <a:pt x="708" y="1508"/>
                      </a:lnTo>
                      <a:lnTo>
                        <a:pt x="708" y="1508"/>
                      </a:lnTo>
                      <a:lnTo>
                        <a:pt x="707" y="1508"/>
                      </a:lnTo>
                      <a:lnTo>
                        <a:pt x="707" y="1509"/>
                      </a:lnTo>
                      <a:lnTo>
                        <a:pt x="706" y="1509"/>
                      </a:lnTo>
                      <a:lnTo>
                        <a:pt x="706" y="1509"/>
                      </a:lnTo>
                      <a:lnTo>
                        <a:pt x="706" y="1510"/>
                      </a:lnTo>
                      <a:lnTo>
                        <a:pt x="706" y="1510"/>
                      </a:lnTo>
                      <a:lnTo>
                        <a:pt x="706" y="1511"/>
                      </a:lnTo>
                      <a:lnTo>
                        <a:pt x="706" y="1511"/>
                      </a:lnTo>
                      <a:lnTo>
                        <a:pt x="706" y="1512"/>
                      </a:lnTo>
                      <a:lnTo>
                        <a:pt x="706" y="1513"/>
                      </a:lnTo>
                      <a:lnTo>
                        <a:pt x="705" y="1513"/>
                      </a:lnTo>
                      <a:lnTo>
                        <a:pt x="705" y="1514"/>
                      </a:lnTo>
                      <a:lnTo>
                        <a:pt x="704" y="1514"/>
                      </a:lnTo>
                      <a:lnTo>
                        <a:pt x="704" y="1515"/>
                      </a:lnTo>
                      <a:lnTo>
                        <a:pt x="702" y="1516"/>
                      </a:lnTo>
                      <a:lnTo>
                        <a:pt x="697" y="1519"/>
                      </a:lnTo>
                      <a:lnTo>
                        <a:pt x="696" y="1520"/>
                      </a:lnTo>
                      <a:lnTo>
                        <a:pt x="693" y="1521"/>
                      </a:lnTo>
                      <a:lnTo>
                        <a:pt x="685" y="1524"/>
                      </a:lnTo>
                      <a:lnTo>
                        <a:pt x="683" y="1525"/>
                      </a:lnTo>
                      <a:lnTo>
                        <a:pt x="675" y="1528"/>
                      </a:lnTo>
                      <a:lnTo>
                        <a:pt x="675" y="1527"/>
                      </a:lnTo>
                      <a:lnTo>
                        <a:pt x="674" y="1526"/>
                      </a:lnTo>
                      <a:lnTo>
                        <a:pt x="673" y="1524"/>
                      </a:lnTo>
                      <a:lnTo>
                        <a:pt x="670" y="1522"/>
                      </a:lnTo>
                      <a:lnTo>
                        <a:pt x="668" y="1521"/>
                      </a:lnTo>
                      <a:lnTo>
                        <a:pt x="668" y="1521"/>
                      </a:lnTo>
                      <a:lnTo>
                        <a:pt x="666" y="1520"/>
                      </a:lnTo>
                      <a:lnTo>
                        <a:pt x="664" y="1517"/>
                      </a:lnTo>
                      <a:lnTo>
                        <a:pt x="664" y="1516"/>
                      </a:lnTo>
                      <a:lnTo>
                        <a:pt x="666" y="1512"/>
                      </a:lnTo>
                      <a:lnTo>
                        <a:pt x="668" y="1508"/>
                      </a:lnTo>
                      <a:lnTo>
                        <a:pt x="671" y="1503"/>
                      </a:lnTo>
                      <a:lnTo>
                        <a:pt x="671" y="1500"/>
                      </a:lnTo>
                      <a:lnTo>
                        <a:pt x="670" y="1498"/>
                      </a:lnTo>
                      <a:lnTo>
                        <a:pt x="670" y="1496"/>
                      </a:lnTo>
                      <a:lnTo>
                        <a:pt x="667" y="1493"/>
                      </a:lnTo>
                      <a:lnTo>
                        <a:pt x="664" y="1492"/>
                      </a:lnTo>
                      <a:lnTo>
                        <a:pt x="663" y="1490"/>
                      </a:lnTo>
                      <a:lnTo>
                        <a:pt x="662" y="1488"/>
                      </a:lnTo>
                      <a:lnTo>
                        <a:pt x="661" y="1488"/>
                      </a:lnTo>
                      <a:lnTo>
                        <a:pt x="661" y="1487"/>
                      </a:lnTo>
                      <a:lnTo>
                        <a:pt x="660" y="1485"/>
                      </a:lnTo>
                      <a:lnTo>
                        <a:pt x="659" y="1485"/>
                      </a:lnTo>
                      <a:lnTo>
                        <a:pt x="658" y="1485"/>
                      </a:lnTo>
                      <a:lnTo>
                        <a:pt x="656" y="1485"/>
                      </a:lnTo>
                      <a:lnTo>
                        <a:pt x="655" y="1483"/>
                      </a:lnTo>
                      <a:lnTo>
                        <a:pt x="653" y="1484"/>
                      </a:lnTo>
                      <a:lnTo>
                        <a:pt x="650" y="1484"/>
                      </a:lnTo>
                      <a:lnTo>
                        <a:pt x="645" y="1484"/>
                      </a:lnTo>
                      <a:lnTo>
                        <a:pt x="641" y="1481"/>
                      </a:lnTo>
                      <a:lnTo>
                        <a:pt x="640" y="1481"/>
                      </a:lnTo>
                      <a:lnTo>
                        <a:pt x="638" y="1480"/>
                      </a:lnTo>
                      <a:lnTo>
                        <a:pt x="636" y="1478"/>
                      </a:lnTo>
                      <a:lnTo>
                        <a:pt x="632" y="1476"/>
                      </a:lnTo>
                      <a:lnTo>
                        <a:pt x="632" y="1475"/>
                      </a:lnTo>
                      <a:lnTo>
                        <a:pt x="632" y="1475"/>
                      </a:lnTo>
                      <a:lnTo>
                        <a:pt x="631" y="1475"/>
                      </a:lnTo>
                      <a:lnTo>
                        <a:pt x="630" y="1474"/>
                      </a:lnTo>
                      <a:lnTo>
                        <a:pt x="630" y="1474"/>
                      </a:lnTo>
                      <a:lnTo>
                        <a:pt x="629" y="1473"/>
                      </a:lnTo>
                      <a:lnTo>
                        <a:pt x="628" y="1473"/>
                      </a:lnTo>
                      <a:lnTo>
                        <a:pt x="628" y="1472"/>
                      </a:lnTo>
                      <a:lnTo>
                        <a:pt x="627" y="1471"/>
                      </a:lnTo>
                      <a:lnTo>
                        <a:pt x="627" y="1471"/>
                      </a:lnTo>
                      <a:lnTo>
                        <a:pt x="627" y="1470"/>
                      </a:lnTo>
                      <a:lnTo>
                        <a:pt x="628" y="1470"/>
                      </a:lnTo>
                      <a:lnTo>
                        <a:pt x="628" y="1469"/>
                      </a:lnTo>
                      <a:lnTo>
                        <a:pt x="628" y="1469"/>
                      </a:lnTo>
                      <a:lnTo>
                        <a:pt x="628" y="1469"/>
                      </a:lnTo>
                      <a:lnTo>
                        <a:pt x="628" y="1468"/>
                      </a:lnTo>
                      <a:lnTo>
                        <a:pt x="628" y="1467"/>
                      </a:lnTo>
                      <a:lnTo>
                        <a:pt x="628" y="1467"/>
                      </a:lnTo>
                      <a:lnTo>
                        <a:pt x="628" y="1466"/>
                      </a:lnTo>
                      <a:lnTo>
                        <a:pt x="628" y="1465"/>
                      </a:lnTo>
                      <a:lnTo>
                        <a:pt x="628" y="1464"/>
                      </a:lnTo>
                      <a:lnTo>
                        <a:pt x="628" y="1463"/>
                      </a:lnTo>
                      <a:lnTo>
                        <a:pt x="628" y="1462"/>
                      </a:lnTo>
                      <a:lnTo>
                        <a:pt x="628" y="1462"/>
                      </a:lnTo>
                      <a:lnTo>
                        <a:pt x="628" y="1461"/>
                      </a:lnTo>
                      <a:lnTo>
                        <a:pt x="627" y="1460"/>
                      </a:lnTo>
                      <a:lnTo>
                        <a:pt x="626" y="1460"/>
                      </a:lnTo>
                      <a:lnTo>
                        <a:pt x="626" y="1459"/>
                      </a:lnTo>
                      <a:lnTo>
                        <a:pt x="626" y="1459"/>
                      </a:lnTo>
                      <a:lnTo>
                        <a:pt x="626" y="1458"/>
                      </a:lnTo>
                      <a:lnTo>
                        <a:pt x="625" y="1458"/>
                      </a:lnTo>
                      <a:lnTo>
                        <a:pt x="625" y="1458"/>
                      </a:lnTo>
                      <a:lnTo>
                        <a:pt x="625" y="1457"/>
                      </a:lnTo>
                      <a:lnTo>
                        <a:pt x="625" y="1456"/>
                      </a:lnTo>
                      <a:lnTo>
                        <a:pt x="625" y="1456"/>
                      </a:lnTo>
                      <a:lnTo>
                        <a:pt x="626" y="1456"/>
                      </a:lnTo>
                      <a:lnTo>
                        <a:pt x="626" y="1455"/>
                      </a:lnTo>
                      <a:lnTo>
                        <a:pt x="626" y="1454"/>
                      </a:lnTo>
                      <a:lnTo>
                        <a:pt x="626" y="1454"/>
                      </a:lnTo>
                      <a:lnTo>
                        <a:pt x="626" y="1454"/>
                      </a:lnTo>
                      <a:lnTo>
                        <a:pt x="626" y="1454"/>
                      </a:lnTo>
                      <a:lnTo>
                        <a:pt x="626" y="1453"/>
                      </a:lnTo>
                      <a:lnTo>
                        <a:pt x="625" y="1453"/>
                      </a:lnTo>
                      <a:lnTo>
                        <a:pt x="624" y="1452"/>
                      </a:lnTo>
                      <a:lnTo>
                        <a:pt x="624" y="1451"/>
                      </a:lnTo>
                      <a:lnTo>
                        <a:pt x="624" y="1451"/>
                      </a:lnTo>
                      <a:lnTo>
                        <a:pt x="624" y="1450"/>
                      </a:lnTo>
                      <a:lnTo>
                        <a:pt x="623" y="1450"/>
                      </a:lnTo>
                      <a:lnTo>
                        <a:pt x="622" y="1450"/>
                      </a:lnTo>
                      <a:lnTo>
                        <a:pt x="622" y="1450"/>
                      </a:lnTo>
                      <a:lnTo>
                        <a:pt x="621" y="1450"/>
                      </a:lnTo>
                      <a:lnTo>
                        <a:pt x="620" y="1450"/>
                      </a:lnTo>
                      <a:lnTo>
                        <a:pt x="620" y="1451"/>
                      </a:lnTo>
                      <a:lnTo>
                        <a:pt x="620" y="1451"/>
                      </a:lnTo>
                      <a:lnTo>
                        <a:pt x="620" y="1450"/>
                      </a:lnTo>
                      <a:lnTo>
                        <a:pt x="619" y="1450"/>
                      </a:lnTo>
                      <a:lnTo>
                        <a:pt x="619" y="1450"/>
                      </a:lnTo>
                      <a:lnTo>
                        <a:pt x="618" y="1450"/>
                      </a:lnTo>
                      <a:lnTo>
                        <a:pt x="617" y="1450"/>
                      </a:lnTo>
                      <a:lnTo>
                        <a:pt x="617" y="1450"/>
                      </a:lnTo>
                      <a:lnTo>
                        <a:pt x="617" y="1451"/>
                      </a:lnTo>
                      <a:lnTo>
                        <a:pt x="617" y="1450"/>
                      </a:lnTo>
                      <a:lnTo>
                        <a:pt x="616" y="1450"/>
                      </a:lnTo>
                      <a:lnTo>
                        <a:pt x="616" y="1450"/>
                      </a:lnTo>
                      <a:lnTo>
                        <a:pt x="615" y="1450"/>
                      </a:lnTo>
                      <a:lnTo>
                        <a:pt x="616" y="1450"/>
                      </a:lnTo>
                      <a:lnTo>
                        <a:pt x="615" y="1450"/>
                      </a:lnTo>
                      <a:lnTo>
                        <a:pt x="615" y="1450"/>
                      </a:lnTo>
                      <a:lnTo>
                        <a:pt x="615" y="1449"/>
                      </a:lnTo>
                      <a:lnTo>
                        <a:pt x="614" y="1449"/>
                      </a:lnTo>
                      <a:lnTo>
                        <a:pt x="613" y="1448"/>
                      </a:lnTo>
                      <a:lnTo>
                        <a:pt x="613" y="1448"/>
                      </a:lnTo>
                      <a:lnTo>
                        <a:pt x="613" y="1448"/>
                      </a:lnTo>
                      <a:lnTo>
                        <a:pt x="612" y="1448"/>
                      </a:lnTo>
                      <a:lnTo>
                        <a:pt x="611" y="1448"/>
                      </a:lnTo>
                      <a:lnTo>
                        <a:pt x="611" y="1448"/>
                      </a:lnTo>
                      <a:lnTo>
                        <a:pt x="611" y="1448"/>
                      </a:lnTo>
                      <a:lnTo>
                        <a:pt x="611" y="1449"/>
                      </a:lnTo>
                      <a:lnTo>
                        <a:pt x="610" y="1450"/>
                      </a:lnTo>
                      <a:lnTo>
                        <a:pt x="610" y="1450"/>
                      </a:lnTo>
                      <a:lnTo>
                        <a:pt x="609" y="1450"/>
                      </a:lnTo>
                      <a:lnTo>
                        <a:pt x="609" y="1451"/>
                      </a:lnTo>
                      <a:lnTo>
                        <a:pt x="608" y="1451"/>
                      </a:lnTo>
                      <a:lnTo>
                        <a:pt x="607" y="1452"/>
                      </a:lnTo>
                      <a:lnTo>
                        <a:pt x="607" y="1452"/>
                      </a:lnTo>
                      <a:lnTo>
                        <a:pt x="606" y="1452"/>
                      </a:lnTo>
                      <a:lnTo>
                        <a:pt x="606" y="1452"/>
                      </a:lnTo>
                      <a:lnTo>
                        <a:pt x="605" y="1452"/>
                      </a:lnTo>
                      <a:lnTo>
                        <a:pt x="605" y="1453"/>
                      </a:lnTo>
                      <a:lnTo>
                        <a:pt x="605" y="1453"/>
                      </a:lnTo>
                      <a:lnTo>
                        <a:pt x="605" y="1454"/>
                      </a:lnTo>
                      <a:lnTo>
                        <a:pt x="605" y="1454"/>
                      </a:lnTo>
                      <a:lnTo>
                        <a:pt x="604" y="1454"/>
                      </a:lnTo>
                      <a:lnTo>
                        <a:pt x="604" y="1455"/>
                      </a:lnTo>
                      <a:lnTo>
                        <a:pt x="603" y="1455"/>
                      </a:lnTo>
                      <a:lnTo>
                        <a:pt x="603" y="1456"/>
                      </a:lnTo>
                      <a:lnTo>
                        <a:pt x="603" y="1456"/>
                      </a:lnTo>
                      <a:lnTo>
                        <a:pt x="603" y="1456"/>
                      </a:lnTo>
                      <a:lnTo>
                        <a:pt x="603" y="1457"/>
                      </a:lnTo>
                      <a:lnTo>
                        <a:pt x="603" y="1458"/>
                      </a:lnTo>
                      <a:lnTo>
                        <a:pt x="603" y="1458"/>
                      </a:lnTo>
                      <a:lnTo>
                        <a:pt x="603" y="1458"/>
                      </a:lnTo>
                      <a:lnTo>
                        <a:pt x="603" y="1458"/>
                      </a:lnTo>
                      <a:lnTo>
                        <a:pt x="603" y="1459"/>
                      </a:lnTo>
                      <a:lnTo>
                        <a:pt x="603" y="1460"/>
                      </a:lnTo>
                      <a:lnTo>
                        <a:pt x="602" y="1460"/>
                      </a:lnTo>
                      <a:lnTo>
                        <a:pt x="602" y="1460"/>
                      </a:lnTo>
                      <a:lnTo>
                        <a:pt x="601" y="1460"/>
                      </a:lnTo>
                      <a:lnTo>
                        <a:pt x="601" y="1461"/>
                      </a:lnTo>
                      <a:lnTo>
                        <a:pt x="601" y="1461"/>
                      </a:lnTo>
                      <a:lnTo>
                        <a:pt x="601" y="1462"/>
                      </a:lnTo>
                      <a:lnTo>
                        <a:pt x="601" y="1462"/>
                      </a:lnTo>
                      <a:lnTo>
                        <a:pt x="601" y="1463"/>
                      </a:lnTo>
                      <a:lnTo>
                        <a:pt x="600" y="1463"/>
                      </a:lnTo>
                      <a:lnTo>
                        <a:pt x="600" y="1464"/>
                      </a:lnTo>
                      <a:lnTo>
                        <a:pt x="599" y="1463"/>
                      </a:lnTo>
                      <a:lnTo>
                        <a:pt x="598" y="1463"/>
                      </a:lnTo>
                      <a:lnTo>
                        <a:pt x="598" y="1463"/>
                      </a:lnTo>
                      <a:lnTo>
                        <a:pt x="597" y="1463"/>
                      </a:lnTo>
                      <a:lnTo>
                        <a:pt x="597" y="1462"/>
                      </a:lnTo>
                      <a:lnTo>
                        <a:pt x="596" y="1462"/>
                      </a:lnTo>
                      <a:lnTo>
                        <a:pt x="596" y="1463"/>
                      </a:lnTo>
                      <a:lnTo>
                        <a:pt x="596" y="1463"/>
                      </a:lnTo>
                      <a:lnTo>
                        <a:pt x="596" y="1464"/>
                      </a:lnTo>
                      <a:lnTo>
                        <a:pt x="596" y="1464"/>
                      </a:lnTo>
                      <a:lnTo>
                        <a:pt x="596" y="1465"/>
                      </a:lnTo>
                      <a:lnTo>
                        <a:pt x="596" y="1466"/>
                      </a:lnTo>
                      <a:lnTo>
                        <a:pt x="595" y="1466"/>
                      </a:lnTo>
                      <a:lnTo>
                        <a:pt x="594" y="1466"/>
                      </a:lnTo>
                      <a:lnTo>
                        <a:pt x="594" y="1467"/>
                      </a:lnTo>
                      <a:lnTo>
                        <a:pt x="594" y="1468"/>
                      </a:lnTo>
                      <a:lnTo>
                        <a:pt x="594" y="1469"/>
                      </a:lnTo>
                      <a:lnTo>
                        <a:pt x="595" y="1469"/>
                      </a:lnTo>
                      <a:lnTo>
                        <a:pt x="596" y="1470"/>
                      </a:lnTo>
                      <a:lnTo>
                        <a:pt x="596" y="1471"/>
                      </a:lnTo>
                      <a:lnTo>
                        <a:pt x="596" y="1472"/>
                      </a:lnTo>
                      <a:lnTo>
                        <a:pt x="595" y="1472"/>
                      </a:lnTo>
                      <a:lnTo>
                        <a:pt x="595" y="1473"/>
                      </a:lnTo>
                      <a:lnTo>
                        <a:pt x="595" y="1473"/>
                      </a:lnTo>
                      <a:lnTo>
                        <a:pt x="594" y="1473"/>
                      </a:lnTo>
                      <a:lnTo>
                        <a:pt x="594" y="1474"/>
                      </a:lnTo>
                      <a:lnTo>
                        <a:pt x="594" y="1475"/>
                      </a:lnTo>
                      <a:lnTo>
                        <a:pt x="594" y="1475"/>
                      </a:lnTo>
                      <a:lnTo>
                        <a:pt x="593" y="1475"/>
                      </a:lnTo>
                      <a:lnTo>
                        <a:pt x="592" y="1475"/>
                      </a:lnTo>
                      <a:lnTo>
                        <a:pt x="592" y="1475"/>
                      </a:lnTo>
                      <a:lnTo>
                        <a:pt x="591" y="1475"/>
                      </a:lnTo>
                      <a:lnTo>
                        <a:pt x="590" y="1475"/>
                      </a:lnTo>
                      <a:lnTo>
                        <a:pt x="590" y="1476"/>
                      </a:lnTo>
                      <a:lnTo>
                        <a:pt x="590" y="1476"/>
                      </a:lnTo>
                      <a:lnTo>
                        <a:pt x="590" y="1477"/>
                      </a:lnTo>
                      <a:lnTo>
                        <a:pt x="590" y="1477"/>
                      </a:lnTo>
                      <a:lnTo>
                        <a:pt x="590" y="1478"/>
                      </a:lnTo>
                      <a:lnTo>
                        <a:pt x="590" y="1479"/>
                      </a:lnTo>
                      <a:lnTo>
                        <a:pt x="590" y="1479"/>
                      </a:lnTo>
                      <a:lnTo>
                        <a:pt x="590" y="1480"/>
                      </a:lnTo>
                      <a:lnTo>
                        <a:pt x="590" y="1481"/>
                      </a:lnTo>
                      <a:lnTo>
                        <a:pt x="589" y="1481"/>
                      </a:lnTo>
                      <a:lnTo>
                        <a:pt x="588" y="1481"/>
                      </a:lnTo>
                      <a:lnTo>
                        <a:pt x="588" y="1481"/>
                      </a:lnTo>
                      <a:lnTo>
                        <a:pt x="588" y="1481"/>
                      </a:lnTo>
                      <a:lnTo>
                        <a:pt x="587" y="1482"/>
                      </a:lnTo>
                      <a:lnTo>
                        <a:pt x="586" y="1482"/>
                      </a:lnTo>
                      <a:lnTo>
                        <a:pt x="586" y="1482"/>
                      </a:lnTo>
                      <a:lnTo>
                        <a:pt x="585" y="1482"/>
                      </a:lnTo>
                      <a:lnTo>
                        <a:pt x="584" y="1482"/>
                      </a:lnTo>
                      <a:lnTo>
                        <a:pt x="583" y="1482"/>
                      </a:lnTo>
                      <a:lnTo>
                        <a:pt x="582" y="1483"/>
                      </a:lnTo>
                      <a:lnTo>
                        <a:pt x="581" y="1485"/>
                      </a:lnTo>
                      <a:lnTo>
                        <a:pt x="581" y="1486"/>
                      </a:lnTo>
                      <a:lnTo>
                        <a:pt x="580" y="1488"/>
                      </a:lnTo>
                      <a:lnTo>
                        <a:pt x="580" y="1489"/>
                      </a:lnTo>
                      <a:lnTo>
                        <a:pt x="580" y="1492"/>
                      </a:lnTo>
                      <a:lnTo>
                        <a:pt x="581" y="1492"/>
                      </a:lnTo>
                      <a:lnTo>
                        <a:pt x="580" y="1493"/>
                      </a:lnTo>
                      <a:lnTo>
                        <a:pt x="580" y="1494"/>
                      </a:lnTo>
                      <a:lnTo>
                        <a:pt x="579" y="1495"/>
                      </a:lnTo>
                      <a:lnTo>
                        <a:pt x="579" y="1496"/>
                      </a:lnTo>
                      <a:lnTo>
                        <a:pt x="579" y="1497"/>
                      </a:lnTo>
                      <a:lnTo>
                        <a:pt x="579" y="1498"/>
                      </a:lnTo>
                      <a:lnTo>
                        <a:pt x="577" y="1499"/>
                      </a:lnTo>
                      <a:lnTo>
                        <a:pt x="578" y="1500"/>
                      </a:lnTo>
                      <a:lnTo>
                        <a:pt x="579" y="1500"/>
                      </a:lnTo>
                      <a:lnTo>
                        <a:pt x="579" y="1502"/>
                      </a:lnTo>
                      <a:lnTo>
                        <a:pt x="579" y="1502"/>
                      </a:lnTo>
                      <a:lnTo>
                        <a:pt x="579" y="1503"/>
                      </a:lnTo>
                      <a:lnTo>
                        <a:pt x="579" y="1504"/>
                      </a:lnTo>
                      <a:lnTo>
                        <a:pt x="580" y="1504"/>
                      </a:lnTo>
                      <a:lnTo>
                        <a:pt x="580" y="1505"/>
                      </a:lnTo>
                      <a:lnTo>
                        <a:pt x="579" y="1505"/>
                      </a:lnTo>
                      <a:lnTo>
                        <a:pt x="579" y="1506"/>
                      </a:lnTo>
                      <a:lnTo>
                        <a:pt x="578" y="1507"/>
                      </a:lnTo>
                      <a:lnTo>
                        <a:pt x="577" y="1508"/>
                      </a:lnTo>
                      <a:lnTo>
                        <a:pt x="577" y="1511"/>
                      </a:lnTo>
                      <a:lnTo>
                        <a:pt x="574" y="1515"/>
                      </a:lnTo>
                      <a:lnTo>
                        <a:pt x="573" y="1514"/>
                      </a:lnTo>
                      <a:lnTo>
                        <a:pt x="572" y="1514"/>
                      </a:lnTo>
                      <a:lnTo>
                        <a:pt x="571" y="1513"/>
                      </a:lnTo>
                      <a:lnTo>
                        <a:pt x="571" y="1513"/>
                      </a:lnTo>
                      <a:lnTo>
                        <a:pt x="570" y="1512"/>
                      </a:lnTo>
                      <a:lnTo>
                        <a:pt x="569" y="1511"/>
                      </a:lnTo>
                      <a:lnTo>
                        <a:pt x="567" y="1511"/>
                      </a:lnTo>
                      <a:lnTo>
                        <a:pt x="567" y="1511"/>
                      </a:lnTo>
                      <a:lnTo>
                        <a:pt x="565" y="1509"/>
                      </a:lnTo>
                      <a:lnTo>
                        <a:pt x="565" y="1508"/>
                      </a:lnTo>
                      <a:lnTo>
                        <a:pt x="564" y="1507"/>
                      </a:lnTo>
                      <a:lnTo>
                        <a:pt x="564" y="1506"/>
                      </a:lnTo>
                      <a:lnTo>
                        <a:pt x="563" y="1506"/>
                      </a:lnTo>
                      <a:lnTo>
                        <a:pt x="563" y="1505"/>
                      </a:lnTo>
                      <a:lnTo>
                        <a:pt x="563" y="1504"/>
                      </a:lnTo>
                      <a:lnTo>
                        <a:pt x="563" y="1504"/>
                      </a:lnTo>
                      <a:lnTo>
                        <a:pt x="563" y="1503"/>
                      </a:lnTo>
                      <a:lnTo>
                        <a:pt x="563" y="1502"/>
                      </a:lnTo>
                      <a:lnTo>
                        <a:pt x="563" y="1502"/>
                      </a:lnTo>
                      <a:lnTo>
                        <a:pt x="562" y="1502"/>
                      </a:lnTo>
                      <a:lnTo>
                        <a:pt x="562" y="1501"/>
                      </a:lnTo>
                      <a:lnTo>
                        <a:pt x="561" y="1501"/>
                      </a:lnTo>
                      <a:lnTo>
                        <a:pt x="560" y="1501"/>
                      </a:lnTo>
                      <a:lnTo>
                        <a:pt x="560" y="1500"/>
                      </a:lnTo>
                      <a:lnTo>
                        <a:pt x="560" y="1500"/>
                      </a:lnTo>
                      <a:lnTo>
                        <a:pt x="560" y="1500"/>
                      </a:lnTo>
                      <a:lnTo>
                        <a:pt x="560" y="1499"/>
                      </a:lnTo>
                      <a:lnTo>
                        <a:pt x="559" y="1499"/>
                      </a:lnTo>
                      <a:lnTo>
                        <a:pt x="558" y="1499"/>
                      </a:lnTo>
                      <a:lnTo>
                        <a:pt x="558" y="1498"/>
                      </a:lnTo>
                      <a:lnTo>
                        <a:pt x="558" y="1498"/>
                      </a:lnTo>
                      <a:lnTo>
                        <a:pt x="558" y="1498"/>
                      </a:lnTo>
                      <a:lnTo>
                        <a:pt x="558" y="1497"/>
                      </a:lnTo>
                      <a:lnTo>
                        <a:pt x="557" y="1497"/>
                      </a:lnTo>
                      <a:lnTo>
                        <a:pt x="556" y="1497"/>
                      </a:lnTo>
                      <a:lnTo>
                        <a:pt x="556" y="1498"/>
                      </a:lnTo>
                      <a:lnTo>
                        <a:pt x="556" y="1498"/>
                      </a:lnTo>
                      <a:lnTo>
                        <a:pt x="556" y="1498"/>
                      </a:lnTo>
                      <a:lnTo>
                        <a:pt x="556" y="1499"/>
                      </a:lnTo>
                      <a:lnTo>
                        <a:pt x="556" y="1500"/>
                      </a:lnTo>
                      <a:lnTo>
                        <a:pt x="555" y="1500"/>
                      </a:lnTo>
                      <a:lnTo>
                        <a:pt x="555" y="1500"/>
                      </a:lnTo>
                      <a:lnTo>
                        <a:pt x="554" y="1500"/>
                      </a:lnTo>
                      <a:lnTo>
                        <a:pt x="554" y="1501"/>
                      </a:lnTo>
                      <a:lnTo>
                        <a:pt x="554" y="1501"/>
                      </a:lnTo>
                      <a:lnTo>
                        <a:pt x="553" y="1501"/>
                      </a:lnTo>
                      <a:lnTo>
                        <a:pt x="552" y="1501"/>
                      </a:lnTo>
                      <a:lnTo>
                        <a:pt x="552" y="1501"/>
                      </a:lnTo>
                      <a:lnTo>
                        <a:pt x="550" y="1501"/>
                      </a:lnTo>
                      <a:lnTo>
                        <a:pt x="550" y="1501"/>
                      </a:lnTo>
                      <a:lnTo>
                        <a:pt x="549" y="1500"/>
                      </a:lnTo>
                      <a:lnTo>
                        <a:pt x="548" y="1500"/>
                      </a:lnTo>
                      <a:lnTo>
                        <a:pt x="548" y="1500"/>
                      </a:lnTo>
                      <a:lnTo>
                        <a:pt x="548" y="1501"/>
                      </a:lnTo>
                      <a:lnTo>
                        <a:pt x="546" y="1504"/>
                      </a:lnTo>
                      <a:lnTo>
                        <a:pt x="546" y="1504"/>
                      </a:lnTo>
                      <a:lnTo>
                        <a:pt x="546" y="1504"/>
                      </a:lnTo>
                      <a:lnTo>
                        <a:pt x="546" y="1505"/>
                      </a:lnTo>
                      <a:lnTo>
                        <a:pt x="546" y="1506"/>
                      </a:lnTo>
                      <a:lnTo>
                        <a:pt x="545" y="1507"/>
                      </a:lnTo>
                      <a:lnTo>
                        <a:pt x="545" y="1507"/>
                      </a:lnTo>
                      <a:lnTo>
                        <a:pt x="544" y="1507"/>
                      </a:lnTo>
                      <a:lnTo>
                        <a:pt x="544" y="1507"/>
                      </a:lnTo>
                      <a:lnTo>
                        <a:pt x="544" y="1508"/>
                      </a:lnTo>
                      <a:lnTo>
                        <a:pt x="544" y="1509"/>
                      </a:lnTo>
                      <a:lnTo>
                        <a:pt x="544" y="1509"/>
                      </a:lnTo>
                      <a:lnTo>
                        <a:pt x="544" y="1509"/>
                      </a:lnTo>
                      <a:lnTo>
                        <a:pt x="544" y="1510"/>
                      </a:lnTo>
                      <a:lnTo>
                        <a:pt x="544" y="1510"/>
                      </a:lnTo>
                      <a:lnTo>
                        <a:pt x="544" y="1511"/>
                      </a:lnTo>
                      <a:lnTo>
                        <a:pt x="543" y="1511"/>
                      </a:lnTo>
                      <a:lnTo>
                        <a:pt x="543" y="1511"/>
                      </a:lnTo>
                      <a:lnTo>
                        <a:pt x="542" y="1511"/>
                      </a:lnTo>
                      <a:lnTo>
                        <a:pt x="541" y="1511"/>
                      </a:lnTo>
                      <a:lnTo>
                        <a:pt x="541" y="1512"/>
                      </a:lnTo>
                      <a:lnTo>
                        <a:pt x="541" y="1512"/>
                      </a:lnTo>
                      <a:lnTo>
                        <a:pt x="541" y="1513"/>
                      </a:lnTo>
                      <a:lnTo>
                        <a:pt x="540" y="1513"/>
                      </a:lnTo>
                      <a:lnTo>
                        <a:pt x="540" y="1513"/>
                      </a:lnTo>
                      <a:lnTo>
                        <a:pt x="539" y="1514"/>
                      </a:lnTo>
                      <a:lnTo>
                        <a:pt x="539" y="1515"/>
                      </a:lnTo>
                      <a:lnTo>
                        <a:pt x="538" y="1515"/>
                      </a:lnTo>
                      <a:lnTo>
                        <a:pt x="537" y="1516"/>
                      </a:lnTo>
                      <a:lnTo>
                        <a:pt x="537" y="1517"/>
                      </a:lnTo>
                      <a:lnTo>
                        <a:pt x="537" y="1517"/>
                      </a:lnTo>
                      <a:lnTo>
                        <a:pt x="537" y="1517"/>
                      </a:lnTo>
                      <a:lnTo>
                        <a:pt x="537" y="1519"/>
                      </a:lnTo>
                      <a:lnTo>
                        <a:pt x="537" y="1519"/>
                      </a:lnTo>
                      <a:lnTo>
                        <a:pt x="539" y="1520"/>
                      </a:lnTo>
                      <a:lnTo>
                        <a:pt x="540" y="1521"/>
                      </a:lnTo>
                      <a:lnTo>
                        <a:pt x="541" y="1521"/>
                      </a:lnTo>
                      <a:lnTo>
                        <a:pt x="541" y="1521"/>
                      </a:lnTo>
                      <a:lnTo>
                        <a:pt x="542" y="1521"/>
                      </a:lnTo>
                      <a:lnTo>
                        <a:pt x="543" y="1522"/>
                      </a:lnTo>
                      <a:lnTo>
                        <a:pt x="542" y="1523"/>
                      </a:lnTo>
                      <a:lnTo>
                        <a:pt x="542" y="1524"/>
                      </a:lnTo>
                      <a:lnTo>
                        <a:pt x="542" y="1525"/>
                      </a:lnTo>
                      <a:lnTo>
                        <a:pt x="542" y="1526"/>
                      </a:lnTo>
                      <a:lnTo>
                        <a:pt x="543" y="1526"/>
                      </a:lnTo>
                      <a:lnTo>
                        <a:pt x="543" y="1527"/>
                      </a:lnTo>
                      <a:lnTo>
                        <a:pt x="544" y="1528"/>
                      </a:lnTo>
                      <a:lnTo>
                        <a:pt x="545" y="1530"/>
                      </a:lnTo>
                      <a:lnTo>
                        <a:pt x="546" y="1530"/>
                      </a:lnTo>
                      <a:lnTo>
                        <a:pt x="546" y="1531"/>
                      </a:lnTo>
                      <a:lnTo>
                        <a:pt x="546" y="1532"/>
                      </a:lnTo>
                      <a:lnTo>
                        <a:pt x="547" y="1532"/>
                      </a:lnTo>
                      <a:lnTo>
                        <a:pt x="548" y="1533"/>
                      </a:lnTo>
                      <a:lnTo>
                        <a:pt x="548" y="1534"/>
                      </a:lnTo>
                      <a:lnTo>
                        <a:pt x="548" y="1534"/>
                      </a:lnTo>
                      <a:lnTo>
                        <a:pt x="548" y="1536"/>
                      </a:lnTo>
                      <a:lnTo>
                        <a:pt x="548" y="1536"/>
                      </a:lnTo>
                      <a:lnTo>
                        <a:pt x="547" y="1538"/>
                      </a:lnTo>
                      <a:lnTo>
                        <a:pt x="547" y="1538"/>
                      </a:lnTo>
                      <a:lnTo>
                        <a:pt x="547" y="1539"/>
                      </a:lnTo>
                      <a:lnTo>
                        <a:pt x="546" y="1540"/>
                      </a:lnTo>
                      <a:lnTo>
                        <a:pt x="546" y="1541"/>
                      </a:lnTo>
                      <a:lnTo>
                        <a:pt x="542" y="1542"/>
                      </a:lnTo>
                      <a:lnTo>
                        <a:pt x="535" y="1550"/>
                      </a:lnTo>
                      <a:lnTo>
                        <a:pt x="529" y="1552"/>
                      </a:lnTo>
                      <a:lnTo>
                        <a:pt x="529" y="1563"/>
                      </a:lnTo>
                      <a:lnTo>
                        <a:pt x="529" y="1567"/>
                      </a:lnTo>
                      <a:lnTo>
                        <a:pt x="517" y="1567"/>
                      </a:lnTo>
                      <a:lnTo>
                        <a:pt x="516" y="1566"/>
                      </a:lnTo>
                      <a:lnTo>
                        <a:pt x="514" y="1565"/>
                      </a:lnTo>
                      <a:lnTo>
                        <a:pt x="506" y="1567"/>
                      </a:lnTo>
                      <a:lnTo>
                        <a:pt x="505" y="1570"/>
                      </a:lnTo>
                      <a:lnTo>
                        <a:pt x="499" y="1577"/>
                      </a:lnTo>
                      <a:lnTo>
                        <a:pt x="499" y="1589"/>
                      </a:lnTo>
                      <a:lnTo>
                        <a:pt x="496" y="1590"/>
                      </a:lnTo>
                      <a:lnTo>
                        <a:pt x="494" y="1591"/>
                      </a:lnTo>
                      <a:lnTo>
                        <a:pt x="493" y="1592"/>
                      </a:lnTo>
                      <a:lnTo>
                        <a:pt x="493" y="1593"/>
                      </a:lnTo>
                      <a:lnTo>
                        <a:pt x="490" y="1594"/>
                      </a:lnTo>
                      <a:lnTo>
                        <a:pt x="488" y="1595"/>
                      </a:lnTo>
                      <a:lnTo>
                        <a:pt x="488" y="1595"/>
                      </a:lnTo>
                      <a:lnTo>
                        <a:pt x="487" y="1595"/>
                      </a:lnTo>
                      <a:lnTo>
                        <a:pt x="487" y="1596"/>
                      </a:lnTo>
                      <a:lnTo>
                        <a:pt x="487" y="1596"/>
                      </a:lnTo>
                      <a:lnTo>
                        <a:pt x="486" y="1596"/>
                      </a:lnTo>
                      <a:lnTo>
                        <a:pt x="485" y="1597"/>
                      </a:lnTo>
                      <a:lnTo>
                        <a:pt x="484" y="1597"/>
                      </a:lnTo>
                      <a:lnTo>
                        <a:pt x="482" y="1597"/>
                      </a:lnTo>
                      <a:lnTo>
                        <a:pt x="481" y="1597"/>
                      </a:lnTo>
                      <a:lnTo>
                        <a:pt x="480" y="1598"/>
                      </a:lnTo>
                      <a:lnTo>
                        <a:pt x="479" y="1598"/>
                      </a:lnTo>
                      <a:lnTo>
                        <a:pt x="478" y="1598"/>
                      </a:lnTo>
                      <a:lnTo>
                        <a:pt x="478" y="1598"/>
                      </a:lnTo>
                      <a:lnTo>
                        <a:pt x="476" y="1597"/>
                      </a:lnTo>
                      <a:lnTo>
                        <a:pt x="476" y="1597"/>
                      </a:lnTo>
                      <a:lnTo>
                        <a:pt x="475" y="1597"/>
                      </a:lnTo>
                      <a:lnTo>
                        <a:pt x="474" y="1597"/>
                      </a:lnTo>
                      <a:lnTo>
                        <a:pt x="474" y="1597"/>
                      </a:lnTo>
                      <a:lnTo>
                        <a:pt x="474" y="1596"/>
                      </a:lnTo>
                      <a:lnTo>
                        <a:pt x="473" y="1597"/>
                      </a:lnTo>
                      <a:lnTo>
                        <a:pt x="473" y="1596"/>
                      </a:lnTo>
                      <a:lnTo>
                        <a:pt x="473" y="1595"/>
                      </a:lnTo>
                      <a:lnTo>
                        <a:pt x="472" y="1595"/>
                      </a:lnTo>
                      <a:lnTo>
                        <a:pt x="472" y="1595"/>
                      </a:lnTo>
                      <a:lnTo>
                        <a:pt x="472" y="1595"/>
                      </a:lnTo>
                      <a:lnTo>
                        <a:pt x="471" y="1595"/>
                      </a:lnTo>
                      <a:lnTo>
                        <a:pt x="471" y="1594"/>
                      </a:lnTo>
                      <a:lnTo>
                        <a:pt x="470" y="1594"/>
                      </a:lnTo>
                      <a:lnTo>
                        <a:pt x="470" y="1593"/>
                      </a:lnTo>
                      <a:lnTo>
                        <a:pt x="470" y="1593"/>
                      </a:lnTo>
                      <a:lnTo>
                        <a:pt x="469" y="1593"/>
                      </a:lnTo>
                      <a:lnTo>
                        <a:pt x="470" y="1593"/>
                      </a:lnTo>
                      <a:lnTo>
                        <a:pt x="470" y="1593"/>
                      </a:lnTo>
                      <a:lnTo>
                        <a:pt x="469" y="1593"/>
                      </a:lnTo>
                      <a:lnTo>
                        <a:pt x="469" y="1592"/>
                      </a:lnTo>
                      <a:lnTo>
                        <a:pt x="468" y="1592"/>
                      </a:lnTo>
                      <a:lnTo>
                        <a:pt x="468" y="1591"/>
                      </a:lnTo>
                      <a:lnTo>
                        <a:pt x="468" y="1591"/>
                      </a:lnTo>
                      <a:lnTo>
                        <a:pt x="468" y="1591"/>
                      </a:lnTo>
                      <a:lnTo>
                        <a:pt x="468" y="1590"/>
                      </a:lnTo>
                      <a:lnTo>
                        <a:pt x="467" y="1590"/>
                      </a:lnTo>
                      <a:lnTo>
                        <a:pt x="466" y="1590"/>
                      </a:lnTo>
                      <a:lnTo>
                        <a:pt x="465" y="1588"/>
                      </a:lnTo>
                      <a:lnTo>
                        <a:pt x="464" y="1587"/>
                      </a:lnTo>
                      <a:lnTo>
                        <a:pt x="464" y="1587"/>
                      </a:lnTo>
                      <a:lnTo>
                        <a:pt x="463" y="1587"/>
                      </a:lnTo>
                      <a:lnTo>
                        <a:pt x="463" y="1586"/>
                      </a:lnTo>
                      <a:lnTo>
                        <a:pt x="463" y="1585"/>
                      </a:lnTo>
                      <a:lnTo>
                        <a:pt x="462" y="1585"/>
                      </a:lnTo>
                      <a:lnTo>
                        <a:pt x="461" y="1585"/>
                      </a:lnTo>
                      <a:lnTo>
                        <a:pt x="461" y="1584"/>
                      </a:lnTo>
                      <a:lnTo>
                        <a:pt x="461" y="1584"/>
                      </a:lnTo>
                      <a:lnTo>
                        <a:pt x="461" y="1584"/>
                      </a:lnTo>
                      <a:lnTo>
                        <a:pt x="461" y="1583"/>
                      </a:lnTo>
                      <a:lnTo>
                        <a:pt x="460" y="1583"/>
                      </a:lnTo>
                      <a:lnTo>
                        <a:pt x="459" y="1583"/>
                      </a:lnTo>
                      <a:lnTo>
                        <a:pt x="459" y="1582"/>
                      </a:lnTo>
                      <a:lnTo>
                        <a:pt x="459" y="1582"/>
                      </a:lnTo>
                      <a:lnTo>
                        <a:pt x="459" y="1581"/>
                      </a:lnTo>
                      <a:lnTo>
                        <a:pt x="459" y="1581"/>
                      </a:lnTo>
                      <a:lnTo>
                        <a:pt x="458" y="1581"/>
                      </a:lnTo>
                      <a:lnTo>
                        <a:pt x="458" y="1580"/>
                      </a:lnTo>
                      <a:lnTo>
                        <a:pt x="457" y="1580"/>
                      </a:lnTo>
                      <a:lnTo>
                        <a:pt x="457" y="1580"/>
                      </a:lnTo>
                      <a:lnTo>
                        <a:pt x="456" y="1580"/>
                      </a:lnTo>
                      <a:lnTo>
                        <a:pt x="455" y="1580"/>
                      </a:lnTo>
                      <a:lnTo>
                        <a:pt x="455" y="1580"/>
                      </a:lnTo>
                      <a:lnTo>
                        <a:pt x="455" y="1579"/>
                      </a:lnTo>
                      <a:lnTo>
                        <a:pt x="454" y="1579"/>
                      </a:lnTo>
                      <a:lnTo>
                        <a:pt x="453" y="1579"/>
                      </a:lnTo>
                      <a:lnTo>
                        <a:pt x="449" y="1575"/>
                      </a:lnTo>
                      <a:lnTo>
                        <a:pt x="442" y="1573"/>
                      </a:lnTo>
                      <a:lnTo>
                        <a:pt x="439" y="1571"/>
                      </a:lnTo>
                      <a:lnTo>
                        <a:pt x="434" y="1568"/>
                      </a:lnTo>
                      <a:lnTo>
                        <a:pt x="433" y="1566"/>
                      </a:lnTo>
                      <a:lnTo>
                        <a:pt x="432" y="1564"/>
                      </a:lnTo>
                      <a:lnTo>
                        <a:pt x="432" y="1563"/>
                      </a:lnTo>
                      <a:lnTo>
                        <a:pt x="432" y="1563"/>
                      </a:lnTo>
                      <a:lnTo>
                        <a:pt x="432" y="1562"/>
                      </a:lnTo>
                      <a:lnTo>
                        <a:pt x="432" y="1561"/>
                      </a:lnTo>
                      <a:lnTo>
                        <a:pt x="432" y="1561"/>
                      </a:lnTo>
                      <a:lnTo>
                        <a:pt x="432" y="1560"/>
                      </a:lnTo>
                      <a:lnTo>
                        <a:pt x="431" y="1560"/>
                      </a:lnTo>
                      <a:lnTo>
                        <a:pt x="431" y="1561"/>
                      </a:lnTo>
                      <a:lnTo>
                        <a:pt x="430" y="1561"/>
                      </a:lnTo>
                      <a:lnTo>
                        <a:pt x="430" y="1561"/>
                      </a:lnTo>
                      <a:lnTo>
                        <a:pt x="429" y="1562"/>
                      </a:lnTo>
                      <a:lnTo>
                        <a:pt x="428" y="1562"/>
                      </a:lnTo>
                      <a:lnTo>
                        <a:pt x="428" y="1563"/>
                      </a:lnTo>
                      <a:lnTo>
                        <a:pt x="427" y="1563"/>
                      </a:lnTo>
                      <a:lnTo>
                        <a:pt x="427" y="1563"/>
                      </a:lnTo>
                      <a:lnTo>
                        <a:pt x="426" y="1563"/>
                      </a:lnTo>
                      <a:lnTo>
                        <a:pt x="426" y="1562"/>
                      </a:lnTo>
                      <a:lnTo>
                        <a:pt x="425" y="1562"/>
                      </a:lnTo>
                      <a:lnTo>
                        <a:pt x="425" y="1562"/>
                      </a:lnTo>
                      <a:lnTo>
                        <a:pt x="424" y="1562"/>
                      </a:lnTo>
                      <a:lnTo>
                        <a:pt x="423" y="1562"/>
                      </a:lnTo>
                      <a:lnTo>
                        <a:pt x="423" y="1563"/>
                      </a:lnTo>
                      <a:lnTo>
                        <a:pt x="423" y="1562"/>
                      </a:lnTo>
                      <a:lnTo>
                        <a:pt x="419" y="1561"/>
                      </a:lnTo>
                      <a:lnTo>
                        <a:pt x="419" y="1561"/>
                      </a:lnTo>
                      <a:lnTo>
                        <a:pt x="409" y="1557"/>
                      </a:lnTo>
                      <a:lnTo>
                        <a:pt x="404" y="1557"/>
                      </a:lnTo>
                      <a:lnTo>
                        <a:pt x="402" y="1556"/>
                      </a:lnTo>
                      <a:lnTo>
                        <a:pt x="399" y="1553"/>
                      </a:lnTo>
                      <a:lnTo>
                        <a:pt x="398" y="1552"/>
                      </a:lnTo>
                      <a:lnTo>
                        <a:pt x="396" y="1551"/>
                      </a:lnTo>
                      <a:lnTo>
                        <a:pt x="392" y="1549"/>
                      </a:lnTo>
                      <a:lnTo>
                        <a:pt x="391" y="1548"/>
                      </a:lnTo>
                      <a:lnTo>
                        <a:pt x="388" y="1547"/>
                      </a:lnTo>
                      <a:lnTo>
                        <a:pt x="386" y="1544"/>
                      </a:lnTo>
                      <a:lnTo>
                        <a:pt x="381" y="1543"/>
                      </a:lnTo>
                      <a:lnTo>
                        <a:pt x="378" y="1542"/>
                      </a:lnTo>
                      <a:lnTo>
                        <a:pt x="376" y="1542"/>
                      </a:lnTo>
                      <a:lnTo>
                        <a:pt x="375" y="1541"/>
                      </a:lnTo>
                      <a:lnTo>
                        <a:pt x="375" y="1542"/>
                      </a:lnTo>
                      <a:lnTo>
                        <a:pt x="375" y="1542"/>
                      </a:lnTo>
                      <a:lnTo>
                        <a:pt x="375" y="1543"/>
                      </a:lnTo>
                      <a:lnTo>
                        <a:pt x="374" y="1543"/>
                      </a:lnTo>
                      <a:lnTo>
                        <a:pt x="374" y="1544"/>
                      </a:lnTo>
                      <a:lnTo>
                        <a:pt x="374" y="1543"/>
                      </a:lnTo>
                      <a:lnTo>
                        <a:pt x="373" y="1543"/>
                      </a:lnTo>
                      <a:lnTo>
                        <a:pt x="373" y="1544"/>
                      </a:lnTo>
                      <a:lnTo>
                        <a:pt x="372" y="1544"/>
                      </a:lnTo>
                      <a:lnTo>
                        <a:pt x="372" y="1544"/>
                      </a:lnTo>
                      <a:lnTo>
                        <a:pt x="372" y="1544"/>
                      </a:lnTo>
                      <a:lnTo>
                        <a:pt x="372" y="1545"/>
                      </a:lnTo>
                      <a:lnTo>
                        <a:pt x="372" y="1546"/>
                      </a:lnTo>
                      <a:lnTo>
                        <a:pt x="371" y="1546"/>
                      </a:lnTo>
                      <a:lnTo>
                        <a:pt x="370" y="1545"/>
                      </a:lnTo>
                      <a:lnTo>
                        <a:pt x="370" y="1545"/>
                      </a:lnTo>
                      <a:lnTo>
                        <a:pt x="369" y="1544"/>
                      </a:lnTo>
                      <a:lnTo>
                        <a:pt x="368" y="1544"/>
                      </a:lnTo>
                      <a:lnTo>
                        <a:pt x="367" y="1542"/>
                      </a:lnTo>
                      <a:lnTo>
                        <a:pt x="366" y="1540"/>
                      </a:lnTo>
                      <a:lnTo>
                        <a:pt x="366" y="1540"/>
                      </a:lnTo>
                      <a:lnTo>
                        <a:pt x="365" y="1540"/>
                      </a:lnTo>
                      <a:lnTo>
                        <a:pt x="364" y="1540"/>
                      </a:lnTo>
                      <a:lnTo>
                        <a:pt x="363" y="1540"/>
                      </a:lnTo>
                      <a:lnTo>
                        <a:pt x="362" y="1540"/>
                      </a:lnTo>
                      <a:lnTo>
                        <a:pt x="361" y="1539"/>
                      </a:lnTo>
                      <a:lnTo>
                        <a:pt x="360" y="1538"/>
                      </a:lnTo>
                      <a:lnTo>
                        <a:pt x="360" y="1538"/>
                      </a:lnTo>
                      <a:lnTo>
                        <a:pt x="359" y="1537"/>
                      </a:lnTo>
                      <a:lnTo>
                        <a:pt x="358" y="1537"/>
                      </a:lnTo>
                      <a:lnTo>
                        <a:pt x="358" y="1537"/>
                      </a:lnTo>
                      <a:lnTo>
                        <a:pt x="357" y="1537"/>
                      </a:lnTo>
                      <a:lnTo>
                        <a:pt x="356" y="1538"/>
                      </a:lnTo>
                      <a:lnTo>
                        <a:pt x="356" y="1538"/>
                      </a:lnTo>
                      <a:lnTo>
                        <a:pt x="355" y="1538"/>
                      </a:lnTo>
                      <a:lnTo>
                        <a:pt x="354" y="1538"/>
                      </a:lnTo>
                      <a:lnTo>
                        <a:pt x="353" y="1538"/>
                      </a:lnTo>
                      <a:lnTo>
                        <a:pt x="353" y="1538"/>
                      </a:lnTo>
                      <a:lnTo>
                        <a:pt x="353" y="1537"/>
                      </a:lnTo>
                      <a:lnTo>
                        <a:pt x="353" y="1536"/>
                      </a:lnTo>
                      <a:lnTo>
                        <a:pt x="352" y="1535"/>
                      </a:lnTo>
                      <a:lnTo>
                        <a:pt x="351" y="1534"/>
                      </a:lnTo>
                      <a:lnTo>
                        <a:pt x="350" y="1533"/>
                      </a:lnTo>
                      <a:lnTo>
                        <a:pt x="349" y="1532"/>
                      </a:lnTo>
                      <a:lnTo>
                        <a:pt x="349" y="1532"/>
                      </a:lnTo>
                      <a:lnTo>
                        <a:pt x="349" y="1532"/>
                      </a:lnTo>
                      <a:lnTo>
                        <a:pt x="349" y="1531"/>
                      </a:lnTo>
                      <a:lnTo>
                        <a:pt x="348" y="1531"/>
                      </a:lnTo>
                      <a:lnTo>
                        <a:pt x="347" y="1530"/>
                      </a:lnTo>
                      <a:lnTo>
                        <a:pt x="347" y="1529"/>
                      </a:lnTo>
                      <a:lnTo>
                        <a:pt x="347" y="1528"/>
                      </a:lnTo>
                      <a:lnTo>
                        <a:pt x="346" y="1528"/>
                      </a:lnTo>
                      <a:lnTo>
                        <a:pt x="346" y="1528"/>
                      </a:lnTo>
                      <a:lnTo>
                        <a:pt x="345" y="1528"/>
                      </a:lnTo>
                      <a:lnTo>
                        <a:pt x="345" y="1528"/>
                      </a:lnTo>
                      <a:lnTo>
                        <a:pt x="344" y="1527"/>
                      </a:lnTo>
                      <a:lnTo>
                        <a:pt x="344" y="1526"/>
                      </a:lnTo>
                      <a:lnTo>
                        <a:pt x="343" y="1526"/>
                      </a:lnTo>
                      <a:lnTo>
                        <a:pt x="343" y="1526"/>
                      </a:lnTo>
                      <a:lnTo>
                        <a:pt x="343" y="1526"/>
                      </a:lnTo>
                      <a:lnTo>
                        <a:pt x="343" y="1526"/>
                      </a:lnTo>
                      <a:lnTo>
                        <a:pt x="343" y="1527"/>
                      </a:lnTo>
                      <a:lnTo>
                        <a:pt x="342" y="1527"/>
                      </a:lnTo>
                      <a:lnTo>
                        <a:pt x="341" y="1527"/>
                      </a:lnTo>
                      <a:lnTo>
                        <a:pt x="341" y="1527"/>
                      </a:lnTo>
                      <a:lnTo>
                        <a:pt x="340" y="1527"/>
                      </a:lnTo>
                      <a:lnTo>
                        <a:pt x="340" y="1528"/>
                      </a:lnTo>
                      <a:lnTo>
                        <a:pt x="339" y="1528"/>
                      </a:lnTo>
                      <a:lnTo>
                        <a:pt x="339" y="1528"/>
                      </a:lnTo>
                      <a:lnTo>
                        <a:pt x="339" y="1528"/>
                      </a:lnTo>
                      <a:lnTo>
                        <a:pt x="339" y="1529"/>
                      </a:lnTo>
                      <a:lnTo>
                        <a:pt x="338" y="1529"/>
                      </a:lnTo>
                      <a:lnTo>
                        <a:pt x="338" y="1530"/>
                      </a:lnTo>
                      <a:lnTo>
                        <a:pt x="334" y="1527"/>
                      </a:lnTo>
                      <a:lnTo>
                        <a:pt x="334" y="1526"/>
                      </a:lnTo>
                      <a:lnTo>
                        <a:pt x="332" y="1526"/>
                      </a:lnTo>
                      <a:lnTo>
                        <a:pt x="331" y="1526"/>
                      </a:lnTo>
                      <a:lnTo>
                        <a:pt x="330" y="1526"/>
                      </a:lnTo>
                      <a:lnTo>
                        <a:pt x="328" y="1526"/>
                      </a:lnTo>
                      <a:lnTo>
                        <a:pt x="327" y="1526"/>
                      </a:lnTo>
                      <a:lnTo>
                        <a:pt x="326" y="1526"/>
                      </a:lnTo>
                      <a:lnTo>
                        <a:pt x="326" y="1527"/>
                      </a:lnTo>
                      <a:lnTo>
                        <a:pt x="325" y="1528"/>
                      </a:lnTo>
                      <a:lnTo>
                        <a:pt x="324" y="1528"/>
                      </a:lnTo>
                      <a:lnTo>
                        <a:pt x="324" y="1528"/>
                      </a:lnTo>
                      <a:lnTo>
                        <a:pt x="324" y="1529"/>
                      </a:lnTo>
                      <a:lnTo>
                        <a:pt x="324" y="1530"/>
                      </a:lnTo>
                      <a:lnTo>
                        <a:pt x="324" y="1530"/>
                      </a:lnTo>
                      <a:lnTo>
                        <a:pt x="324" y="1531"/>
                      </a:lnTo>
                      <a:lnTo>
                        <a:pt x="324" y="1532"/>
                      </a:lnTo>
                      <a:lnTo>
                        <a:pt x="324" y="1532"/>
                      </a:lnTo>
                      <a:lnTo>
                        <a:pt x="324" y="1533"/>
                      </a:lnTo>
                      <a:lnTo>
                        <a:pt x="323" y="1533"/>
                      </a:lnTo>
                      <a:lnTo>
                        <a:pt x="322" y="1533"/>
                      </a:lnTo>
                      <a:lnTo>
                        <a:pt x="322" y="1533"/>
                      </a:lnTo>
                      <a:lnTo>
                        <a:pt x="321" y="1533"/>
                      </a:lnTo>
                      <a:lnTo>
                        <a:pt x="320" y="1534"/>
                      </a:lnTo>
                      <a:lnTo>
                        <a:pt x="320" y="1534"/>
                      </a:lnTo>
                      <a:lnTo>
                        <a:pt x="320" y="1534"/>
                      </a:lnTo>
                      <a:lnTo>
                        <a:pt x="319" y="1534"/>
                      </a:lnTo>
                      <a:lnTo>
                        <a:pt x="318" y="1534"/>
                      </a:lnTo>
                      <a:lnTo>
                        <a:pt x="318" y="1534"/>
                      </a:lnTo>
                      <a:lnTo>
                        <a:pt x="318" y="1535"/>
                      </a:lnTo>
                      <a:lnTo>
                        <a:pt x="317" y="1535"/>
                      </a:lnTo>
                      <a:lnTo>
                        <a:pt x="317" y="1536"/>
                      </a:lnTo>
                      <a:lnTo>
                        <a:pt x="317" y="1536"/>
                      </a:lnTo>
                      <a:lnTo>
                        <a:pt x="317" y="1537"/>
                      </a:lnTo>
                      <a:lnTo>
                        <a:pt x="317" y="1538"/>
                      </a:lnTo>
                      <a:lnTo>
                        <a:pt x="316" y="1538"/>
                      </a:lnTo>
                      <a:lnTo>
                        <a:pt x="316" y="1538"/>
                      </a:lnTo>
                      <a:lnTo>
                        <a:pt x="316" y="1539"/>
                      </a:lnTo>
                      <a:lnTo>
                        <a:pt x="315" y="1539"/>
                      </a:lnTo>
                      <a:lnTo>
                        <a:pt x="315" y="1540"/>
                      </a:lnTo>
                      <a:lnTo>
                        <a:pt x="315" y="1540"/>
                      </a:lnTo>
                      <a:lnTo>
                        <a:pt x="314" y="1541"/>
                      </a:lnTo>
                      <a:lnTo>
                        <a:pt x="312" y="1544"/>
                      </a:lnTo>
                      <a:lnTo>
                        <a:pt x="312" y="1545"/>
                      </a:lnTo>
                      <a:lnTo>
                        <a:pt x="312" y="1546"/>
                      </a:lnTo>
                      <a:lnTo>
                        <a:pt x="312" y="1547"/>
                      </a:lnTo>
                      <a:lnTo>
                        <a:pt x="311" y="1547"/>
                      </a:lnTo>
                      <a:lnTo>
                        <a:pt x="311" y="1547"/>
                      </a:lnTo>
                      <a:lnTo>
                        <a:pt x="310" y="1546"/>
                      </a:lnTo>
                      <a:lnTo>
                        <a:pt x="309" y="1546"/>
                      </a:lnTo>
                      <a:lnTo>
                        <a:pt x="309" y="1545"/>
                      </a:lnTo>
                      <a:lnTo>
                        <a:pt x="308" y="1545"/>
                      </a:lnTo>
                      <a:lnTo>
                        <a:pt x="307" y="1545"/>
                      </a:lnTo>
                      <a:lnTo>
                        <a:pt x="307" y="1546"/>
                      </a:lnTo>
                      <a:lnTo>
                        <a:pt x="307" y="1547"/>
                      </a:lnTo>
                      <a:lnTo>
                        <a:pt x="306" y="1547"/>
                      </a:lnTo>
                      <a:lnTo>
                        <a:pt x="305" y="1547"/>
                      </a:lnTo>
                      <a:lnTo>
                        <a:pt x="305" y="1547"/>
                      </a:lnTo>
                      <a:lnTo>
                        <a:pt x="305" y="1547"/>
                      </a:lnTo>
                      <a:lnTo>
                        <a:pt x="305" y="1548"/>
                      </a:lnTo>
                      <a:lnTo>
                        <a:pt x="305" y="1549"/>
                      </a:lnTo>
                      <a:lnTo>
                        <a:pt x="304" y="1550"/>
                      </a:lnTo>
                      <a:lnTo>
                        <a:pt x="303" y="1551"/>
                      </a:lnTo>
                      <a:lnTo>
                        <a:pt x="303" y="1552"/>
                      </a:lnTo>
                      <a:lnTo>
                        <a:pt x="302" y="1552"/>
                      </a:lnTo>
                      <a:lnTo>
                        <a:pt x="301" y="1551"/>
                      </a:lnTo>
                      <a:lnTo>
                        <a:pt x="301" y="1551"/>
                      </a:lnTo>
                      <a:lnTo>
                        <a:pt x="301" y="1551"/>
                      </a:lnTo>
                      <a:lnTo>
                        <a:pt x="299" y="1552"/>
                      </a:lnTo>
                      <a:lnTo>
                        <a:pt x="298" y="1552"/>
                      </a:lnTo>
                      <a:lnTo>
                        <a:pt x="297" y="1553"/>
                      </a:lnTo>
                      <a:lnTo>
                        <a:pt x="296" y="1553"/>
                      </a:lnTo>
                      <a:lnTo>
                        <a:pt x="296" y="1553"/>
                      </a:lnTo>
                      <a:lnTo>
                        <a:pt x="296" y="1554"/>
                      </a:lnTo>
                      <a:lnTo>
                        <a:pt x="296" y="1555"/>
                      </a:lnTo>
                      <a:lnTo>
                        <a:pt x="296" y="1555"/>
                      </a:lnTo>
                      <a:lnTo>
                        <a:pt x="296" y="1555"/>
                      </a:lnTo>
                      <a:lnTo>
                        <a:pt x="295" y="1556"/>
                      </a:lnTo>
                      <a:lnTo>
                        <a:pt x="295" y="1557"/>
                      </a:lnTo>
                      <a:lnTo>
                        <a:pt x="294" y="1557"/>
                      </a:lnTo>
                      <a:lnTo>
                        <a:pt x="294" y="1557"/>
                      </a:lnTo>
                      <a:lnTo>
                        <a:pt x="294" y="1557"/>
                      </a:lnTo>
                      <a:lnTo>
                        <a:pt x="293" y="1557"/>
                      </a:lnTo>
                      <a:lnTo>
                        <a:pt x="292" y="1557"/>
                      </a:lnTo>
                      <a:lnTo>
                        <a:pt x="292" y="1557"/>
                      </a:lnTo>
                      <a:lnTo>
                        <a:pt x="291" y="1556"/>
                      </a:lnTo>
                      <a:lnTo>
                        <a:pt x="290" y="1556"/>
                      </a:lnTo>
                      <a:lnTo>
                        <a:pt x="290" y="1556"/>
                      </a:lnTo>
                      <a:lnTo>
                        <a:pt x="289" y="1556"/>
                      </a:lnTo>
                      <a:lnTo>
                        <a:pt x="288" y="1556"/>
                      </a:lnTo>
                      <a:lnTo>
                        <a:pt x="288" y="1556"/>
                      </a:lnTo>
                      <a:lnTo>
                        <a:pt x="287" y="1557"/>
                      </a:lnTo>
                      <a:lnTo>
                        <a:pt x="287" y="1558"/>
                      </a:lnTo>
                      <a:lnTo>
                        <a:pt x="286" y="1559"/>
                      </a:lnTo>
                      <a:lnTo>
                        <a:pt x="286" y="1559"/>
                      </a:lnTo>
                      <a:lnTo>
                        <a:pt x="286" y="1560"/>
                      </a:lnTo>
                      <a:lnTo>
                        <a:pt x="286" y="1561"/>
                      </a:lnTo>
                      <a:lnTo>
                        <a:pt x="286" y="1562"/>
                      </a:lnTo>
                      <a:lnTo>
                        <a:pt x="286" y="1564"/>
                      </a:lnTo>
                      <a:lnTo>
                        <a:pt x="286" y="1566"/>
                      </a:lnTo>
                      <a:lnTo>
                        <a:pt x="285" y="1572"/>
                      </a:lnTo>
                      <a:lnTo>
                        <a:pt x="285" y="1574"/>
                      </a:lnTo>
                      <a:lnTo>
                        <a:pt x="286" y="1576"/>
                      </a:lnTo>
                      <a:lnTo>
                        <a:pt x="286" y="1578"/>
                      </a:lnTo>
                      <a:lnTo>
                        <a:pt x="286" y="1579"/>
                      </a:lnTo>
                      <a:lnTo>
                        <a:pt x="285" y="1580"/>
                      </a:lnTo>
                      <a:lnTo>
                        <a:pt x="285" y="1581"/>
                      </a:lnTo>
                      <a:lnTo>
                        <a:pt x="286" y="1581"/>
                      </a:lnTo>
                      <a:lnTo>
                        <a:pt x="286" y="1582"/>
                      </a:lnTo>
                      <a:lnTo>
                        <a:pt x="287" y="1582"/>
                      </a:lnTo>
                      <a:lnTo>
                        <a:pt x="288" y="1584"/>
                      </a:lnTo>
                      <a:lnTo>
                        <a:pt x="288" y="1584"/>
                      </a:lnTo>
                      <a:lnTo>
                        <a:pt x="287" y="1585"/>
                      </a:lnTo>
                      <a:lnTo>
                        <a:pt x="286" y="1585"/>
                      </a:lnTo>
                      <a:lnTo>
                        <a:pt x="286" y="1585"/>
                      </a:lnTo>
                      <a:lnTo>
                        <a:pt x="285" y="1586"/>
                      </a:lnTo>
                      <a:lnTo>
                        <a:pt x="284" y="1586"/>
                      </a:lnTo>
                      <a:lnTo>
                        <a:pt x="284" y="1587"/>
                      </a:lnTo>
                      <a:lnTo>
                        <a:pt x="283" y="1587"/>
                      </a:lnTo>
                      <a:lnTo>
                        <a:pt x="283" y="1587"/>
                      </a:lnTo>
                      <a:lnTo>
                        <a:pt x="282" y="1587"/>
                      </a:lnTo>
                      <a:lnTo>
                        <a:pt x="282" y="1587"/>
                      </a:lnTo>
                      <a:lnTo>
                        <a:pt x="281" y="1587"/>
                      </a:lnTo>
                      <a:lnTo>
                        <a:pt x="280" y="1587"/>
                      </a:lnTo>
                      <a:lnTo>
                        <a:pt x="280" y="1587"/>
                      </a:lnTo>
                      <a:lnTo>
                        <a:pt x="280" y="1587"/>
                      </a:lnTo>
                      <a:lnTo>
                        <a:pt x="279" y="1587"/>
                      </a:lnTo>
                      <a:lnTo>
                        <a:pt x="278" y="1587"/>
                      </a:lnTo>
                      <a:lnTo>
                        <a:pt x="277" y="1587"/>
                      </a:lnTo>
                      <a:lnTo>
                        <a:pt x="277" y="1587"/>
                      </a:lnTo>
                      <a:lnTo>
                        <a:pt x="276" y="1587"/>
                      </a:lnTo>
                      <a:lnTo>
                        <a:pt x="275" y="1587"/>
                      </a:lnTo>
                      <a:lnTo>
                        <a:pt x="275" y="1588"/>
                      </a:lnTo>
                      <a:lnTo>
                        <a:pt x="275" y="1588"/>
                      </a:lnTo>
                      <a:lnTo>
                        <a:pt x="274" y="1588"/>
                      </a:lnTo>
                      <a:lnTo>
                        <a:pt x="274" y="1589"/>
                      </a:lnTo>
                      <a:lnTo>
                        <a:pt x="273" y="1589"/>
                      </a:lnTo>
                      <a:lnTo>
                        <a:pt x="273" y="1589"/>
                      </a:lnTo>
                      <a:lnTo>
                        <a:pt x="273" y="1590"/>
                      </a:lnTo>
                      <a:lnTo>
                        <a:pt x="272" y="1590"/>
                      </a:lnTo>
                      <a:lnTo>
                        <a:pt x="271" y="1591"/>
                      </a:lnTo>
                      <a:lnTo>
                        <a:pt x="271" y="1591"/>
                      </a:lnTo>
                      <a:lnTo>
                        <a:pt x="270" y="1591"/>
                      </a:lnTo>
                      <a:lnTo>
                        <a:pt x="270" y="1592"/>
                      </a:lnTo>
                      <a:lnTo>
                        <a:pt x="269" y="1592"/>
                      </a:lnTo>
                      <a:lnTo>
                        <a:pt x="269" y="1593"/>
                      </a:lnTo>
                      <a:lnTo>
                        <a:pt x="269" y="1593"/>
                      </a:lnTo>
                      <a:lnTo>
                        <a:pt x="269" y="1592"/>
                      </a:lnTo>
                      <a:lnTo>
                        <a:pt x="268" y="1592"/>
                      </a:lnTo>
                      <a:lnTo>
                        <a:pt x="268" y="1593"/>
                      </a:lnTo>
                      <a:lnTo>
                        <a:pt x="267" y="1593"/>
                      </a:lnTo>
                      <a:lnTo>
                        <a:pt x="267" y="1593"/>
                      </a:lnTo>
                      <a:lnTo>
                        <a:pt x="267" y="1593"/>
                      </a:lnTo>
                      <a:lnTo>
                        <a:pt x="267" y="1594"/>
                      </a:lnTo>
                      <a:lnTo>
                        <a:pt x="266" y="1594"/>
                      </a:lnTo>
                      <a:lnTo>
                        <a:pt x="266" y="1595"/>
                      </a:lnTo>
                      <a:lnTo>
                        <a:pt x="266" y="1595"/>
                      </a:lnTo>
                      <a:lnTo>
                        <a:pt x="266" y="1596"/>
                      </a:lnTo>
                      <a:lnTo>
                        <a:pt x="265" y="1596"/>
                      </a:lnTo>
                      <a:lnTo>
                        <a:pt x="265" y="1596"/>
                      </a:lnTo>
                      <a:lnTo>
                        <a:pt x="263" y="1597"/>
                      </a:lnTo>
                      <a:lnTo>
                        <a:pt x="263" y="1597"/>
                      </a:lnTo>
                      <a:lnTo>
                        <a:pt x="263" y="1598"/>
                      </a:lnTo>
                      <a:lnTo>
                        <a:pt x="262" y="1599"/>
                      </a:lnTo>
                      <a:lnTo>
                        <a:pt x="262" y="1599"/>
                      </a:lnTo>
                      <a:lnTo>
                        <a:pt x="261" y="1599"/>
                      </a:lnTo>
                      <a:lnTo>
                        <a:pt x="261" y="1600"/>
                      </a:lnTo>
                      <a:lnTo>
                        <a:pt x="261" y="1599"/>
                      </a:lnTo>
                      <a:lnTo>
                        <a:pt x="261" y="1600"/>
                      </a:lnTo>
                      <a:lnTo>
                        <a:pt x="260" y="1600"/>
                      </a:lnTo>
                      <a:lnTo>
                        <a:pt x="260" y="1601"/>
                      </a:lnTo>
                      <a:lnTo>
                        <a:pt x="259" y="1601"/>
                      </a:lnTo>
                      <a:lnTo>
                        <a:pt x="258" y="1601"/>
                      </a:lnTo>
                      <a:lnTo>
                        <a:pt x="258" y="1601"/>
                      </a:lnTo>
                      <a:lnTo>
                        <a:pt x="257" y="1601"/>
                      </a:lnTo>
                      <a:lnTo>
                        <a:pt x="256" y="1601"/>
                      </a:lnTo>
                      <a:lnTo>
                        <a:pt x="256" y="1601"/>
                      </a:lnTo>
                      <a:lnTo>
                        <a:pt x="256" y="1602"/>
                      </a:lnTo>
                      <a:lnTo>
                        <a:pt x="255" y="1603"/>
                      </a:lnTo>
                      <a:lnTo>
                        <a:pt x="255" y="1603"/>
                      </a:lnTo>
                      <a:lnTo>
                        <a:pt x="254" y="1603"/>
                      </a:lnTo>
                      <a:lnTo>
                        <a:pt x="254" y="1604"/>
                      </a:lnTo>
                      <a:lnTo>
                        <a:pt x="254" y="1604"/>
                      </a:lnTo>
                      <a:lnTo>
                        <a:pt x="253" y="1604"/>
                      </a:lnTo>
                      <a:lnTo>
                        <a:pt x="252" y="1604"/>
                      </a:lnTo>
                      <a:lnTo>
                        <a:pt x="252" y="1604"/>
                      </a:lnTo>
                      <a:lnTo>
                        <a:pt x="251" y="1604"/>
                      </a:lnTo>
                      <a:lnTo>
                        <a:pt x="250" y="1604"/>
                      </a:lnTo>
                      <a:lnTo>
                        <a:pt x="250" y="1604"/>
                      </a:lnTo>
                      <a:lnTo>
                        <a:pt x="249" y="1604"/>
                      </a:lnTo>
                      <a:lnTo>
                        <a:pt x="248" y="1605"/>
                      </a:lnTo>
                      <a:lnTo>
                        <a:pt x="248" y="1606"/>
                      </a:lnTo>
                      <a:lnTo>
                        <a:pt x="248" y="1606"/>
                      </a:lnTo>
                      <a:lnTo>
                        <a:pt x="248" y="1606"/>
                      </a:lnTo>
                      <a:lnTo>
                        <a:pt x="248" y="1607"/>
                      </a:lnTo>
                      <a:lnTo>
                        <a:pt x="247" y="1607"/>
                      </a:lnTo>
                      <a:lnTo>
                        <a:pt x="246" y="1607"/>
                      </a:lnTo>
                      <a:lnTo>
                        <a:pt x="246" y="1607"/>
                      </a:lnTo>
                      <a:lnTo>
                        <a:pt x="245" y="1607"/>
                      </a:lnTo>
                      <a:lnTo>
                        <a:pt x="244" y="1607"/>
                      </a:lnTo>
                      <a:lnTo>
                        <a:pt x="244" y="1607"/>
                      </a:lnTo>
                      <a:lnTo>
                        <a:pt x="243" y="1607"/>
                      </a:lnTo>
                      <a:lnTo>
                        <a:pt x="242" y="1607"/>
                      </a:lnTo>
                      <a:lnTo>
                        <a:pt x="242" y="1607"/>
                      </a:lnTo>
                      <a:lnTo>
                        <a:pt x="242" y="1608"/>
                      </a:lnTo>
                      <a:lnTo>
                        <a:pt x="241" y="1608"/>
                      </a:lnTo>
                      <a:lnTo>
                        <a:pt x="240" y="1607"/>
                      </a:lnTo>
                      <a:lnTo>
                        <a:pt x="239" y="1607"/>
                      </a:lnTo>
                      <a:lnTo>
                        <a:pt x="239" y="1606"/>
                      </a:lnTo>
                      <a:lnTo>
                        <a:pt x="239" y="1606"/>
                      </a:lnTo>
                      <a:lnTo>
                        <a:pt x="238" y="1606"/>
                      </a:lnTo>
                      <a:lnTo>
                        <a:pt x="237" y="1606"/>
                      </a:lnTo>
                      <a:lnTo>
                        <a:pt x="236" y="1607"/>
                      </a:lnTo>
                      <a:lnTo>
                        <a:pt x="236" y="1608"/>
                      </a:lnTo>
                      <a:lnTo>
                        <a:pt x="235" y="1608"/>
                      </a:lnTo>
                      <a:lnTo>
                        <a:pt x="235" y="1608"/>
                      </a:lnTo>
                      <a:lnTo>
                        <a:pt x="235" y="1609"/>
                      </a:lnTo>
                      <a:lnTo>
                        <a:pt x="234" y="1609"/>
                      </a:lnTo>
                      <a:lnTo>
                        <a:pt x="233" y="1610"/>
                      </a:lnTo>
                      <a:lnTo>
                        <a:pt x="233" y="1610"/>
                      </a:lnTo>
                      <a:lnTo>
                        <a:pt x="233" y="1610"/>
                      </a:lnTo>
                      <a:lnTo>
                        <a:pt x="232" y="1610"/>
                      </a:lnTo>
                      <a:lnTo>
                        <a:pt x="232" y="1611"/>
                      </a:lnTo>
                      <a:lnTo>
                        <a:pt x="231" y="1611"/>
                      </a:lnTo>
                      <a:lnTo>
                        <a:pt x="231" y="1612"/>
                      </a:lnTo>
                      <a:lnTo>
                        <a:pt x="231" y="1612"/>
                      </a:lnTo>
                      <a:lnTo>
                        <a:pt x="232" y="1612"/>
                      </a:lnTo>
                      <a:lnTo>
                        <a:pt x="232" y="1613"/>
                      </a:lnTo>
                      <a:lnTo>
                        <a:pt x="231" y="1613"/>
                      </a:lnTo>
                      <a:lnTo>
                        <a:pt x="231" y="1614"/>
                      </a:lnTo>
                      <a:lnTo>
                        <a:pt x="231" y="1614"/>
                      </a:lnTo>
                      <a:lnTo>
                        <a:pt x="231" y="1614"/>
                      </a:lnTo>
                      <a:lnTo>
                        <a:pt x="231" y="1615"/>
                      </a:lnTo>
                      <a:lnTo>
                        <a:pt x="230" y="1615"/>
                      </a:lnTo>
                      <a:lnTo>
                        <a:pt x="229" y="1615"/>
                      </a:lnTo>
                      <a:lnTo>
                        <a:pt x="229" y="1616"/>
                      </a:lnTo>
                      <a:lnTo>
                        <a:pt x="229" y="1616"/>
                      </a:lnTo>
                      <a:lnTo>
                        <a:pt x="228" y="1616"/>
                      </a:lnTo>
                      <a:lnTo>
                        <a:pt x="227" y="1616"/>
                      </a:lnTo>
                      <a:lnTo>
                        <a:pt x="227" y="1617"/>
                      </a:lnTo>
                      <a:lnTo>
                        <a:pt x="227" y="1618"/>
                      </a:lnTo>
                      <a:lnTo>
                        <a:pt x="226" y="1618"/>
                      </a:lnTo>
                      <a:lnTo>
                        <a:pt x="225" y="1618"/>
                      </a:lnTo>
                      <a:lnTo>
                        <a:pt x="225" y="1618"/>
                      </a:lnTo>
                      <a:lnTo>
                        <a:pt x="223" y="1618"/>
                      </a:lnTo>
                      <a:lnTo>
                        <a:pt x="223" y="1618"/>
                      </a:lnTo>
                      <a:lnTo>
                        <a:pt x="222" y="1618"/>
                      </a:lnTo>
                      <a:lnTo>
                        <a:pt x="221" y="1618"/>
                      </a:lnTo>
                      <a:lnTo>
                        <a:pt x="220" y="1618"/>
                      </a:lnTo>
                      <a:lnTo>
                        <a:pt x="220" y="1618"/>
                      </a:lnTo>
                      <a:lnTo>
                        <a:pt x="218" y="1619"/>
                      </a:lnTo>
                      <a:lnTo>
                        <a:pt x="218" y="1619"/>
                      </a:lnTo>
                      <a:lnTo>
                        <a:pt x="217" y="1619"/>
                      </a:lnTo>
                      <a:lnTo>
                        <a:pt x="216" y="1619"/>
                      </a:lnTo>
                      <a:lnTo>
                        <a:pt x="216" y="1619"/>
                      </a:lnTo>
                      <a:lnTo>
                        <a:pt x="216" y="1620"/>
                      </a:lnTo>
                      <a:lnTo>
                        <a:pt x="215" y="1620"/>
                      </a:lnTo>
                      <a:lnTo>
                        <a:pt x="214" y="1620"/>
                      </a:lnTo>
                      <a:lnTo>
                        <a:pt x="214" y="1620"/>
                      </a:lnTo>
                      <a:lnTo>
                        <a:pt x="214" y="1620"/>
                      </a:lnTo>
                      <a:lnTo>
                        <a:pt x="213" y="1620"/>
                      </a:lnTo>
                      <a:lnTo>
                        <a:pt x="212" y="1621"/>
                      </a:lnTo>
                      <a:lnTo>
                        <a:pt x="212" y="1622"/>
                      </a:lnTo>
                      <a:lnTo>
                        <a:pt x="212" y="1622"/>
                      </a:lnTo>
                      <a:lnTo>
                        <a:pt x="212" y="1622"/>
                      </a:lnTo>
                      <a:lnTo>
                        <a:pt x="211" y="1622"/>
                      </a:lnTo>
                      <a:lnTo>
                        <a:pt x="210" y="1622"/>
                      </a:lnTo>
                      <a:lnTo>
                        <a:pt x="210" y="1622"/>
                      </a:lnTo>
                      <a:lnTo>
                        <a:pt x="209" y="1621"/>
                      </a:lnTo>
                      <a:lnTo>
                        <a:pt x="208" y="1621"/>
                      </a:lnTo>
                      <a:lnTo>
                        <a:pt x="204" y="1623"/>
                      </a:lnTo>
                      <a:lnTo>
                        <a:pt x="193" y="1625"/>
                      </a:lnTo>
                      <a:lnTo>
                        <a:pt x="188" y="1629"/>
                      </a:lnTo>
                      <a:lnTo>
                        <a:pt x="180" y="1634"/>
                      </a:lnTo>
                      <a:lnTo>
                        <a:pt x="174" y="1637"/>
                      </a:lnTo>
                      <a:lnTo>
                        <a:pt x="173" y="1637"/>
                      </a:lnTo>
                      <a:lnTo>
                        <a:pt x="170" y="1638"/>
                      </a:lnTo>
                      <a:lnTo>
                        <a:pt x="168" y="1641"/>
                      </a:lnTo>
                      <a:lnTo>
                        <a:pt x="165" y="1641"/>
                      </a:lnTo>
                      <a:lnTo>
                        <a:pt x="162" y="1643"/>
                      </a:lnTo>
                      <a:lnTo>
                        <a:pt x="159" y="1647"/>
                      </a:lnTo>
                      <a:lnTo>
                        <a:pt x="157" y="1648"/>
                      </a:lnTo>
                      <a:lnTo>
                        <a:pt x="153" y="1650"/>
                      </a:lnTo>
                      <a:lnTo>
                        <a:pt x="151" y="1652"/>
                      </a:lnTo>
                      <a:lnTo>
                        <a:pt x="149" y="1651"/>
                      </a:lnTo>
                      <a:lnTo>
                        <a:pt x="143" y="1650"/>
                      </a:lnTo>
                      <a:lnTo>
                        <a:pt x="139" y="1648"/>
                      </a:lnTo>
                      <a:lnTo>
                        <a:pt x="117" y="1637"/>
                      </a:lnTo>
                      <a:lnTo>
                        <a:pt x="114" y="1635"/>
                      </a:lnTo>
                      <a:lnTo>
                        <a:pt x="113" y="1635"/>
                      </a:lnTo>
                      <a:lnTo>
                        <a:pt x="112" y="1637"/>
                      </a:lnTo>
                      <a:lnTo>
                        <a:pt x="110" y="1637"/>
                      </a:lnTo>
                      <a:lnTo>
                        <a:pt x="108" y="1636"/>
                      </a:lnTo>
                      <a:lnTo>
                        <a:pt x="106" y="1635"/>
                      </a:lnTo>
                      <a:lnTo>
                        <a:pt x="106" y="1631"/>
                      </a:lnTo>
                      <a:lnTo>
                        <a:pt x="106" y="1629"/>
                      </a:lnTo>
                      <a:lnTo>
                        <a:pt x="105" y="1629"/>
                      </a:lnTo>
                      <a:lnTo>
                        <a:pt x="100" y="1633"/>
                      </a:lnTo>
                      <a:lnTo>
                        <a:pt x="100" y="1633"/>
                      </a:lnTo>
                      <a:lnTo>
                        <a:pt x="99" y="1633"/>
                      </a:lnTo>
                      <a:lnTo>
                        <a:pt x="99" y="1633"/>
                      </a:lnTo>
                      <a:lnTo>
                        <a:pt x="98" y="1633"/>
                      </a:lnTo>
                      <a:lnTo>
                        <a:pt x="98" y="1632"/>
                      </a:lnTo>
                      <a:lnTo>
                        <a:pt x="98" y="1631"/>
                      </a:lnTo>
                      <a:lnTo>
                        <a:pt x="98" y="1631"/>
                      </a:lnTo>
                      <a:lnTo>
                        <a:pt x="98" y="1631"/>
                      </a:lnTo>
                      <a:lnTo>
                        <a:pt x="97" y="1631"/>
                      </a:lnTo>
                      <a:lnTo>
                        <a:pt x="97" y="1630"/>
                      </a:lnTo>
                      <a:lnTo>
                        <a:pt x="97" y="1629"/>
                      </a:lnTo>
                      <a:lnTo>
                        <a:pt x="96" y="1629"/>
                      </a:lnTo>
                      <a:lnTo>
                        <a:pt x="96" y="1629"/>
                      </a:lnTo>
                      <a:lnTo>
                        <a:pt x="96" y="1629"/>
                      </a:lnTo>
                      <a:lnTo>
                        <a:pt x="96" y="1628"/>
                      </a:lnTo>
                      <a:lnTo>
                        <a:pt x="96" y="1627"/>
                      </a:lnTo>
                      <a:lnTo>
                        <a:pt x="95" y="1627"/>
                      </a:lnTo>
                      <a:lnTo>
                        <a:pt x="95" y="1627"/>
                      </a:lnTo>
                      <a:lnTo>
                        <a:pt x="95" y="1626"/>
                      </a:lnTo>
                      <a:lnTo>
                        <a:pt x="94" y="1626"/>
                      </a:lnTo>
                      <a:lnTo>
                        <a:pt x="94" y="1625"/>
                      </a:lnTo>
                      <a:lnTo>
                        <a:pt x="94" y="1625"/>
                      </a:lnTo>
                      <a:lnTo>
                        <a:pt x="94" y="1625"/>
                      </a:lnTo>
                      <a:lnTo>
                        <a:pt x="94" y="1624"/>
                      </a:lnTo>
                      <a:lnTo>
                        <a:pt x="94" y="1624"/>
                      </a:lnTo>
                      <a:lnTo>
                        <a:pt x="94" y="1623"/>
                      </a:lnTo>
                      <a:lnTo>
                        <a:pt x="94" y="1622"/>
                      </a:lnTo>
                      <a:lnTo>
                        <a:pt x="93" y="1622"/>
                      </a:lnTo>
                      <a:lnTo>
                        <a:pt x="93" y="1622"/>
                      </a:lnTo>
                      <a:lnTo>
                        <a:pt x="92" y="1622"/>
                      </a:lnTo>
                      <a:lnTo>
                        <a:pt x="92" y="1621"/>
                      </a:lnTo>
                      <a:lnTo>
                        <a:pt x="92" y="1621"/>
                      </a:lnTo>
                      <a:lnTo>
                        <a:pt x="92" y="1620"/>
                      </a:lnTo>
                      <a:lnTo>
                        <a:pt x="92" y="1620"/>
                      </a:lnTo>
                      <a:lnTo>
                        <a:pt x="91" y="1620"/>
                      </a:lnTo>
                      <a:lnTo>
                        <a:pt x="91" y="1619"/>
                      </a:lnTo>
                      <a:lnTo>
                        <a:pt x="91" y="1618"/>
                      </a:lnTo>
                      <a:lnTo>
                        <a:pt x="91" y="1618"/>
                      </a:lnTo>
                      <a:lnTo>
                        <a:pt x="90" y="1618"/>
                      </a:lnTo>
                      <a:lnTo>
                        <a:pt x="90" y="1617"/>
                      </a:lnTo>
                      <a:lnTo>
                        <a:pt x="91" y="1617"/>
                      </a:lnTo>
                      <a:lnTo>
                        <a:pt x="91" y="1616"/>
                      </a:lnTo>
                      <a:lnTo>
                        <a:pt x="91" y="1616"/>
                      </a:lnTo>
                      <a:lnTo>
                        <a:pt x="91" y="1615"/>
                      </a:lnTo>
                      <a:lnTo>
                        <a:pt x="91" y="1614"/>
                      </a:lnTo>
                      <a:lnTo>
                        <a:pt x="92" y="1614"/>
                      </a:lnTo>
                      <a:lnTo>
                        <a:pt x="92" y="1614"/>
                      </a:lnTo>
                      <a:lnTo>
                        <a:pt x="92" y="1613"/>
                      </a:lnTo>
                      <a:lnTo>
                        <a:pt x="92" y="1612"/>
                      </a:lnTo>
                      <a:lnTo>
                        <a:pt x="92" y="1612"/>
                      </a:lnTo>
                      <a:lnTo>
                        <a:pt x="92" y="1611"/>
                      </a:lnTo>
                      <a:lnTo>
                        <a:pt x="92" y="1611"/>
                      </a:lnTo>
                      <a:lnTo>
                        <a:pt x="92" y="1610"/>
                      </a:lnTo>
                      <a:lnTo>
                        <a:pt x="92" y="1610"/>
                      </a:lnTo>
                      <a:lnTo>
                        <a:pt x="92" y="1609"/>
                      </a:lnTo>
                      <a:lnTo>
                        <a:pt x="92" y="1608"/>
                      </a:lnTo>
                      <a:lnTo>
                        <a:pt x="92" y="1608"/>
                      </a:lnTo>
                      <a:lnTo>
                        <a:pt x="92" y="1607"/>
                      </a:lnTo>
                      <a:lnTo>
                        <a:pt x="91" y="1607"/>
                      </a:lnTo>
                      <a:lnTo>
                        <a:pt x="92" y="1606"/>
                      </a:lnTo>
                      <a:lnTo>
                        <a:pt x="92" y="1606"/>
                      </a:lnTo>
                      <a:lnTo>
                        <a:pt x="92" y="1606"/>
                      </a:lnTo>
                      <a:lnTo>
                        <a:pt x="93" y="1606"/>
                      </a:lnTo>
                      <a:lnTo>
                        <a:pt x="93" y="1605"/>
                      </a:lnTo>
                      <a:lnTo>
                        <a:pt x="94" y="1605"/>
                      </a:lnTo>
                      <a:lnTo>
                        <a:pt x="94" y="1604"/>
                      </a:lnTo>
                      <a:lnTo>
                        <a:pt x="94" y="1603"/>
                      </a:lnTo>
                      <a:lnTo>
                        <a:pt x="93" y="1603"/>
                      </a:lnTo>
                      <a:lnTo>
                        <a:pt x="94" y="1603"/>
                      </a:lnTo>
                      <a:lnTo>
                        <a:pt x="94" y="1603"/>
                      </a:lnTo>
                      <a:lnTo>
                        <a:pt x="94" y="1602"/>
                      </a:lnTo>
                      <a:lnTo>
                        <a:pt x="93" y="1602"/>
                      </a:lnTo>
                      <a:lnTo>
                        <a:pt x="94" y="1602"/>
                      </a:lnTo>
                      <a:lnTo>
                        <a:pt x="93" y="1601"/>
                      </a:lnTo>
                      <a:lnTo>
                        <a:pt x="93" y="1602"/>
                      </a:lnTo>
                      <a:lnTo>
                        <a:pt x="93" y="1601"/>
                      </a:lnTo>
                      <a:lnTo>
                        <a:pt x="93" y="1601"/>
                      </a:lnTo>
                      <a:lnTo>
                        <a:pt x="92" y="1601"/>
                      </a:lnTo>
                      <a:lnTo>
                        <a:pt x="92" y="1601"/>
                      </a:lnTo>
                      <a:lnTo>
                        <a:pt x="92" y="1600"/>
                      </a:lnTo>
                      <a:lnTo>
                        <a:pt x="92" y="1599"/>
                      </a:lnTo>
                      <a:lnTo>
                        <a:pt x="92" y="1599"/>
                      </a:lnTo>
                      <a:lnTo>
                        <a:pt x="92" y="1598"/>
                      </a:lnTo>
                      <a:lnTo>
                        <a:pt x="92" y="1597"/>
                      </a:lnTo>
                      <a:lnTo>
                        <a:pt x="92" y="1597"/>
                      </a:lnTo>
                      <a:lnTo>
                        <a:pt x="92" y="1596"/>
                      </a:lnTo>
                      <a:lnTo>
                        <a:pt x="92" y="1595"/>
                      </a:lnTo>
                      <a:lnTo>
                        <a:pt x="92" y="1595"/>
                      </a:lnTo>
                      <a:lnTo>
                        <a:pt x="91" y="1595"/>
                      </a:lnTo>
                      <a:lnTo>
                        <a:pt x="91" y="1594"/>
                      </a:lnTo>
                      <a:lnTo>
                        <a:pt x="90" y="1594"/>
                      </a:lnTo>
                      <a:lnTo>
                        <a:pt x="90" y="1593"/>
                      </a:lnTo>
                      <a:lnTo>
                        <a:pt x="90" y="1593"/>
                      </a:lnTo>
                      <a:lnTo>
                        <a:pt x="90" y="1592"/>
                      </a:lnTo>
                      <a:lnTo>
                        <a:pt x="91" y="1592"/>
                      </a:lnTo>
                      <a:lnTo>
                        <a:pt x="91" y="1591"/>
                      </a:lnTo>
                      <a:lnTo>
                        <a:pt x="91" y="1591"/>
                      </a:lnTo>
                      <a:lnTo>
                        <a:pt x="90" y="1591"/>
                      </a:lnTo>
                      <a:lnTo>
                        <a:pt x="91" y="1591"/>
                      </a:lnTo>
                      <a:lnTo>
                        <a:pt x="91" y="1590"/>
                      </a:lnTo>
                      <a:lnTo>
                        <a:pt x="90" y="1590"/>
                      </a:lnTo>
                      <a:lnTo>
                        <a:pt x="91" y="1590"/>
                      </a:lnTo>
                      <a:lnTo>
                        <a:pt x="91" y="1589"/>
                      </a:lnTo>
                      <a:lnTo>
                        <a:pt x="90" y="1589"/>
                      </a:lnTo>
                      <a:lnTo>
                        <a:pt x="90" y="1589"/>
                      </a:lnTo>
                      <a:lnTo>
                        <a:pt x="90" y="1588"/>
                      </a:lnTo>
                      <a:lnTo>
                        <a:pt x="89" y="1588"/>
                      </a:lnTo>
                      <a:lnTo>
                        <a:pt x="89" y="1587"/>
                      </a:lnTo>
                      <a:lnTo>
                        <a:pt x="90" y="1587"/>
                      </a:lnTo>
                      <a:lnTo>
                        <a:pt x="90" y="1587"/>
                      </a:lnTo>
                      <a:lnTo>
                        <a:pt x="89" y="1587"/>
                      </a:lnTo>
                      <a:lnTo>
                        <a:pt x="89" y="1586"/>
                      </a:lnTo>
                      <a:lnTo>
                        <a:pt x="89" y="1585"/>
                      </a:lnTo>
                      <a:lnTo>
                        <a:pt x="89" y="1585"/>
                      </a:lnTo>
                      <a:lnTo>
                        <a:pt x="89" y="1584"/>
                      </a:lnTo>
                      <a:lnTo>
                        <a:pt x="88" y="1584"/>
                      </a:lnTo>
                      <a:lnTo>
                        <a:pt x="88" y="1584"/>
                      </a:lnTo>
                      <a:lnTo>
                        <a:pt x="87" y="1584"/>
                      </a:lnTo>
                      <a:lnTo>
                        <a:pt x="87" y="1583"/>
                      </a:lnTo>
                      <a:lnTo>
                        <a:pt x="87" y="1582"/>
                      </a:lnTo>
                      <a:lnTo>
                        <a:pt x="87" y="1582"/>
                      </a:lnTo>
                      <a:lnTo>
                        <a:pt x="86" y="1582"/>
                      </a:lnTo>
                      <a:lnTo>
                        <a:pt x="86" y="1582"/>
                      </a:lnTo>
                      <a:lnTo>
                        <a:pt x="85" y="1582"/>
                      </a:lnTo>
                      <a:lnTo>
                        <a:pt x="85" y="1581"/>
                      </a:lnTo>
                      <a:lnTo>
                        <a:pt x="85" y="1581"/>
                      </a:lnTo>
                      <a:lnTo>
                        <a:pt x="85" y="1580"/>
                      </a:lnTo>
                      <a:lnTo>
                        <a:pt x="85" y="1580"/>
                      </a:lnTo>
                      <a:lnTo>
                        <a:pt x="84" y="1580"/>
                      </a:lnTo>
                      <a:lnTo>
                        <a:pt x="84" y="1579"/>
                      </a:lnTo>
                      <a:lnTo>
                        <a:pt x="84" y="1578"/>
                      </a:lnTo>
                      <a:lnTo>
                        <a:pt x="84" y="1578"/>
                      </a:lnTo>
                      <a:lnTo>
                        <a:pt x="83" y="1578"/>
                      </a:lnTo>
                      <a:lnTo>
                        <a:pt x="83" y="1577"/>
                      </a:lnTo>
                      <a:lnTo>
                        <a:pt x="83" y="1576"/>
                      </a:lnTo>
                      <a:lnTo>
                        <a:pt x="83" y="1576"/>
                      </a:lnTo>
                      <a:lnTo>
                        <a:pt x="83" y="1576"/>
                      </a:lnTo>
                      <a:lnTo>
                        <a:pt x="83" y="1576"/>
                      </a:lnTo>
                      <a:lnTo>
                        <a:pt x="83" y="1575"/>
                      </a:lnTo>
                      <a:lnTo>
                        <a:pt x="83" y="1575"/>
                      </a:lnTo>
                      <a:lnTo>
                        <a:pt x="83" y="1574"/>
                      </a:lnTo>
                      <a:lnTo>
                        <a:pt x="83" y="1574"/>
                      </a:lnTo>
                      <a:lnTo>
                        <a:pt x="83" y="1574"/>
                      </a:lnTo>
                      <a:lnTo>
                        <a:pt x="83" y="1574"/>
                      </a:lnTo>
                      <a:lnTo>
                        <a:pt x="83" y="1573"/>
                      </a:lnTo>
                      <a:lnTo>
                        <a:pt x="83" y="1573"/>
                      </a:lnTo>
                      <a:lnTo>
                        <a:pt x="83" y="1572"/>
                      </a:lnTo>
                      <a:lnTo>
                        <a:pt x="83" y="1572"/>
                      </a:lnTo>
                      <a:lnTo>
                        <a:pt x="83" y="1571"/>
                      </a:lnTo>
                      <a:lnTo>
                        <a:pt x="83" y="1571"/>
                      </a:lnTo>
                      <a:lnTo>
                        <a:pt x="83" y="1570"/>
                      </a:lnTo>
                      <a:lnTo>
                        <a:pt x="83" y="1570"/>
                      </a:lnTo>
                      <a:lnTo>
                        <a:pt x="82" y="1570"/>
                      </a:lnTo>
                      <a:lnTo>
                        <a:pt x="81" y="1570"/>
                      </a:lnTo>
                      <a:lnTo>
                        <a:pt x="81" y="1569"/>
                      </a:lnTo>
                      <a:lnTo>
                        <a:pt x="81" y="1568"/>
                      </a:lnTo>
                      <a:lnTo>
                        <a:pt x="77" y="1565"/>
                      </a:lnTo>
                      <a:lnTo>
                        <a:pt x="74" y="1562"/>
                      </a:lnTo>
                      <a:lnTo>
                        <a:pt x="68" y="1556"/>
                      </a:lnTo>
                      <a:lnTo>
                        <a:pt x="63" y="1552"/>
                      </a:lnTo>
                      <a:lnTo>
                        <a:pt x="58" y="1547"/>
                      </a:lnTo>
                      <a:lnTo>
                        <a:pt x="52" y="1542"/>
                      </a:lnTo>
                      <a:lnTo>
                        <a:pt x="50" y="1540"/>
                      </a:lnTo>
                      <a:lnTo>
                        <a:pt x="48" y="1538"/>
                      </a:lnTo>
                      <a:lnTo>
                        <a:pt x="48" y="1536"/>
                      </a:lnTo>
                      <a:lnTo>
                        <a:pt x="48" y="1527"/>
                      </a:lnTo>
                      <a:lnTo>
                        <a:pt x="47" y="1525"/>
                      </a:lnTo>
                      <a:lnTo>
                        <a:pt x="47" y="1523"/>
                      </a:lnTo>
                      <a:lnTo>
                        <a:pt x="47" y="1520"/>
                      </a:lnTo>
                      <a:lnTo>
                        <a:pt x="47" y="1521"/>
                      </a:lnTo>
                      <a:lnTo>
                        <a:pt x="47" y="1517"/>
                      </a:lnTo>
                      <a:lnTo>
                        <a:pt x="47" y="1509"/>
                      </a:lnTo>
                      <a:lnTo>
                        <a:pt x="47" y="1508"/>
                      </a:lnTo>
                      <a:lnTo>
                        <a:pt x="47" y="1492"/>
                      </a:lnTo>
                      <a:lnTo>
                        <a:pt x="47" y="1488"/>
                      </a:lnTo>
                      <a:lnTo>
                        <a:pt x="46" y="1477"/>
                      </a:lnTo>
                      <a:lnTo>
                        <a:pt x="35" y="1469"/>
                      </a:lnTo>
                      <a:lnTo>
                        <a:pt x="18" y="1456"/>
                      </a:lnTo>
                      <a:lnTo>
                        <a:pt x="1" y="1455"/>
                      </a:lnTo>
                      <a:lnTo>
                        <a:pt x="1" y="1454"/>
                      </a:lnTo>
                      <a:lnTo>
                        <a:pt x="1" y="1454"/>
                      </a:lnTo>
                      <a:lnTo>
                        <a:pt x="0" y="1454"/>
                      </a:lnTo>
                      <a:lnTo>
                        <a:pt x="0" y="1453"/>
                      </a:lnTo>
                      <a:lnTo>
                        <a:pt x="1" y="1453"/>
                      </a:lnTo>
                      <a:lnTo>
                        <a:pt x="1" y="1452"/>
                      </a:lnTo>
                      <a:lnTo>
                        <a:pt x="1" y="1452"/>
                      </a:lnTo>
                      <a:lnTo>
                        <a:pt x="1" y="1452"/>
                      </a:lnTo>
                      <a:lnTo>
                        <a:pt x="2" y="1452"/>
                      </a:lnTo>
                      <a:lnTo>
                        <a:pt x="2" y="1451"/>
                      </a:lnTo>
                      <a:lnTo>
                        <a:pt x="2" y="1450"/>
                      </a:lnTo>
                      <a:lnTo>
                        <a:pt x="4" y="1451"/>
                      </a:lnTo>
                      <a:lnTo>
                        <a:pt x="5" y="1450"/>
                      </a:lnTo>
                      <a:lnTo>
                        <a:pt x="5" y="1450"/>
                      </a:lnTo>
                      <a:lnTo>
                        <a:pt x="7" y="1448"/>
                      </a:lnTo>
                      <a:lnTo>
                        <a:pt x="8" y="1444"/>
                      </a:lnTo>
                      <a:lnTo>
                        <a:pt x="9" y="1441"/>
                      </a:lnTo>
                      <a:lnTo>
                        <a:pt x="9" y="1439"/>
                      </a:lnTo>
                      <a:lnTo>
                        <a:pt x="9" y="1439"/>
                      </a:lnTo>
                      <a:lnTo>
                        <a:pt x="10" y="1439"/>
                      </a:lnTo>
                      <a:lnTo>
                        <a:pt x="10" y="1438"/>
                      </a:lnTo>
                      <a:lnTo>
                        <a:pt x="10" y="1437"/>
                      </a:lnTo>
                      <a:lnTo>
                        <a:pt x="10" y="1437"/>
                      </a:lnTo>
                      <a:lnTo>
                        <a:pt x="10" y="1436"/>
                      </a:lnTo>
                      <a:lnTo>
                        <a:pt x="11" y="1436"/>
                      </a:lnTo>
                      <a:lnTo>
                        <a:pt x="11" y="1435"/>
                      </a:lnTo>
                      <a:lnTo>
                        <a:pt x="11" y="1435"/>
                      </a:lnTo>
                      <a:lnTo>
                        <a:pt x="12" y="1435"/>
                      </a:lnTo>
                      <a:lnTo>
                        <a:pt x="12" y="1435"/>
                      </a:lnTo>
                      <a:lnTo>
                        <a:pt x="12" y="1434"/>
                      </a:lnTo>
                      <a:lnTo>
                        <a:pt x="13" y="1434"/>
                      </a:lnTo>
                      <a:lnTo>
                        <a:pt x="13" y="1434"/>
                      </a:lnTo>
                      <a:lnTo>
                        <a:pt x="14" y="1433"/>
                      </a:lnTo>
                      <a:lnTo>
                        <a:pt x="15" y="1433"/>
                      </a:lnTo>
                      <a:lnTo>
                        <a:pt x="15" y="1434"/>
                      </a:lnTo>
                      <a:lnTo>
                        <a:pt x="15" y="1433"/>
                      </a:lnTo>
                      <a:lnTo>
                        <a:pt x="16" y="1433"/>
                      </a:lnTo>
                      <a:lnTo>
                        <a:pt x="16" y="1433"/>
                      </a:lnTo>
                      <a:lnTo>
                        <a:pt x="16" y="1433"/>
                      </a:lnTo>
                      <a:lnTo>
                        <a:pt x="16" y="1432"/>
                      </a:lnTo>
                      <a:lnTo>
                        <a:pt x="17" y="1432"/>
                      </a:lnTo>
                      <a:lnTo>
                        <a:pt x="17" y="1431"/>
                      </a:lnTo>
                      <a:lnTo>
                        <a:pt x="18" y="1431"/>
                      </a:lnTo>
                      <a:lnTo>
                        <a:pt x="18" y="1431"/>
                      </a:lnTo>
                      <a:lnTo>
                        <a:pt x="19" y="1430"/>
                      </a:lnTo>
                      <a:lnTo>
                        <a:pt x="19" y="1429"/>
                      </a:lnTo>
                      <a:lnTo>
                        <a:pt x="18" y="1429"/>
                      </a:lnTo>
                      <a:lnTo>
                        <a:pt x="18" y="1427"/>
                      </a:lnTo>
                      <a:lnTo>
                        <a:pt x="20" y="1425"/>
                      </a:lnTo>
                      <a:lnTo>
                        <a:pt x="20" y="1424"/>
                      </a:lnTo>
                      <a:lnTo>
                        <a:pt x="20" y="1424"/>
                      </a:lnTo>
                      <a:lnTo>
                        <a:pt x="21" y="1422"/>
                      </a:lnTo>
                      <a:lnTo>
                        <a:pt x="22" y="1421"/>
                      </a:lnTo>
                      <a:lnTo>
                        <a:pt x="24" y="1421"/>
                      </a:lnTo>
                      <a:lnTo>
                        <a:pt x="27" y="1420"/>
                      </a:lnTo>
                      <a:lnTo>
                        <a:pt x="32" y="1417"/>
                      </a:lnTo>
                      <a:lnTo>
                        <a:pt x="32" y="1416"/>
                      </a:lnTo>
                      <a:lnTo>
                        <a:pt x="35" y="1414"/>
                      </a:lnTo>
                      <a:lnTo>
                        <a:pt x="37" y="1412"/>
                      </a:lnTo>
                      <a:lnTo>
                        <a:pt x="38" y="1411"/>
                      </a:lnTo>
                      <a:lnTo>
                        <a:pt x="41" y="1408"/>
                      </a:lnTo>
                      <a:lnTo>
                        <a:pt x="48" y="1402"/>
                      </a:lnTo>
                      <a:lnTo>
                        <a:pt x="53" y="1406"/>
                      </a:lnTo>
                      <a:lnTo>
                        <a:pt x="59" y="1403"/>
                      </a:lnTo>
                      <a:lnTo>
                        <a:pt x="60" y="1403"/>
                      </a:lnTo>
                      <a:lnTo>
                        <a:pt x="62" y="1401"/>
                      </a:lnTo>
                      <a:lnTo>
                        <a:pt x="68" y="1395"/>
                      </a:lnTo>
                      <a:lnTo>
                        <a:pt x="68" y="1393"/>
                      </a:lnTo>
                      <a:lnTo>
                        <a:pt x="68" y="1391"/>
                      </a:lnTo>
                      <a:lnTo>
                        <a:pt x="68" y="1390"/>
                      </a:lnTo>
                      <a:lnTo>
                        <a:pt x="67" y="1389"/>
                      </a:lnTo>
                      <a:lnTo>
                        <a:pt x="67" y="1389"/>
                      </a:lnTo>
                      <a:lnTo>
                        <a:pt x="66" y="1389"/>
                      </a:lnTo>
                      <a:lnTo>
                        <a:pt x="66" y="1388"/>
                      </a:lnTo>
                      <a:lnTo>
                        <a:pt x="66" y="1387"/>
                      </a:lnTo>
                      <a:lnTo>
                        <a:pt x="65" y="1387"/>
                      </a:lnTo>
                      <a:lnTo>
                        <a:pt x="65" y="1386"/>
                      </a:lnTo>
                      <a:lnTo>
                        <a:pt x="65" y="1386"/>
                      </a:lnTo>
                      <a:lnTo>
                        <a:pt x="64" y="1386"/>
                      </a:lnTo>
                      <a:lnTo>
                        <a:pt x="64" y="1385"/>
                      </a:lnTo>
                      <a:lnTo>
                        <a:pt x="64" y="1384"/>
                      </a:lnTo>
                      <a:lnTo>
                        <a:pt x="64" y="1384"/>
                      </a:lnTo>
                      <a:lnTo>
                        <a:pt x="64" y="1384"/>
                      </a:lnTo>
                      <a:lnTo>
                        <a:pt x="63" y="1384"/>
                      </a:lnTo>
                      <a:lnTo>
                        <a:pt x="62" y="1384"/>
                      </a:lnTo>
                      <a:lnTo>
                        <a:pt x="62" y="1383"/>
                      </a:lnTo>
                      <a:lnTo>
                        <a:pt x="62" y="1383"/>
                      </a:lnTo>
                      <a:lnTo>
                        <a:pt x="62" y="1382"/>
                      </a:lnTo>
                      <a:lnTo>
                        <a:pt x="62" y="1382"/>
                      </a:lnTo>
                      <a:lnTo>
                        <a:pt x="62" y="1381"/>
                      </a:lnTo>
                      <a:lnTo>
                        <a:pt x="63" y="1381"/>
                      </a:lnTo>
                      <a:lnTo>
                        <a:pt x="63" y="1380"/>
                      </a:lnTo>
                      <a:lnTo>
                        <a:pt x="64" y="1380"/>
                      </a:lnTo>
                      <a:lnTo>
                        <a:pt x="64" y="1380"/>
                      </a:lnTo>
                      <a:lnTo>
                        <a:pt x="64" y="1379"/>
                      </a:lnTo>
                      <a:lnTo>
                        <a:pt x="64" y="1378"/>
                      </a:lnTo>
                      <a:lnTo>
                        <a:pt x="65" y="1378"/>
                      </a:lnTo>
                      <a:lnTo>
                        <a:pt x="65" y="1378"/>
                      </a:lnTo>
                      <a:lnTo>
                        <a:pt x="66" y="1378"/>
                      </a:lnTo>
                      <a:lnTo>
                        <a:pt x="66" y="1377"/>
                      </a:lnTo>
                      <a:lnTo>
                        <a:pt x="66" y="1376"/>
                      </a:lnTo>
                      <a:lnTo>
                        <a:pt x="66" y="1376"/>
                      </a:lnTo>
                      <a:lnTo>
                        <a:pt x="67" y="1376"/>
                      </a:lnTo>
                      <a:lnTo>
                        <a:pt x="67" y="1375"/>
                      </a:lnTo>
                      <a:lnTo>
                        <a:pt x="67" y="1374"/>
                      </a:lnTo>
                      <a:lnTo>
                        <a:pt x="68" y="1374"/>
                      </a:lnTo>
                      <a:lnTo>
                        <a:pt x="68" y="1374"/>
                      </a:lnTo>
                      <a:lnTo>
                        <a:pt x="68" y="1373"/>
                      </a:lnTo>
                      <a:lnTo>
                        <a:pt x="68" y="1373"/>
                      </a:lnTo>
                      <a:lnTo>
                        <a:pt x="70" y="1373"/>
                      </a:lnTo>
                      <a:lnTo>
                        <a:pt x="73" y="1373"/>
                      </a:lnTo>
                      <a:lnTo>
                        <a:pt x="75" y="1373"/>
                      </a:lnTo>
                      <a:lnTo>
                        <a:pt x="76" y="1372"/>
                      </a:lnTo>
                      <a:lnTo>
                        <a:pt x="76" y="1372"/>
                      </a:lnTo>
                      <a:lnTo>
                        <a:pt x="77" y="1371"/>
                      </a:lnTo>
                      <a:lnTo>
                        <a:pt x="77" y="1370"/>
                      </a:lnTo>
                      <a:lnTo>
                        <a:pt x="77" y="1370"/>
                      </a:lnTo>
                      <a:lnTo>
                        <a:pt x="78" y="1368"/>
                      </a:lnTo>
                      <a:lnTo>
                        <a:pt x="78" y="1368"/>
                      </a:lnTo>
                      <a:lnTo>
                        <a:pt x="78" y="1366"/>
                      </a:lnTo>
                      <a:lnTo>
                        <a:pt x="79" y="1366"/>
                      </a:lnTo>
                      <a:lnTo>
                        <a:pt x="79" y="1365"/>
                      </a:lnTo>
                      <a:lnTo>
                        <a:pt x="80" y="1365"/>
                      </a:lnTo>
                      <a:lnTo>
                        <a:pt x="79" y="1364"/>
                      </a:lnTo>
                      <a:lnTo>
                        <a:pt x="79" y="1363"/>
                      </a:lnTo>
                      <a:lnTo>
                        <a:pt x="81" y="1360"/>
                      </a:lnTo>
                      <a:lnTo>
                        <a:pt x="82" y="1357"/>
                      </a:lnTo>
                      <a:lnTo>
                        <a:pt x="84" y="1353"/>
                      </a:lnTo>
                      <a:lnTo>
                        <a:pt x="86" y="1351"/>
                      </a:lnTo>
                      <a:lnTo>
                        <a:pt x="88" y="1348"/>
                      </a:lnTo>
                      <a:lnTo>
                        <a:pt x="90" y="1346"/>
                      </a:lnTo>
                      <a:lnTo>
                        <a:pt x="92" y="1344"/>
                      </a:lnTo>
                      <a:lnTo>
                        <a:pt x="93" y="1342"/>
                      </a:lnTo>
                      <a:lnTo>
                        <a:pt x="94" y="1340"/>
                      </a:lnTo>
                      <a:lnTo>
                        <a:pt x="96" y="1339"/>
                      </a:lnTo>
                      <a:lnTo>
                        <a:pt x="96" y="1338"/>
                      </a:lnTo>
                      <a:lnTo>
                        <a:pt x="97" y="1338"/>
                      </a:lnTo>
                      <a:lnTo>
                        <a:pt x="100" y="1336"/>
                      </a:lnTo>
                      <a:lnTo>
                        <a:pt x="102" y="1334"/>
                      </a:lnTo>
                      <a:lnTo>
                        <a:pt x="103" y="1333"/>
                      </a:lnTo>
                      <a:lnTo>
                        <a:pt x="105" y="1332"/>
                      </a:lnTo>
                      <a:lnTo>
                        <a:pt x="106" y="1330"/>
                      </a:lnTo>
                      <a:lnTo>
                        <a:pt x="106" y="1329"/>
                      </a:lnTo>
                      <a:lnTo>
                        <a:pt x="106" y="1327"/>
                      </a:lnTo>
                      <a:lnTo>
                        <a:pt x="108" y="1324"/>
                      </a:lnTo>
                      <a:lnTo>
                        <a:pt x="109" y="1322"/>
                      </a:lnTo>
                      <a:lnTo>
                        <a:pt x="110" y="1321"/>
                      </a:lnTo>
                      <a:lnTo>
                        <a:pt x="113" y="1321"/>
                      </a:lnTo>
                      <a:lnTo>
                        <a:pt x="114" y="1310"/>
                      </a:lnTo>
                      <a:lnTo>
                        <a:pt x="117" y="1302"/>
                      </a:lnTo>
                      <a:lnTo>
                        <a:pt x="121" y="1300"/>
                      </a:lnTo>
                      <a:lnTo>
                        <a:pt x="122" y="1300"/>
                      </a:lnTo>
                      <a:lnTo>
                        <a:pt x="123" y="1300"/>
                      </a:lnTo>
                      <a:lnTo>
                        <a:pt x="123" y="1299"/>
                      </a:lnTo>
                      <a:lnTo>
                        <a:pt x="123" y="1299"/>
                      </a:lnTo>
                      <a:lnTo>
                        <a:pt x="124" y="1299"/>
                      </a:lnTo>
                      <a:lnTo>
                        <a:pt x="124" y="1298"/>
                      </a:lnTo>
                      <a:lnTo>
                        <a:pt x="126" y="1297"/>
                      </a:lnTo>
                      <a:lnTo>
                        <a:pt x="127" y="1297"/>
                      </a:lnTo>
                      <a:lnTo>
                        <a:pt x="127" y="1298"/>
                      </a:lnTo>
                      <a:lnTo>
                        <a:pt x="127" y="1298"/>
                      </a:lnTo>
                      <a:lnTo>
                        <a:pt x="128" y="1298"/>
                      </a:lnTo>
                      <a:lnTo>
                        <a:pt x="128" y="1299"/>
                      </a:lnTo>
                      <a:lnTo>
                        <a:pt x="129" y="1298"/>
                      </a:lnTo>
                      <a:lnTo>
                        <a:pt x="130" y="1299"/>
                      </a:lnTo>
                      <a:lnTo>
                        <a:pt x="130" y="1298"/>
                      </a:lnTo>
                      <a:lnTo>
                        <a:pt x="132" y="1298"/>
                      </a:lnTo>
                      <a:lnTo>
                        <a:pt x="132" y="1298"/>
                      </a:lnTo>
                      <a:lnTo>
                        <a:pt x="134" y="1297"/>
                      </a:lnTo>
                      <a:lnTo>
                        <a:pt x="136" y="1296"/>
                      </a:lnTo>
                      <a:lnTo>
                        <a:pt x="138" y="1295"/>
                      </a:lnTo>
                      <a:lnTo>
                        <a:pt x="145" y="1292"/>
                      </a:lnTo>
                      <a:lnTo>
                        <a:pt x="146" y="1291"/>
                      </a:lnTo>
                      <a:lnTo>
                        <a:pt x="146" y="1290"/>
                      </a:lnTo>
                      <a:lnTo>
                        <a:pt x="147" y="1290"/>
                      </a:lnTo>
                      <a:lnTo>
                        <a:pt x="147" y="1290"/>
                      </a:lnTo>
                      <a:lnTo>
                        <a:pt x="148" y="1290"/>
                      </a:lnTo>
                      <a:lnTo>
                        <a:pt x="149" y="1291"/>
                      </a:lnTo>
                      <a:lnTo>
                        <a:pt x="149" y="1291"/>
                      </a:lnTo>
                      <a:lnTo>
                        <a:pt x="149" y="1290"/>
                      </a:lnTo>
                      <a:lnTo>
                        <a:pt x="149" y="1290"/>
                      </a:lnTo>
                      <a:lnTo>
                        <a:pt x="150" y="1290"/>
                      </a:lnTo>
                      <a:lnTo>
                        <a:pt x="150" y="1289"/>
                      </a:lnTo>
                      <a:lnTo>
                        <a:pt x="151" y="1289"/>
                      </a:lnTo>
                      <a:lnTo>
                        <a:pt x="151" y="1289"/>
                      </a:lnTo>
                      <a:lnTo>
                        <a:pt x="151" y="1288"/>
                      </a:lnTo>
                      <a:lnTo>
                        <a:pt x="152" y="1288"/>
                      </a:lnTo>
                      <a:lnTo>
                        <a:pt x="153" y="1287"/>
                      </a:lnTo>
                      <a:lnTo>
                        <a:pt x="153" y="1287"/>
                      </a:lnTo>
                      <a:lnTo>
                        <a:pt x="153" y="1287"/>
                      </a:lnTo>
                      <a:lnTo>
                        <a:pt x="153" y="1286"/>
                      </a:lnTo>
                      <a:lnTo>
                        <a:pt x="154" y="1286"/>
                      </a:lnTo>
                      <a:lnTo>
                        <a:pt x="155" y="1286"/>
                      </a:lnTo>
                      <a:lnTo>
                        <a:pt x="155" y="1285"/>
                      </a:lnTo>
                      <a:lnTo>
                        <a:pt x="155" y="1285"/>
                      </a:lnTo>
                      <a:lnTo>
                        <a:pt x="156" y="1285"/>
                      </a:lnTo>
                      <a:lnTo>
                        <a:pt x="157" y="1285"/>
                      </a:lnTo>
                      <a:lnTo>
                        <a:pt x="157" y="1285"/>
                      </a:lnTo>
                      <a:lnTo>
                        <a:pt x="158" y="1283"/>
                      </a:lnTo>
                      <a:lnTo>
                        <a:pt x="160" y="1281"/>
                      </a:lnTo>
                      <a:lnTo>
                        <a:pt x="160" y="1280"/>
                      </a:lnTo>
                      <a:lnTo>
                        <a:pt x="160" y="1279"/>
                      </a:lnTo>
                      <a:lnTo>
                        <a:pt x="160" y="1278"/>
                      </a:lnTo>
                      <a:lnTo>
                        <a:pt x="160" y="1277"/>
                      </a:lnTo>
                      <a:lnTo>
                        <a:pt x="159" y="1277"/>
                      </a:lnTo>
                      <a:lnTo>
                        <a:pt x="158" y="1277"/>
                      </a:lnTo>
                      <a:lnTo>
                        <a:pt x="157" y="1276"/>
                      </a:lnTo>
                      <a:lnTo>
                        <a:pt x="156" y="1275"/>
                      </a:lnTo>
                      <a:lnTo>
                        <a:pt x="155" y="1274"/>
                      </a:lnTo>
                      <a:lnTo>
                        <a:pt x="155" y="1273"/>
                      </a:lnTo>
                      <a:lnTo>
                        <a:pt x="154" y="1272"/>
                      </a:lnTo>
                      <a:lnTo>
                        <a:pt x="154" y="1271"/>
                      </a:lnTo>
                      <a:lnTo>
                        <a:pt x="153" y="1271"/>
                      </a:lnTo>
                      <a:lnTo>
                        <a:pt x="152" y="1270"/>
                      </a:lnTo>
                      <a:lnTo>
                        <a:pt x="151" y="1269"/>
                      </a:lnTo>
                      <a:lnTo>
                        <a:pt x="151" y="1268"/>
                      </a:lnTo>
                      <a:lnTo>
                        <a:pt x="151" y="1267"/>
                      </a:lnTo>
                      <a:lnTo>
                        <a:pt x="151" y="1266"/>
                      </a:lnTo>
                      <a:lnTo>
                        <a:pt x="150" y="1265"/>
                      </a:lnTo>
                      <a:lnTo>
                        <a:pt x="150" y="1264"/>
                      </a:lnTo>
                      <a:lnTo>
                        <a:pt x="151" y="1264"/>
                      </a:lnTo>
                      <a:lnTo>
                        <a:pt x="151" y="1263"/>
                      </a:lnTo>
                      <a:lnTo>
                        <a:pt x="150" y="1262"/>
                      </a:lnTo>
                      <a:lnTo>
                        <a:pt x="150" y="1262"/>
                      </a:lnTo>
                      <a:lnTo>
                        <a:pt x="149" y="1261"/>
                      </a:lnTo>
                      <a:lnTo>
                        <a:pt x="149" y="1260"/>
                      </a:lnTo>
                      <a:lnTo>
                        <a:pt x="149" y="1260"/>
                      </a:lnTo>
                      <a:lnTo>
                        <a:pt x="149" y="1260"/>
                      </a:lnTo>
                      <a:lnTo>
                        <a:pt x="149" y="1260"/>
                      </a:lnTo>
                      <a:lnTo>
                        <a:pt x="149" y="1259"/>
                      </a:lnTo>
                      <a:lnTo>
                        <a:pt x="149" y="1258"/>
                      </a:lnTo>
                      <a:lnTo>
                        <a:pt x="149" y="1258"/>
                      </a:lnTo>
                      <a:lnTo>
                        <a:pt x="150" y="1258"/>
                      </a:lnTo>
                      <a:lnTo>
                        <a:pt x="151" y="1258"/>
                      </a:lnTo>
                      <a:lnTo>
                        <a:pt x="151" y="1257"/>
                      </a:lnTo>
                      <a:lnTo>
                        <a:pt x="151" y="1257"/>
                      </a:lnTo>
                      <a:lnTo>
                        <a:pt x="151" y="1256"/>
                      </a:lnTo>
                      <a:lnTo>
                        <a:pt x="152" y="1256"/>
                      </a:lnTo>
                      <a:lnTo>
                        <a:pt x="152" y="1256"/>
                      </a:lnTo>
                      <a:lnTo>
                        <a:pt x="152" y="1255"/>
                      </a:lnTo>
                      <a:lnTo>
                        <a:pt x="151" y="1255"/>
                      </a:lnTo>
                      <a:lnTo>
                        <a:pt x="152" y="1255"/>
                      </a:lnTo>
                      <a:lnTo>
                        <a:pt x="153" y="1255"/>
                      </a:lnTo>
                      <a:lnTo>
                        <a:pt x="153" y="1255"/>
                      </a:lnTo>
                      <a:lnTo>
                        <a:pt x="153" y="1256"/>
                      </a:lnTo>
                      <a:lnTo>
                        <a:pt x="154" y="1256"/>
                      </a:lnTo>
                      <a:lnTo>
                        <a:pt x="155" y="1256"/>
                      </a:lnTo>
                      <a:lnTo>
                        <a:pt x="155" y="1256"/>
                      </a:lnTo>
                      <a:lnTo>
                        <a:pt x="155" y="1256"/>
                      </a:lnTo>
                      <a:lnTo>
                        <a:pt x="156" y="1256"/>
                      </a:lnTo>
                      <a:lnTo>
                        <a:pt x="157" y="1256"/>
                      </a:lnTo>
                      <a:lnTo>
                        <a:pt x="157" y="1256"/>
                      </a:lnTo>
                      <a:lnTo>
                        <a:pt x="157" y="1257"/>
                      </a:lnTo>
                      <a:lnTo>
                        <a:pt x="158" y="1257"/>
                      </a:lnTo>
                      <a:lnTo>
                        <a:pt x="159" y="1257"/>
                      </a:lnTo>
                      <a:lnTo>
                        <a:pt x="159" y="1258"/>
                      </a:lnTo>
                      <a:lnTo>
                        <a:pt x="159" y="1258"/>
                      </a:lnTo>
                      <a:lnTo>
                        <a:pt x="159" y="1258"/>
                      </a:lnTo>
                      <a:lnTo>
                        <a:pt x="160" y="1258"/>
                      </a:lnTo>
                      <a:lnTo>
                        <a:pt x="161" y="1258"/>
                      </a:lnTo>
                      <a:lnTo>
                        <a:pt x="161" y="1259"/>
                      </a:lnTo>
                      <a:lnTo>
                        <a:pt x="161" y="1259"/>
                      </a:lnTo>
                      <a:lnTo>
                        <a:pt x="161" y="1258"/>
                      </a:lnTo>
                      <a:lnTo>
                        <a:pt x="162" y="1258"/>
                      </a:lnTo>
                      <a:lnTo>
                        <a:pt x="162" y="1259"/>
                      </a:lnTo>
                      <a:lnTo>
                        <a:pt x="162" y="1258"/>
                      </a:lnTo>
                      <a:lnTo>
                        <a:pt x="163" y="1258"/>
                      </a:lnTo>
                      <a:lnTo>
                        <a:pt x="163" y="1259"/>
                      </a:lnTo>
                      <a:lnTo>
                        <a:pt x="163" y="1259"/>
                      </a:lnTo>
                      <a:lnTo>
                        <a:pt x="164" y="1259"/>
                      </a:lnTo>
                      <a:lnTo>
                        <a:pt x="165" y="1259"/>
                      </a:lnTo>
                      <a:lnTo>
                        <a:pt x="164" y="1260"/>
                      </a:lnTo>
                      <a:lnTo>
                        <a:pt x="165" y="1260"/>
                      </a:lnTo>
                      <a:lnTo>
                        <a:pt x="166" y="1260"/>
                      </a:lnTo>
                      <a:lnTo>
                        <a:pt x="166" y="1260"/>
                      </a:lnTo>
                      <a:lnTo>
                        <a:pt x="166" y="1260"/>
                      </a:lnTo>
                      <a:lnTo>
                        <a:pt x="166" y="1260"/>
                      </a:lnTo>
                      <a:lnTo>
                        <a:pt x="166" y="1260"/>
                      </a:lnTo>
                      <a:lnTo>
                        <a:pt x="167" y="1260"/>
                      </a:lnTo>
                      <a:lnTo>
                        <a:pt x="167" y="1260"/>
                      </a:lnTo>
                      <a:lnTo>
                        <a:pt x="167" y="1261"/>
                      </a:lnTo>
                      <a:lnTo>
                        <a:pt x="168" y="1261"/>
                      </a:lnTo>
                      <a:lnTo>
                        <a:pt x="168" y="1261"/>
                      </a:lnTo>
                      <a:lnTo>
                        <a:pt x="168" y="1262"/>
                      </a:lnTo>
                      <a:lnTo>
                        <a:pt x="169" y="1261"/>
                      </a:lnTo>
                      <a:lnTo>
                        <a:pt x="170" y="1261"/>
                      </a:lnTo>
                      <a:lnTo>
                        <a:pt x="170" y="1261"/>
                      </a:lnTo>
                      <a:lnTo>
                        <a:pt x="170" y="1262"/>
                      </a:lnTo>
                      <a:lnTo>
                        <a:pt x="171" y="1262"/>
                      </a:lnTo>
                      <a:lnTo>
                        <a:pt x="171" y="1262"/>
                      </a:lnTo>
                      <a:lnTo>
                        <a:pt x="172" y="1262"/>
                      </a:lnTo>
                      <a:lnTo>
                        <a:pt x="172" y="1262"/>
                      </a:lnTo>
                      <a:lnTo>
                        <a:pt x="172" y="1263"/>
                      </a:lnTo>
                      <a:lnTo>
                        <a:pt x="173" y="1263"/>
                      </a:lnTo>
                      <a:lnTo>
                        <a:pt x="174" y="1263"/>
                      </a:lnTo>
                      <a:lnTo>
                        <a:pt x="174" y="1264"/>
                      </a:lnTo>
                      <a:lnTo>
                        <a:pt x="174" y="1264"/>
                      </a:lnTo>
                      <a:lnTo>
                        <a:pt x="175" y="1264"/>
                      </a:lnTo>
                      <a:lnTo>
                        <a:pt x="175" y="1263"/>
                      </a:lnTo>
                      <a:lnTo>
                        <a:pt x="176" y="1264"/>
                      </a:lnTo>
                      <a:lnTo>
                        <a:pt x="176" y="1263"/>
                      </a:lnTo>
                      <a:lnTo>
                        <a:pt x="176" y="1263"/>
                      </a:lnTo>
                      <a:lnTo>
                        <a:pt x="176" y="1264"/>
                      </a:lnTo>
                      <a:lnTo>
                        <a:pt x="177" y="1264"/>
                      </a:lnTo>
                      <a:lnTo>
                        <a:pt x="176" y="1264"/>
                      </a:lnTo>
                      <a:lnTo>
                        <a:pt x="176" y="1264"/>
                      </a:lnTo>
                      <a:lnTo>
                        <a:pt x="177" y="1264"/>
                      </a:lnTo>
                      <a:lnTo>
                        <a:pt x="177" y="1265"/>
                      </a:lnTo>
                      <a:lnTo>
                        <a:pt x="178" y="1265"/>
                      </a:lnTo>
                      <a:lnTo>
                        <a:pt x="178" y="1265"/>
                      </a:lnTo>
                      <a:lnTo>
                        <a:pt x="178" y="1264"/>
                      </a:lnTo>
                      <a:lnTo>
                        <a:pt x="179" y="1264"/>
                      </a:lnTo>
                      <a:lnTo>
                        <a:pt x="179" y="1265"/>
                      </a:lnTo>
                      <a:lnTo>
                        <a:pt x="180" y="1265"/>
                      </a:lnTo>
                      <a:lnTo>
                        <a:pt x="180" y="1266"/>
                      </a:lnTo>
                      <a:lnTo>
                        <a:pt x="180" y="1266"/>
                      </a:lnTo>
                      <a:lnTo>
                        <a:pt x="180" y="1265"/>
                      </a:lnTo>
                      <a:lnTo>
                        <a:pt x="181" y="1265"/>
                      </a:lnTo>
                      <a:lnTo>
                        <a:pt x="181" y="1266"/>
                      </a:lnTo>
                      <a:lnTo>
                        <a:pt x="181" y="1265"/>
                      </a:lnTo>
                      <a:lnTo>
                        <a:pt x="182" y="1265"/>
                      </a:lnTo>
                      <a:lnTo>
                        <a:pt x="182" y="1266"/>
                      </a:lnTo>
                      <a:lnTo>
                        <a:pt x="183" y="1266"/>
                      </a:lnTo>
                      <a:lnTo>
                        <a:pt x="183" y="1265"/>
                      </a:lnTo>
                      <a:lnTo>
                        <a:pt x="184" y="1265"/>
                      </a:lnTo>
                      <a:lnTo>
                        <a:pt x="185" y="1265"/>
                      </a:lnTo>
                      <a:lnTo>
                        <a:pt x="185" y="1266"/>
                      </a:lnTo>
                      <a:lnTo>
                        <a:pt x="185" y="1265"/>
                      </a:lnTo>
                      <a:lnTo>
                        <a:pt x="185" y="1266"/>
                      </a:lnTo>
                      <a:lnTo>
                        <a:pt x="186" y="1266"/>
                      </a:lnTo>
                      <a:lnTo>
                        <a:pt x="186" y="1265"/>
                      </a:lnTo>
                      <a:lnTo>
                        <a:pt x="187" y="1265"/>
                      </a:lnTo>
                      <a:lnTo>
                        <a:pt x="187" y="1265"/>
                      </a:lnTo>
                      <a:lnTo>
                        <a:pt x="188" y="1265"/>
                      </a:lnTo>
                      <a:lnTo>
                        <a:pt x="189" y="1265"/>
                      </a:lnTo>
                      <a:lnTo>
                        <a:pt x="189" y="1265"/>
                      </a:lnTo>
                      <a:lnTo>
                        <a:pt x="190" y="1265"/>
                      </a:lnTo>
                      <a:lnTo>
                        <a:pt x="191" y="1265"/>
                      </a:lnTo>
                      <a:lnTo>
                        <a:pt x="191" y="1266"/>
                      </a:lnTo>
                      <a:lnTo>
                        <a:pt x="191" y="1266"/>
                      </a:lnTo>
                      <a:lnTo>
                        <a:pt x="192" y="1266"/>
                      </a:lnTo>
                      <a:lnTo>
                        <a:pt x="192" y="1265"/>
                      </a:lnTo>
                      <a:lnTo>
                        <a:pt x="193" y="1265"/>
                      </a:lnTo>
                      <a:lnTo>
                        <a:pt x="193" y="1264"/>
                      </a:lnTo>
                      <a:lnTo>
                        <a:pt x="193" y="1264"/>
                      </a:lnTo>
                      <a:lnTo>
                        <a:pt x="193" y="1265"/>
                      </a:lnTo>
                      <a:lnTo>
                        <a:pt x="193" y="1264"/>
                      </a:lnTo>
                      <a:lnTo>
                        <a:pt x="194" y="1264"/>
                      </a:lnTo>
                      <a:lnTo>
                        <a:pt x="195" y="1264"/>
                      </a:lnTo>
                      <a:lnTo>
                        <a:pt x="195" y="1264"/>
                      </a:lnTo>
                      <a:lnTo>
                        <a:pt x="195" y="1264"/>
                      </a:lnTo>
                      <a:lnTo>
                        <a:pt x="196" y="1264"/>
                      </a:lnTo>
                      <a:lnTo>
                        <a:pt x="196" y="1263"/>
                      </a:lnTo>
                      <a:lnTo>
                        <a:pt x="195" y="1263"/>
                      </a:lnTo>
                      <a:lnTo>
                        <a:pt x="196" y="1263"/>
                      </a:lnTo>
                      <a:lnTo>
                        <a:pt x="196" y="1264"/>
                      </a:lnTo>
                      <a:lnTo>
                        <a:pt x="197" y="1264"/>
                      </a:lnTo>
                      <a:lnTo>
                        <a:pt x="197" y="1263"/>
                      </a:lnTo>
                      <a:lnTo>
                        <a:pt x="196" y="1263"/>
                      </a:lnTo>
                      <a:lnTo>
                        <a:pt x="195" y="1263"/>
                      </a:lnTo>
                      <a:lnTo>
                        <a:pt x="195" y="1263"/>
                      </a:lnTo>
                      <a:lnTo>
                        <a:pt x="195" y="1262"/>
                      </a:lnTo>
                      <a:lnTo>
                        <a:pt x="195" y="1262"/>
                      </a:lnTo>
                      <a:lnTo>
                        <a:pt x="195" y="1263"/>
                      </a:lnTo>
                      <a:lnTo>
                        <a:pt x="196" y="1263"/>
                      </a:lnTo>
                      <a:lnTo>
                        <a:pt x="196" y="1262"/>
                      </a:lnTo>
                      <a:lnTo>
                        <a:pt x="197" y="1262"/>
                      </a:lnTo>
                      <a:lnTo>
                        <a:pt x="196" y="1262"/>
                      </a:lnTo>
                      <a:lnTo>
                        <a:pt x="197" y="1262"/>
                      </a:lnTo>
                      <a:lnTo>
                        <a:pt x="197" y="1262"/>
                      </a:lnTo>
                      <a:lnTo>
                        <a:pt x="197" y="1262"/>
                      </a:lnTo>
                      <a:lnTo>
                        <a:pt x="197" y="1262"/>
                      </a:lnTo>
                      <a:lnTo>
                        <a:pt x="198" y="1262"/>
                      </a:lnTo>
                      <a:lnTo>
                        <a:pt x="198" y="1262"/>
                      </a:lnTo>
                      <a:lnTo>
                        <a:pt x="199" y="1262"/>
                      </a:lnTo>
                      <a:lnTo>
                        <a:pt x="199" y="1262"/>
                      </a:lnTo>
                      <a:lnTo>
                        <a:pt x="199" y="1262"/>
                      </a:lnTo>
                      <a:lnTo>
                        <a:pt x="199" y="1261"/>
                      </a:lnTo>
                      <a:lnTo>
                        <a:pt x="199" y="1260"/>
                      </a:lnTo>
                      <a:lnTo>
                        <a:pt x="199" y="1260"/>
                      </a:lnTo>
                      <a:lnTo>
                        <a:pt x="198" y="1260"/>
                      </a:lnTo>
                      <a:lnTo>
                        <a:pt x="199" y="1260"/>
                      </a:lnTo>
                      <a:lnTo>
                        <a:pt x="199" y="1260"/>
                      </a:lnTo>
                      <a:lnTo>
                        <a:pt x="199" y="1260"/>
                      </a:lnTo>
                      <a:lnTo>
                        <a:pt x="199" y="1260"/>
                      </a:lnTo>
                      <a:lnTo>
                        <a:pt x="199" y="1259"/>
                      </a:lnTo>
                      <a:lnTo>
                        <a:pt x="199" y="1259"/>
                      </a:lnTo>
                      <a:lnTo>
                        <a:pt x="199" y="1258"/>
                      </a:lnTo>
                      <a:lnTo>
                        <a:pt x="199" y="1258"/>
                      </a:lnTo>
                      <a:lnTo>
                        <a:pt x="199" y="1258"/>
                      </a:lnTo>
                      <a:lnTo>
                        <a:pt x="200" y="1258"/>
                      </a:lnTo>
                      <a:lnTo>
                        <a:pt x="199" y="1258"/>
                      </a:lnTo>
                      <a:lnTo>
                        <a:pt x="200" y="1258"/>
                      </a:lnTo>
                      <a:lnTo>
                        <a:pt x="200" y="1257"/>
                      </a:lnTo>
                      <a:lnTo>
                        <a:pt x="201" y="1257"/>
                      </a:lnTo>
                      <a:lnTo>
                        <a:pt x="200" y="1258"/>
                      </a:lnTo>
                      <a:lnTo>
                        <a:pt x="201" y="1258"/>
                      </a:lnTo>
                      <a:lnTo>
                        <a:pt x="201" y="1257"/>
                      </a:lnTo>
                      <a:lnTo>
                        <a:pt x="201" y="1256"/>
                      </a:lnTo>
                      <a:lnTo>
                        <a:pt x="201" y="1256"/>
                      </a:lnTo>
                      <a:lnTo>
                        <a:pt x="201" y="1256"/>
                      </a:lnTo>
                      <a:lnTo>
                        <a:pt x="202" y="1256"/>
                      </a:lnTo>
                      <a:lnTo>
                        <a:pt x="202" y="1255"/>
                      </a:lnTo>
                      <a:lnTo>
                        <a:pt x="201" y="1255"/>
                      </a:lnTo>
                      <a:lnTo>
                        <a:pt x="202" y="1255"/>
                      </a:lnTo>
                      <a:lnTo>
                        <a:pt x="203" y="1255"/>
                      </a:lnTo>
                      <a:lnTo>
                        <a:pt x="202" y="1255"/>
                      </a:lnTo>
                      <a:lnTo>
                        <a:pt x="203" y="1255"/>
                      </a:lnTo>
                      <a:lnTo>
                        <a:pt x="203" y="1254"/>
                      </a:lnTo>
                      <a:lnTo>
                        <a:pt x="203" y="1254"/>
                      </a:lnTo>
                      <a:lnTo>
                        <a:pt x="202" y="1254"/>
                      </a:lnTo>
                      <a:lnTo>
                        <a:pt x="202" y="1253"/>
                      </a:lnTo>
                      <a:lnTo>
                        <a:pt x="202" y="1252"/>
                      </a:lnTo>
                      <a:lnTo>
                        <a:pt x="201" y="1252"/>
                      </a:lnTo>
                      <a:lnTo>
                        <a:pt x="201" y="1252"/>
                      </a:lnTo>
                      <a:lnTo>
                        <a:pt x="201" y="1251"/>
                      </a:lnTo>
                      <a:lnTo>
                        <a:pt x="201" y="1251"/>
                      </a:lnTo>
                      <a:lnTo>
                        <a:pt x="201" y="1250"/>
                      </a:lnTo>
                      <a:lnTo>
                        <a:pt x="200" y="1250"/>
                      </a:lnTo>
                      <a:lnTo>
                        <a:pt x="199" y="1250"/>
                      </a:lnTo>
                      <a:lnTo>
                        <a:pt x="199" y="1250"/>
                      </a:lnTo>
                      <a:lnTo>
                        <a:pt x="199" y="1249"/>
                      </a:lnTo>
                      <a:lnTo>
                        <a:pt x="198" y="1249"/>
                      </a:lnTo>
                      <a:lnTo>
                        <a:pt x="197" y="1249"/>
                      </a:lnTo>
                      <a:lnTo>
                        <a:pt x="197" y="1248"/>
                      </a:lnTo>
                      <a:lnTo>
                        <a:pt x="198" y="1248"/>
                      </a:lnTo>
                      <a:lnTo>
                        <a:pt x="198" y="1247"/>
                      </a:lnTo>
                      <a:lnTo>
                        <a:pt x="198" y="1247"/>
                      </a:lnTo>
                      <a:lnTo>
                        <a:pt x="199" y="1247"/>
                      </a:lnTo>
                      <a:lnTo>
                        <a:pt x="199" y="1247"/>
                      </a:lnTo>
                      <a:lnTo>
                        <a:pt x="199" y="1247"/>
                      </a:lnTo>
                      <a:lnTo>
                        <a:pt x="199" y="1247"/>
                      </a:lnTo>
                      <a:lnTo>
                        <a:pt x="199" y="1246"/>
                      </a:lnTo>
                      <a:lnTo>
                        <a:pt x="199" y="1246"/>
                      </a:lnTo>
                      <a:lnTo>
                        <a:pt x="200" y="1246"/>
                      </a:lnTo>
                      <a:lnTo>
                        <a:pt x="200" y="1247"/>
                      </a:lnTo>
                      <a:lnTo>
                        <a:pt x="200" y="1246"/>
                      </a:lnTo>
                      <a:lnTo>
                        <a:pt x="201" y="1246"/>
                      </a:lnTo>
                      <a:lnTo>
                        <a:pt x="201" y="1247"/>
                      </a:lnTo>
                      <a:lnTo>
                        <a:pt x="201" y="1247"/>
                      </a:lnTo>
                      <a:lnTo>
                        <a:pt x="202" y="1247"/>
                      </a:lnTo>
                      <a:lnTo>
                        <a:pt x="202" y="1247"/>
                      </a:lnTo>
                      <a:lnTo>
                        <a:pt x="203" y="1247"/>
                      </a:lnTo>
                      <a:lnTo>
                        <a:pt x="204" y="1247"/>
                      </a:lnTo>
                      <a:lnTo>
                        <a:pt x="204" y="1247"/>
                      </a:lnTo>
                      <a:lnTo>
                        <a:pt x="204" y="1247"/>
                      </a:lnTo>
                      <a:lnTo>
                        <a:pt x="204" y="1246"/>
                      </a:lnTo>
                      <a:lnTo>
                        <a:pt x="204" y="1246"/>
                      </a:lnTo>
                      <a:lnTo>
                        <a:pt x="203" y="1246"/>
                      </a:lnTo>
                      <a:lnTo>
                        <a:pt x="203" y="1245"/>
                      </a:lnTo>
                      <a:lnTo>
                        <a:pt x="203" y="1246"/>
                      </a:lnTo>
                      <a:lnTo>
                        <a:pt x="202" y="1246"/>
                      </a:lnTo>
                      <a:lnTo>
                        <a:pt x="201" y="1246"/>
                      </a:lnTo>
                      <a:lnTo>
                        <a:pt x="201" y="1246"/>
                      </a:lnTo>
                      <a:lnTo>
                        <a:pt x="201" y="1245"/>
                      </a:lnTo>
                      <a:lnTo>
                        <a:pt x="201" y="1245"/>
                      </a:lnTo>
                      <a:lnTo>
                        <a:pt x="201" y="1244"/>
                      </a:lnTo>
                      <a:lnTo>
                        <a:pt x="200" y="1244"/>
                      </a:lnTo>
                      <a:lnTo>
                        <a:pt x="200" y="1243"/>
                      </a:lnTo>
                      <a:lnTo>
                        <a:pt x="199" y="1243"/>
                      </a:lnTo>
                      <a:lnTo>
                        <a:pt x="199" y="1243"/>
                      </a:lnTo>
                      <a:lnTo>
                        <a:pt x="200" y="1243"/>
                      </a:lnTo>
                      <a:lnTo>
                        <a:pt x="200" y="1242"/>
                      </a:lnTo>
                      <a:lnTo>
                        <a:pt x="200" y="1241"/>
                      </a:lnTo>
                      <a:lnTo>
                        <a:pt x="201" y="1241"/>
                      </a:lnTo>
                      <a:lnTo>
                        <a:pt x="201" y="1241"/>
                      </a:lnTo>
                      <a:lnTo>
                        <a:pt x="201" y="1240"/>
                      </a:lnTo>
                      <a:lnTo>
                        <a:pt x="201" y="1240"/>
                      </a:lnTo>
                      <a:lnTo>
                        <a:pt x="201" y="1239"/>
                      </a:lnTo>
                      <a:lnTo>
                        <a:pt x="201" y="1239"/>
                      </a:lnTo>
                      <a:lnTo>
                        <a:pt x="201" y="1239"/>
                      </a:lnTo>
                      <a:lnTo>
                        <a:pt x="202" y="1239"/>
                      </a:lnTo>
                      <a:lnTo>
                        <a:pt x="202" y="1239"/>
                      </a:lnTo>
                      <a:lnTo>
                        <a:pt x="201" y="1239"/>
                      </a:lnTo>
                      <a:lnTo>
                        <a:pt x="201" y="1238"/>
                      </a:lnTo>
                      <a:lnTo>
                        <a:pt x="201" y="1237"/>
                      </a:lnTo>
                      <a:lnTo>
                        <a:pt x="202" y="1237"/>
                      </a:lnTo>
                      <a:lnTo>
                        <a:pt x="202" y="1238"/>
                      </a:lnTo>
                      <a:lnTo>
                        <a:pt x="202" y="1239"/>
                      </a:lnTo>
                      <a:lnTo>
                        <a:pt x="203" y="1239"/>
                      </a:lnTo>
                      <a:lnTo>
                        <a:pt x="203" y="1238"/>
                      </a:lnTo>
                      <a:lnTo>
                        <a:pt x="204" y="1238"/>
                      </a:lnTo>
                      <a:lnTo>
                        <a:pt x="204" y="1237"/>
                      </a:lnTo>
                      <a:lnTo>
                        <a:pt x="203" y="1237"/>
                      </a:lnTo>
                      <a:lnTo>
                        <a:pt x="202" y="1237"/>
                      </a:lnTo>
                      <a:lnTo>
                        <a:pt x="202" y="1237"/>
                      </a:lnTo>
                      <a:lnTo>
                        <a:pt x="202" y="1237"/>
                      </a:lnTo>
                      <a:lnTo>
                        <a:pt x="203" y="1237"/>
                      </a:lnTo>
                      <a:lnTo>
                        <a:pt x="203" y="1237"/>
                      </a:lnTo>
                      <a:lnTo>
                        <a:pt x="204" y="1237"/>
                      </a:lnTo>
                      <a:lnTo>
                        <a:pt x="204" y="1237"/>
                      </a:lnTo>
                      <a:lnTo>
                        <a:pt x="204" y="1237"/>
                      </a:lnTo>
                      <a:lnTo>
                        <a:pt x="204" y="1236"/>
                      </a:lnTo>
                      <a:lnTo>
                        <a:pt x="203" y="1236"/>
                      </a:lnTo>
                      <a:lnTo>
                        <a:pt x="202" y="1236"/>
                      </a:lnTo>
                      <a:lnTo>
                        <a:pt x="201" y="1236"/>
                      </a:lnTo>
                      <a:lnTo>
                        <a:pt x="201" y="1236"/>
                      </a:lnTo>
                      <a:lnTo>
                        <a:pt x="200" y="1236"/>
                      </a:lnTo>
                      <a:lnTo>
                        <a:pt x="199" y="1236"/>
                      </a:lnTo>
                      <a:lnTo>
                        <a:pt x="199" y="1236"/>
                      </a:lnTo>
                      <a:lnTo>
                        <a:pt x="199" y="1235"/>
                      </a:lnTo>
                      <a:lnTo>
                        <a:pt x="198" y="1235"/>
                      </a:lnTo>
                      <a:lnTo>
                        <a:pt x="198" y="1234"/>
                      </a:lnTo>
                      <a:lnTo>
                        <a:pt x="197" y="1234"/>
                      </a:lnTo>
                      <a:lnTo>
                        <a:pt x="197" y="1235"/>
                      </a:lnTo>
                      <a:lnTo>
                        <a:pt x="197" y="1234"/>
                      </a:lnTo>
                      <a:lnTo>
                        <a:pt x="197" y="1234"/>
                      </a:lnTo>
                      <a:lnTo>
                        <a:pt x="197" y="1233"/>
                      </a:lnTo>
                      <a:lnTo>
                        <a:pt x="196" y="1233"/>
                      </a:lnTo>
                      <a:lnTo>
                        <a:pt x="195" y="1233"/>
                      </a:lnTo>
                      <a:lnTo>
                        <a:pt x="195" y="1233"/>
                      </a:lnTo>
                      <a:lnTo>
                        <a:pt x="194" y="1233"/>
                      </a:lnTo>
                      <a:lnTo>
                        <a:pt x="193" y="1233"/>
                      </a:lnTo>
                      <a:lnTo>
                        <a:pt x="193" y="1233"/>
                      </a:lnTo>
                      <a:lnTo>
                        <a:pt x="192" y="1233"/>
                      </a:lnTo>
                      <a:lnTo>
                        <a:pt x="191" y="1233"/>
                      </a:lnTo>
                      <a:lnTo>
                        <a:pt x="191" y="1232"/>
                      </a:lnTo>
                      <a:lnTo>
                        <a:pt x="191" y="1232"/>
                      </a:lnTo>
                      <a:lnTo>
                        <a:pt x="190" y="1232"/>
                      </a:lnTo>
                      <a:lnTo>
                        <a:pt x="190" y="1231"/>
                      </a:lnTo>
                      <a:lnTo>
                        <a:pt x="189" y="1231"/>
                      </a:lnTo>
                      <a:lnTo>
                        <a:pt x="189" y="1231"/>
                      </a:lnTo>
                      <a:lnTo>
                        <a:pt x="188" y="1231"/>
                      </a:lnTo>
                      <a:lnTo>
                        <a:pt x="187" y="1231"/>
                      </a:lnTo>
                      <a:lnTo>
                        <a:pt x="187" y="1231"/>
                      </a:lnTo>
                      <a:lnTo>
                        <a:pt x="187" y="1231"/>
                      </a:lnTo>
                      <a:lnTo>
                        <a:pt x="187" y="1231"/>
                      </a:lnTo>
                      <a:lnTo>
                        <a:pt x="187" y="1231"/>
                      </a:lnTo>
                      <a:lnTo>
                        <a:pt x="186" y="1231"/>
                      </a:lnTo>
                      <a:lnTo>
                        <a:pt x="185" y="1232"/>
                      </a:lnTo>
                      <a:lnTo>
                        <a:pt x="185" y="1231"/>
                      </a:lnTo>
                      <a:lnTo>
                        <a:pt x="185" y="1232"/>
                      </a:lnTo>
                      <a:lnTo>
                        <a:pt x="185" y="1232"/>
                      </a:lnTo>
                      <a:lnTo>
                        <a:pt x="185" y="1232"/>
                      </a:lnTo>
                      <a:lnTo>
                        <a:pt x="185" y="1232"/>
                      </a:lnTo>
                      <a:lnTo>
                        <a:pt x="185" y="1233"/>
                      </a:lnTo>
                      <a:lnTo>
                        <a:pt x="185" y="1232"/>
                      </a:lnTo>
                      <a:lnTo>
                        <a:pt x="184" y="1232"/>
                      </a:lnTo>
                      <a:lnTo>
                        <a:pt x="184" y="1233"/>
                      </a:lnTo>
                      <a:lnTo>
                        <a:pt x="183" y="1233"/>
                      </a:lnTo>
                      <a:lnTo>
                        <a:pt x="182" y="1233"/>
                      </a:lnTo>
                      <a:lnTo>
                        <a:pt x="182" y="1233"/>
                      </a:lnTo>
                      <a:lnTo>
                        <a:pt x="181" y="1233"/>
                      </a:lnTo>
                      <a:lnTo>
                        <a:pt x="180" y="1233"/>
                      </a:lnTo>
                      <a:lnTo>
                        <a:pt x="180" y="1233"/>
                      </a:lnTo>
                      <a:lnTo>
                        <a:pt x="179" y="1233"/>
                      </a:lnTo>
                      <a:lnTo>
                        <a:pt x="178" y="1233"/>
                      </a:lnTo>
                      <a:lnTo>
                        <a:pt x="178" y="1233"/>
                      </a:lnTo>
                      <a:lnTo>
                        <a:pt x="177" y="1233"/>
                      </a:lnTo>
                      <a:lnTo>
                        <a:pt x="177" y="1233"/>
                      </a:lnTo>
                      <a:lnTo>
                        <a:pt x="176" y="1233"/>
                      </a:lnTo>
                      <a:lnTo>
                        <a:pt x="176" y="1233"/>
                      </a:lnTo>
                      <a:lnTo>
                        <a:pt x="176" y="1233"/>
                      </a:lnTo>
                      <a:lnTo>
                        <a:pt x="175" y="1233"/>
                      </a:lnTo>
                      <a:lnTo>
                        <a:pt x="174" y="1233"/>
                      </a:lnTo>
                      <a:lnTo>
                        <a:pt x="174" y="1233"/>
                      </a:lnTo>
                      <a:lnTo>
                        <a:pt x="174" y="1233"/>
                      </a:lnTo>
                      <a:lnTo>
                        <a:pt x="173" y="1233"/>
                      </a:lnTo>
                      <a:lnTo>
                        <a:pt x="172" y="1233"/>
                      </a:lnTo>
                      <a:lnTo>
                        <a:pt x="172" y="1233"/>
                      </a:lnTo>
                      <a:lnTo>
                        <a:pt x="172" y="1233"/>
                      </a:lnTo>
                      <a:lnTo>
                        <a:pt x="171" y="1233"/>
                      </a:lnTo>
                      <a:lnTo>
                        <a:pt x="170" y="1233"/>
                      </a:lnTo>
                      <a:lnTo>
                        <a:pt x="170" y="1233"/>
                      </a:lnTo>
                      <a:lnTo>
                        <a:pt x="169" y="1233"/>
                      </a:lnTo>
                      <a:lnTo>
                        <a:pt x="169" y="1232"/>
                      </a:lnTo>
                      <a:lnTo>
                        <a:pt x="170" y="1232"/>
                      </a:lnTo>
                      <a:lnTo>
                        <a:pt x="170" y="1232"/>
                      </a:lnTo>
                      <a:lnTo>
                        <a:pt x="170" y="1231"/>
                      </a:lnTo>
                      <a:lnTo>
                        <a:pt x="170" y="1231"/>
                      </a:lnTo>
                      <a:lnTo>
                        <a:pt x="170" y="1230"/>
                      </a:lnTo>
                      <a:lnTo>
                        <a:pt x="171" y="1230"/>
                      </a:lnTo>
                      <a:lnTo>
                        <a:pt x="171" y="1229"/>
                      </a:lnTo>
                      <a:lnTo>
                        <a:pt x="171" y="1228"/>
                      </a:lnTo>
                      <a:lnTo>
                        <a:pt x="171" y="1228"/>
                      </a:lnTo>
                      <a:lnTo>
                        <a:pt x="171" y="1227"/>
                      </a:lnTo>
                      <a:lnTo>
                        <a:pt x="172" y="1227"/>
                      </a:lnTo>
                      <a:lnTo>
                        <a:pt x="172" y="1226"/>
                      </a:lnTo>
                      <a:lnTo>
                        <a:pt x="171" y="1226"/>
                      </a:lnTo>
                      <a:lnTo>
                        <a:pt x="172" y="1226"/>
                      </a:lnTo>
                      <a:lnTo>
                        <a:pt x="172" y="1226"/>
                      </a:lnTo>
                      <a:lnTo>
                        <a:pt x="172" y="1225"/>
                      </a:lnTo>
                      <a:lnTo>
                        <a:pt x="171" y="1225"/>
                      </a:lnTo>
                      <a:lnTo>
                        <a:pt x="171" y="1224"/>
                      </a:lnTo>
                      <a:lnTo>
                        <a:pt x="171" y="1225"/>
                      </a:lnTo>
                      <a:lnTo>
                        <a:pt x="170" y="1225"/>
                      </a:lnTo>
                      <a:lnTo>
                        <a:pt x="170" y="1226"/>
                      </a:lnTo>
                      <a:lnTo>
                        <a:pt x="171" y="1226"/>
                      </a:lnTo>
                      <a:lnTo>
                        <a:pt x="170" y="1226"/>
                      </a:lnTo>
                      <a:lnTo>
                        <a:pt x="170" y="1226"/>
                      </a:lnTo>
                      <a:lnTo>
                        <a:pt x="170" y="1226"/>
                      </a:lnTo>
                      <a:lnTo>
                        <a:pt x="170" y="1225"/>
                      </a:lnTo>
                      <a:lnTo>
                        <a:pt x="170" y="1224"/>
                      </a:lnTo>
                      <a:lnTo>
                        <a:pt x="171" y="1224"/>
                      </a:lnTo>
                      <a:lnTo>
                        <a:pt x="171" y="1224"/>
                      </a:lnTo>
                      <a:lnTo>
                        <a:pt x="172" y="1224"/>
                      </a:lnTo>
                      <a:lnTo>
                        <a:pt x="172" y="1223"/>
                      </a:lnTo>
                      <a:lnTo>
                        <a:pt x="172" y="1223"/>
                      </a:lnTo>
                      <a:lnTo>
                        <a:pt x="173" y="1223"/>
                      </a:lnTo>
                      <a:lnTo>
                        <a:pt x="173" y="1222"/>
                      </a:lnTo>
                      <a:lnTo>
                        <a:pt x="174" y="1222"/>
                      </a:lnTo>
                      <a:lnTo>
                        <a:pt x="174" y="1222"/>
                      </a:lnTo>
                      <a:lnTo>
                        <a:pt x="174" y="1222"/>
                      </a:lnTo>
                      <a:lnTo>
                        <a:pt x="175" y="1222"/>
                      </a:lnTo>
                      <a:lnTo>
                        <a:pt x="176" y="1222"/>
                      </a:lnTo>
                      <a:lnTo>
                        <a:pt x="176" y="1221"/>
                      </a:lnTo>
                      <a:lnTo>
                        <a:pt x="176" y="1221"/>
                      </a:lnTo>
                      <a:lnTo>
                        <a:pt x="177" y="1221"/>
                      </a:lnTo>
                      <a:lnTo>
                        <a:pt x="178" y="1221"/>
                      </a:lnTo>
                      <a:lnTo>
                        <a:pt x="178" y="1222"/>
                      </a:lnTo>
                      <a:lnTo>
                        <a:pt x="178" y="1222"/>
                      </a:lnTo>
                      <a:lnTo>
                        <a:pt x="178" y="1222"/>
                      </a:lnTo>
                      <a:lnTo>
                        <a:pt x="179" y="1222"/>
                      </a:lnTo>
                      <a:lnTo>
                        <a:pt x="180" y="1222"/>
                      </a:lnTo>
                      <a:lnTo>
                        <a:pt x="180" y="1222"/>
                      </a:lnTo>
                      <a:lnTo>
                        <a:pt x="181" y="1222"/>
                      </a:lnTo>
                      <a:lnTo>
                        <a:pt x="182" y="1222"/>
                      </a:lnTo>
                      <a:lnTo>
                        <a:pt x="182" y="1222"/>
                      </a:lnTo>
                      <a:lnTo>
                        <a:pt x="183" y="1222"/>
                      </a:lnTo>
                      <a:lnTo>
                        <a:pt x="183" y="1221"/>
                      </a:lnTo>
                      <a:lnTo>
                        <a:pt x="184" y="1220"/>
                      </a:lnTo>
                      <a:lnTo>
                        <a:pt x="185" y="1220"/>
                      </a:lnTo>
                      <a:lnTo>
                        <a:pt x="185" y="1220"/>
                      </a:lnTo>
                      <a:lnTo>
                        <a:pt x="186" y="1220"/>
                      </a:lnTo>
                      <a:lnTo>
                        <a:pt x="186" y="1220"/>
                      </a:lnTo>
                      <a:lnTo>
                        <a:pt x="187" y="1220"/>
                      </a:lnTo>
                      <a:lnTo>
                        <a:pt x="187" y="1220"/>
                      </a:lnTo>
                      <a:lnTo>
                        <a:pt x="187" y="1220"/>
                      </a:lnTo>
                      <a:lnTo>
                        <a:pt x="187" y="1220"/>
                      </a:lnTo>
                      <a:lnTo>
                        <a:pt x="188" y="1220"/>
                      </a:lnTo>
                      <a:lnTo>
                        <a:pt x="188" y="1219"/>
                      </a:lnTo>
                      <a:lnTo>
                        <a:pt x="189" y="1219"/>
                      </a:lnTo>
                      <a:lnTo>
                        <a:pt x="189" y="1220"/>
                      </a:lnTo>
                      <a:lnTo>
                        <a:pt x="189" y="1220"/>
                      </a:lnTo>
                      <a:lnTo>
                        <a:pt x="190" y="1220"/>
                      </a:lnTo>
                      <a:lnTo>
                        <a:pt x="190" y="1220"/>
                      </a:lnTo>
                      <a:lnTo>
                        <a:pt x="191" y="1220"/>
                      </a:lnTo>
                      <a:lnTo>
                        <a:pt x="191" y="1220"/>
                      </a:lnTo>
                      <a:lnTo>
                        <a:pt x="191" y="1220"/>
                      </a:lnTo>
                      <a:lnTo>
                        <a:pt x="191" y="1219"/>
                      </a:lnTo>
                      <a:lnTo>
                        <a:pt x="192" y="1219"/>
                      </a:lnTo>
                      <a:lnTo>
                        <a:pt x="192" y="1220"/>
                      </a:lnTo>
                      <a:lnTo>
                        <a:pt x="193" y="1220"/>
                      </a:lnTo>
                      <a:lnTo>
                        <a:pt x="193" y="1220"/>
                      </a:lnTo>
                      <a:lnTo>
                        <a:pt x="194" y="1220"/>
                      </a:lnTo>
                      <a:lnTo>
                        <a:pt x="194" y="1220"/>
                      </a:lnTo>
                      <a:lnTo>
                        <a:pt x="195" y="1220"/>
                      </a:lnTo>
                      <a:lnTo>
                        <a:pt x="195" y="1220"/>
                      </a:lnTo>
                      <a:lnTo>
                        <a:pt x="195" y="1220"/>
                      </a:lnTo>
                      <a:lnTo>
                        <a:pt x="195" y="1220"/>
                      </a:lnTo>
                      <a:lnTo>
                        <a:pt x="195" y="1220"/>
                      </a:lnTo>
                      <a:lnTo>
                        <a:pt x="196" y="1220"/>
                      </a:lnTo>
                      <a:lnTo>
                        <a:pt x="197" y="1220"/>
                      </a:lnTo>
                      <a:lnTo>
                        <a:pt x="197" y="1220"/>
                      </a:lnTo>
                      <a:lnTo>
                        <a:pt x="197" y="1220"/>
                      </a:lnTo>
                      <a:lnTo>
                        <a:pt x="198" y="1220"/>
                      </a:lnTo>
                      <a:lnTo>
                        <a:pt x="199" y="1220"/>
                      </a:lnTo>
                      <a:lnTo>
                        <a:pt x="199" y="1220"/>
                      </a:lnTo>
                      <a:lnTo>
                        <a:pt x="199" y="1219"/>
                      </a:lnTo>
                      <a:lnTo>
                        <a:pt x="200" y="1219"/>
                      </a:lnTo>
                      <a:lnTo>
                        <a:pt x="201" y="1219"/>
                      </a:lnTo>
                      <a:lnTo>
                        <a:pt x="201" y="1219"/>
                      </a:lnTo>
                      <a:lnTo>
                        <a:pt x="202" y="1219"/>
                      </a:lnTo>
                      <a:lnTo>
                        <a:pt x="203" y="1219"/>
                      </a:lnTo>
                      <a:lnTo>
                        <a:pt x="203" y="1218"/>
                      </a:lnTo>
                      <a:lnTo>
                        <a:pt x="204" y="1218"/>
                      </a:lnTo>
                      <a:lnTo>
                        <a:pt x="204" y="1219"/>
                      </a:lnTo>
                      <a:lnTo>
                        <a:pt x="204" y="1219"/>
                      </a:lnTo>
                      <a:lnTo>
                        <a:pt x="204" y="1218"/>
                      </a:lnTo>
                      <a:lnTo>
                        <a:pt x="204" y="1219"/>
                      </a:lnTo>
                      <a:lnTo>
                        <a:pt x="205" y="1219"/>
                      </a:lnTo>
                      <a:lnTo>
                        <a:pt x="206" y="1219"/>
                      </a:lnTo>
                      <a:lnTo>
                        <a:pt x="206" y="1219"/>
                      </a:lnTo>
                      <a:lnTo>
                        <a:pt x="207" y="1218"/>
                      </a:lnTo>
                      <a:lnTo>
                        <a:pt x="207" y="1219"/>
                      </a:lnTo>
                      <a:lnTo>
                        <a:pt x="208" y="1219"/>
                      </a:lnTo>
                      <a:lnTo>
                        <a:pt x="208" y="1218"/>
                      </a:lnTo>
                      <a:lnTo>
                        <a:pt x="208" y="1218"/>
                      </a:lnTo>
                      <a:lnTo>
                        <a:pt x="208" y="1218"/>
                      </a:lnTo>
                      <a:lnTo>
                        <a:pt x="209" y="1218"/>
                      </a:lnTo>
                      <a:lnTo>
                        <a:pt x="209" y="1218"/>
                      </a:lnTo>
                      <a:lnTo>
                        <a:pt x="209" y="1219"/>
                      </a:lnTo>
                      <a:lnTo>
                        <a:pt x="209" y="1220"/>
                      </a:lnTo>
                      <a:lnTo>
                        <a:pt x="210" y="1220"/>
                      </a:lnTo>
                      <a:lnTo>
                        <a:pt x="210" y="1220"/>
                      </a:lnTo>
                      <a:lnTo>
                        <a:pt x="210" y="1220"/>
                      </a:lnTo>
                      <a:lnTo>
                        <a:pt x="211" y="1220"/>
                      </a:lnTo>
                      <a:lnTo>
                        <a:pt x="212" y="1220"/>
                      </a:lnTo>
                      <a:lnTo>
                        <a:pt x="212" y="1219"/>
                      </a:lnTo>
                      <a:lnTo>
                        <a:pt x="212" y="1220"/>
                      </a:lnTo>
                      <a:lnTo>
                        <a:pt x="212" y="1219"/>
                      </a:lnTo>
                      <a:lnTo>
                        <a:pt x="212" y="1219"/>
                      </a:lnTo>
                      <a:lnTo>
                        <a:pt x="213" y="1219"/>
                      </a:lnTo>
                      <a:lnTo>
                        <a:pt x="214" y="1219"/>
                      </a:lnTo>
                      <a:lnTo>
                        <a:pt x="214" y="1219"/>
                      </a:lnTo>
                      <a:lnTo>
                        <a:pt x="215" y="1219"/>
                      </a:lnTo>
                      <a:lnTo>
                        <a:pt x="215" y="1220"/>
                      </a:lnTo>
                      <a:lnTo>
                        <a:pt x="216" y="1220"/>
                      </a:lnTo>
                      <a:lnTo>
                        <a:pt x="216" y="1220"/>
                      </a:lnTo>
                      <a:lnTo>
                        <a:pt x="216" y="1219"/>
                      </a:lnTo>
                      <a:lnTo>
                        <a:pt x="216" y="1220"/>
                      </a:lnTo>
                      <a:lnTo>
                        <a:pt x="217" y="1220"/>
                      </a:lnTo>
                      <a:lnTo>
                        <a:pt x="218" y="1219"/>
                      </a:lnTo>
                      <a:lnTo>
                        <a:pt x="218" y="1219"/>
                      </a:lnTo>
                      <a:lnTo>
                        <a:pt x="218" y="1218"/>
                      </a:lnTo>
                      <a:lnTo>
                        <a:pt x="218" y="1218"/>
                      </a:lnTo>
                      <a:lnTo>
                        <a:pt x="218" y="1218"/>
                      </a:lnTo>
                      <a:lnTo>
                        <a:pt x="219" y="1218"/>
                      </a:lnTo>
                      <a:lnTo>
                        <a:pt x="219" y="1218"/>
                      </a:lnTo>
                      <a:lnTo>
                        <a:pt x="219" y="1218"/>
                      </a:lnTo>
                      <a:lnTo>
                        <a:pt x="220" y="1218"/>
                      </a:lnTo>
                      <a:lnTo>
                        <a:pt x="220" y="1218"/>
                      </a:lnTo>
                      <a:lnTo>
                        <a:pt x="220" y="1218"/>
                      </a:lnTo>
                      <a:lnTo>
                        <a:pt x="221" y="1218"/>
                      </a:lnTo>
                      <a:lnTo>
                        <a:pt x="221" y="1217"/>
                      </a:lnTo>
                      <a:lnTo>
                        <a:pt x="222" y="1217"/>
                      </a:lnTo>
                      <a:lnTo>
                        <a:pt x="223" y="1217"/>
                      </a:lnTo>
                      <a:lnTo>
                        <a:pt x="223" y="1218"/>
                      </a:lnTo>
                      <a:lnTo>
                        <a:pt x="223" y="1217"/>
                      </a:lnTo>
                      <a:lnTo>
                        <a:pt x="223" y="1217"/>
                      </a:lnTo>
                      <a:lnTo>
                        <a:pt x="224" y="1217"/>
                      </a:lnTo>
                      <a:lnTo>
                        <a:pt x="225" y="1218"/>
                      </a:lnTo>
                      <a:lnTo>
                        <a:pt x="225" y="1218"/>
                      </a:lnTo>
                      <a:lnTo>
                        <a:pt x="225" y="1218"/>
                      </a:lnTo>
                      <a:lnTo>
                        <a:pt x="225" y="1218"/>
                      </a:lnTo>
                      <a:lnTo>
                        <a:pt x="225" y="1218"/>
                      </a:lnTo>
                      <a:lnTo>
                        <a:pt x="225" y="1218"/>
                      </a:lnTo>
                      <a:lnTo>
                        <a:pt x="225" y="1218"/>
                      </a:lnTo>
                      <a:lnTo>
                        <a:pt x="225" y="1217"/>
                      </a:lnTo>
                      <a:lnTo>
                        <a:pt x="225" y="1218"/>
                      </a:lnTo>
                      <a:lnTo>
                        <a:pt x="226" y="1218"/>
                      </a:lnTo>
                      <a:lnTo>
                        <a:pt x="227" y="1218"/>
                      </a:lnTo>
                      <a:lnTo>
                        <a:pt x="227" y="1218"/>
                      </a:lnTo>
                      <a:lnTo>
                        <a:pt x="228" y="1218"/>
                      </a:lnTo>
                      <a:lnTo>
                        <a:pt x="228" y="1217"/>
                      </a:lnTo>
                      <a:lnTo>
                        <a:pt x="228" y="1216"/>
                      </a:lnTo>
                      <a:lnTo>
                        <a:pt x="229" y="1216"/>
                      </a:lnTo>
                      <a:lnTo>
                        <a:pt x="229" y="1216"/>
                      </a:lnTo>
                      <a:lnTo>
                        <a:pt x="229" y="1215"/>
                      </a:lnTo>
                      <a:lnTo>
                        <a:pt x="229" y="1215"/>
                      </a:lnTo>
                      <a:lnTo>
                        <a:pt x="229" y="1214"/>
                      </a:lnTo>
                      <a:lnTo>
                        <a:pt x="230" y="1214"/>
                      </a:lnTo>
                      <a:lnTo>
                        <a:pt x="230" y="1214"/>
                      </a:lnTo>
                      <a:lnTo>
                        <a:pt x="231" y="1213"/>
                      </a:lnTo>
                      <a:lnTo>
                        <a:pt x="231" y="1213"/>
                      </a:lnTo>
                      <a:lnTo>
                        <a:pt x="231" y="1212"/>
                      </a:lnTo>
                      <a:lnTo>
                        <a:pt x="231" y="1212"/>
                      </a:lnTo>
                      <a:lnTo>
                        <a:pt x="230" y="1212"/>
                      </a:lnTo>
                      <a:lnTo>
                        <a:pt x="229" y="1212"/>
                      </a:lnTo>
                      <a:lnTo>
                        <a:pt x="229" y="1211"/>
                      </a:lnTo>
                      <a:lnTo>
                        <a:pt x="230" y="1211"/>
                      </a:lnTo>
                      <a:lnTo>
                        <a:pt x="230" y="1210"/>
                      </a:lnTo>
                      <a:lnTo>
                        <a:pt x="231" y="1210"/>
                      </a:lnTo>
                      <a:lnTo>
                        <a:pt x="231" y="1210"/>
                      </a:lnTo>
                      <a:lnTo>
                        <a:pt x="231" y="1209"/>
                      </a:lnTo>
                      <a:lnTo>
                        <a:pt x="232" y="1209"/>
                      </a:lnTo>
                      <a:lnTo>
                        <a:pt x="233" y="1208"/>
                      </a:lnTo>
                      <a:lnTo>
                        <a:pt x="233" y="1207"/>
                      </a:lnTo>
                      <a:lnTo>
                        <a:pt x="232" y="1207"/>
                      </a:lnTo>
                      <a:lnTo>
                        <a:pt x="232" y="1206"/>
                      </a:lnTo>
                      <a:lnTo>
                        <a:pt x="233" y="1206"/>
                      </a:lnTo>
                      <a:lnTo>
                        <a:pt x="233" y="1207"/>
                      </a:lnTo>
                      <a:lnTo>
                        <a:pt x="233" y="1207"/>
                      </a:lnTo>
                      <a:lnTo>
                        <a:pt x="234" y="1207"/>
                      </a:lnTo>
                      <a:lnTo>
                        <a:pt x="234" y="1208"/>
                      </a:lnTo>
                      <a:lnTo>
                        <a:pt x="235" y="1207"/>
                      </a:lnTo>
                      <a:lnTo>
                        <a:pt x="235" y="1207"/>
                      </a:lnTo>
                      <a:lnTo>
                        <a:pt x="235" y="1207"/>
                      </a:lnTo>
                      <a:lnTo>
                        <a:pt x="236" y="1207"/>
                      </a:lnTo>
                      <a:lnTo>
                        <a:pt x="236" y="1206"/>
                      </a:lnTo>
                      <a:lnTo>
                        <a:pt x="237" y="1206"/>
                      </a:lnTo>
                      <a:lnTo>
                        <a:pt x="237" y="1205"/>
                      </a:lnTo>
                      <a:lnTo>
                        <a:pt x="237" y="1205"/>
                      </a:lnTo>
                      <a:lnTo>
                        <a:pt x="237" y="1205"/>
                      </a:lnTo>
                      <a:lnTo>
                        <a:pt x="237" y="1204"/>
                      </a:lnTo>
                      <a:lnTo>
                        <a:pt x="238" y="1204"/>
                      </a:lnTo>
                      <a:lnTo>
                        <a:pt x="238" y="1203"/>
                      </a:lnTo>
                      <a:lnTo>
                        <a:pt x="239" y="1203"/>
                      </a:lnTo>
                      <a:lnTo>
                        <a:pt x="239" y="1203"/>
                      </a:lnTo>
                      <a:lnTo>
                        <a:pt x="238" y="1203"/>
                      </a:lnTo>
                      <a:lnTo>
                        <a:pt x="238" y="1202"/>
                      </a:lnTo>
                      <a:lnTo>
                        <a:pt x="238" y="1201"/>
                      </a:lnTo>
                      <a:lnTo>
                        <a:pt x="238" y="1201"/>
                      </a:lnTo>
                      <a:lnTo>
                        <a:pt x="239" y="1201"/>
                      </a:lnTo>
                      <a:lnTo>
                        <a:pt x="239" y="1200"/>
                      </a:lnTo>
                      <a:lnTo>
                        <a:pt x="239" y="1200"/>
                      </a:lnTo>
                      <a:lnTo>
                        <a:pt x="240" y="1199"/>
                      </a:lnTo>
                      <a:lnTo>
                        <a:pt x="240" y="1199"/>
                      </a:lnTo>
                      <a:lnTo>
                        <a:pt x="241" y="1199"/>
                      </a:lnTo>
                      <a:lnTo>
                        <a:pt x="240" y="1198"/>
                      </a:lnTo>
                      <a:lnTo>
                        <a:pt x="240" y="1197"/>
                      </a:lnTo>
                      <a:lnTo>
                        <a:pt x="239" y="1197"/>
                      </a:lnTo>
                      <a:lnTo>
                        <a:pt x="240" y="1197"/>
                      </a:lnTo>
                      <a:lnTo>
                        <a:pt x="239" y="1197"/>
                      </a:lnTo>
                      <a:lnTo>
                        <a:pt x="239" y="1197"/>
                      </a:lnTo>
                      <a:lnTo>
                        <a:pt x="239" y="1196"/>
                      </a:lnTo>
                      <a:lnTo>
                        <a:pt x="240" y="1196"/>
                      </a:lnTo>
                      <a:lnTo>
                        <a:pt x="239" y="1196"/>
                      </a:lnTo>
                      <a:lnTo>
                        <a:pt x="239" y="1195"/>
                      </a:lnTo>
                      <a:lnTo>
                        <a:pt x="239" y="1196"/>
                      </a:lnTo>
                      <a:lnTo>
                        <a:pt x="239" y="1195"/>
                      </a:lnTo>
                      <a:lnTo>
                        <a:pt x="239" y="1196"/>
                      </a:lnTo>
                      <a:lnTo>
                        <a:pt x="239" y="1195"/>
                      </a:lnTo>
                      <a:lnTo>
                        <a:pt x="238" y="1196"/>
                      </a:lnTo>
                      <a:lnTo>
                        <a:pt x="238" y="1195"/>
                      </a:lnTo>
                      <a:lnTo>
                        <a:pt x="237" y="1195"/>
                      </a:lnTo>
                      <a:lnTo>
                        <a:pt x="237" y="1195"/>
                      </a:lnTo>
                      <a:lnTo>
                        <a:pt x="237" y="1195"/>
                      </a:lnTo>
                      <a:lnTo>
                        <a:pt x="236" y="1195"/>
                      </a:lnTo>
                      <a:lnTo>
                        <a:pt x="236" y="1194"/>
                      </a:lnTo>
                      <a:lnTo>
                        <a:pt x="236" y="1193"/>
                      </a:lnTo>
                      <a:lnTo>
                        <a:pt x="235" y="1193"/>
                      </a:lnTo>
                      <a:lnTo>
                        <a:pt x="235" y="1193"/>
                      </a:lnTo>
                      <a:lnTo>
                        <a:pt x="234" y="1193"/>
                      </a:lnTo>
                      <a:lnTo>
                        <a:pt x="234" y="1194"/>
                      </a:lnTo>
                      <a:lnTo>
                        <a:pt x="233" y="1194"/>
                      </a:lnTo>
                      <a:lnTo>
                        <a:pt x="233" y="1194"/>
                      </a:lnTo>
                      <a:lnTo>
                        <a:pt x="232" y="1194"/>
                      </a:lnTo>
                      <a:lnTo>
                        <a:pt x="232" y="1195"/>
                      </a:lnTo>
                      <a:lnTo>
                        <a:pt x="231" y="1195"/>
                      </a:lnTo>
                      <a:lnTo>
                        <a:pt x="231" y="1195"/>
                      </a:lnTo>
                      <a:lnTo>
                        <a:pt x="231" y="1195"/>
                      </a:lnTo>
                      <a:lnTo>
                        <a:pt x="231" y="1195"/>
                      </a:lnTo>
                      <a:lnTo>
                        <a:pt x="231" y="1196"/>
                      </a:lnTo>
                      <a:lnTo>
                        <a:pt x="231" y="1197"/>
                      </a:lnTo>
                      <a:lnTo>
                        <a:pt x="232" y="1197"/>
                      </a:lnTo>
                      <a:lnTo>
                        <a:pt x="232" y="1197"/>
                      </a:lnTo>
                      <a:lnTo>
                        <a:pt x="232" y="1198"/>
                      </a:lnTo>
                      <a:lnTo>
                        <a:pt x="231" y="1198"/>
                      </a:lnTo>
                      <a:lnTo>
                        <a:pt x="231" y="1199"/>
                      </a:lnTo>
                      <a:lnTo>
                        <a:pt x="231" y="1199"/>
                      </a:lnTo>
                      <a:lnTo>
                        <a:pt x="230" y="1199"/>
                      </a:lnTo>
                      <a:lnTo>
                        <a:pt x="230" y="1198"/>
                      </a:lnTo>
                      <a:lnTo>
                        <a:pt x="229" y="1198"/>
                      </a:lnTo>
                      <a:lnTo>
                        <a:pt x="229" y="1198"/>
                      </a:lnTo>
                      <a:lnTo>
                        <a:pt x="229" y="1197"/>
                      </a:lnTo>
                      <a:lnTo>
                        <a:pt x="229" y="1197"/>
                      </a:lnTo>
                      <a:lnTo>
                        <a:pt x="229" y="1196"/>
                      </a:lnTo>
                      <a:lnTo>
                        <a:pt x="229" y="1195"/>
                      </a:lnTo>
                      <a:lnTo>
                        <a:pt x="228" y="1195"/>
                      </a:lnTo>
                      <a:lnTo>
                        <a:pt x="227" y="1195"/>
                      </a:lnTo>
                      <a:lnTo>
                        <a:pt x="227" y="1195"/>
                      </a:lnTo>
                      <a:lnTo>
                        <a:pt x="227" y="1195"/>
                      </a:lnTo>
                      <a:lnTo>
                        <a:pt x="227" y="1194"/>
                      </a:lnTo>
                      <a:lnTo>
                        <a:pt x="227" y="1193"/>
                      </a:lnTo>
                      <a:lnTo>
                        <a:pt x="226" y="1193"/>
                      </a:lnTo>
                      <a:lnTo>
                        <a:pt x="226" y="1193"/>
                      </a:lnTo>
                      <a:lnTo>
                        <a:pt x="227" y="1193"/>
                      </a:lnTo>
                      <a:lnTo>
                        <a:pt x="227" y="1193"/>
                      </a:lnTo>
                      <a:lnTo>
                        <a:pt x="228" y="1193"/>
                      </a:lnTo>
                      <a:lnTo>
                        <a:pt x="228" y="1193"/>
                      </a:lnTo>
                      <a:lnTo>
                        <a:pt x="229" y="1193"/>
                      </a:lnTo>
                      <a:lnTo>
                        <a:pt x="229" y="1193"/>
                      </a:lnTo>
                      <a:lnTo>
                        <a:pt x="229" y="1194"/>
                      </a:lnTo>
                      <a:lnTo>
                        <a:pt x="230" y="1194"/>
                      </a:lnTo>
                      <a:lnTo>
                        <a:pt x="230" y="1193"/>
                      </a:lnTo>
                      <a:lnTo>
                        <a:pt x="229" y="1193"/>
                      </a:lnTo>
                      <a:lnTo>
                        <a:pt x="229" y="1193"/>
                      </a:lnTo>
                      <a:lnTo>
                        <a:pt x="229" y="1192"/>
                      </a:lnTo>
                      <a:lnTo>
                        <a:pt x="230" y="1191"/>
                      </a:lnTo>
                      <a:lnTo>
                        <a:pt x="230" y="1191"/>
                      </a:lnTo>
                      <a:lnTo>
                        <a:pt x="231" y="1191"/>
                      </a:lnTo>
                      <a:lnTo>
                        <a:pt x="231" y="1191"/>
                      </a:lnTo>
                      <a:lnTo>
                        <a:pt x="232" y="1191"/>
                      </a:lnTo>
                      <a:lnTo>
                        <a:pt x="233" y="1191"/>
                      </a:lnTo>
                      <a:lnTo>
                        <a:pt x="233" y="1191"/>
                      </a:lnTo>
                      <a:lnTo>
                        <a:pt x="234" y="1191"/>
                      </a:lnTo>
                      <a:lnTo>
                        <a:pt x="235" y="1191"/>
                      </a:lnTo>
                      <a:lnTo>
                        <a:pt x="235" y="1191"/>
                      </a:lnTo>
                      <a:lnTo>
                        <a:pt x="235" y="1192"/>
                      </a:lnTo>
                      <a:lnTo>
                        <a:pt x="236" y="1192"/>
                      </a:lnTo>
                      <a:lnTo>
                        <a:pt x="237" y="1192"/>
                      </a:lnTo>
                      <a:lnTo>
                        <a:pt x="237" y="1191"/>
                      </a:lnTo>
                      <a:lnTo>
                        <a:pt x="236" y="1191"/>
                      </a:lnTo>
                      <a:lnTo>
                        <a:pt x="236" y="1191"/>
                      </a:lnTo>
                      <a:lnTo>
                        <a:pt x="237" y="1191"/>
                      </a:lnTo>
                      <a:lnTo>
                        <a:pt x="237" y="1190"/>
                      </a:lnTo>
                      <a:lnTo>
                        <a:pt x="237" y="1189"/>
                      </a:lnTo>
                      <a:lnTo>
                        <a:pt x="236" y="1189"/>
                      </a:lnTo>
                      <a:lnTo>
                        <a:pt x="236" y="1188"/>
                      </a:lnTo>
                      <a:lnTo>
                        <a:pt x="235" y="1188"/>
                      </a:lnTo>
                      <a:lnTo>
                        <a:pt x="235" y="1188"/>
                      </a:lnTo>
                      <a:lnTo>
                        <a:pt x="235" y="1188"/>
                      </a:lnTo>
                      <a:lnTo>
                        <a:pt x="235" y="1187"/>
                      </a:lnTo>
                      <a:lnTo>
                        <a:pt x="235" y="1186"/>
                      </a:lnTo>
                      <a:lnTo>
                        <a:pt x="235" y="1186"/>
                      </a:lnTo>
                      <a:lnTo>
                        <a:pt x="236" y="1186"/>
                      </a:lnTo>
                      <a:lnTo>
                        <a:pt x="237" y="1187"/>
                      </a:lnTo>
                      <a:lnTo>
                        <a:pt x="237" y="1187"/>
                      </a:lnTo>
                      <a:lnTo>
                        <a:pt x="238" y="1187"/>
                      </a:lnTo>
                      <a:lnTo>
                        <a:pt x="239" y="1187"/>
                      </a:lnTo>
                      <a:lnTo>
                        <a:pt x="239" y="1187"/>
                      </a:lnTo>
                      <a:lnTo>
                        <a:pt x="239" y="1188"/>
                      </a:lnTo>
                      <a:lnTo>
                        <a:pt x="240" y="1188"/>
                      </a:lnTo>
                      <a:lnTo>
                        <a:pt x="241" y="1188"/>
                      </a:lnTo>
                      <a:lnTo>
                        <a:pt x="242" y="1189"/>
                      </a:lnTo>
                      <a:lnTo>
                        <a:pt x="242" y="1189"/>
                      </a:lnTo>
                      <a:lnTo>
                        <a:pt x="242" y="1190"/>
                      </a:lnTo>
                      <a:lnTo>
                        <a:pt x="243" y="1190"/>
                      </a:lnTo>
                      <a:lnTo>
                        <a:pt x="244" y="1190"/>
                      </a:lnTo>
                      <a:lnTo>
                        <a:pt x="244" y="1190"/>
                      </a:lnTo>
                      <a:lnTo>
                        <a:pt x="245" y="1190"/>
                      </a:lnTo>
                      <a:lnTo>
                        <a:pt x="246" y="1190"/>
                      </a:lnTo>
                      <a:lnTo>
                        <a:pt x="246" y="1189"/>
                      </a:lnTo>
                      <a:lnTo>
                        <a:pt x="246" y="1190"/>
                      </a:lnTo>
                      <a:lnTo>
                        <a:pt x="246" y="1190"/>
                      </a:lnTo>
                      <a:lnTo>
                        <a:pt x="246" y="1191"/>
                      </a:lnTo>
                      <a:lnTo>
                        <a:pt x="247" y="1191"/>
                      </a:lnTo>
                      <a:lnTo>
                        <a:pt x="248" y="1191"/>
                      </a:lnTo>
                      <a:lnTo>
                        <a:pt x="248" y="1191"/>
                      </a:lnTo>
                      <a:lnTo>
                        <a:pt x="248" y="1191"/>
                      </a:lnTo>
                      <a:lnTo>
                        <a:pt x="248" y="1192"/>
                      </a:lnTo>
                      <a:lnTo>
                        <a:pt x="249" y="1192"/>
                      </a:lnTo>
                      <a:lnTo>
                        <a:pt x="250" y="1192"/>
                      </a:lnTo>
                      <a:lnTo>
                        <a:pt x="250" y="1193"/>
                      </a:lnTo>
                      <a:lnTo>
                        <a:pt x="250" y="1193"/>
                      </a:lnTo>
                      <a:lnTo>
                        <a:pt x="250" y="1193"/>
                      </a:lnTo>
                      <a:lnTo>
                        <a:pt x="250" y="1194"/>
                      </a:lnTo>
                      <a:lnTo>
                        <a:pt x="251" y="1194"/>
                      </a:lnTo>
                      <a:lnTo>
                        <a:pt x="252" y="1194"/>
                      </a:lnTo>
                      <a:lnTo>
                        <a:pt x="252" y="1193"/>
                      </a:lnTo>
                      <a:lnTo>
                        <a:pt x="252" y="1193"/>
                      </a:lnTo>
                      <a:lnTo>
                        <a:pt x="252" y="1194"/>
                      </a:lnTo>
                      <a:lnTo>
                        <a:pt x="253" y="1194"/>
                      </a:lnTo>
                      <a:lnTo>
                        <a:pt x="253" y="1193"/>
                      </a:lnTo>
                      <a:lnTo>
                        <a:pt x="252" y="1193"/>
                      </a:lnTo>
                      <a:lnTo>
                        <a:pt x="252" y="1193"/>
                      </a:lnTo>
                      <a:lnTo>
                        <a:pt x="252" y="1193"/>
                      </a:lnTo>
                      <a:lnTo>
                        <a:pt x="252" y="1192"/>
                      </a:lnTo>
                      <a:lnTo>
                        <a:pt x="252" y="1192"/>
                      </a:lnTo>
                      <a:lnTo>
                        <a:pt x="253" y="1192"/>
                      </a:lnTo>
                      <a:lnTo>
                        <a:pt x="254" y="1193"/>
                      </a:lnTo>
                      <a:lnTo>
                        <a:pt x="254" y="1193"/>
                      </a:lnTo>
                      <a:lnTo>
                        <a:pt x="254" y="1193"/>
                      </a:lnTo>
                      <a:lnTo>
                        <a:pt x="255" y="1193"/>
                      </a:lnTo>
                      <a:lnTo>
                        <a:pt x="255" y="1194"/>
                      </a:lnTo>
                      <a:lnTo>
                        <a:pt x="256" y="1194"/>
                      </a:lnTo>
                      <a:lnTo>
                        <a:pt x="256" y="1194"/>
                      </a:lnTo>
                      <a:lnTo>
                        <a:pt x="257" y="1194"/>
                      </a:lnTo>
                      <a:lnTo>
                        <a:pt x="258" y="1194"/>
                      </a:lnTo>
                      <a:lnTo>
                        <a:pt x="258" y="1194"/>
                      </a:lnTo>
                      <a:lnTo>
                        <a:pt x="258" y="1193"/>
                      </a:lnTo>
                      <a:lnTo>
                        <a:pt x="259" y="1193"/>
                      </a:lnTo>
                      <a:lnTo>
                        <a:pt x="259" y="1193"/>
                      </a:lnTo>
                      <a:lnTo>
                        <a:pt x="260" y="1193"/>
                      </a:lnTo>
                      <a:lnTo>
                        <a:pt x="261" y="1192"/>
                      </a:lnTo>
                      <a:lnTo>
                        <a:pt x="261" y="1192"/>
                      </a:lnTo>
                      <a:lnTo>
                        <a:pt x="261" y="1191"/>
                      </a:lnTo>
                      <a:lnTo>
                        <a:pt x="261" y="1191"/>
                      </a:lnTo>
                      <a:lnTo>
                        <a:pt x="261" y="1191"/>
                      </a:lnTo>
                      <a:lnTo>
                        <a:pt x="262" y="1191"/>
                      </a:lnTo>
                      <a:lnTo>
                        <a:pt x="262" y="1191"/>
                      </a:lnTo>
                      <a:lnTo>
                        <a:pt x="263" y="1191"/>
                      </a:lnTo>
                      <a:lnTo>
                        <a:pt x="263" y="1190"/>
                      </a:lnTo>
                      <a:lnTo>
                        <a:pt x="263" y="1191"/>
                      </a:lnTo>
                      <a:lnTo>
                        <a:pt x="263" y="1191"/>
                      </a:lnTo>
                      <a:lnTo>
                        <a:pt x="263" y="1190"/>
                      </a:lnTo>
                      <a:lnTo>
                        <a:pt x="264" y="1190"/>
                      </a:lnTo>
                      <a:lnTo>
                        <a:pt x="263" y="1190"/>
                      </a:lnTo>
                      <a:lnTo>
                        <a:pt x="263" y="1189"/>
                      </a:lnTo>
                      <a:lnTo>
                        <a:pt x="263" y="1188"/>
                      </a:lnTo>
                      <a:lnTo>
                        <a:pt x="263" y="1188"/>
                      </a:lnTo>
                      <a:lnTo>
                        <a:pt x="263" y="1188"/>
                      </a:lnTo>
                      <a:lnTo>
                        <a:pt x="263" y="1187"/>
                      </a:lnTo>
                      <a:lnTo>
                        <a:pt x="262" y="1187"/>
                      </a:lnTo>
                      <a:lnTo>
                        <a:pt x="262" y="1186"/>
                      </a:lnTo>
                      <a:lnTo>
                        <a:pt x="262" y="1186"/>
                      </a:lnTo>
                      <a:lnTo>
                        <a:pt x="261" y="1186"/>
                      </a:lnTo>
                      <a:lnTo>
                        <a:pt x="261" y="1185"/>
                      </a:lnTo>
                      <a:lnTo>
                        <a:pt x="261" y="1185"/>
                      </a:lnTo>
                      <a:lnTo>
                        <a:pt x="261" y="1186"/>
                      </a:lnTo>
                      <a:lnTo>
                        <a:pt x="261" y="1186"/>
                      </a:lnTo>
                      <a:lnTo>
                        <a:pt x="261" y="1186"/>
                      </a:lnTo>
                      <a:lnTo>
                        <a:pt x="261" y="1186"/>
                      </a:lnTo>
                      <a:lnTo>
                        <a:pt x="261" y="1185"/>
                      </a:lnTo>
                      <a:lnTo>
                        <a:pt x="261" y="1184"/>
                      </a:lnTo>
                      <a:lnTo>
                        <a:pt x="260" y="1184"/>
                      </a:lnTo>
                      <a:lnTo>
                        <a:pt x="260" y="1184"/>
                      </a:lnTo>
                      <a:lnTo>
                        <a:pt x="259" y="1184"/>
                      </a:lnTo>
                      <a:lnTo>
                        <a:pt x="259" y="1183"/>
                      </a:lnTo>
                      <a:lnTo>
                        <a:pt x="259" y="1182"/>
                      </a:lnTo>
                      <a:lnTo>
                        <a:pt x="258" y="1182"/>
                      </a:lnTo>
                      <a:lnTo>
                        <a:pt x="258" y="1182"/>
                      </a:lnTo>
                      <a:lnTo>
                        <a:pt x="258" y="1181"/>
                      </a:lnTo>
                      <a:lnTo>
                        <a:pt x="259" y="1181"/>
                      </a:lnTo>
                      <a:lnTo>
                        <a:pt x="259" y="1180"/>
                      </a:lnTo>
                      <a:lnTo>
                        <a:pt x="259" y="1180"/>
                      </a:lnTo>
                      <a:lnTo>
                        <a:pt x="260" y="1180"/>
                      </a:lnTo>
                      <a:lnTo>
                        <a:pt x="261" y="1180"/>
                      </a:lnTo>
                      <a:lnTo>
                        <a:pt x="261" y="1179"/>
                      </a:lnTo>
                      <a:lnTo>
                        <a:pt x="261" y="1179"/>
                      </a:lnTo>
                      <a:lnTo>
                        <a:pt x="262" y="1179"/>
                      </a:lnTo>
                      <a:lnTo>
                        <a:pt x="262" y="1180"/>
                      </a:lnTo>
                      <a:lnTo>
                        <a:pt x="261" y="1180"/>
                      </a:lnTo>
                      <a:lnTo>
                        <a:pt x="261" y="1180"/>
                      </a:lnTo>
                      <a:lnTo>
                        <a:pt x="262" y="1180"/>
                      </a:lnTo>
                      <a:lnTo>
                        <a:pt x="262" y="1180"/>
                      </a:lnTo>
                      <a:lnTo>
                        <a:pt x="263" y="1180"/>
                      </a:lnTo>
                      <a:lnTo>
                        <a:pt x="262" y="1180"/>
                      </a:lnTo>
                      <a:lnTo>
                        <a:pt x="262" y="1179"/>
                      </a:lnTo>
                      <a:lnTo>
                        <a:pt x="262" y="1178"/>
                      </a:lnTo>
                      <a:lnTo>
                        <a:pt x="263" y="1178"/>
                      </a:lnTo>
                      <a:lnTo>
                        <a:pt x="263" y="1178"/>
                      </a:lnTo>
                      <a:lnTo>
                        <a:pt x="264" y="1178"/>
                      </a:lnTo>
                      <a:lnTo>
                        <a:pt x="264" y="1177"/>
                      </a:lnTo>
                      <a:lnTo>
                        <a:pt x="265" y="1177"/>
                      </a:lnTo>
                      <a:lnTo>
                        <a:pt x="265" y="1178"/>
                      </a:lnTo>
                      <a:lnTo>
                        <a:pt x="265" y="1178"/>
                      </a:lnTo>
                      <a:lnTo>
                        <a:pt x="265" y="1179"/>
                      </a:lnTo>
                      <a:lnTo>
                        <a:pt x="264" y="1179"/>
                      </a:lnTo>
                      <a:lnTo>
                        <a:pt x="264" y="1180"/>
                      </a:lnTo>
                      <a:lnTo>
                        <a:pt x="265" y="1180"/>
                      </a:lnTo>
                      <a:lnTo>
                        <a:pt x="265" y="1180"/>
                      </a:lnTo>
                      <a:lnTo>
                        <a:pt x="265" y="1180"/>
                      </a:lnTo>
                      <a:lnTo>
                        <a:pt x="265" y="1180"/>
                      </a:lnTo>
                      <a:lnTo>
                        <a:pt x="265" y="1179"/>
                      </a:lnTo>
                      <a:lnTo>
                        <a:pt x="265" y="1179"/>
                      </a:lnTo>
                      <a:lnTo>
                        <a:pt x="265" y="1178"/>
                      </a:lnTo>
                      <a:lnTo>
                        <a:pt x="265" y="1178"/>
                      </a:lnTo>
                      <a:lnTo>
                        <a:pt x="265" y="1177"/>
                      </a:lnTo>
                      <a:lnTo>
                        <a:pt x="265" y="1177"/>
                      </a:lnTo>
                      <a:lnTo>
                        <a:pt x="265" y="1176"/>
                      </a:lnTo>
                      <a:lnTo>
                        <a:pt x="266" y="1176"/>
                      </a:lnTo>
                      <a:lnTo>
                        <a:pt x="266" y="1176"/>
                      </a:lnTo>
                      <a:lnTo>
                        <a:pt x="267" y="1176"/>
                      </a:lnTo>
                      <a:lnTo>
                        <a:pt x="267" y="1176"/>
                      </a:lnTo>
                      <a:lnTo>
                        <a:pt x="268" y="1176"/>
                      </a:lnTo>
                      <a:lnTo>
                        <a:pt x="268" y="1175"/>
                      </a:lnTo>
                      <a:lnTo>
                        <a:pt x="267" y="1175"/>
                      </a:lnTo>
                      <a:lnTo>
                        <a:pt x="267" y="1174"/>
                      </a:lnTo>
                      <a:lnTo>
                        <a:pt x="267" y="1174"/>
                      </a:lnTo>
                      <a:lnTo>
                        <a:pt x="266" y="1174"/>
                      </a:lnTo>
                      <a:lnTo>
                        <a:pt x="266" y="1174"/>
                      </a:lnTo>
                      <a:lnTo>
                        <a:pt x="267" y="1174"/>
                      </a:lnTo>
                      <a:lnTo>
                        <a:pt x="267" y="1173"/>
                      </a:lnTo>
                      <a:lnTo>
                        <a:pt x="266" y="1173"/>
                      </a:lnTo>
                      <a:lnTo>
                        <a:pt x="266" y="1172"/>
                      </a:lnTo>
                      <a:lnTo>
                        <a:pt x="266" y="1172"/>
                      </a:lnTo>
                      <a:lnTo>
                        <a:pt x="267" y="1172"/>
                      </a:lnTo>
                      <a:lnTo>
                        <a:pt x="266" y="1171"/>
                      </a:lnTo>
                      <a:lnTo>
                        <a:pt x="267" y="1171"/>
                      </a:lnTo>
                      <a:lnTo>
                        <a:pt x="266" y="1170"/>
                      </a:lnTo>
                      <a:lnTo>
                        <a:pt x="265" y="1170"/>
                      </a:lnTo>
                      <a:lnTo>
                        <a:pt x="265" y="1169"/>
                      </a:lnTo>
                      <a:lnTo>
                        <a:pt x="265" y="1169"/>
                      </a:lnTo>
                      <a:lnTo>
                        <a:pt x="265" y="1169"/>
                      </a:lnTo>
                      <a:lnTo>
                        <a:pt x="265" y="1168"/>
                      </a:lnTo>
                      <a:lnTo>
                        <a:pt x="265" y="1168"/>
                      </a:lnTo>
                      <a:lnTo>
                        <a:pt x="265" y="1167"/>
                      </a:lnTo>
                      <a:lnTo>
                        <a:pt x="264" y="1167"/>
                      </a:lnTo>
                      <a:lnTo>
                        <a:pt x="264" y="1167"/>
                      </a:lnTo>
                      <a:lnTo>
                        <a:pt x="264" y="1166"/>
                      </a:lnTo>
                      <a:lnTo>
                        <a:pt x="264" y="1167"/>
                      </a:lnTo>
                      <a:lnTo>
                        <a:pt x="263" y="1167"/>
                      </a:lnTo>
                      <a:lnTo>
                        <a:pt x="263" y="1166"/>
                      </a:lnTo>
                      <a:lnTo>
                        <a:pt x="263" y="1166"/>
                      </a:lnTo>
                      <a:lnTo>
                        <a:pt x="263" y="1165"/>
                      </a:lnTo>
                      <a:lnTo>
                        <a:pt x="262" y="1165"/>
                      </a:lnTo>
                      <a:lnTo>
                        <a:pt x="262" y="1165"/>
                      </a:lnTo>
                      <a:lnTo>
                        <a:pt x="262" y="1164"/>
                      </a:lnTo>
                      <a:lnTo>
                        <a:pt x="261" y="1164"/>
                      </a:lnTo>
                      <a:lnTo>
                        <a:pt x="261" y="1163"/>
                      </a:lnTo>
                      <a:lnTo>
                        <a:pt x="261" y="1163"/>
                      </a:lnTo>
                      <a:lnTo>
                        <a:pt x="261" y="1163"/>
                      </a:lnTo>
                      <a:lnTo>
                        <a:pt x="261" y="1162"/>
                      </a:lnTo>
                      <a:lnTo>
                        <a:pt x="261" y="1161"/>
                      </a:lnTo>
                      <a:lnTo>
                        <a:pt x="260" y="1161"/>
                      </a:lnTo>
                      <a:lnTo>
                        <a:pt x="260" y="1161"/>
                      </a:lnTo>
                      <a:lnTo>
                        <a:pt x="259" y="1161"/>
                      </a:lnTo>
                      <a:lnTo>
                        <a:pt x="258" y="1161"/>
                      </a:lnTo>
                      <a:lnTo>
                        <a:pt x="258" y="1160"/>
                      </a:lnTo>
                      <a:lnTo>
                        <a:pt x="259" y="1160"/>
                      </a:lnTo>
                      <a:lnTo>
                        <a:pt x="258" y="1160"/>
                      </a:lnTo>
                      <a:lnTo>
                        <a:pt x="258" y="1159"/>
                      </a:lnTo>
                      <a:lnTo>
                        <a:pt x="258" y="1159"/>
                      </a:lnTo>
                      <a:lnTo>
                        <a:pt x="258" y="1158"/>
                      </a:lnTo>
                      <a:lnTo>
                        <a:pt x="258" y="1158"/>
                      </a:lnTo>
                      <a:lnTo>
                        <a:pt x="257" y="1158"/>
                      </a:lnTo>
                      <a:lnTo>
                        <a:pt x="256" y="1158"/>
                      </a:lnTo>
                      <a:lnTo>
                        <a:pt x="256" y="1158"/>
                      </a:lnTo>
                      <a:lnTo>
                        <a:pt x="256" y="1159"/>
                      </a:lnTo>
                      <a:lnTo>
                        <a:pt x="255" y="1159"/>
                      </a:lnTo>
                      <a:lnTo>
                        <a:pt x="254" y="1159"/>
                      </a:lnTo>
                      <a:lnTo>
                        <a:pt x="254" y="1158"/>
                      </a:lnTo>
                      <a:lnTo>
                        <a:pt x="254" y="1158"/>
                      </a:lnTo>
                      <a:lnTo>
                        <a:pt x="253" y="1158"/>
                      </a:lnTo>
                      <a:lnTo>
                        <a:pt x="252" y="1158"/>
                      </a:lnTo>
                      <a:lnTo>
                        <a:pt x="252" y="1157"/>
                      </a:lnTo>
                      <a:lnTo>
                        <a:pt x="252" y="1157"/>
                      </a:lnTo>
                      <a:lnTo>
                        <a:pt x="252" y="1158"/>
                      </a:lnTo>
                      <a:lnTo>
                        <a:pt x="251" y="1158"/>
                      </a:lnTo>
                      <a:lnTo>
                        <a:pt x="252" y="1158"/>
                      </a:lnTo>
                      <a:lnTo>
                        <a:pt x="252" y="1159"/>
                      </a:lnTo>
                      <a:lnTo>
                        <a:pt x="251" y="1159"/>
                      </a:lnTo>
                      <a:lnTo>
                        <a:pt x="251" y="1159"/>
                      </a:lnTo>
                      <a:lnTo>
                        <a:pt x="251" y="1160"/>
                      </a:lnTo>
                      <a:lnTo>
                        <a:pt x="250" y="1160"/>
                      </a:lnTo>
                      <a:lnTo>
                        <a:pt x="250" y="1161"/>
                      </a:lnTo>
                      <a:lnTo>
                        <a:pt x="250" y="1161"/>
                      </a:lnTo>
                      <a:lnTo>
                        <a:pt x="249" y="1161"/>
                      </a:lnTo>
                      <a:lnTo>
                        <a:pt x="249" y="1161"/>
                      </a:lnTo>
                      <a:lnTo>
                        <a:pt x="248" y="1161"/>
                      </a:lnTo>
                      <a:lnTo>
                        <a:pt x="248" y="1162"/>
                      </a:lnTo>
                      <a:lnTo>
                        <a:pt x="248" y="1163"/>
                      </a:lnTo>
                      <a:lnTo>
                        <a:pt x="248" y="1163"/>
                      </a:lnTo>
                      <a:lnTo>
                        <a:pt x="247" y="1163"/>
                      </a:lnTo>
                      <a:lnTo>
                        <a:pt x="246" y="1163"/>
                      </a:lnTo>
                      <a:lnTo>
                        <a:pt x="246" y="1163"/>
                      </a:lnTo>
                      <a:lnTo>
                        <a:pt x="245" y="1163"/>
                      </a:lnTo>
                      <a:lnTo>
                        <a:pt x="245" y="1163"/>
                      </a:lnTo>
                      <a:lnTo>
                        <a:pt x="244" y="1163"/>
                      </a:lnTo>
                      <a:lnTo>
                        <a:pt x="244" y="1163"/>
                      </a:lnTo>
                      <a:lnTo>
                        <a:pt x="244" y="1163"/>
                      </a:lnTo>
                      <a:lnTo>
                        <a:pt x="243" y="1163"/>
                      </a:lnTo>
                      <a:lnTo>
                        <a:pt x="243" y="1163"/>
                      </a:lnTo>
                      <a:lnTo>
                        <a:pt x="242" y="1163"/>
                      </a:lnTo>
                      <a:lnTo>
                        <a:pt x="242" y="1163"/>
                      </a:lnTo>
                      <a:lnTo>
                        <a:pt x="242" y="1163"/>
                      </a:lnTo>
                      <a:lnTo>
                        <a:pt x="241" y="1163"/>
                      </a:lnTo>
                      <a:lnTo>
                        <a:pt x="241" y="1163"/>
                      </a:lnTo>
                      <a:lnTo>
                        <a:pt x="240" y="1163"/>
                      </a:lnTo>
                      <a:lnTo>
                        <a:pt x="240" y="1163"/>
                      </a:lnTo>
                      <a:lnTo>
                        <a:pt x="239" y="1163"/>
                      </a:lnTo>
                      <a:lnTo>
                        <a:pt x="239" y="1163"/>
                      </a:lnTo>
                      <a:lnTo>
                        <a:pt x="238" y="1163"/>
                      </a:lnTo>
                      <a:lnTo>
                        <a:pt x="237" y="1162"/>
                      </a:lnTo>
                      <a:lnTo>
                        <a:pt x="237" y="1162"/>
                      </a:lnTo>
                      <a:lnTo>
                        <a:pt x="236" y="1162"/>
                      </a:lnTo>
                      <a:lnTo>
                        <a:pt x="235" y="1162"/>
                      </a:lnTo>
                      <a:lnTo>
                        <a:pt x="235" y="1162"/>
                      </a:lnTo>
                      <a:lnTo>
                        <a:pt x="234" y="1162"/>
                      </a:lnTo>
                      <a:lnTo>
                        <a:pt x="233" y="1162"/>
                      </a:lnTo>
                      <a:lnTo>
                        <a:pt x="233" y="1162"/>
                      </a:lnTo>
                      <a:lnTo>
                        <a:pt x="232" y="1162"/>
                      </a:lnTo>
                      <a:lnTo>
                        <a:pt x="231" y="1162"/>
                      </a:lnTo>
                      <a:lnTo>
                        <a:pt x="231" y="1161"/>
                      </a:lnTo>
                      <a:lnTo>
                        <a:pt x="231" y="1161"/>
                      </a:lnTo>
                      <a:lnTo>
                        <a:pt x="231" y="1161"/>
                      </a:lnTo>
                      <a:lnTo>
                        <a:pt x="230" y="1161"/>
                      </a:lnTo>
                      <a:lnTo>
                        <a:pt x="229" y="1161"/>
                      </a:lnTo>
                      <a:lnTo>
                        <a:pt x="229" y="1160"/>
                      </a:lnTo>
                      <a:lnTo>
                        <a:pt x="229" y="1160"/>
                      </a:lnTo>
                      <a:lnTo>
                        <a:pt x="228" y="1160"/>
                      </a:lnTo>
                      <a:lnTo>
                        <a:pt x="228" y="1159"/>
                      </a:lnTo>
                      <a:lnTo>
                        <a:pt x="227" y="1159"/>
                      </a:lnTo>
                      <a:lnTo>
                        <a:pt x="227" y="1159"/>
                      </a:lnTo>
                      <a:lnTo>
                        <a:pt x="226" y="1159"/>
                      </a:lnTo>
                      <a:lnTo>
                        <a:pt x="225" y="1159"/>
                      </a:lnTo>
                      <a:lnTo>
                        <a:pt x="225" y="1159"/>
                      </a:lnTo>
                      <a:lnTo>
                        <a:pt x="224" y="1159"/>
                      </a:lnTo>
                      <a:lnTo>
                        <a:pt x="223" y="1159"/>
                      </a:lnTo>
                      <a:lnTo>
                        <a:pt x="223" y="1159"/>
                      </a:lnTo>
                      <a:lnTo>
                        <a:pt x="223" y="1159"/>
                      </a:lnTo>
                      <a:lnTo>
                        <a:pt x="223" y="1159"/>
                      </a:lnTo>
                      <a:lnTo>
                        <a:pt x="222" y="1159"/>
                      </a:lnTo>
                      <a:lnTo>
                        <a:pt x="222" y="1159"/>
                      </a:lnTo>
                      <a:lnTo>
                        <a:pt x="221" y="1159"/>
                      </a:lnTo>
                      <a:lnTo>
                        <a:pt x="220" y="1159"/>
                      </a:lnTo>
                      <a:lnTo>
                        <a:pt x="220" y="1158"/>
                      </a:lnTo>
                      <a:lnTo>
                        <a:pt x="220" y="1158"/>
                      </a:lnTo>
                      <a:lnTo>
                        <a:pt x="220" y="1157"/>
                      </a:lnTo>
                      <a:lnTo>
                        <a:pt x="219" y="1157"/>
                      </a:lnTo>
                      <a:lnTo>
                        <a:pt x="219" y="1157"/>
                      </a:lnTo>
                      <a:lnTo>
                        <a:pt x="218" y="1157"/>
                      </a:lnTo>
                      <a:lnTo>
                        <a:pt x="218" y="1157"/>
                      </a:lnTo>
                      <a:lnTo>
                        <a:pt x="218" y="1156"/>
                      </a:lnTo>
                      <a:lnTo>
                        <a:pt x="217" y="1156"/>
                      </a:lnTo>
                      <a:lnTo>
                        <a:pt x="216" y="1156"/>
                      </a:lnTo>
                      <a:lnTo>
                        <a:pt x="216" y="1155"/>
                      </a:lnTo>
                      <a:lnTo>
                        <a:pt x="216" y="1155"/>
                      </a:lnTo>
                      <a:lnTo>
                        <a:pt x="215" y="1155"/>
                      </a:lnTo>
                      <a:lnTo>
                        <a:pt x="214" y="1155"/>
                      </a:lnTo>
                      <a:lnTo>
                        <a:pt x="214" y="1155"/>
                      </a:lnTo>
                      <a:lnTo>
                        <a:pt x="214" y="1155"/>
                      </a:lnTo>
                      <a:lnTo>
                        <a:pt x="213" y="1155"/>
                      </a:lnTo>
                      <a:lnTo>
                        <a:pt x="212" y="1155"/>
                      </a:lnTo>
                      <a:lnTo>
                        <a:pt x="212" y="1154"/>
                      </a:lnTo>
                      <a:lnTo>
                        <a:pt x="212" y="1155"/>
                      </a:lnTo>
                      <a:lnTo>
                        <a:pt x="212" y="1155"/>
                      </a:lnTo>
                      <a:lnTo>
                        <a:pt x="211" y="1155"/>
                      </a:lnTo>
                      <a:lnTo>
                        <a:pt x="210" y="1155"/>
                      </a:lnTo>
                      <a:lnTo>
                        <a:pt x="210" y="1155"/>
                      </a:lnTo>
                      <a:lnTo>
                        <a:pt x="209" y="1155"/>
                      </a:lnTo>
                      <a:lnTo>
                        <a:pt x="209" y="1154"/>
                      </a:lnTo>
                      <a:lnTo>
                        <a:pt x="208" y="1154"/>
                      </a:lnTo>
                      <a:lnTo>
                        <a:pt x="208" y="1155"/>
                      </a:lnTo>
                      <a:lnTo>
                        <a:pt x="208" y="1155"/>
                      </a:lnTo>
                      <a:lnTo>
                        <a:pt x="207" y="1155"/>
                      </a:lnTo>
                      <a:lnTo>
                        <a:pt x="207" y="1154"/>
                      </a:lnTo>
                      <a:lnTo>
                        <a:pt x="206" y="1154"/>
                      </a:lnTo>
                      <a:lnTo>
                        <a:pt x="206" y="1154"/>
                      </a:lnTo>
                      <a:lnTo>
                        <a:pt x="206" y="1155"/>
                      </a:lnTo>
                      <a:lnTo>
                        <a:pt x="205" y="1155"/>
                      </a:lnTo>
                      <a:lnTo>
                        <a:pt x="205" y="1155"/>
                      </a:lnTo>
                      <a:lnTo>
                        <a:pt x="204" y="1155"/>
                      </a:lnTo>
                      <a:lnTo>
                        <a:pt x="204" y="1155"/>
                      </a:lnTo>
                      <a:lnTo>
                        <a:pt x="204" y="1156"/>
                      </a:lnTo>
                      <a:lnTo>
                        <a:pt x="204" y="1156"/>
                      </a:lnTo>
                      <a:lnTo>
                        <a:pt x="204" y="1157"/>
                      </a:lnTo>
                      <a:lnTo>
                        <a:pt x="204" y="1157"/>
                      </a:lnTo>
                      <a:lnTo>
                        <a:pt x="204" y="1157"/>
                      </a:lnTo>
                      <a:lnTo>
                        <a:pt x="204" y="1158"/>
                      </a:lnTo>
                      <a:lnTo>
                        <a:pt x="204" y="1159"/>
                      </a:lnTo>
                      <a:lnTo>
                        <a:pt x="204" y="1159"/>
                      </a:lnTo>
                      <a:lnTo>
                        <a:pt x="204" y="1160"/>
                      </a:lnTo>
                      <a:lnTo>
                        <a:pt x="204" y="1161"/>
                      </a:lnTo>
                      <a:lnTo>
                        <a:pt x="204" y="1161"/>
                      </a:lnTo>
                      <a:lnTo>
                        <a:pt x="203" y="1161"/>
                      </a:lnTo>
                      <a:lnTo>
                        <a:pt x="202" y="1161"/>
                      </a:lnTo>
                      <a:lnTo>
                        <a:pt x="201" y="1161"/>
                      </a:lnTo>
                      <a:lnTo>
                        <a:pt x="201" y="1162"/>
                      </a:lnTo>
                      <a:lnTo>
                        <a:pt x="201" y="1163"/>
                      </a:lnTo>
                      <a:lnTo>
                        <a:pt x="201" y="1163"/>
                      </a:lnTo>
                      <a:lnTo>
                        <a:pt x="200" y="1163"/>
                      </a:lnTo>
                      <a:lnTo>
                        <a:pt x="200" y="1164"/>
                      </a:lnTo>
                      <a:lnTo>
                        <a:pt x="201" y="1164"/>
                      </a:lnTo>
                      <a:lnTo>
                        <a:pt x="201" y="1165"/>
                      </a:lnTo>
                      <a:lnTo>
                        <a:pt x="201" y="1165"/>
                      </a:lnTo>
                      <a:lnTo>
                        <a:pt x="200" y="1165"/>
                      </a:lnTo>
                      <a:lnTo>
                        <a:pt x="199" y="1165"/>
                      </a:lnTo>
                      <a:lnTo>
                        <a:pt x="199" y="1166"/>
                      </a:lnTo>
                      <a:lnTo>
                        <a:pt x="199" y="1165"/>
                      </a:lnTo>
                      <a:lnTo>
                        <a:pt x="199" y="1165"/>
                      </a:lnTo>
                      <a:lnTo>
                        <a:pt x="199" y="1166"/>
                      </a:lnTo>
                      <a:lnTo>
                        <a:pt x="199" y="1165"/>
                      </a:lnTo>
                      <a:lnTo>
                        <a:pt x="198" y="1165"/>
                      </a:lnTo>
                      <a:lnTo>
                        <a:pt x="197" y="1165"/>
                      </a:lnTo>
                      <a:lnTo>
                        <a:pt x="197" y="1165"/>
                      </a:lnTo>
                      <a:lnTo>
                        <a:pt x="197" y="1165"/>
                      </a:lnTo>
                      <a:lnTo>
                        <a:pt x="196" y="1165"/>
                      </a:lnTo>
                      <a:lnTo>
                        <a:pt x="196" y="1164"/>
                      </a:lnTo>
                      <a:lnTo>
                        <a:pt x="195" y="1164"/>
                      </a:lnTo>
                      <a:lnTo>
                        <a:pt x="195" y="1163"/>
                      </a:lnTo>
                      <a:lnTo>
                        <a:pt x="195" y="1163"/>
                      </a:lnTo>
                      <a:lnTo>
                        <a:pt x="194" y="1163"/>
                      </a:lnTo>
                      <a:lnTo>
                        <a:pt x="194" y="1162"/>
                      </a:lnTo>
                      <a:lnTo>
                        <a:pt x="193" y="1162"/>
                      </a:lnTo>
                      <a:lnTo>
                        <a:pt x="194" y="1162"/>
                      </a:lnTo>
                      <a:lnTo>
                        <a:pt x="194" y="1161"/>
                      </a:lnTo>
                      <a:lnTo>
                        <a:pt x="193" y="1161"/>
                      </a:lnTo>
                      <a:lnTo>
                        <a:pt x="193" y="1161"/>
                      </a:lnTo>
                      <a:lnTo>
                        <a:pt x="194" y="1161"/>
                      </a:lnTo>
                      <a:lnTo>
                        <a:pt x="195" y="1161"/>
                      </a:lnTo>
                      <a:lnTo>
                        <a:pt x="195" y="1160"/>
                      </a:lnTo>
                      <a:lnTo>
                        <a:pt x="195" y="1160"/>
                      </a:lnTo>
                      <a:lnTo>
                        <a:pt x="195" y="1159"/>
                      </a:lnTo>
                      <a:lnTo>
                        <a:pt x="195" y="1159"/>
                      </a:lnTo>
                      <a:lnTo>
                        <a:pt x="195" y="1159"/>
                      </a:lnTo>
                      <a:lnTo>
                        <a:pt x="196" y="1159"/>
                      </a:lnTo>
                      <a:lnTo>
                        <a:pt x="196" y="1158"/>
                      </a:lnTo>
                      <a:lnTo>
                        <a:pt x="197" y="1158"/>
                      </a:lnTo>
                      <a:lnTo>
                        <a:pt x="197" y="1157"/>
                      </a:lnTo>
                      <a:lnTo>
                        <a:pt x="196" y="1157"/>
                      </a:lnTo>
                      <a:lnTo>
                        <a:pt x="196" y="1156"/>
                      </a:lnTo>
                      <a:lnTo>
                        <a:pt x="195" y="1156"/>
                      </a:lnTo>
                      <a:lnTo>
                        <a:pt x="195" y="1155"/>
                      </a:lnTo>
                      <a:lnTo>
                        <a:pt x="195" y="1155"/>
                      </a:lnTo>
                      <a:lnTo>
                        <a:pt x="195" y="1155"/>
                      </a:lnTo>
                      <a:lnTo>
                        <a:pt x="195" y="1154"/>
                      </a:lnTo>
                      <a:lnTo>
                        <a:pt x="194" y="1154"/>
                      </a:lnTo>
                      <a:lnTo>
                        <a:pt x="195" y="1153"/>
                      </a:lnTo>
                      <a:lnTo>
                        <a:pt x="195" y="1153"/>
                      </a:lnTo>
                      <a:lnTo>
                        <a:pt x="195" y="1153"/>
                      </a:lnTo>
                      <a:lnTo>
                        <a:pt x="196" y="1152"/>
                      </a:lnTo>
                      <a:lnTo>
                        <a:pt x="196" y="1151"/>
                      </a:lnTo>
                      <a:lnTo>
                        <a:pt x="195" y="1151"/>
                      </a:lnTo>
                      <a:lnTo>
                        <a:pt x="196" y="1151"/>
                      </a:lnTo>
                      <a:lnTo>
                        <a:pt x="195" y="1151"/>
                      </a:lnTo>
                      <a:lnTo>
                        <a:pt x="195" y="1150"/>
                      </a:lnTo>
                      <a:lnTo>
                        <a:pt x="195" y="1149"/>
                      </a:lnTo>
                      <a:lnTo>
                        <a:pt x="195" y="1149"/>
                      </a:lnTo>
                      <a:lnTo>
                        <a:pt x="194" y="1149"/>
                      </a:lnTo>
                      <a:lnTo>
                        <a:pt x="193" y="1149"/>
                      </a:lnTo>
                      <a:lnTo>
                        <a:pt x="193" y="1148"/>
                      </a:lnTo>
                      <a:lnTo>
                        <a:pt x="193" y="1148"/>
                      </a:lnTo>
                      <a:lnTo>
                        <a:pt x="193" y="1149"/>
                      </a:lnTo>
                      <a:lnTo>
                        <a:pt x="193" y="1150"/>
                      </a:lnTo>
                      <a:lnTo>
                        <a:pt x="192" y="1150"/>
                      </a:lnTo>
                      <a:lnTo>
                        <a:pt x="191" y="1150"/>
                      </a:lnTo>
                      <a:lnTo>
                        <a:pt x="191" y="1151"/>
                      </a:lnTo>
                      <a:lnTo>
                        <a:pt x="191" y="1151"/>
                      </a:lnTo>
                      <a:lnTo>
                        <a:pt x="191" y="1152"/>
                      </a:lnTo>
                      <a:lnTo>
                        <a:pt x="191" y="1152"/>
                      </a:lnTo>
                      <a:lnTo>
                        <a:pt x="191" y="1151"/>
                      </a:lnTo>
                      <a:lnTo>
                        <a:pt x="191" y="1151"/>
                      </a:lnTo>
                      <a:lnTo>
                        <a:pt x="190" y="1151"/>
                      </a:lnTo>
                      <a:lnTo>
                        <a:pt x="190" y="1150"/>
                      </a:lnTo>
                      <a:lnTo>
                        <a:pt x="190" y="1149"/>
                      </a:lnTo>
                      <a:lnTo>
                        <a:pt x="190" y="1148"/>
                      </a:lnTo>
                      <a:lnTo>
                        <a:pt x="190" y="1148"/>
                      </a:lnTo>
                      <a:lnTo>
                        <a:pt x="190" y="1147"/>
                      </a:lnTo>
                      <a:lnTo>
                        <a:pt x="191" y="1146"/>
                      </a:lnTo>
                      <a:lnTo>
                        <a:pt x="191" y="1146"/>
                      </a:lnTo>
                      <a:lnTo>
                        <a:pt x="191" y="1145"/>
                      </a:lnTo>
                      <a:lnTo>
                        <a:pt x="191" y="1144"/>
                      </a:lnTo>
                      <a:lnTo>
                        <a:pt x="190" y="1144"/>
                      </a:lnTo>
                      <a:lnTo>
                        <a:pt x="190" y="1144"/>
                      </a:lnTo>
                      <a:lnTo>
                        <a:pt x="189" y="1144"/>
                      </a:lnTo>
                      <a:lnTo>
                        <a:pt x="189" y="1143"/>
                      </a:lnTo>
                      <a:lnTo>
                        <a:pt x="189" y="1143"/>
                      </a:lnTo>
                      <a:lnTo>
                        <a:pt x="189" y="1142"/>
                      </a:lnTo>
                      <a:lnTo>
                        <a:pt x="189" y="1142"/>
                      </a:lnTo>
                      <a:lnTo>
                        <a:pt x="188" y="1142"/>
                      </a:lnTo>
                      <a:lnTo>
                        <a:pt x="188" y="1141"/>
                      </a:lnTo>
                      <a:lnTo>
                        <a:pt x="188" y="1140"/>
                      </a:lnTo>
                      <a:lnTo>
                        <a:pt x="187" y="1140"/>
                      </a:lnTo>
                      <a:lnTo>
                        <a:pt x="187" y="1140"/>
                      </a:lnTo>
                      <a:lnTo>
                        <a:pt x="187" y="1140"/>
                      </a:lnTo>
                      <a:lnTo>
                        <a:pt x="186" y="1139"/>
                      </a:lnTo>
                      <a:lnTo>
                        <a:pt x="186" y="1138"/>
                      </a:lnTo>
                      <a:lnTo>
                        <a:pt x="186" y="1138"/>
                      </a:lnTo>
                      <a:lnTo>
                        <a:pt x="185" y="1138"/>
                      </a:lnTo>
                      <a:lnTo>
                        <a:pt x="185" y="1137"/>
                      </a:lnTo>
                      <a:lnTo>
                        <a:pt x="185" y="1137"/>
                      </a:lnTo>
                      <a:lnTo>
                        <a:pt x="184" y="1137"/>
                      </a:lnTo>
                      <a:lnTo>
                        <a:pt x="184" y="1136"/>
                      </a:lnTo>
                      <a:lnTo>
                        <a:pt x="183" y="1136"/>
                      </a:lnTo>
                      <a:lnTo>
                        <a:pt x="183" y="1136"/>
                      </a:lnTo>
                      <a:lnTo>
                        <a:pt x="183" y="1135"/>
                      </a:lnTo>
                      <a:lnTo>
                        <a:pt x="183" y="1134"/>
                      </a:lnTo>
                      <a:lnTo>
                        <a:pt x="183" y="1135"/>
                      </a:lnTo>
                      <a:lnTo>
                        <a:pt x="184" y="1135"/>
                      </a:lnTo>
                      <a:lnTo>
                        <a:pt x="184" y="1134"/>
                      </a:lnTo>
                      <a:lnTo>
                        <a:pt x="185" y="1134"/>
                      </a:lnTo>
                      <a:lnTo>
                        <a:pt x="184" y="1134"/>
                      </a:lnTo>
                      <a:lnTo>
                        <a:pt x="184" y="1134"/>
                      </a:lnTo>
                      <a:lnTo>
                        <a:pt x="184" y="1133"/>
                      </a:lnTo>
                      <a:lnTo>
                        <a:pt x="184" y="1132"/>
                      </a:lnTo>
                      <a:lnTo>
                        <a:pt x="184" y="1132"/>
                      </a:lnTo>
                      <a:lnTo>
                        <a:pt x="183" y="1132"/>
                      </a:lnTo>
                      <a:lnTo>
                        <a:pt x="183" y="1131"/>
                      </a:lnTo>
                      <a:lnTo>
                        <a:pt x="182" y="1131"/>
                      </a:lnTo>
                      <a:lnTo>
                        <a:pt x="182" y="1130"/>
                      </a:lnTo>
                      <a:lnTo>
                        <a:pt x="182" y="1130"/>
                      </a:lnTo>
                      <a:lnTo>
                        <a:pt x="182" y="1129"/>
                      </a:lnTo>
                      <a:lnTo>
                        <a:pt x="181" y="1129"/>
                      </a:lnTo>
                      <a:lnTo>
                        <a:pt x="180" y="1129"/>
                      </a:lnTo>
                      <a:lnTo>
                        <a:pt x="180" y="1129"/>
                      </a:lnTo>
                      <a:lnTo>
                        <a:pt x="180" y="1129"/>
                      </a:lnTo>
                      <a:lnTo>
                        <a:pt x="180" y="1128"/>
                      </a:lnTo>
                      <a:lnTo>
                        <a:pt x="180" y="1127"/>
                      </a:lnTo>
                      <a:lnTo>
                        <a:pt x="180" y="1127"/>
                      </a:lnTo>
                      <a:lnTo>
                        <a:pt x="179" y="1127"/>
                      </a:lnTo>
                      <a:lnTo>
                        <a:pt x="178" y="1126"/>
                      </a:lnTo>
                      <a:lnTo>
                        <a:pt x="179" y="1126"/>
                      </a:lnTo>
                      <a:lnTo>
                        <a:pt x="179" y="1127"/>
                      </a:lnTo>
                      <a:lnTo>
                        <a:pt x="180" y="1126"/>
                      </a:lnTo>
                      <a:lnTo>
                        <a:pt x="180" y="1126"/>
                      </a:lnTo>
                      <a:lnTo>
                        <a:pt x="180" y="1127"/>
                      </a:lnTo>
                      <a:lnTo>
                        <a:pt x="181" y="1127"/>
                      </a:lnTo>
                      <a:lnTo>
                        <a:pt x="181" y="1126"/>
                      </a:lnTo>
                      <a:lnTo>
                        <a:pt x="181" y="1127"/>
                      </a:lnTo>
                      <a:lnTo>
                        <a:pt x="182" y="1127"/>
                      </a:lnTo>
                      <a:lnTo>
                        <a:pt x="182" y="1127"/>
                      </a:lnTo>
                      <a:lnTo>
                        <a:pt x="182" y="1127"/>
                      </a:lnTo>
                      <a:lnTo>
                        <a:pt x="182" y="1127"/>
                      </a:lnTo>
                      <a:lnTo>
                        <a:pt x="182" y="1127"/>
                      </a:lnTo>
                      <a:lnTo>
                        <a:pt x="182" y="1126"/>
                      </a:lnTo>
                      <a:lnTo>
                        <a:pt x="183" y="1126"/>
                      </a:lnTo>
                      <a:lnTo>
                        <a:pt x="183" y="1125"/>
                      </a:lnTo>
                      <a:lnTo>
                        <a:pt x="183" y="1125"/>
                      </a:lnTo>
                      <a:lnTo>
                        <a:pt x="184" y="1125"/>
                      </a:lnTo>
                      <a:lnTo>
                        <a:pt x="184" y="1124"/>
                      </a:lnTo>
                      <a:lnTo>
                        <a:pt x="185" y="1125"/>
                      </a:lnTo>
                      <a:lnTo>
                        <a:pt x="185" y="1124"/>
                      </a:lnTo>
                      <a:lnTo>
                        <a:pt x="185" y="1123"/>
                      </a:lnTo>
                      <a:lnTo>
                        <a:pt x="186" y="1123"/>
                      </a:lnTo>
                      <a:lnTo>
                        <a:pt x="187" y="1123"/>
                      </a:lnTo>
                      <a:lnTo>
                        <a:pt x="187" y="1123"/>
                      </a:lnTo>
                      <a:lnTo>
                        <a:pt x="187" y="1123"/>
                      </a:lnTo>
                      <a:lnTo>
                        <a:pt x="188" y="1123"/>
                      </a:lnTo>
                      <a:lnTo>
                        <a:pt x="188" y="1122"/>
                      </a:lnTo>
                      <a:lnTo>
                        <a:pt x="189" y="1122"/>
                      </a:lnTo>
                      <a:lnTo>
                        <a:pt x="189" y="1121"/>
                      </a:lnTo>
                      <a:lnTo>
                        <a:pt x="189" y="1121"/>
                      </a:lnTo>
                      <a:lnTo>
                        <a:pt x="189" y="1121"/>
                      </a:lnTo>
                      <a:lnTo>
                        <a:pt x="189" y="1120"/>
                      </a:lnTo>
                      <a:lnTo>
                        <a:pt x="189" y="1119"/>
                      </a:lnTo>
                      <a:lnTo>
                        <a:pt x="190" y="1119"/>
                      </a:lnTo>
                      <a:lnTo>
                        <a:pt x="191" y="1119"/>
                      </a:lnTo>
                      <a:lnTo>
                        <a:pt x="191" y="1120"/>
                      </a:lnTo>
                      <a:lnTo>
                        <a:pt x="191" y="1121"/>
                      </a:lnTo>
                      <a:lnTo>
                        <a:pt x="191" y="1121"/>
                      </a:lnTo>
                      <a:lnTo>
                        <a:pt x="190" y="1121"/>
                      </a:lnTo>
                      <a:lnTo>
                        <a:pt x="190" y="1122"/>
                      </a:lnTo>
                      <a:lnTo>
                        <a:pt x="189" y="1122"/>
                      </a:lnTo>
                      <a:lnTo>
                        <a:pt x="189" y="1123"/>
                      </a:lnTo>
                      <a:lnTo>
                        <a:pt x="189" y="1123"/>
                      </a:lnTo>
                      <a:lnTo>
                        <a:pt x="189" y="1124"/>
                      </a:lnTo>
                      <a:lnTo>
                        <a:pt x="189" y="1125"/>
                      </a:lnTo>
                      <a:lnTo>
                        <a:pt x="188" y="1125"/>
                      </a:lnTo>
                      <a:lnTo>
                        <a:pt x="188" y="1125"/>
                      </a:lnTo>
                      <a:lnTo>
                        <a:pt x="188" y="1126"/>
                      </a:lnTo>
                      <a:lnTo>
                        <a:pt x="188" y="1127"/>
                      </a:lnTo>
                      <a:lnTo>
                        <a:pt x="188" y="1126"/>
                      </a:lnTo>
                      <a:lnTo>
                        <a:pt x="189" y="1126"/>
                      </a:lnTo>
                      <a:lnTo>
                        <a:pt x="189" y="1126"/>
                      </a:lnTo>
                      <a:lnTo>
                        <a:pt x="190" y="1126"/>
                      </a:lnTo>
                      <a:lnTo>
                        <a:pt x="190" y="1127"/>
                      </a:lnTo>
                      <a:lnTo>
                        <a:pt x="191" y="1126"/>
                      </a:lnTo>
                      <a:lnTo>
                        <a:pt x="191" y="1126"/>
                      </a:lnTo>
                      <a:lnTo>
                        <a:pt x="191" y="1127"/>
                      </a:lnTo>
                      <a:lnTo>
                        <a:pt x="192" y="1127"/>
                      </a:lnTo>
                      <a:lnTo>
                        <a:pt x="192" y="1126"/>
                      </a:lnTo>
                      <a:lnTo>
                        <a:pt x="192" y="1125"/>
                      </a:lnTo>
                      <a:lnTo>
                        <a:pt x="192" y="1125"/>
                      </a:lnTo>
                      <a:lnTo>
                        <a:pt x="192" y="1124"/>
                      </a:lnTo>
                      <a:lnTo>
                        <a:pt x="193" y="1124"/>
                      </a:lnTo>
                      <a:lnTo>
                        <a:pt x="193" y="1123"/>
                      </a:lnTo>
                      <a:lnTo>
                        <a:pt x="193" y="1123"/>
                      </a:lnTo>
                      <a:lnTo>
                        <a:pt x="194" y="1123"/>
                      </a:lnTo>
                      <a:lnTo>
                        <a:pt x="194" y="1123"/>
                      </a:lnTo>
                      <a:lnTo>
                        <a:pt x="195" y="1123"/>
                      </a:lnTo>
                      <a:lnTo>
                        <a:pt x="195" y="1123"/>
                      </a:lnTo>
                      <a:lnTo>
                        <a:pt x="195" y="1123"/>
                      </a:lnTo>
                      <a:lnTo>
                        <a:pt x="195" y="1123"/>
                      </a:lnTo>
                      <a:lnTo>
                        <a:pt x="196" y="1122"/>
                      </a:lnTo>
                      <a:lnTo>
                        <a:pt x="196" y="1121"/>
                      </a:lnTo>
                      <a:lnTo>
                        <a:pt x="197" y="1121"/>
                      </a:lnTo>
                      <a:lnTo>
                        <a:pt x="197" y="1121"/>
                      </a:lnTo>
                      <a:lnTo>
                        <a:pt x="197" y="1121"/>
                      </a:lnTo>
                      <a:lnTo>
                        <a:pt x="197" y="1120"/>
                      </a:lnTo>
                      <a:lnTo>
                        <a:pt x="197" y="1119"/>
                      </a:lnTo>
                      <a:lnTo>
                        <a:pt x="197" y="1119"/>
                      </a:lnTo>
                      <a:lnTo>
                        <a:pt x="197" y="1118"/>
                      </a:lnTo>
                      <a:lnTo>
                        <a:pt x="197" y="1117"/>
                      </a:lnTo>
                      <a:lnTo>
                        <a:pt x="197" y="1117"/>
                      </a:lnTo>
                      <a:lnTo>
                        <a:pt x="197" y="1116"/>
                      </a:lnTo>
                      <a:lnTo>
                        <a:pt x="197" y="1115"/>
                      </a:lnTo>
                      <a:lnTo>
                        <a:pt x="197" y="1115"/>
                      </a:lnTo>
                      <a:lnTo>
                        <a:pt x="198" y="1114"/>
                      </a:lnTo>
                      <a:lnTo>
                        <a:pt x="199" y="1114"/>
                      </a:lnTo>
                      <a:lnTo>
                        <a:pt x="199" y="1113"/>
                      </a:lnTo>
                      <a:lnTo>
                        <a:pt x="199" y="1113"/>
                      </a:lnTo>
                      <a:lnTo>
                        <a:pt x="200" y="1113"/>
                      </a:lnTo>
                      <a:lnTo>
                        <a:pt x="200" y="1112"/>
                      </a:lnTo>
                      <a:lnTo>
                        <a:pt x="201" y="1112"/>
                      </a:lnTo>
                      <a:lnTo>
                        <a:pt x="201" y="1111"/>
                      </a:lnTo>
                      <a:lnTo>
                        <a:pt x="201" y="1110"/>
                      </a:lnTo>
                      <a:lnTo>
                        <a:pt x="201" y="1110"/>
                      </a:lnTo>
                      <a:lnTo>
                        <a:pt x="201" y="1109"/>
                      </a:lnTo>
                      <a:lnTo>
                        <a:pt x="201" y="1109"/>
                      </a:lnTo>
                      <a:lnTo>
                        <a:pt x="202" y="1109"/>
                      </a:lnTo>
                      <a:lnTo>
                        <a:pt x="203" y="1110"/>
                      </a:lnTo>
                      <a:lnTo>
                        <a:pt x="204" y="1110"/>
                      </a:lnTo>
                      <a:lnTo>
                        <a:pt x="204" y="1110"/>
                      </a:lnTo>
                      <a:lnTo>
                        <a:pt x="205" y="1110"/>
                      </a:lnTo>
                      <a:lnTo>
                        <a:pt x="206" y="1110"/>
                      </a:lnTo>
                      <a:lnTo>
                        <a:pt x="206" y="1109"/>
                      </a:lnTo>
                      <a:lnTo>
                        <a:pt x="206" y="1110"/>
                      </a:lnTo>
                      <a:lnTo>
                        <a:pt x="207" y="1110"/>
                      </a:lnTo>
                      <a:lnTo>
                        <a:pt x="208" y="1110"/>
                      </a:lnTo>
                      <a:lnTo>
                        <a:pt x="208" y="1110"/>
                      </a:lnTo>
                      <a:lnTo>
                        <a:pt x="208" y="1110"/>
                      </a:lnTo>
                      <a:lnTo>
                        <a:pt x="208" y="1111"/>
                      </a:lnTo>
                      <a:lnTo>
                        <a:pt x="209" y="1111"/>
                      </a:lnTo>
                      <a:lnTo>
                        <a:pt x="210" y="1111"/>
                      </a:lnTo>
                      <a:lnTo>
                        <a:pt x="210" y="1112"/>
                      </a:lnTo>
                      <a:lnTo>
                        <a:pt x="210" y="1112"/>
                      </a:lnTo>
                      <a:lnTo>
                        <a:pt x="211" y="1112"/>
                      </a:lnTo>
                      <a:lnTo>
                        <a:pt x="211" y="1111"/>
                      </a:lnTo>
                      <a:lnTo>
                        <a:pt x="211" y="1112"/>
                      </a:lnTo>
                      <a:lnTo>
                        <a:pt x="212" y="1112"/>
                      </a:lnTo>
                      <a:lnTo>
                        <a:pt x="212" y="1113"/>
                      </a:lnTo>
                      <a:lnTo>
                        <a:pt x="212" y="1113"/>
                      </a:lnTo>
                      <a:lnTo>
                        <a:pt x="212" y="1113"/>
                      </a:lnTo>
                      <a:lnTo>
                        <a:pt x="213" y="1113"/>
                      </a:lnTo>
                      <a:lnTo>
                        <a:pt x="214" y="1113"/>
                      </a:lnTo>
                      <a:lnTo>
                        <a:pt x="214" y="1113"/>
                      </a:lnTo>
                      <a:lnTo>
                        <a:pt x="214" y="1114"/>
                      </a:lnTo>
                      <a:lnTo>
                        <a:pt x="214" y="1113"/>
                      </a:lnTo>
                      <a:lnTo>
                        <a:pt x="215" y="1113"/>
                      </a:lnTo>
                      <a:lnTo>
                        <a:pt x="215" y="1114"/>
                      </a:lnTo>
                      <a:lnTo>
                        <a:pt x="215" y="1113"/>
                      </a:lnTo>
                      <a:lnTo>
                        <a:pt x="216" y="1113"/>
                      </a:lnTo>
                      <a:lnTo>
                        <a:pt x="216" y="1113"/>
                      </a:lnTo>
                      <a:lnTo>
                        <a:pt x="216" y="1113"/>
                      </a:lnTo>
                      <a:lnTo>
                        <a:pt x="217" y="1113"/>
                      </a:lnTo>
                      <a:lnTo>
                        <a:pt x="217" y="1112"/>
                      </a:lnTo>
                      <a:lnTo>
                        <a:pt x="217" y="1111"/>
                      </a:lnTo>
                      <a:lnTo>
                        <a:pt x="218" y="1111"/>
                      </a:lnTo>
                      <a:lnTo>
                        <a:pt x="218" y="1111"/>
                      </a:lnTo>
                      <a:lnTo>
                        <a:pt x="218" y="1110"/>
                      </a:lnTo>
                      <a:lnTo>
                        <a:pt x="219" y="1110"/>
                      </a:lnTo>
                      <a:lnTo>
                        <a:pt x="219" y="1110"/>
                      </a:lnTo>
                      <a:lnTo>
                        <a:pt x="219" y="1110"/>
                      </a:lnTo>
                      <a:lnTo>
                        <a:pt x="220" y="1110"/>
                      </a:lnTo>
                      <a:lnTo>
                        <a:pt x="220" y="1110"/>
                      </a:lnTo>
                      <a:lnTo>
                        <a:pt x="220" y="1110"/>
                      </a:lnTo>
                      <a:lnTo>
                        <a:pt x="220" y="1109"/>
                      </a:lnTo>
                      <a:lnTo>
                        <a:pt x="220" y="1110"/>
                      </a:lnTo>
                      <a:lnTo>
                        <a:pt x="221" y="1110"/>
                      </a:lnTo>
                      <a:lnTo>
                        <a:pt x="221" y="1109"/>
                      </a:lnTo>
                      <a:lnTo>
                        <a:pt x="221" y="1110"/>
                      </a:lnTo>
                      <a:lnTo>
                        <a:pt x="221" y="1110"/>
                      </a:lnTo>
                      <a:lnTo>
                        <a:pt x="222" y="1110"/>
                      </a:lnTo>
                      <a:lnTo>
                        <a:pt x="222" y="1110"/>
                      </a:lnTo>
                      <a:lnTo>
                        <a:pt x="221" y="1109"/>
                      </a:lnTo>
                      <a:lnTo>
                        <a:pt x="220" y="1109"/>
                      </a:lnTo>
                      <a:lnTo>
                        <a:pt x="220" y="1108"/>
                      </a:lnTo>
                      <a:lnTo>
                        <a:pt x="220" y="1108"/>
                      </a:lnTo>
                      <a:lnTo>
                        <a:pt x="220" y="1108"/>
                      </a:lnTo>
                      <a:lnTo>
                        <a:pt x="219" y="1108"/>
                      </a:lnTo>
                      <a:lnTo>
                        <a:pt x="218" y="1108"/>
                      </a:lnTo>
                      <a:lnTo>
                        <a:pt x="219" y="1108"/>
                      </a:lnTo>
                      <a:lnTo>
                        <a:pt x="219" y="1107"/>
                      </a:lnTo>
                      <a:lnTo>
                        <a:pt x="218" y="1106"/>
                      </a:lnTo>
                      <a:lnTo>
                        <a:pt x="218" y="1106"/>
                      </a:lnTo>
                      <a:lnTo>
                        <a:pt x="217" y="1106"/>
                      </a:lnTo>
                      <a:lnTo>
                        <a:pt x="217" y="1106"/>
                      </a:lnTo>
                      <a:lnTo>
                        <a:pt x="218" y="1106"/>
                      </a:lnTo>
                      <a:lnTo>
                        <a:pt x="217" y="1106"/>
                      </a:lnTo>
                      <a:lnTo>
                        <a:pt x="218" y="1106"/>
                      </a:lnTo>
                      <a:lnTo>
                        <a:pt x="218" y="1105"/>
                      </a:lnTo>
                      <a:lnTo>
                        <a:pt x="218" y="1106"/>
                      </a:lnTo>
                      <a:lnTo>
                        <a:pt x="218" y="1106"/>
                      </a:lnTo>
                      <a:lnTo>
                        <a:pt x="218" y="1106"/>
                      </a:lnTo>
                      <a:lnTo>
                        <a:pt x="219" y="1106"/>
                      </a:lnTo>
                      <a:lnTo>
                        <a:pt x="220" y="1106"/>
                      </a:lnTo>
                      <a:lnTo>
                        <a:pt x="220" y="1106"/>
                      </a:lnTo>
                      <a:lnTo>
                        <a:pt x="221" y="1106"/>
                      </a:lnTo>
                      <a:lnTo>
                        <a:pt x="222" y="1106"/>
                      </a:lnTo>
                      <a:lnTo>
                        <a:pt x="221" y="1106"/>
                      </a:lnTo>
                      <a:lnTo>
                        <a:pt x="220" y="1106"/>
                      </a:lnTo>
                      <a:lnTo>
                        <a:pt x="220" y="1106"/>
                      </a:lnTo>
                      <a:lnTo>
                        <a:pt x="220" y="1106"/>
                      </a:lnTo>
                      <a:lnTo>
                        <a:pt x="220" y="1105"/>
                      </a:lnTo>
                      <a:lnTo>
                        <a:pt x="219" y="1105"/>
                      </a:lnTo>
                      <a:lnTo>
                        <a:pt x="220" y="1104"/>
                      </a:lnTo>
                      <a:lnTo>
                        <a:pt x="220" y="1104"/>
                      </a:lnTo>
                      <a:lnTo>
                        <a:pt x="220" y="1104"/>
                      </a:lnTo>
                      <a:lnTo>
                        <a:pt x="220" y="1104"/>
                      </a:lnTo>
                      <a:lnTo>
                        <a:pt x="219" y="1104"/>
                      </a:lnTo>
                      <a:lnTo>
                        <a:pt x="219" y="1103"/>
                      </a:lnTo>
                      <a:lnTo>
                        <a:pt x="218" y="1103"/>
                      </a:lnTo>
                      <a:lnTo>
                        <a:pt x="218" y="1103"/>
                      </a:lnTo>
                      <a:lnTo>
                        <a:pt x="218" y="1102"/>
                      </a:lnTo>
                      <a:lnTo>
                        <a:pt x="218" y="1102"/>
                      </a:lnTo>
                      <a:lnTo>
                        <a:pt x="218" y="1102"/>
                      </a:lnTo>
                      <a:lnTo>
                        <a:pt x="218" y="1102"/>
                      </a:lnTo>
                      <a:lnTo>
                        <a:pt x="218" y="1101"/>
                      </a:lnTo>
                      <a:lnTo>
                        <a:pt x="218" y="1100"/>
                      </a:lnTo>
                      <a:lnTo>
                        <a:pt x="218" y="1100"/>
                      </a:lnTo>
                      <a:lnTo>
                        <a:pt x="218" y="1100"/>
                      </a:lnTo>
                      <a:lnTo>
                        <a:pt x="218" y="1100"/>
                      </a:lnTo>
                      <a:lnTo>
                        <a:pt x="219" y="1100"/>
                      </a:lnTo>
                      <a:lnTo>
                        <a:pt x="219" y="1099"/>
                      </a:lnTo>
                      <a:lnTo>
                        <a:pt x="220" y="1099"/>
                      </a:lnTo>
                      <a:lnTo>
                        <a:pt x="220" y="1099"/>
                      </a:lnTo>
                      <a:lnTo>
                        <a:pt x="221" y="1099"/>
                      </a:lnTo>
                      <a:lnTo>
                        <a:pt x="222" y="1099"/>
                      </a:lnTo>
                      <a:lnTo>
                        <a:pt x="223" y="1099"/>
                      </a:lnTo>
                      <a:lnTo>
                        <a:pt x="223" y="1098"/>
                      </a:lnTo>
                      <a:lnTo>
                        <a:pt x="223" y="1098"/>
                      </a:lnTo>
                      <a:lnTo>
                        <a:pt x="224" y="1098"/>
                      </a:lnTo>
                      <a:lnTo>
                        <a:pt x="225" y="1098"/>
                      </a:lnTo>
                      <a:lnTo>
                        <a:pt x="225" y="1098"/>
                      </a:lnTo>
                      <a:lnTo>
                        <a:pt x="225" y="1098"/>
                      </a:lnTo>
                      <a:lnTo>
                        <a:pt x="226" y="1098"/>
                      </a:lnTo>
                      <a:lnTo>
                        <a:pt x="227" y="1098"/>
                      </a:lnTo>
                      <a:lnTo>
                        <a:pt x="227" y="1098"/>
                      </a:lnTo>
                      <a:lnTo>
                        <a:pt x="227" y="1098"/>
                      </a:lnTo>
                      <a:lnTo>
                        <a:pt x="228" y="1098"/>
                      </a:lnTo>
                      <a:lnTo>
                        <a:pt x="227" y="1098"/>
                      </a:lnTo>
                      <a:lnTo>
                        <a:pt x="227" y="1098"/>
                      </a:lnTo>
                      <a:lnTo>
                        <a:pt x="227" y="1098"/>
                      </a:lnTo>
                      <a:lnTo>
                        <a:pt x="226" y="1098"/>
                      </a:lnTo>
                      <a:lnTo>
                        <a:pt x="225" y="1098"/>
                      </a:lnTo>
                      <a:lnTo>
                        <a:pt x="225" y="1097"/>
                      </a:lnTo>
                      <a:lnTo>
                        <a:pt x="225" y="1098"/>
                      </a:lnTo>
                      <a:lnTo>
                        <a:pt x="225" y="1098"/>
                      </a:lnTo>
                      <a:lnTo>
                        <a:pt x="225" y="1097"/>
                      </a:lnTo>
                      <a:lnTo>
                        <a:pt x="225" y="1098"/>
                      </a:lnTo>
                      <a:lnTo>
                        <a:pt x="224" y="1098"/>
                      </a:lnTo>
                      <a:lnTo>
                        <a:pt x="224" y="1097"/>
                      </a:lnTo>
                      <a:lnTo>
                        <a:pt x="224" y="1096"/>
                      </a:lnTo>
                      <a:lnTo>
                        <a:pt x="225" y="1096"/>
                      </a:lnTo>
                      <a:lnTo>
                        <a:pt x="225" y="1096"/>
                      </a:lnTo>
                      <a:lnTo>
                        <a:pt x="224" y="1096"/>
                      </a:lnTo>
                      <a:lnTo>
                        <a:pt x="224" y="1095"/>
                      </a:lnTo>
                      <a:lnTo>
                        <a:pt x="225" y="1095"/>
                      </a:lnTo>
                      <a:lnTo>
                        <a:pt x="225" y="1095"/>
                      </a:lnTo>
                      <a:lnTo>
                        <a:pt x="225" y="1095"/>
                      </a:lnTo>
                      <a:lnTo>
                        <a:pt x="225" y="1094"/>
                      </a:lnTo>
                      <a:lnTo>
                        <a:pt x="225" y="1094"/>
                      </a:lnTo>
                      <a:lnTo>
                        <a:pt x="225" y="1094"/>
                      </a:lnTo>
                      <a:lnTo>
                        <a:pt x="225" y="1094"/>
                      </a:lnTo>
                      <a:lnTo>
                        <a:pt x="225" y="1094"/>
                      </a:lnTo>
                      <a:lnTo>
                        <a:pt x="226" y="1094"/>
                      </a:lnTo>
                      <a:lnTo>
                        <a:pt x="226" y="1095"/>
                      </a:lnTo>
                      <a:lnTo>
                        <a:pt x="227" y="1095"/>
                      </a:lnTo>
                      <a:lnTo>
                        <a:pt x="227" y="1095"/>
                      </a:lnTo>
                      <a:lnTo>
                        <a:pt x="227" y="1094"/>
                      </a:lnTo>
                      <a:lnTo>
                        <a:pt x="227" y="1094"/>
                      </a:lnTo>
                      <a:lnTo>
                        <a:pt x="226" y="1094"/>
                      </a:lnTo>
                      <a:lnTo>
                        <a:pt x="226" y="1094"/>
                      </a:lnTo>
                      <a:lnTo>
                        <a:pt x="225" y="1094"/>
                      </a:lnTo>
                      <a:lnTo>
                        <a:pt x="225" y="1093"/>
                      </a:lnTo>
                      <a:lnTo>
                        <a:pt x="226" y="1093"/>
                      </a:lnTo>
                      <a:lnTo>
                        <a:pt x="226" y="1094"/>
                      </a:lnTo>
                      <a:lnTo>
                        <a:pt x="226" y="1093"/>
                      </a:lnTo>
                      <a:lnTo>
                        <a:pt x="225" y="1092"/>
                      </a:lnTo>
                      <a:lnTo>
                        <a:pt x="225" y="1092"/>
                      </a:lnTo>
                      <a:lnTo>
                        <a:pt x="225" y="1091"/>
                      </a:lnTo>
                      <a:lnTo>
                        <a:pt x="226" y="1091"/>
                      </a:lnTo>
                      <a:lnTo>
                        <a:pt x="225" y="1090"/>
                      </a:lnTo>
                      <a:lnTo>
                        <a:pt x="225" y="1090"/>
                      </a:lnTo>
                      <a:lnTo>
                        <a:pt x="225" y="1091"/>
                      </a:lnTo>
                      <a:lnTo>
                        <a:pt x="224" y="1091"/>
                      </a:lnTo>
                      <a:lnTo>
                        <a:pt x="224" y="1092"/>
                      </a:lnTo>
                      <a:lnTo>
                        <a:pt x="223" y="1091"/>
                      </a:lnTo>
                      <a:lnTo>
                        <a:pt x="223" y="1092"/>
                      </a:lnTo>
                      <a:lnTo>
                        <a:pt x="223" y="1092"/>
                      </a:lnTo>
                      <a:lnTo>
                        <a:pt x="223" y="1092"/>
                      </a:lnTo>
                      <a:lnTo>
                        <a:pt x="223" y="1091"/>
                      </a:lnTo>
                      <a:lnTo>
                        <a:pt x="223" y="1091"/>
                      </a:lnTo>
                      <a:lnTo>
                        <a:pt x="223" y="1092"/>
                      </a:lnTo>
                      <a:lnTo>
                        <a:pt x="222" y="1092"/>
                      </a:lnTo>
                      <a:lnTo>
                        <a:pt x="221" y="1092"/>
                      </a:lnTo>
                      <a:lnTo>
                        <a:pt x="220" y="1091"/>
                      </a:lnTo>
                      <a:lnTo>
                        <a:pt x="220" y="1091"/>
                      </a:lnTo>
                      <a:lnTo>
                        <a:pt x="219" y="1091"/>
                      </a:lnTo>
                      <a:lnTo>
                        <a:pt x="219" y="1090"/>
                      </a:lnTo>
                      <a:lnTo>
                        <a:pt x="219" y="1089"/>
                      </a:lnTo>
                      <a:lnTo>
                        <a:pt x="218" y="1089"/>
                      </a:lnTo>
                      <a:lnTo>
                        <a:pt x="218" y="1088"/>
                      </a:lnTo>
                      <a:lnTo>
                        <a:pt x="218" y="1087"/>
                      </a:lnTo>
                      <a:lnTo>
                        <a:pt x="217" y="1087"/>
                      </a:lnTo>
                      <a:lnTo>
                        <a:pt x="217" y="1088"/>
                      </a:lnTo>
                      <a:lnTo>
                        <a:pt x="216" y="1089"/>
                      </a:lnTo>
                      <a:lnTo>
                        <a:pt x="216" y="1089"/>
                      </a:lnTo>
                      <a:lnTo>
                        <a:pt x="216" y="1089"/>
                      </a:lnTo>
                      <a:lnTo>
                        <a:pt x="215" y="1090"/>
                      </a:lnTo>
                      <a:lnTo>
                        <a:pt x="215" y="1089"/>
                      </a:lnTo>
                      <a:lnTo>
                        <a:pt x="214" y="1089"/>
                      </a:lnTo>
                      <a:lnTo>
                        <a:pt x="214" y="1089"/>
                      </a:lnTo>
                      <a:lnTo>
                        <a:pt x="214" y="1090"/>
                      </a:lnTo>
                      <a:lnTo>
                        <a:pt x="214" y="1091"/>
                      </a:lnTo>
                      <a:lnTo>
                        <a:pt x="214" y="1092"/>
                      </a:lnTo>
                      <a:lnTo>
                        <a:pt x="213" y="1092"/>
                      </a:lnTo>
                      <a:lnTo>
                        <a:pt x="213" y="1092"/>
                      </a:lnTo>
                      <a:lnTo>
                        <a:pt x="212" y="1092"/>
                      </a:lnTo>
                      <a:lnTo>
                        <a:pt x="212" y="1092"/>
                      </a:lnTo>
                      <a:lnTo>
                        <a:pt x="212" y="1092"/>
                      </a:lnTo>
                      <a:lnTo>
                        <a:pt x="212" y="1092"/>
                      </a:lnTo>
                      <a:lnTo>
                        <a:pt x="211" y="1093"/>
                      </a:lnTo>
                      <a:lnTo>
                        <a:pt x="211" y="1094"/>
                      </a:lnTo>
                      <a:lnTo>
                        <a:pt x="210" y="1094"/>
                      </a:lnTo>
                      <a:lnTo>
                        <a:pt x="210" y="1094"/>
                      </a:lnTo>
                      <a:lnTo>
                        <a:pt x="210" y="1094"/>
                      </a:lnTo>
                      <a:lnTo>
                        <a:pt x="209" y="1094"/>
                      </a:lnTo>
                      <a:lnTo>
                        <a:pt x="209" y="1094"/>
                      </a:lnTo>
                      <a:lnTo>
                        <a:pt x="208" y="1094"/>
                      </a:lnTo>
                      <a:lnTo>
                        <a:pt x="208" y="1093"/>
                      </a:lnTo>
                      <a:lnTo>
                        <a:pt x="208" y="1093"/>
                      </a:lnTo>
                      <a:lnTo>
                        <a:pt x="207" y="1093"/>
                      </a:lnTo>
                      <a:lnTo>
                        <a:pt x="207" y="1094"/>
                      </a:lnTo>
                      <a:lnTo>
                        <a:pt x="207" y="1093"/>
                      </a:lnTo>
                      <a:lnTo>
                        <a:pt x="207" y="1092"/>
                      </a:lnTo>
                      <a:lnTo>
                        <a:pt x="206" y="1092"/>
                      </a:lnTo>
                      <a:lnTo>
                        <a:pt x="206" y="1092"/>
                      </a:lnTo>
                      <a:lnTo>
                        <a:pt x="206" y="1093"/>
                      </a:lnTo>
                      <a:lnTo>
                        <a:pt x="205" y="1093"/>
                      </a:lnTo>
                      <a:lnTo>
                        <a:pt x="204" y="1093"/>
                      </a:lnTo>
                      <a:lnTo>
                        <a:pt x="204" y="1092"/>
                      </a:lnTo>
                      <a:lnTo>
                        <a:pt x="204" y="1092"/>
                      </a:lnTo>
                      <a:lnTo>
                        <a:pt x="204" y="1092"/>
                      </a:lnTo>
                      <a:lnTo>
                        <a:pt x="203" y="1092"/>
                      </a:lnTo>
                      <a:lnTo>
                        <a:pt x="203" y="1091"/>
                      </a:lnTo>
                      <a:lnTo>
                        <a:pt x="203" y="1090"/>
                      </a:lnTo>
                      <a:lnTo>
                        <a:pt x="202" y="1090"/>
                      </a:lnTo>
                      <a:lnTo>
                        <a:pt x="201" y="1090"/>
                      </a:lnTo>
                      <a:lnTo>
                        <a:pt x="201" y="1089"/>
                      </a:lnTo>
                      <a:lnTo>
                        <a:pt x="201" y="1089"/>
                      </a:lnTo>
                      <a:lnTo>
                        <a:pt x="201" y="1089"/>
                      </a:lnTo>
                      <a:lnTo>
                        <a:pt x="200" y="1089"/>
                      </a:lnTo>
                      <a:lnTo>
                        <a:pt x="199" y="1089"/>
                      </a:lnTo>
                      <a:lnTo>
                        <a:pt x="199" y="1089"/>
                      </a:lnTo>
                      <a:lnTo>
                        <a:pt x="199" y="1089"/>
                      </a:lnTo>
                      <a:lnTo>
                        <a:pt x="199" y="1089"/>
                      </a:lnTo>
                      <a:lnTo>
                        <a:pt x="198" y="1089"/>
                      </a:lnTo>
                      <a:lnTo>
                        <a:pt x="198" y="1089"/>
                      </a:lnTo>
                      <a:lnTo>
                        <a:pt x="197" y="1089"/>
                      </a:lnTo>
                      <a:lnTo>
                        <a:pt x="197" y="1089"/>
                      </a:lnTo>
                      <a:lnTo>
                        <a:pt x="198" y="1089"/>
                      </a:lnTo>
                      <a:lnTo>
                        <a:pt x="199" y="1089"/>
                      </a:lnTo>
                      <a:lnTo>
                        <a:pt x="199" y="1088"/>
                      </a:lnTo>
                      <a:lnTo>
                        <a:pt x="198" y="1088"/>
                      </a:lnTo>
                      <a:lnTo>
                        <a:pt x="198" y="1089"/>
                      </a:lnTo>
                      <a:lnTo>
                        <a:pt x="198" y="1088"/>
                      </a:lnTo>
                      <a:lnTo>
                        <a:pt x="197" y="1088"/>
                      </a:lnTo>
                      <a:lnTo>
                        <a:pt x="197" y="1087"/>
                      </a:lnTo>
                      <a:lnTo>
                        <a:pt x="197" y="1087"/>
                      </a:lnTo>
                      <a:lnTo>
                        <a:pt x="197" y="1088"/>
                      </a:lnTo>
                      <a:lnTo>
                        <a:pt x="196" y="1088"/>
                      </a:lnTo>
                      <a:lnTo>
                        <a:pt x="196" y="1087"/>
                      </a:lnTo>
                      <a:lnTo>
                        <a:pt x="195" y="1087"/>
                      </a:lnTo>
                      <a:lnTo>
                        <a:pt x="195" y="1087"/>
                      </a:lnTo>
                      <a:lnTo>
                        <a:pt x="195" y="1087"/>
                      </a:lnTo>
                      <a:lnTo>
                        <a:pt x="194" y="1087"/>
                      </a:lnTo>
                      <a:lnTo>
                        <a:pt x="194" y="1086"/>
                      </a:lnTo>
                      <a:lnTo>
                        <a:pt x="193" y="1086"/>
                      </a:lnTo>
                      <a:lnTo>
                        <a:pt x="193" y="1086"/>
                      </a:lnTo>
                      <a:lnTo>
                        <a:pt x="193" y="1087"/>
                      </a:lnTo>
                      <a:lnTo>
                        <a:pt x="192" y="1087"/>
                      </a:lnTo>
                      <a:lnTo>
                        <a:pt x="192" y="1087"/>
                      </a:lnTo>
                      <a:lnTo>
                        <a:pt x="192" y="1087"/>
                      </a:lnTo>
                      <a:lnTo>
                        <a:pt x="191" y="1087"/>
                      </a:lnTo>
                      <a:lnTo>
                        <a:pt x="191" y="1087"/>
                      </a:lnTo>
                      <a:lnTo>
                        <a:pt x="191" y="1087"/>
                      </a:lnTo>
                      <a:lnTo>
                        <a:pt x="191" y="1088"/>
                      </a:lnTo>
                      <a:lnTo>
                        <a:pt x="190" y="1088"/>
                      </a:lnTo>
                      <a:lnTo>
                        <a:pt x="189" y="1089"/>
                      </a:lnTo>
                      <a:lnTo>
                        <a:pt x="189" y="1089"/>
                      </a:lnTo>
                      <a:lnTo>
                        <a:pt x="189" y="1089"/>
                      </a:lnTo>
                      <a:lnTo>
                        <a:pt x="188" y="1089"/>
                      </a:lnTo>
                      <a:lnTo>
                        <a:pt x="187" y="1089"/>
                      </a:lnTo>
                      <a:lnTo>
                        <a:pt x="187" y="1089"/>
                      </a:lnTo>
                      <a:lnTo>
                        <a:pt x="187" y="1089"/>
                      </a:lnTo>
                      <a:lnTo>
                        <a:pt x="187" y="1089"/>
                      </a:lnTo>
                      <a:lnTo>
                        <a:pt x="186" y="1089"/>
                      </a:lnTo>
                      <a:lnTo>
                        <a:pt x="186" y="1090"/>
                      </a:lnTo>
                      <a:lnTo>
                        <a:pt x="187" y="1090"/>
                      </a:lnTo>
                      <a:lnTo>
                        <a:pt x="187" y="1089"/>
                      </a:lnTo>
                      <a:lnTo>
                        <a:pt x="187" y="1090"/>
                      </a:lnTo>
                      <a:lnTo>
                        <a:pt x="187" y="1090"/>
                      </a:lnTo>
                      <a:lnTo>
                        <a:pt x="187" y="1089"/>
                      </a:lnTo>
                      <a:lnTo>
                        <a:pt x="187" y="1090"/>
                      </a:lnTo>
                      <a:lnTo>
                        <a:pt x="187" y="1090"/>
                      </a:lnTo>
                      <a:lnTo>
                        <a:pt x="186" y="1090"/>
                      </a:lnTo>
                      <a:lnTo>
                        <a:pt x="185" y="1090"/>
                      </a:lnTo>
                      <a:lnTo>
                        <a:pt x="185" y="1091"/>
                      </a:lnTo>
                      <a:lnTo>
                        <a:pt x="185" y="1091"/>
                      </a:lnTo>
                      <a:lnTo>
                        <a:pt x="185" y="1092"/>
                      </a:lnTo>
                      <a:lnTo>
                        <a:pt x="184" y="1092"/>
                      </a:lnTo>
                      <a:lnTo>
                        <a:pt x="183" y="1092"/>
                      </a:lnTo>
                      <a:lnTo>
                        <a:pt x="182" y="1092"/>
                      </a:lnTo>
                      <a:lnTo>
                        <a:pt x="182" y="1091"/>
                      </a:lnTo>
                      <a:lnTo>
                        <a:pt x="182" y="1091"/>
                      </a:lnTo>
                      <a:lnTo>
                        <a:pt x="181" y="1091"/>
                      </a:lnTo>
                      <a:lnTo>
                        <a:pt x="181" y="1090"/>
                      </a:lnTo>
                      <a:lnTo>
                        <a:pt x="180" y="1090"/>
                      </a:lnTo>
                      <a:lnTo>
                        <a:pt x="180" y="1090"/>
                      </a:lnTo>
                      <a:lnTo>
                        <a:pt x="180" y="1089"/>
                      </a:lnTo>
                      <a:lnTo>
                        <a:pt x="179" y="1089"/>
                      </a:lnTo>
                      <a:lnTo>
                        <a:pt x="179" y="1089"/>
                      </a:lnTo>
                      <a:lnTo>
                        <a:pt x="179" y="1088"/>
                      </a:lnTo>
                      <a:lnTo>
                        <a:pt x="178" y="1088"/>
                      </a:lnTo>
                      <a:lnTo>
                        <a:pt x="178" y="1087"/>
                      </a:lnTo>
                      <a:lnTo>
                        <a:pt x="178" y="1087"/>
                      </a:lnTo>
                      <a:lnTo>
                        <a:pt x="178" y="1087"/>
                      </a:lnTo>
                      <a:lnTo>
                        <a:pt x="178" y="1086"/>
                      </a:lnTo>
                      <a:lnTo>
                        <a:pt x="177" y="1085"/>
                      </a:lnTo>
                      <a:lnTo>
                        <a:pt x="176" y="1085"/>
                      </a:lnTo>
                      <a:lnTo>
                        <a:pt x="176" y="1085"/>
                      </a:lnTo>
                      <a:lnTo>
                        <a:pt x="176" y="1085"/>
                      </a:lnTo>
                      <a:lnTo>
                        <a:pt x="175" y="1085"/>
                      </a:lnTo>
                      <a:lnTo>
                        <a:pt x="174" y="1085"/>
                      </a:lnTo>
                      <a:lnTo>
                        <a:pt x="174" y="1084"/>
                      </a:lnTo>
                      <a:lnTo>
                        <a:pt x="174" y="1084"/>
                      </a:lnTo>
                      <a:lnTo>
                        <a:pt x="173" y="1083"/>
                      </a:lnTo>
                      <a:lnTo>
                        <a:pt x="173" y="1083"/>
                      </a:lnTo>
                      <a:lnTo>
                        <a:pt x="172" y="1083"/>
                      </a:lnTo>
                      <a:lnTo>
                        <a:pt x="172" y="1082"/>
                      </a:lnTo>
                      <a:lnTo>
                        <a:pt x="172" y="1082"/>
                      </a:lnTo>
                      <a:lnTo>
                        <a:pt x="171" y="1082"/>
                      </a:lnTo>
                      <a:lnTo>
                        <a:pt x="171" y="1081"/>
                      </a:lnTo>
                      <a:lnTo>
                        <a:pt x="170" y="1081"/>
                      </a:lnTo>
                      <a:lnTo>
                        <a:pt x="170" y="1081"/>
                      </a:lnTo>
                      <a:lnTo>
                        <a:pt x="170" y="1081"/>
                      </a:lnTo>
                      <a:lnTo>
                        <a:pt x="170" y="1080"/>
                      </a:lnTo>
                      <a:lnTo>
                        <a:pt x="169" y="1080"/>
                      </a:lnTo>
                      <a:lnTo>
                        <a:pt x="168" y="1080"/>
                      </a:lnTo>
                      <a:lnTo>
                        <a:pt x="168" y="1080"/>
                      </a:lnTo>
                      <a:lnTo>
                        <a:pt x="168" y="1081"/>
                      </a:lnTo>
                      <a:lnTo>
                        <a:pt x="168" y="1080"/>
                      </a:lnTo>
                      <a:lnTo>
                        <a:pt x="167" y="1080"/>
                      </a:lnTo>
                      <a:lnTo>
                        <a:pt x="166" y="1080"/>
                      </a:lnTo>
                      <a:lnTo>
                        <a:pt x="166" y="1080"/>
                      </a:lnTo>
                      <a:lnTo>
                        <a:pt x="165" y="1080"/>
                      </a:lnTo>
                      <a:lnTo>
                        <a:pt x="164" y="1080"/>
                      </a:lnTo>
                      <a:lnTo>
                        <a:pt x="163" y="1080"/>
                      </a:lnTo>
                      <a:lnTo>
                        <a:pt x="163" y="1079"/>
                      </a:lnTo>
                      <a:lnTo>
                        <a:pt x="163" y="1079"/>
                      </a:lnTo>
                      <a:lnTo>
                        <a:pt x="163" y="1079"/>
                      </a:lnTo>
                      <a:lnTo>
                        <a:pt x="162" y="1079"/>
                      </a:lnTo>
                      <a:lnTo>
                        <a:pt x="161" y="1079"/>
                      </a:lnTo>
                      <a:lnTo>
                        <a:pt x="161" y="1079"/>
                      </a:lnTo>
                      <a:lnTo>
                        <a:pt x="161" y="1078"/>
                      </a:lnTo>
                      <a:lnTo>
                        <a:pt x="160" y="1079"/>
                      </a:lnTo>
                      <a:lnTo>
                        <a:pt x="160" y="1078"/>
                      </a:lnTo>
                      <a:lnTo>
                        <a:pt x="159" y="1078"/>
                      </a:lnTo>
                      <a:lnTo>
                        <a:pt x="159" y="1078"/>
                      </a:lnTo>
                      <a:lnTo>
                        <a:pt x="159" y="1077"/>
                      </a:lnTo>
                      <a:lnTo>
                        <a:pt x="159" y="1078"/>
                      </a:lnTo>
                      <a:lnTo>
                        <a:pt x="158" y="1078"/>
                      </a:lnTo>
                      <a:lnTo>
                        <a:pt x="158" y="1077"/>
                      </a:lnTo>
                      <a:lnTo>
                        <a:pt x="157" y="1077"/>
                      </a:lnTo>
                      <a:lnTo>
                        <a:pt x="157" y="1076"/>
                      </a:lnTo>
                      <a:lnTo>
                        <a:pt x="157" y="1076"/>
                      </a:lnTo>
                      <a:lnTo>
                        <a:pt x="157" y="1076"/>
                      </a:lnTo>
                      <a:lnTo>
                        <a:pt x="157" y="1075"/>
                      </a:lnTo>
                      <a:lnTo>
                        <a:pt x="157" y="1075"/>
                      </a:lnTo>
                      <a:lnTo>
                        <a:pt x="157" y="1074"/>
                      </a:lnTo>
                      <a:lnTo>
                        <a:pt x="157" y="1074"/>
                      </a:lnTo>
                      <a:lnTo>
                        <a:pt x="157" y="1073"/>
                      </a:lnTo>
                      <a:lnTo>
                        <a:pt x="157" y="1073"/>
                      </a:lnTo>
                      <a:lnTo>
                        <a:pt x="156" y="1072"/>
                      </a:lnTo>
                      <a:lnTo>
                        <a:pt x="155" y="1072"/>
                      </a:lnTo>
                      <a:lnTo>
                        <a:pt x="155" y="1072"/>
                      </a:lnTo>
                      <a:lnTo>
                        <a:pt x="154" y="1072"/>
                      </a:lnTo>
                      <a:lnTo>
                        <a:pt x="153" y="1072"/>
                      </a:lnTo>
                      <a:lnTo>
                        <a:pt x="153" y="1072"/>
                      </a:lnTo>
                      <a:lnTo>
                        <a:pt x="152" y="1072"/>
                      </a:lnTo>
                      <a:lnTo>
                        <a:pt x="151" y="1072"/>
                      </a:lnTo>
                      <a:lnTo>
                        <a:pt x="151" y="1071"/>
                      </a:lnTo>
                      <a:lnTo>
                        <a:pt x="151" y="1071"/>
                      </a:lnTo>
                      <a:lnTo>
                        <a:pt x="151" y="1070"/>
                      </a:lnTo>
                      <a:lnTo>
                        <a:pt x="151" y="1070"/>
                      </a:lnTo>
                      <a:lnTo>
                        <a:pt x="151" y="1069"/>
                      </a:lnTo>
                      <a:lnTo>
                        <a:pt x="150" y="1068"/>
                      </a:lnTo>
                      <a:lnTo>
                        <a:pt x="150" y="1068"/>
                      </a:lnTo>
                      <a:lnTo>
                        <a:pt x="150" y="1067"/>
                      </a:lnTo>
                      <a:lnTo>
                        <a:pt x="149" y="1066"/>
                      </a:lnTo>
                      <a:lnTo>
                        <a:pt x="149" y="1066"/>
                      </a:lnTo>
                      <a:lnTo>
                        <a:pt x="149" y="1066"/>
                      </a:lnTo>
                      <a:lnTo>
                        <a:pt x="149" y="1065"/>
                      </a:lnTo>
                      <a:lnTo>
                        <a:pt x="149" y="1064"/>
                      </a:lnTo>
                      <a:lnTo>
                        <a:pt x="149" y="1064"/>
                      </a:lnTo>
                      <a:lnTo>
                        <a:pt x="148" y="1064"/>
                      </a:lnTo>
                      <a:lnTo>
                        <a:pt x="148" y="1063"/>
                      </a:lnTo>
                      <a:lnTo>
                        <a:pt x="148" y="1062"/>
                      </a:lnTo>
                      <a:lnTo>
                        <a:pt x="148" y="1062"/>
                      </a:lnTo>
                      <a:lnTo>
                        <a:pt x="147" y="1062"/>
                      </a:lnTo>
                      <a:lnTo>
                        <a:pt x="147" y="1061"/>
                      </a:lnTo>
                      <a:lnTo>
                        <a:pt x="147" y="1060"/>
                      </a:lnTo>
                      <a:lnTo>
                        <a:pt x="147" y="1060"/>
                      </a:lnTo>
                      <a:lnTo>
                        <a:pt x="147" y="1060"/>
                      </a:lnTo>
                      <a:lnTo>
                        <a:pt x="146" y="1060"/>
                      </a:lnTo>
                      <a:lnTo>
                        <a:pt x="146" y="1059"/>
                      </a:lnTo>
                      <a:lnTo>
                        <a:pt x="146" y="1058"/>
                      </a:lnTo>
                      <a:lnTo>
                        <a:pt x="146" y="1058"/>
                      </a:lnTo>
                      <a:lnTo>
                        <a:pt x="145" y="1058"/>
                      </a:lnTo>
                      <a:lnTo>
                        <a:pt x="145" y="1057"/>
                      </a:lnTo>
                      <a:lnTo>
                        <a:pt x="144" y="1057"/>
                      </a:lnTo>
                      <a:lnTo>
                        <a:pt x="144" y="1056"/>
                      </a:lnTo>
                      <a:lnTo>
                        <a:pt x="144" y="1056"/>
                      </a:lnTo>
                      <a:lnTo>
                        <a:pt x="144" y="1056"/>
                      </a:lnTo>
                      <a:lnTo>
                        <a:pt x="143" y="1056"/>
                      </a:lnTo>
                      <a:lnTo>
                        <a:pt x="142" y="1055"/>
                      </a:lnTo>
                      <a:lnTo>
                        <a:pt x="142" y="1055"/>
                      </a:lnTo>
                      <a:lnTo>
                        <a:pt x="141" y="1055"/>
                      </a:lnTo>
                      <a:lnTo>
                        <a:pt x="141" y="1054"/>
                      </a:lnTo>
                      <a:lnTo>
                        <a:pt x="140" y="1054"/>
                      </a:lnTo>
                      <a:lnTo>
                        <a:pt x="140" y="1054"/>
                      </a:lnTo>
                      <a:lnTo>
                        <a:pt x="140" y="1054"/>
                      </a:lnTo>
                      <a:lnTo>
                        <a:pt x="139" y="1054"/>
                      </a:lnTo>
                      <a:lnTo>
                        <a:pt x="139" y="1053"/>
                      </a:lnTo>
                      <a:lnTo>
                        <a:pt x="138" y="1053"/>
                      </a:lnTo>
                      <a:lnTo>
                        <a:pt x="138" y="1052"/>
                      </a:lnTo>
                      <a:lnTo>
                        <a:pt x="138" y="1052"/>
                      </a:lnTo>
                      <a:lnTo>
                        <a:pt x="138" y="1051"/>
                      </a:lnTo>
                      <a:lnTo>
                        <a:pt x="137" y="1050"/>
                      </a:lnTo>
                      <a:lnTo>
                        <a:pt x="137" y="1049"/>
                      </a:lnTo>
                      <a:lnTo>
                        <a:pt x="136" y="1049"/>
                      </a:lnTo>
                      <a:lnTo>
                        <a:pt x="136" y="1049"/>
                      </a:lnTo>
                      <a:lnTo>
                        <a:pt x="136" y="1048"/>
                      </a:lnTo>
                      <a:lnTo>
                        <a:pt x="136" y="1047"/>
                      </a:lnTo>
                      <a:lnTo>
                        <a:pt x="136" y="1047"/>
                      </a:lnTo>
                      <a:lnTo>
                        <a:pt x="136" y="1046"/>
                      </a:lnTo>
                      <a:lnTo>
                        <a:pt x="136" y="1045"/>
                      </a:lnTo>
                      <a:lnTo>
                        <a:pt x="135" y="1045"/>
                      </a:lnTo>
                      <a:lnTo>
                        <a:pt x="135" y="1045"/>
                      </a:lnTo>
                      <a:lnTo>
                        <a:pt x="134" y="1045"/>
                      </a:lnTo>
                      <a:lnTo>
                        <a:pt x="135" y="1045"/>
                      </a:lnTo>
                      <a:lnTo>
                        <a:pt x="135" y="1044"/>
                      </a:lnTo>
                      <a:lnTo>
                        <a:pt x="134" y="1044"/>
                      </a:lnTo>
                      <a:lnTo>
                        <a:pt x="134" y="1043"/>
                      </a:lnTo>
                      <a:lnTo>
                        <a:pt x="134" y="1043"/>
                      </a:lnTo>
                      <a:lnTo>
                        <a:pt x="133" y="1043"/>
                      </a:lnTo>
                      <a:lnTo>
                        <a:pt x="133" y="1042"/>
                      </a:lnTo>
                      <a:lnTo>
                        <a:pt x="132" y="1042"/>
                      </a:lnTo>
                      <a:lnTo>
                        <a:pt x="132" y="1041"/>
                      </a:lnTo>
                      <a:lnTo>
                        <a:pt x="132" y="1041"/>
                      </a:lnTo>
                      <a:lnTo>
                        <a:pt x="131" y="1041"/>
                      </a:lnTo>
                      <a:lnTo>
                        <a:pt x="131" y="1041"/>
                      </a:lnTo>
                      <a:lnTo>
                        <a:pt x="130" y="1041"/>
                      </a:lnTo>
                      <a:lnTo>
                        <a:pt x="130" y="1040"/>
                      </a:lnTo>
                      <a:lnTo>
                        <a:pt x="130" y="1039"/>
                      </a:lnTo>
                      <a:lnTo>
                        <a:pt x="130" y="1039"/>
                      </a:lnTo>
                      <a:lnTo>
                        <a:pt x="130" y="1038"/>
                      </a:lnTo>
                      <a:lnTo>
                        <a:pt x="130" y="1037"/>
                      </a:lnTo>
                      <a:lnTo>
                        <a:pt x="130" y="1037"/>
                      </a:lnTo>
                      <a:lnTo>
                        <a:pt x="129" y="1037"/>
                      </a:lnTo>
                      <a:lnTo>
                        <a:pt x="129" y="1036"/>
                      </a:lnTo>
                      <a:lnTo>
                        <a:pt x="128" y="1036"/>
                      </a:lnTo>
                      <a:lnTo>
                        <a:pt x="128" y="1035"/>
                      </a:lnTo>
                      <a:lnTo>
                        <a:pt x="127" y="1035"/>
                      </a:lnTo>
                      <a:lnTo>
                        <a:pt x="127" y="1035"/>
                      </a:lnTo>
                      <a:lnTo>
                        <a:pt x="127" y="1035"/>
                      </a:lnTo>
                      <a:lnTo>
                        <a:pt x="127" y="1034"/>
                      </a:lnTo>
                      <a:lnTo>
                        <a:pt x="126" y="1034"/>
                      </a:lnTo>
                      <a:lnTo>
                        <a:pt x="126" y="1035"/>
                      </a:lnTo>
                      <a:lnTo>
                        <a:pt x="125" y="1035"/>
                      </a:lnTo>
                      <a:lnTo>
                        <a:pt x="125" y="1035"/>
                      </a:lnTo>
                      <a:lnTo>
                        <a:pt x="125" y="1035"/>
                      </a:lnTo>
                      <a:lnTo>
                        <a:pt x="125" y="1035"/>
                      </a:lnTo>
                      <a:lnTo>
                        <a:pt x="125" y="1034"/>
                      </a:lnTo>
                      <a:lnTo>
                        <a:pt x="125" y="1034"/>
                      </a:lnTo>
                      <a:lnTo>
                        <a:pt x="125" y="1035"/>
                      </a:lnTo>
                      <a:lnTo>
                        <a:pt x="125" y="1034"/>
                      </a:lnTo>
                      <a:lnTo>
                        <a:pt x="125" y="1033"/>
                      </a:lnTo>
                      <a:lnTo>
                        <a:pt x="125" y="1033"/>
                      </a:lnTo>
                      <a:lnTo>
                        <a:pt x="125" y="1033"/>
                      </a:lnTo>
                      <a:lnTo>
                        <a:pt x="124" y="1033"/>
                      </a:lnTo>
                      <a:lnTo>
                        <a:pt x="123" y="1033"/>
                      </a:lnTo>
                      <a:lnTo>
                        <a:pt x="123" y="1033"/>
                      </a:lnTo>
                      <a:lnTo>
                        <a:pt x="123" y="1033"/>
                      </a:lnTo>
                      <a:lnTo>
                        <a:pt x="123" y="1034"/>
                      </a:lnTo>
                      <a:lnTo>
                        <a:pt x="124" y="1034"/>
                      </a:lnTo>
                      <a:lnTo>
                        <a:pt x="124" y="1035"/>
                      </a:lnTo>
                      <a:lnTo>
                        <a:pt x="124" y="1035"/>
                      </a:lnTo>
                      <a:lnTo>
                        <a:pt x="124" y="1036"/>
                      </a:lnTo>
                      <a:lnTo>
                        <a:pt x="125" y="1036"/>
                      </a:lnTo>
                      <a:lnTo>
                        <a:pt x="125" y="1035"/>
                      </a:lnTo>
                      <a:lnTo>
                        <a:pt x="125" y="1035"/>
                      </a:lnTo>
                      <a:lnTo>
                        <a:pt x="125" y="1036"/>
                      </a:lnTo>
                      <a:lnTo>
                        <a:pt x="125" y="1036"/>
                      </a:lnTo>
                      <a:lnTo>
                        <a:pt x="124" y="1036"/>
                      </a:lnTo>
                      <a:lnTo>
                        <a:pt x="123" y="1036"/>
                      </a:lnTo>
                      <a:lnTo>
                        <a:pt x="123" y="1036"/>
                      </a:lnTo>
                      <a:lnTo>
                        <a:pt x="122" y="1035"/>
                      </a:lnTo>
                      <a:lnTo>
                        <a:pt x="121" y="1035"/>
                      </a:lnTo>
                      <a:lnTo>
                        <a:pt x="121" y="1035"/>
                      </a:lnTo>
                      <a:lnTo>
                        <a:pt x="120" y="1035"/>
                      </a:lnTo>
                      <a:lnTo>
                        <a:pt x="120" y="1035"/>
                      </a:lnTo>
                      <a:lnTo>
                        <a:pt x="119" y="1035"/>
                      </a:lnTo>
                      <a:lnTo>
                        <a:pt x="119" y="1035"/>
                      </a:lnTo>
                      <a:lnTo>
                        <a:pt x="118" y="1035"/>
                      </a:lnTo>
                      <a:lnTo>
                        <a:pt x="117" y="1035"/>
                      </a:lnTo>
                      <a:lnTo>
                        <a:pt x="117" y="1035"/>
                      </a:lnTo>
                      <a:lnTo>
                        <a:pt x="116" y="1035"/>
                      </a:lnTo>
                      <a:lnTo>
                        <a:pt x="115" y="1035"/>
                      </a:lnTo>
                      <a:lnTo>
                        <a:pt x="115" y="1035"/>
                      </a:lnTo>
                      <a:lnTo>
                        <a:pt x="114" y="1035"/>
                      </a:lnTo>
                      <a:lnTo>
                        <a:pt x="113" y="1034"/>
                      </a:lnTo>
                      <a:lnTo>
                        <a:pt x="113" y="1034"/>
                      </a:lnTo>
                      <a:lnTo>
                        <a:pt x="112" y="1034"/>
                      </a:lnTo>
                      <a:lnTo>
                        <a:pt x="111" y="1034"/>
                      </a:lnTo>
                      <a:lnTo>
                        <a:pt x="111" y="1034"/>
                      </a:lnTo>
                      <a:lnTo>
                        <a:pt x="111" y="1033"/>
                      </a:lnTo>
                      <a:lnTo>
                        <a:pt x="110" y="1033"/>
                      </a:lnTo>
                      <a:lnTo>
                        <a:pt x="109" y="1033"/>
                      </a:lnTo>
                      <a:lnTo>
                        <a:pt x="108" y="1033"/>
                      </a:lnTo>
                      <a:lnTo>
                        <a:pt x="108" y="1033"/>
                      </a:lnTo>
                      <a:lnTo>
                        <a:pt x="107" y="1033"/>
                      </a:lnTo>
                      <a:lnTo>
                        <a:pt x="106" y="1033"/>
                      </a:lnTo>
                      <a:lnTo>
                        <a:pt x="106" y="1032"/>
                      </a:lnTo>
                      <a:lnTo>
                        <a:pt x="105" y="1032"/>
                      </a:lnTo>
                      <a:lnTo>
                        <a:pt x="105" y="1031"/>
                      </a:lnTo>
                      <a:lnTo>
                        <a:pt x="104" y="1030"/>
                      </a:lnTo>
                      <a:lnTo>
                        <a:pt x="104" y="1030"/>
                      </a:lnTo>
                      <a:lnTo>
                        <a:pt x="104" y="1030"/>
                      </a:lnTo>
                      <a:lnTo>
                        <a:pt x="104" y="1029"/>
                      </a:lnTo>
                      <a:lnTo>
                        <a:pt x="104" y="1028"/>
                      </a:lnTo>
                      <a:lnTo>
                        <a:pt x="103" y="1028"/>
                      </a:lnTo>
                      <a:lnTo>
                        <a:pt x="104" y="1028"/>
                      </a:lnTo>
                      <a:lnTo>
                        <a:pt x="104" y="1028"/>
                      </a:lnTo>
                      <a:lnTo>
                        <a:pt x="105" y="1028"/>
                      </a:lnTo>
                      <a:lnTo>
                        <a:pt x="106" y="1028"/>
                      </a:lnTo>
                      <a:lnTo>
                        <a:pt x="106" y="1028"/>
                      </a:lnTo>
                      <a:lnTo>
                        <a:pt x="107" y="1028"/>
                      </a:lnTo>
                      <a:lnTo>
                        <a:pt x="108" y="1028"/>
                      </a:lnTo>
                      <a:lnTo>
                        <a:pt x="108" y="1028"/>
                      </a:lnTo>
                      <a:lnTo>
                        <a:pt x="109" y="1028"/>
                      </a:lnTo>
                      <a:lnTo>
                        <a:pt x="110" y="1028"/>
                      </a:lnTo>
                      <a:lnTo>
                        <a:pt x="110" y="1028"/>
                      </a:lnTo>
                      <a:lnTo>
                        <a:pt x="111" y="1028"/>
                      </a:lnTo>
                      <a:lnTo>
                        <a:pt x="111" y="1028"/>
                      </a:lnTo>
                      <a:lnTo>
                        <a:pt x="111" y="1028"/>
                      </a:lnTo>
                      <a:lnTo>
                        <a:pt x="112" y="1028"/>
                      </a:lnTo>
                      <a:lnTo>
                        <a:pt x="113" y="1028"/>
                      </a:lnTo>
                      <a:lnTo>
                        <a:pt x="113" y="1028"/>
                      </a:lnTo>
                      <a:lnTo>
                        <a:pt x="113" y="1028"/>
                      </a:lnTo>
                      <a:lnTo>
                        <a:pt x="113" y="1028"/>
                      </a:lnTo>
                      <a:lnTo>
                        <a:pt x="112" y="1028"/>
                      </a:lnTo>
                      <a:lnTo>
                        <a:pt x="112" y="1027"/>
                      </a:lnTo>
                      <a:lnTo>
                        <a:pt x="113" y="1027"/>
                      </a:lnTo>
                      <a:lnTo>
                        <a:pt x="113" y="1027"/>
                      </a:lnTo>
                      <a:lnTo>
                        <a:pt x="113" y="1028"/>
                      </a:lnTo>
                      <a:lnTo>
                        <a:pt x="114" y="1028"/>
                      </a:lnTo>
                      <a:lnTo>
                        <a:pt x="114" y="1027"/>
                      </a:lnTo>
                      <a:lnTo>
                        <a:pt x="115" y="1027"/>
                      </a:lnTo>
                      <a:lnTo>
                        <a:pt x="115" y="1026"/>
                      </a:lnTo>
                      <a:lnTo>
                        <a:pt x="115" y="1027"/>
                      </a:lnTo>
                      <a:lnTo>
                        <a:pt x="115" y="1026"/>
                      </a:lnTo>
                      <a:lnTo>
                        <a:pt x="114" y="1026"/>
                      </a:lnTo>
                      <a:lnTo>
                        <a:pt x="115" y="1026"/>
                      </a:lnTo>
                      <a:lnTo>
                        <a:pt x="115" y="1026"/>
                      </a:lnTo>
                      <a:lnTo>
                        <a:pt x="114" y="1026"/>
                      </a:lnTo>
                      <a:lnTo>
                        <a:pt x="114" y="1025"/>
                      </a:lnTo>
                      <a:lnTo>
                        <a:pt x="113" y="1025"/>
                      </a:lnTo>
                      <a:lnTo>
                        <a:pt x="113" y="1026"/>
                      </a:lnTo>
                      <a:lnTo>
                        <a:pt x="113" y="1026"/>
                      </a:lnTo>
                      <a:lnTo>
                        <a:pt x="112" y="1026"/>
                      </a:lnTo>
                      <a:lnTo>
                        <a:pt x="112" y="1025"/>
                      </a:lnTo>
                      <a:lnTo>
                        <a:pt x="112" y="1024"/>
                      </a:lnTo>
                      <a:lnTo>
                        <a:pt x="113" y="1024"/>
                      </a:lnTo>
                      <a:lnTo>
                        <a:pt x="113" y="1024"/>
                      </a:lnTo>
                      <a:lnTo>
                        <a:pt x="112" y="1024"/>
                      </a:lnTo>
                      <a:lnTo>
                        <a:pt x="112" y="1023"/>
                      </a:lnTo>
                      <a:lnTo>
                        <a:pt x="111" y="1023"/>
                      </a:lnTo>
                      <a:lnTo>
                        <a:pt x="111" y="1022"/>
                      </a:lnTo>
                      <a:lnTo>
                        <a:pt x="111" y="1022"/>
                      </a:lnTo>
                      <a:lnTo>
                        <a:pt x="111" y="1022"/>
                      </a:lnTo>
                      <a:lnTo>
                        <a:pt x="110" y="1022"/>
                      </a:lnTo>
                      <a:lnTo>
                        <a:pt x="109" y="1022"/>
                      </a:lnTo>
                      <a:lnTo>
                        <a:pt x="109" y="1022"/>
                      </a:lnTo>
                      <a:lnTo>
                        <a:pt x="108" y="1022"/>
                      </a:lnTo>
                      <a:lnTo>
                        <a:pt x="108" y="1022"/>
                      </a:lnTo>
                      <a:lnTo>
                        <a:pt x="107" y="1022"/>
                      </a:lnTo>
                      <a:lnTo>
                        <a:pt x="107" y="1022"/>
                      </a:lnTo>
                      <a:lnTo>
                        <a:pt x="107" y="1021"/>
                      </a:lnTo>
                      <a:lnTo>
                        <a:pt x="106" y="1021"/>
                      </a:lnTo>
                      <a:lnTo>
                        <a:pt x="107" y="1021"/>
                      </a:lnTo>
                      <a:lnTo>
                        <a:pt x="107" y="1020"/>
                      </a:lnTo>
                      <a:lnTo>
                        <a:pt x="106" y="1020"/>
                      </a:lnTo>
                      <a:lnTo>
                        <a:pt x="106" y="1020"/>
                      </a:lnTo>
                      <a:lnTo>
                        <a:pt x="106" y="1020"/>
                      </a:lnTo>
                      <a:lnTo>
                        <a:pt x="106" y="1019"/>
                      </a:lnTo>
                      <a:lnTo>
                        <a:pt x="105" y="1019"/>
                      </a:lnTo>
                      <a:lnTo>
                        <a:pt x="105" y="1018"/>
                      </a:lnTo>
                      <a:lnTo>
                        <a:pt x="105" y="1019"/>
                      </a:lnTo>
                      <a:lnTo>
                        <a:pt x="105" y="1018"/>
                      </a:lnTo>
                      <a:lnTo>
                        <a:pt x="104" y="1018"/>
                      </a:lnTo>
                      <a:lnTo>
                        <a:pt x="104" y="1018"/>
                      </a:lnTo>
                      <a:lnTo>
                        <a:pt x="104" y="1018"/>
                      </a:lnTo>
                      <a:lnTo>
                        <a:pt x="103" y="1018"/>
                      </a:lnTo>
                      <a:lnTo>
                        <a:pt x="103" y="1018"/>
                      </a:lnTo>
                      <a:lnTo>
                        <a:pt x="103" y="1019"/>
                      </a:lnTo>
                      <a:lnTo>
                        <a:pt x="103" y="1020"/>
                      </a:lnTo>
                      <a:lnTo>
                        <a:pt x="102" y="1020"/>
                      </a:lnTo>
                      <a:lnTo>
                        <a:pt x="102" y="1020"/>
                      </a:lnTo>
                      <a:lnTo>
                        <a:pt x="102" y="1020"/>
                      </a:lnTo>
                      <a:lnTo>
                        <a:pt x="101" y="1020"/>
                      </a:lnTo>
                      <a:lnTo>
                        <a:pt x="100" y="1021"/>
                      </a:lnTo>
                      <a:lnTo>
                        <a:pt x="100" y="1021"/>
                      </a:lnTo>
                      <a:lnTo>
                        <a:pt x="100" y="1022"/>
                      </a:lnTo>
                      <a:lnTo>
                        <a:pt x="99" y="1022"/>
                      </a:lnTo>
                      <a:lnTo>
                        <a:pt x="99" y="1022"/>
                      </a:lnTo>
                      <a:lnTo>
                        <a:pt x="98" y="1023"/>
                      </a:lnTo>
                      <a:lnTo>
                        <a:pt x="98" y="1023"/>
                      </a:lnTo>
                      <a:lnTo>
                        <a:pt x="97" y="1023"/>
                      </a:lnTo>
                      <a:lnTo>
                        <a:pt x="96" y="1024"/>
                      </a:lnTo>
                      <a:lnTo>
                        <a:pt x="96" y="1023"/>
                      </a:lnTo>
                      <a:lnTo>
                        <a:pt x="95" y="1023"/>
                      </a:lnTo>
                      <a:lnTo>
                        <a:pt x="94" y="1023"/>
                      </a:lnTo>
                      <a:lnTo>
                        <a:pt x="94" y="1022"/>
                      </a:lnTo>
                      <a:lnTo>
                        <a:pt x="94" y="1022"/>
                      </a:lnTo>
                      <a:lnTo>
                        <a:pt x="94" y="1022"/>
                      </a:lnTo>
                      <a:lnTo>
                        <a:pt x="93" y="1022"/>
                      </a:lnTo>
                      <a:lnTo>
                        <a:pt x="93" y="1022"/>
                      </a:lnTo>
                      <a:lnTo>
                        <a:pt x="93" y="1022"/>
                      </a:lnTo>
                      <a:lnTo>
                        <a:pt x="93" y="1022"/>
                      </a:lnTo>
                      <a:lnTo>
                        <a:pt x="92" y="1022"/>
                      </a:lnTo>
                      <a:lnTo>
                        <a:pt x="92" y="1023"/>
                      </a:lnTo>
                      <a:lnTo>
                        <a:pt x="92" y="1024"/>
                      </a:lnTo>
                      <a:lnTo>
                        <a:pt x="92" y="1024"/>
                      </a:lnTo>
                      <a:lnTo>
                        <a:pt x="91" y="1024"/>
                      </a:lnTo>
                      <a:lnTo>
                        <a:pt x="91" y="1024"/>
                      </a:lnTo>
                      <a:lnTo>
                        <a:pt x="91" y="1024"/>
                      </a:lnTo>
                      <a:lnTo>
                        <a:pt x="90" y="1024"/>
                      </a:lnTo>
                      <a:lnTo>
                        <a:pt x="90" y="1024"/>
                      </a:lnTo>
                      <a:lnTo>
                        <a:pt x="89" y="1024"/>
                      </a:lnTo>
                      <a:lnTo>
                        <a:pt x="89" y="1024"/>
                      </a:lnTo>
                      <a:lnTo>
                        <a:pt x="88" y="1024"/>
                      </a:lnTo>
                      <a:lnTo>
                        <a:pt x="87" y="1024"/>
                      </a:lnTo>
                      <a:lnTo>
                        <a:pt x="87" y="1024"/>
                      </a:lnTo>
                      <a:lnTo>
                        <a:pt x="86" y="1024"/>
                      </a:lnTo>
                      <a:lnTo>
                        <a:pt x="86" y="1023"/>
                      </a:lnTo>
                      <a:lnTo>
                        <a:pt x="85" y="1023"/>
                      </a:lnTo>
                      <a:lnTo>
                        <a:pt x="85" y="1022"/>
                      </a:lnTo>
                      <a:lnTo>
                        <a:pt x="85" y="1022"/>
                      </a:lnTo>
                      <a:lnTo>
                        <a:pt x="85" y="1022"/>
                      </a:lnTo>
                      <a:lnTo>
                        <a:pt x="85" y="1021"/>
                      </a:lnTo>
                      <a:lnTo>
                        <a:pt x="85" y="1020"/>
                      </a:lnTo>
                      <a:lnTo>
                        <a:pt x="85" y="1020"/>
                      </a:lnTo>
                      <a:lnTo>
                        <a:pt x="84" y="1019"/>
                      </a:lnTo>
                      <a:lnTo>
                        <a:pt x="84" y="1018"/>
                      </a:lnTo>
                      <a:lnTo>
                        <a:pt x="84" y="1018"/>
                      </a:lnTo>
                      <a:lnTo>
                        <a:pt x="84" y="1017"/>
                      </a:lnTo>
                      <a:lnTo>
                        <a:pt x="85" y="1017"/>
                      </a:lnTo>
                      <a:lnTo>
                        <a:pt x="85" y="1016"/>
                      </a:lnTo>
                      <a:lnTo>
                        <a:pt x="85" y="1016"/>
                      </a:lnTo>
                      <a:lnTo>
                        <a:pt x="85" y="1016"/>
                      </a:lnTo>
                      <a:lnTo>
                        <a:pt x="85" y="1015"/>
                      </a:lnTo>
                      <a:lnTo>
                        <a:pt x="85" y="1016"/>
                      </a:lnTo>
                      <a:lnTo>
                        <a:pt x="85" y="1015"/>
                      </a:lnTo>
                      <a:lnTo>
                        <a:pt x="85" y="1014"/>
                      </a:lnTo>
                      <a:lnTo>
                        <a:pt x="85" y="1014"/>
                      </a:lnTo>
                      <a:lnTo>
                        <a:pt x="84" y="1014"/>
                      </a:lnTo>
                      <a:lnTo>
                        <a:pt x="84" y="1013"/>
                      </a:lnTo>
                      <a:lnTo>
                        <a:pt x="83" y="1013"/>
                      </a:lnTo>
                      <a:lnTo>
                        <a:pt x="83" y="1014"/>
                      </a:lnTo>
                      <a:lnTo>
                        <a:pt x="83" y="1014"/>
                      </a:lnTo>
                      <a:lnTo>
                        <a:pt x="83" y="1014"/>
                      </a:lnTo>
                      <a:lnTo>
                        <a:pt x="83" y="1014"/>
                      </a:lnTo>
                      <a:lnTo>
                        <a:pt x="82" y="1014"/>
                      </a:lnTo>
                      <a:lnTo>
                        <a:pt x="82" y="1013"/>
                      </a:lnTo>
                      <a:lnTo>
                        <a:pt x="83" y="1013"/>
                      </a:lnTo>
                      <a:lnTo>
                        <a:pt x="83" y="1014"/>
                      </a:lnTo>
                      <a:lnTo>
                        <a:pt x="83" y="1013"/>
                      </a:lnTo>
                      <a:lnTo>
                        <a:pt x="83" y="1013"/>
                      </a:lnTo>
                      <a:lnTo>
                        <a:pt x="83" y="1012"/>
                      </a:lnTo>
                      <a:lnTo>
                        <a:pt x="83" y="1012"/>
                      </a:lnTo>
                      <a:lnTo>
                        <a:pt x="82" y="1012"/>
                      </a:lnTo>
                      <a:lnTo>
                        <a:pt x="82" y="1011"/>
                      </a:lnTo>
                      <a:lnTo>
                        <a:pt x="83" y="1011"/>
                      </a:lnTo>
                      <a:lnTo>
                        <a:pt x="82" y="1011"/>
                      </a:lnTo>
                      <a:lnTo>
                        <a:pt x="81" y="1011"/>
                      </a:lnTo>
                      <a:lnTo>
                        <a:pt x="81" y="1010"/>
                      </a:lnTo>
                      <a:lnTo>
                        <a:pt x="81" y="1011"/>
                      </a:lnTo>
                      <a:lnTo>
                        <a:pt x="80" y="1011"/>
                      </a:lnTo>
                      <a:lnTo>
                        <a:pt x="80" y="1011"/>
                      </a:lnTo>
                      <a:lnTo>
                        <a:pt x="79" y="1012"/>
                      </a:lnTo>
                      <a:lnTo>
                        <a:pt x="79" y="1012"/>
                      </a:lnTo>
                      <a:lnTo>
                        <a:pt x="79" y="1011"/>
                      </a:lnTo>
                      <a:lnTo>
                        <a:pt x="79" y="1012"/>
                      </a:lnTo>
                      <a:lnTo>
                        <a:pt x="79" y="1011"/>
                      </a:lnTo>
                      <a:lnTo>
                        <a:pt x="78" y="1011"/>
                      </a:lnTo>
                      <a:lnTo>
                        <a:pt x="78" y="1011"/>
                      </a:lnTo>
                      <a:lnTo>
                        <a:pt x="77" y="1011"/>
                      </a:lnTo>
                      <a:lnTo>
                        <a:pt x="77" y="1011"/>
                      </a:lnTo>
                      <a:lnTo>
                        <a:pt x="77" y="1010"/>
                      </a:lnTo>
                      <a:lnTo>
                        <a:pt x="77" y="1009"/>
                      </a:lnTo>
                      <a:lnTo>
                        <a:pt x="76" y="1009"/>
                      </a:lnTo>
                      <a:lnTo>
                        <a:pt x="76" y="1009"/>
                      </a:lnTo>
                      <a:lnTo>
                        <a:pt x="76" y="1008"/>
                      </a:lnTo>
                      <a:lnTo>
                        <a:pt x="75" y="1008"/>
                      </a:lnTo>
                      <a:lnTo>
                        <a:pt x="75" y="1007"/>
                      </a:lnTo>
                      <a:lnTo>
                        <a:pt x="75" y="1007"/>
                      </a:lnTo>
                      <a:lnTo>
                        <a:pt x="75" y="1007"/>
                      </a:lnTo>
                      <a:lnTo>
                        <a:pt x="75" y="1006"/>
                      </a:lnTo>
                      <a:lnTo>
                        <a:pt x="75" y="1005"/>
                      </a:lnTo>
                      <a:lnTo>
                        <a:pt x="74" y="1005"/>
                      </a:lnTo>
                      <a:lnTo>
                        <a:pt x="74" y="1005"/>
                      </a:lnTo>
                      <a:lnTo>
                        <a:pt x="73" y="1005"/>
                      </a:lnTo>
                      <a:lnTo>
                        <a:pt x="73" y="1005"/>
                      </a:lnTo>
                      <a:lnTo>
                        <a:pt x="73" y="1004"/>
                      </a:lnTo>
                      <a:lnTo>
                        <a:pt x="74" y="1004"/>
                      </a:lnTo>
                      <a:lnTo>
                        <a:pt x="75" y="1003"/>
                      </a:lnTo>
                      <a:lnTo>
                        <a:pt x="75" y="1003"/>
                      </a:lnTo>
                      <a:lnTo>
                        <a:pt x="76" y="1004"/>
                      </a:lnTo>
                      <a:lnTo>
                        <a:pt x="77" y="1004"/>
                      </a:lnTo>
                      <a:lnTo>
                        <a:pt x="77" y="1005"/>
                      </a:lnTo>
                      <a:lnTo>
                        <a:pt x="77" y="1004"/>
                      </a:lnTo>
                      <a:lnTo>
                        <a:pt x="77" y="1004"/>
                      </a:lnTo>
                      <a:lnTo>
                        <a:pt x="77" y="1003"/>
                      </a:lnTo>
                      <a:lnTo>
                        <a:pt x="77" y="1003"/>
                      </a:lnTo>
                      <a:lnTo>
                        <a:pt x="77" y="1002"/>
                      </a:lnTo>
                      <a:lnTo>
                        <a:pt x="77" y="1001"/>
                      </a:lnTo>
                      <a:lnTo>
                        <a:pt x="77" y="1001"/>
                      </a:lnTo>
                      <a:lnTo>
                        <a:pt x="77" y="1000"/>
                      </a:lnTo>
                      <a:lnTo>
                        <a:pt x="77" y="1000"/>
                      </a:lnTo>
                      <a:lnTo>
                        <a:pt x="77" y="999"/>
                      </a:lnTo>
                      <a:lnTo>
                        <a:pt x="76" y="999"/>
                      </a:lnTo>
                      <a:lnTo>
                        <a:pt x="76" y="999"/>
                      </a:lnTo>
                      <a:lnTo>
                        <a:pt x="75" y="999"/>
                      </a:lnTo>
                      <a:lnTo>
                        <a:pt x="75" y="998"/>
                      </a:lnTo>
                      <a:lnTo>
                        <a:pt x="75" y="997"/>
                      </a:lnTo>
                      <a:lnTo>
                        <a:pt x="76" y="997"/>
                      </a:lnTo>
                      <a:lnTo>
                        <a:pt x="77" y="997"/>
                      </a:lnTo>
                      <a:lnTo>
                        <a:pt x="77" y="997"/>
                      </a:lnTo>
                      <a:lnTo>
                        <a:pt x="78" y="997"/>
                      </a:lnTo>
                      <a:lnTo>
                        <a:pt x="78" y="997"/>
                      </a:lnTo>
                      <a:lnTo>
                        <a:pt x="79" y="997"/>
                      </a:lnTo>
                      <a:lnTo>
                        <a:pt x="79" y="997"/>
                      </a:lnTo>
                      <a:lnTo>
                        <a:pt x="79" y="996"/>
                      </a:lnTo>
                      <a:lnTo>
                        <a:pt x="79" y="995"/>
                      </a:lnTo>
                      <a:lnTo>
                        <a:pt x="79" y="995"/>
                      </a:lnTo>
                      <a:lnTo>
                        <a:pt x="79" y="995"/>
                      </a:lnTo>
                      <a:lnTo>
                        <a:pt x="79" y="994"/>
                      </a:lnTo>
                      <a:lnTo>
                        <a:pt x="79" y="993"/>
                      </a:lnTo>
                      <a:lnTo>
                        <a:pt x="78" y="993"/>
                      </a:lnTo>
                      <a:lnTo>
                        <a:pt x="78" y="993"/>
                      </a:lnTo>
                      <a:lnTo>
                        <a:pt x="77" y="993"/>
                      </a:lnTo>
                      <a:lnTo>
                        <a:pt x="77" y="992"/>
                      </a:lnTo>
                      <a:lnTo>
                        <a:pt x="77" y="992"/>
                      </a:lnTo>
                      <a:lnTo>
                        <a:pt x="76" y="992"/>
                      </a:lnTo>
                      <a:lnTo>
                        <a:pt x="76" y="991"/>
                      </a:lnTo>
                      <a:lnTo>
                        <a:pt x="75" y="991"/>
                      </a:lnTo>
                      <a:lnTo>
                        <a:pt x="75" y="991"/>
                      </a:lnTo>
                      <a:lnTo>
                        <a:pt x="75" y="990"/>
                      </a:lnTo>
                      <a:lnTo>
                        <a:pt x="74" y="990"/>
                      </a:lnTo>
                      <a:lnTo>
                        <a:pt x="73" y="990"/>
                      </a:lnTo>
                      <a:lnTo>
                        <a:pt x="73" y="990"/>
                      </a:lnTo>
                      <a:lnTo>
                        <a:pt x="72" y="990"/>
                      </a:lnTo>
                      <a:lnTo>
                        <a:pt x="71" y="990"/>
                      </a:lnTo>
                      <a:lnTo>
                        <a:pt x="70" y="990"/>
                      </a:lnTo>
                      <a:lnTo>
                        <a:pt x="70" y="990"/>
                      </a:lnTo>
                      <a:lnTo>
                        <a:pt x="70" y="990"/>
                      </a:lnTo>
                      <a:lnTo>
                        <a:pt x="70" y="990"/>
                      </a:lnTo>
                      <a:lnTo>
                        <a:pt x="70" y="989"/>
                      </a:lnTo>
                      <a:lnTo>
                        <a:pt x="70" y="989"/>
                      </a:lnTo>
                      <a:lnTo>
                        <a:pt x="70" y="990"/>
                      </a:lnTo>
                      <a:lnTo>
                        <a:pt x="69" y="990"/>
                      </a:lnTo>
                      <a:lnTo>
                        <a:pt x="69" y="989"/>
                      </a:lnTo>
                      <a:lnTo>
                        <a:pt x="69" y="990"/>
                      </a:lnTo>
                      <a:lnTo>
                        <a:pt x="68" y="990"/>
                      </a:lnTo>
                      <a:lnTo>
                        <a:pt x="68" y="989"/>
                      </a:lnTo>
                      <a:lnTo>
                        <a:pt x="68" y="988"/>
                      </a:lnTo>
                      <a:lnTo>
                        <a:pt x="68" y="988"/>
                      </a:lnTo>
                      <a:lnTo>
                        <a:pt x="67" y="988"/>
                      </a:lnTo>
                      <a:lnTo>
                        <a:pt x="67" y="988"/>
                      </a:lnTo>
                      <a:lnTo>
                        <a:pt x="67" y="987"/>
                      </a:lnTo>
                      <a:lnTo>
                        <a:pt x="66" y="987"/>
                      </a:lnTo>
                      <a:lnTo>
                        <a:pt x="66" y="987"/>
                      </a:lnTo>
                      <a:lnTo>
                        <a:pt x="66" y="986"/>
                      </a:lnTo>
                      <a:lnTo>
                        <a:pt x="66" y="986"/>
                      </a:lnTo>
                      <a:lnTo>
                        <a:pt x="67" y="986"/>
                      </a:lnTo>
                      <a:lnTo>
                        <a:pt x="68" y="985"/>
                      </a:lnTo>
                      <a:lnTo>
                        <a:pt x="68" y="984"/>
                      </a:lnTo>
                      <a:lnTo>
                        <a:pt x="68" y="984"/>
                      </a:lnTo>
                      <a:lnTo>
                        <a:pt x="69" y="983"/>
                      </a:lnTo>
                      <a:lnTo>
                        <a:pt x="69" y="982"/>
                      </a:lnTo>
                      <a:lnTo>
                        <a:pt x="70" y="982"/>
                      </a:lnTo>
                      <a:lnTo>
                        <a:pt x="70" y="980"/>
                      </a:lnTo>
                      <a:lnTo>
                        <a:pt x="70" y="980"/>
                      </a:lnTo>
                      <a:lnTo>
                        <a:pt x="70" y="979"/>
                      </a:lnTo>
                      <a:lnTo>
                        <a:pt x="70" y="978"/>
                      </a:lnTo>
                      <a:lnTo>
                        <a:pt x="71" y="978"/>
                      </a:lnTo>
                      <a:lnTo>
                        <a:pt x="71" y="978"/>
                      </a:lnTo>
                      <a:lnTo>
                        <a:pt x="71" y="977"/>
                      </a:lnTo>
                      <a:lnTo>
                        <a:pt x="71" y="976"/>
                      </a:lnTo>
                      <a:lnTo>
                        <a:pt x="70" y="976"/>
                      </a:lnTo>
                      <a:lnTo>
                        <a:pt x="70" y="976"/>
                      </a:lnTo>
                      <a:lnTo>
                        <a:pt x="70" y="976"/>
                      </a:lnTo>
                      <a:lnTo>
                        <a:pt x="70" y="975"/>
                      </a:lnTo>
                      <a:lnTo>
                        <a:pt x="70" y="974"/>
                      </a:lnTo>
                      <a:lnTo>
                        <a:pt x="71" y="974"/>
                      </a:lnTo>
                      <a:lnTo>
                        <a:pt x="72" y="971"/>
                      </a:lnTo>
                      <a:lnTo>
                        <a:pt x="70" y="970"/>
                      </a:lnTo>
                      <a:lnTo>
                        <a:pt x="69" y="969"/>
                      </a:lnTo>
                      <a:lnTo>
                        <a:pt x="71" y="967"/>
                      </a:lnTo>
                      <a:lnTo>
                        <a:pt x="73" y="966"/>
                      </a:lnTo>
                      <a:lnTo>
                        <a:pt x="73" y="965"/>
                      </a:lnTo>
                      <a:lnTo>
                        <a:pt x="73" y="965"/>
                      </a:lnTo>
                      <a:lnTo>
                        <a:pt x="74" y="963"/>
                      </a:lnTo>
                      <a:lnTo>
                        <a:pt x="75" y="960"/>
                      </a:lnTo>
                      <a:lnTo>
                        <a:pt x="81" y="965"/>
                      </a:lnTo>
                      <a:lnTo>
                        <a:pt x="85" y="969"/>
                      </a:lnTo>
                      <a:lnTo>
                        <a:pt x="87" y="967"/>
                      </a:lnTo>
                      <a:lnTo>
                        <a:pt x="88" y="966"/>
                      </a:lnTo>
                      <a:lnTo>
                        <a:pt x="90" y="961"/>
                      </a:lnTo>
                      <a:lnTo>
                        <a:pt x="85" y="957"/>
                      </a:lnTo>
                      <a:lnTo>
                        <a:pt x="86" y="950"/>
                      </a:lnTo>
                      <a:lnTo>
                        <a:pt x="86" y="942"/>
                      </a:lnTo>
                      <a:lnTo>
                        <a:pt x="87" y="938"/>
                      </a:lnTo>
                      <a:lnTo>
                        <a:pt x="90" y="933"/>
                      </a:lnTo>
                      <a:lnTo>
                        <a:pt x="94" y="928"/>
                      </a:lnTo>
                      <a:lnTo>
                        <a:pt x="96" y="929"/>
                      </a:lnTo>
                      <a:lnTo>
                        <a:pt x="99" y="927"/>
                      </a:lnTo>
                      <a:lnTo>
                        <a:pt x="100" y="922"/>
                      </a:lnTo>
                      <a:lnTo>
                        <a:pt x="101" y="919"/>
                      </a:lnTo>
                      <a:lnTo>
                        <a:pt x="102" y="917"/>
                      </a:lnTo>
                      <a:lnTo>
                        <a:pt x="104" y="912"/>
                      </a:lnTo>
                      <a:lnTo>
                        <a:pt x="106" y="910"/>
                      </a:lnTo>
                      <a:lnTo>
                        <a:pt x="108" y="913"/>
                      </a:lnTo>
                      <a:lnTo>
                        <a:pt x="108" y="915"/>
                      </a:lnTo>
                      <a:lnTo>
                        <a:pt x="110" y="915"/>
                      </a:lnTo>
                      <a:lnTo>
                        <a:pt x="110" y="914"/>
                      </a:lnTo>
                      <a:lnTo>
                        <a:pt x="111" y="914"/>
                      </a:lnTo>
                      <a:lnTo>
                        <a:pt x="111" y="913"/>
                      </a:lnTo>
                      <a:lnTo>
                        <a:pt x="111" y="913"/>
                      </a:lnTo>
                      <a:lnTo>
                        <a:pt x="111" y="912"/>
                      </a:lnTo>
                      <a:lnTo>
                        <a:pt x="112" y="912"/>
                      </a:lnTo>
                      <a:lnTo>
                        <a:pt x="112" y="912"/>
                      </a:lnTo>
                      <a:lnTo>
                        <a:pt x="113" y="912"/>
                      </a:lnTo>
                      <a:lnTo>
                        <a:pt x="113" y="911"/>
                      </a:lnTo>
                      <a:lnTo>
                        <a:pt x="113" y="911"/>
                      </a:lnTo>
                      <a:lnTo>
                        <a:pt x="113" y="910"/>
                      </a:lnTo>
                      <a:lnTo>
                        <a:pt x="114" y="910"/>
                      </a:lnTo>
                      <a:lnTo>
                        <a:pt x="114" y="911"/>
                      </a:lnTo>
                      <a:lnTo>
                        <a:pt x="115" y="911"/>
                      </a:lnTo>
                      <a:lnTo>
                        <a:pt x="115" y="911"/>
                      </a:lnTo>
                      <a:lnTo>
                        <a:pt x="115" y="912"/>
                      </a:lnTo>
                      <a:lnTo>
                        <a:pt x="116" y="912"/>
                      </a:lnTo>
                      <a:lnTo>
                        <a:pt x="117" y="912"/>
                      </a:lnTo>
                      <a:lnTo>
                        <a:pt x="117" y="912"/>
                      </a:lnTo>
                      <a:lnTo>
                        <a:pt x="118" y="912"/>
                      </a:lnTo>
                      <a:lnTo>
                        <a:pt x="118" y="911"/>
                      </a:lnTo>
                      <a:lnTo>
                        <a:pt x="118" y="910"/>
                      </a:lnTo>
                      <a:lnTo>
                        <a:pt x="117" y="910"/>
                      </a:lnTo>
                      <a:lnTo>
                        <a:pt x="117" y="910"/>
                      </a:lnTo>
                      <a:lnTo>
                        <a:pt x="117" y="909"/>
                      </a:lnTo>
                      <a:lnTo>
                        <a:pt x="117" y="908"/>
                      </a:lnTo>
                      <a:lnTo>
                        <a:pt x="116" y="908"/>
                      </a:lnTo>
                      <a:lnTo>
                        <a:pt x="115" y="908"/>
                      </a:lnTo>
                      <a:lnTo>
                        <a:pt x="115" y="908"/>
                      </a:lnTo>
                      <a:lnTo>
                        <a:pt x="115" y="908"/>
                      </a:lnTo>
                      <a:lnTo>
                        <a:pt x="115" y="908"/>
                      </a:lnTo>
                      <a:lnTo>
                        <a:pt x="115" y="907"/>
                      </a:lnTo>
                      <a:lnTo>
                        <a:pt x="115" y="906"/>
                      </a:lnTo>
                      <a:lnTo>
                        <a:pt x="115" y="906"/>
                      </a:lnTo>
                      <a:lnTo>
                        <a:pt x="115" y="905"/>
                      </a:lnTo>
                      <a:lnTo>
                        <a:pt x="115" y="904"/>
                      </a:lnTo>
                      <a:lnTo>
                        <a:pt x="115" y="904"/>
                      </a:lnTo>
                      <a:lnTo>
                        <a:pt x="115" y="903"/>
                      </a:lnTo>
                      <a:lnTo>
                        <a:pt x="115" y="902"/>
                      </a:lnTo>
                      <a:lnTo>
                        <a:pt x="115" y="902"/>
                      </a:lnTo>
                      <a:lnTo>
                        <a:pt x="114" y="902"/>
                      </a:lnTo>
                      <a:lnTo>
                        <a:pt x="114" y="901"/>
                      </a:lnTo>
                      <a:lnTo>
                        <a:pt x="113" y="901"/>
                      </a:lnTo>
                      <a:lnTo>
                        <a:pt x="113" y="901"/>
                      </a:lnTo>
                      <a:lnTo>
                        <a:pt x="113" y="900"/>
                      </a:lnTo>
                      <a:lnTo>
                        <a:pt x="112" y="900"/>
                      </a:lnTo>
                      <a:lnTo>
                        <a:pt x="111" y="900"/>
                      </a:lnTo>
                      <a:lnTo>
                        <a:pt x="111" y="900"/>
                      </a:lnTo>
                      <a:lnTo>
                        <a:pt x="110" y="900"/>
                      </a:lnTo>
                      <a:lnTo>
                        <a:pt x="110" y="899"/>
                      </a:lnTo>
                      <a:lnTo>
                        <a:pt x="110" y="898"/>
                      </a:lnTo>
                      <a:lnTo>
                        <a:pt x="110" y="898"/>
                      </a:lnTo>
                      <a:lnTo>
                        <a:pt x="110" y="897"/>
                      </a:lnTo>
                      <a:lnTo>
                        <a:pt x="109" y="897"/>
                      </a:lnTo>
                      <a:lnTo>
                        <a:pt x="109" y="896"/>
                      </a:lnTo>
                      <a:lnTo>
                        <a:pt x="109" y="896"/>
                      </a:lnTo>
                      <a:lnTo>
                        <a:pt x="108" y="896"/>
                      </a:lnTo>
                      <a:lnTo>
                        <a:pt x="108" y="896"/>
                      </a:lnTo>
                      <a:lnTo>
                        <a:pt x="107" y="896"/>
                      </a:lnTo>
                      <a:lnTo>
                        <a:pt x="107" y="895"/>
                      </a:lnTo>
                      <a:lnTo>
                        <a:pt x="106" y="895"/>
                      </a:lnTo>
                      <a:lnTo>
                        <a:pt x="106" y="895"/>
                      </a:lnTo>
                      <a:lnTo>
                        <a:pt x="106" y="894"/>
                      </a:lnTo>
                      <a:lnTo>
                        <a:pt x="106" y="894"/>
                      </a:lnTo>
                      <a:lnTo>
                        <a:pt x="105" y="894"/>
                      </a:lnTo>
                      <a:lnTo>
                        <a:pt x="104" y="894"/>
                      </a:lnTo>
                      <a:lnTo>
                        <a:pt x="104" y="893"/>
                      </a:lnTo>
                      <a:lnTo>
                        <a:pt x="104" y="892"/>
                      </a:lnTo>
                      <a:lnTo>
                        <a:pt x="104" y="892"/>
                      </a:lnTo>
                      <a:lnTo>
                        <a:pt x="104" y="891"/>
                      </a:lnTo>
                      <a:lnTo>
                        <a:pt x="103" y="891"/>
                      </a:lnTo>
                      <a:lnTo>
                        <a:pt x="103" y="891"/>
                      </a:lnTo>
                      <a:lnTo>
                        <a:pt x="102" y="891"/>
                      </a:lnTo>
                      <a:lnTo>
                        <a:pt x="102" y="890"/>
                      </a:lnTo>
                      <a:lnTo>
                        <a:pt x="102" y="890"/>
                      </a:lnTo>
                      <a:lnTo>
                        <a:pt x="102" y="889"/>
                      </a:lnTo>
                      <a:lnTo>
                        <a:pt x="101" y="889"/>
                      </a:lnTo>
                      <a:lnTo>
                        <a:pt x="101" y="889"/>
                      </a:lnTo>
                      <a:lnTo>
                        <a:pt x="100" y="889"/>
                      </a:lnTo>
                      <a:lnTo>
                        <a:pt x="100" y="888"/>
                      </a:lnTo>
                      <a:lnTo>
                        <a:pt x="100" y="888"/>
                      </a:lnTo>
                      <a:lnTo>
                        <a:pt x="100" y="887"/>
                      </a:lnTo>
                      <a:lnTo>
                        <a:pt x="99" y="887"/>
                      </a:lnTo>
                      <a:lnTo>
                        <a:pt x="99" y="887"/>
                      </a:lnTo>
                      <a:lnTo>
                        <a:pt x="99" y="886"/>
                      </a:lnTo>
                      <a:lnTo>
                        <a:pt x="99" y="885"/>
                      </a:lnTo>
                      <a:lnTo>
                        <a:pt x="98" y="885"/>
                      </a:lnTo>
                      <a:lnTo>
                        <a:pt x="98" y="885"/>
                      </a:lnTo>
                      <a:lnTo>
                        <a:pt x="98" y="885"/>
                      </a:lnTo>
                      <a:lnTo>
                        <a:pt x="97" y="885"/>
                      </a:lnTo>
                      <a:lnTo>
                        <a:pt x="97" y="884"/>
                      </a:lnTo>
                      <a:lnTo>
                        <a:pt x="96" y="884"/>
                      </a:lnTo>
                      <a:lnTo>
                        <a:pt x="96" y="883"/>
                      </a:lnTo>
                      <a:lnTo>
                        <a:pt x="96" y="883"/>
                      </a:lnTo>
                      <a:lnTo>
                        <a:pt x="96" y="883"/>
                      </a:lnTo>
                      <a:lnTo>
                        <a:pt x="95" y="883"/>
                      </a:lnTo>
                      <a:lnTo>
                        <a:pt x="95" y="882"/>
                      </a:lnTo>
                      <a:lnTo>
                        <a:pt x="94" y="882"/>
                      </a:lnTo>
                      <a:lnTo>
                        <a:pt x="94" y="882"/>
                      </a:lnTo>
                      <a:lnTo>
                        <a:pt x="94" y="881"/>
                      </a:lnTo>
                      <a:lnTo>
                        <a:pt x="93" y="881"/>
                      </a:lnTo>
                      <a:lnTo>
                        <a:pt x="92" y="881"/>
                      </a:lnTo>
                      <a:lnTo>
                        <a:pt x="92" y="881"/>
                      </a:lnTo>
                      <a:lnTo>
                        <a:pt x="92" y="880"/>
                      </a:lnTo>
                      <a:lnTo>
                        <a:pt x="92" y="879"/>
                      </a:lnTo>
                      <a:lnTo>
                        <a:pt x="92" y="879"/>
                      </a:lnTo>
                      <a:lnTo>
                        <a:pt x="91" y="879"/>
                      </a:lnTo>
                      <a:lnTo>
                        <a:pt x="91" y="880"/>
                      </a:lnTo>
                      <a:lnTo>
                        <a:pt x="90" y="880"/>
                      </a:lnTo>
                      <a:lnTo>
                        <a:pt x="90" y="879"/>
                      </a:lnTo>
                      <a:lnTo>
                        <a:pt x="90" y="879"/>
                      </a:lnTo>
                      <a:lnTo>
                        <a:pt x="89" y="879"/>
                      </a:lnTo>
                      <a:lnTo>
                        <a:pt x="89" y="879"/>
                      </a:lnTo>
                      <a:lnTo>
                        <a:pt x="89" y="878"/>
                      </a:lnTo>
                      <a:lnTo>
                        <a:pt x="89" y="877"/>
                      </a:lnTo>
                      <a:lnTo>
                        <a:pt x="88" y="877"/>
                      </a:lnTo>
                      <a:lnTo>
                        <a:pt x="87" y="877"/>
                      </a:lnTo>
                      <a:lnTo>
                        <a:pt x="87" y="877"/>
                      </a:lnTo>
                      <a:lnTo>
                        <a:pt x="87" y="877"/>
                      </a:lnTo>
                      <a:lnTo>
                        <a:pt x="87" y="876"/>
                      </a:lnTo>
                      <a:lnTo>
                        <a:pt x="87" y="875"/>
                      </a:lnTo>
                      <a:lnTo>
                        <a:pt x="86" y="875"/>
                      </a:lnTo>
                      <a:lnTo>
                        <a:pt x="86" y="876"/>
                      </a:lnTo>
                      <a:lnTo>
                        <a:pt x="85" y="876"/>
                      </a:lnTo>
                      <a:lnTo>
                        <a:pt x="85" y="876"/>
                      </a:lnTo>
                      <a:lnTo>
                        <a:pt x="85" y="875"/>
                      </a:lnTo>
                      <a:lnTo>
                        <a:pt x="85" y="875"/>
                      </a:lnTo>
                      <a:lnTo>
                        <a:pt x="85" y="875"/>
                      </a:lnTo>
                      <a:lnTo>
                        <a:pt x="85" y="875"/>
                      </a:lnTo>
                      <a:lnTo>
                        <a:pt x="85" y="874"/>
                      </a:lnTo>
                      <a:lnTo>
                        <a:pt x="85" y="874"/>
                      </a:lnTo>
                      <a:lnTo>
                        <a:pt x="85" y="873"/>
                      </a:lnTo>
                      <a:lnTo>
                        <a:pt x="85" y="873"/>
                      </a:lnTo>
                      <a:lnTo>
                        <a:pt x="85" y="874"/>
                      </a:lnTo>
                      <a:lnTo>
                        <a:pt x="84" y="874"/>
                      </a:lnTo>
                      <a:lnTo>
                        <a:pt x="84" y="875"/>
                      </a:lnTo>
                      <a:lnTo>
                        <a:pt x="83" y="875"/>
                      </a:lnTo>
                      <a:lnTo>
                        <a:pt x="83" y="874"/>
                      </a:lnTo>
                      <a:lnTo>
                        <a:pt x="83" y="873"/>
                      </a:lnTo>
                      <a:lnTo>
                        <a:pt x="83" y="873"/>
                      </a:lnTo>
                      <a:lnTo>
                        <a:pt x="83" y="874"/>
                      </a:lnTo>
                      <a:lnTo>
                        <a:pt x="82" y="874"/>
                      </a:lnTo>
                      <a:lnTo>
                        <a:pt x="81" y="874"/>
                      </a:lnTo>
                      <a:lnTo>
                        <a:pt x="81" y="873"/>
                      </a:lnTo>
                      <a:lnTo>
                        <a:pt x="81" y="873"/>
                      </a:lnTo>
                      <a:lnTo>
                        <a:pt x="80" y="873"/>
                      </a:lnTo>
                      <a:lnTo>
                        <a:pt x="79" y="873"/>
                      </a:lnTo>
                      <a:lnTo>
                        <a:pt x="79" y="874"/>
                      </a:lnTo>
                      <a:lnTo>
                        <a:pt x="79" y="875"/>
                      </a:lnTo>
                      <a:lnTo>
                        <a:pt x="79" y="875"/>
                      </a:lnTo>
                      <a:lnTo>
                        <a:pt x="79" y="874"/>
                      </a:lnTo>
                      <a:lnTo>
                        <a:pt x="79" y="873"/>
                      </a:lnTo>
                      <a:lnTo>
                        <a:pt x="78" y="872"/>
                      </a:lnTo>
                      <a:lnTo>
                        <a:pt x="79" y="872"/>
                      </a:lnTo>
                      <a:lnTo>
                        <a:pt x="79" y="872"/>
                      </a:lnTo>
                      <a:lnTo>
                        <a:pt x="78" y="872"/>
                      </a:lnTo>
                      <a:lnTo>
                        <a:pt x="78" y="872"/>
                      </a:lnTo>
                      <a:lnTo>
                        <a:pt x="77" y="872"/>
                      </a:lnTo>
                      <a:lnTo>
                        <a:pt x="77" y="873"/>
                      </a:lnTo>
                      <a:lnTo>
                        <a:pt x="77" y="874"/>
                      </a:lnTo>
                      <a:lnTo>
                        <a:pt x="77" y="874"/>
                      </a:lnTo>
                      <a:lnTo>
                        <a:pt x="77" y="873"/>
                      </a:lnTo>
                      <a:lnTo>
                        <a:pt x="76" y="873"/>
                      </a:lnTo>
                      <a:lnTo>
                        <a:pt x="76" y="872"/>
                      </a:lnTo>
                      <a:lnTo>
                        <a:pt x="77" y="872"/>
                      </a:lnTo>
                      <a:lnTo>
                        <a:pt x="77" y="872"/>
                      </a:lnTo>
                      <a:lnTo>
                        <a:pt x="77" y="871"/>
                      </a:lnTo>
                      <a:lnTo>
                        <a:pt x="77" y="871"/>
                      </a:lnTo>
                      <a:lnTo>
                        <a:pt x="76" y="871"/>
                      </a:lnTo>
                      <a:lnTo>
                        <a:pt x="75" y="871"/>
                      </a:lnTo>
                      <a:lnTo>
                        <a:pt x="75" y="870"/>
                      </a:lnTo>
                      <a:lnTo>
                        <a:pt x="75" y="870"/>
                      </a:lnTo>
                      <a:lnTo>
                        <a:pt x="75" y="870"/>
                      </a:lnTo>
                      <a:lnTo>
                        <a:pt x="75" y="870"/>
                      </a:lnTo>
                      <a:lnTo>
                        <a:pt x="75" y="869"/>
                      </a:lnTo>
                      <a:lnTo>
                        <a:pt x="75" y="869"/>
                      </a:lnTo>
                      <a:lnTo>
                        <a:pt x="75" y="870"/>
                      </a:lnTo>
                      <a:lnTo>
                        <a:pt x="74" y="870"/>
                      </a:lnTo>
                      <a:lnTo>
                        <a:pt x="74" y="869"/>
                      </a:lnTo>
                      <a:lnTo>
                        <a:pt x="74" y="868"/>
                      </a:lnTo>
                      <a:lnTo>
                        <a:pt x="74" y="868"/>
                      </a:lnTo>
                      <a:lnTo>
                        <a:pt x="74" y="867"/>
                      </a:lnTo>
                      <a:lnTo>
                        <a:pt x="74" y="866"/>
                      </a:lnTo>
                      <a:lnTo>
                        <a:pt x="73" y="866"/>
                      </a:lnTo>
                      <a:lnTo>
                        <a:pt x="73" y="866"/>
                      </a:lnTo>
                      <a:lnTo>
                        <a:pt x="73" y="866"/>
                      </a:lnTo>
                      <a:lnTo>
                        <a:pt x="72" y="866"/>
                      </a:lnTo>
                      <a:lnTo>
                        <a:pt x="73" y="866"/>
                      </a:lnTo>
                      <a:lnTo>
                        <a:pt x="73" y="865"/>
                      </a:lnTo>
                      <a:lnTo>
                        <a:pt x="73" y="864"/>
                      </a:lnTo>
                      <a:lnTo>
                        <a:pt x="73" y="864"/>
                      </a:lnTo>
                      <a:lnTo>
                        <a:pt x="72" y="864"/>
                      </a:lnTo>
                      <a:lnTo>
                        <a:pt x="71" y="864"/>
                      </a:lnTo>
                      <a:lnTo>
                        <a:pt x="71" y="863"/>
                      </a:lnTo>
                      <a:lnTo>
                        <a:pt x="70" y="863"/>
                      </a:lnTo>
                      <a:lnTo>
                        <a:pt x="70" y="862"/>
                      </a:lnTo>
                      <a:lnTo>
                        <a:pt x="71" y="862"/>
                      </a:lnTo>
                      <a:lnTo>
                        <a:pt x="70" y="862"/>
                      </a:lnTo>
                      <a:lnTo>
                        <a:pt x="70" y="861"/>
                      </a:lnTo>
                      <a:lnTo>
                        <a:pt x="70" y="860"/>
                      </a:lnTo>
                      <a:lnTo>
                        <a:pt x="70" y="860"/>
                      </a:lnTo>
                      <a:lnTo>
                        <a:pt x="69" y="859"/>
                      </a:lnTo>
                      <a:lnTo>
                        <a:pt x="69" y="858"/>
                      </a:lnTo>
                      <a:lnTo>
                        <a:pt x="69" y="858"/>
                      </a:lnTo>
                      <a:lnTo>
                        <a:pt x="70" y="858"/>
                      </a:lnTo>
                      <a:lnTo>
                        <a:pt x="70" y="857"/>
                      </a:lnTo>
                      <a:lnTo>
                        <a:pt x="70" y="856"/>
                      </a:lnTo>
                      <a:lnTo>
                        <a:pt x="69" y="856"/>
                      </a:lnTo>
                      <a:lnTo>
                        <a:pt x="68" y="856"/>
                      </a:lnTo>
                      <a:lnTo>
                        <a:pt x="68" y="856"/>
                      </a:lnTo>
                      <a:lnTo>
                        <a:pt x="68" y="855"/>
                      </a:lnTo>
                      <a:lnTo>
                        <a:pt x="68" y="855"/>
                      </a:lnTo>
                      <a:lnTo>
                        <a:pt x="68" y="856"/>
                      </a:lnTo>
                      <a:lnTo>
                        <a:pt x="67" y="856"/>
                      </a:lnTo>
                      <a:lnTo>
                        <a:pt x="67" y="855"/>
                      </a:lnTo>
                      <a:lnTo>
                        <a:pt x="66" y="855"/>
                      </a:lnTo>
                      <a:lnTo>
                        <a:pt x="66" y="856"/>
                      </a:lnTo>
                      <a:lnTo>
                        <a:pt x="66" y="855"/>
                      </a:lnTo>
                      <a:lnTo>
                        <a:pt x="66" y="854"/>
                      </a:lnTo>
                      <a:lnTo>
                        <a:pt x="65" y="853"/>
                      </a:lnTo>
                      <a:lnTo>
                        <a:pt x="65" y="852"/>
                      </a:lnTo>
                      <a:lnTo>
                        <a:pt x="65" y="851"/>
                      </a:lnTo>
                      <a:lnTo>
                        <a:pt x="64" y="851"/>
                      </a:lnTo>
                      <a:lnTo>
                        <a:pt x="65" y="851"/>
                      </a:lnTo>
                      <a:lnTo>
                        <a:pt x="64" y="851"/>
                      </a:lnTo>
                      <a:lnTo>
                        <a:pt x="64" y="851"/>
                      </a:lnTo>
                      <a:lnTo>
                        <a:pt x="64" y="850"/>
                      </a:lnTo>
                      <a:lnTo>
                        <a:pt x="64" y="849"/>
                      </a:lnTo>
                      <a:lnTo>
                        <a:pt x="64" y="849"/>
                      </a:lnTo>
                      <a:lnTo>
                        <a:pt x="64" y="848"/>
                      </a:lnTo>
                      <a:lnTo>
                        <a:pt x="64" y="847"/>
                      </a:lnTo>
                      <a:lnTo>
                        <a:pt x="63" y="847"/>
                      </a:lnTo>
                      <a:lnTo>
                        <a:pt x="64" y="847"/>
                      </a:lnTo>
                      <a:lnTo>
                        <a:pt x="63" y="847"/>
                      </a:lnTo>
                      <a:lnTo>
                        <a:pt x="63" y="846"/>
                      </a:lnTo>
                      <a:lnTo>
                        <a:pt x="63" y="845"/>
                      </a:lnTo>
                      <a:lnTo>
                        <a:pt x="62" y="845"/>
                      </a:lnTo>
                      <a:lnTo>
                        <a:pt x="63" y="845"/>
                      </a:lnTo>
                      <a:lnTo>
                        <a:pt x="63" y="845"/>
                      </a:lnTo>
                      <a:lnTo>
                        <a:pt x="62" y="845"/>
                      </a:lnTo>
                      <a:lnTo>
                        <a:pt x="62" y="844"/>
                      </a:lnTo>
                      <a:lnTo>
                        <a:pt x="62" y="843"/>
                      </a:lnTo>
                      <a:lnTo>
                        <a:pt x="56" y="838"/>
                      </a:lnTo>
                      <a:lnTo>
                        <a:pt x="54" y="834"/>
                      </a:lnTo>
                      <a:lnTo>
                        <a:pt x="52" y="826"/>
                      </a:lnTo>
                      <a:lnTo>
                        <a:pt x="55" y="826"/>
                      </a:lnTo>
                      <a:lnTo>
                        <a:pt x="56" y="824"/>
                      </a:lnTo>
                      <a:lnTo>
                        <a:pt x="58" y="813"/>
                      </a:lnTo>
                      <a:lnTo>
                        <a:pt x="54" y="807"/>
                      </a:lnTo>
                      <a:lnTo>
                        <a:pt x="54" y="800"/>
                      </a:lnTo>
                      <a:lnTo>
                        <a:pt x="54" y="799"/>
                      </a:lnTo>
                      <a:lnTo>
                        <a:pt x="54" y="794"/>
                      </a:lnTo>
                      <a:lnTo>
                        <a:pt x="54" y="793"/>
                      </a:lnTo>
                      <a:lnTo>
                        <a:pt x="54" y="792"/>
                      </a:lnTo>
                      <a:lnTo>
                        <a:pt x="56" y="790"/>
                      </a:lnTo>
                      <a:lnTo>
                        <a:pt x="56" y="790"/>
                      </a:lnTo>
                      <a:lnTo>
                        <a:pt x="57" y="790"/>
                      </a:lnTo>
                      <a:lnTo>
                        <a:pt x="58" y="790"/>
                      </a:lnTo>
                      <a:lnTo>
                        <a:pt x="64" y="784"/>
                      </a:lnTo>
                      <a:lnTo>
                        <a:pt x="68" y="782"/>
                      </a:lnTo>
                      <a:lnTo>
                        <a:pt x="70" y="782"/>
                      </a:lnTo>
                      <a:lnTo>
                        <a:pt x="73" y="782"/>
                      </a:lnTo>
                      <a:lnTo>
                        <a:pt x="75" y="782"/>
                      </a:lnTo>
                      <a:lnTo>
                        <a:pt x="76" y="782"/>
                      </a:lnTo>
                      <a:lnTo>
                        <a:pt x="83" y="780"/>
                      </a:lnTo>
                      <a:lnTo>
                        <a:pt x="84" y="778"/>
                      </a:lnTo>
                      <a:lnTo>
                        <a:pt x="85" y="777"/>
                      </a:lnTo>
                      <a:lnTo>
                        <a:pt x="87" y="773"/>
                      </a:lnTo>
                      <a:lnTo>
                        <a:pt x="85" y="772"/>
                      </a:lnTo>
                      <a:lnTo>
                        <a:pt x="85" y="771"/>
                      </a:lnTo>
                      <a:lnTo>
                        <a:pt x="85" y="770"/>
                      </a:lnTo>
                      <a:lnTo>
                        <a:pt x="84" y="768"/>
                      </a:lnTo>
                      <a:lnTo>
                        <a:pt x="83" y="768"/>
                      </a:lnTo>
                      <a:lnTo>
                        <a:pt x="82" y="768"/>
                      </a:lnTo>
                      <a:lnTo>
                        <a:pt x="81" y="767"/>
                      </a:lnTo>
                      <a:lnTo>
                        <a:pt x="81" y="766"/>
                      </a:lnTo>
                      <a:lnTo>
                        <a:pt x="79" y="765"/>
                      </a:lnTo>
                      <a:lnTo>
                        <a:pt x="78" y="760"/>
                      </a:lnTo>
                      <a:lnTo>
                        <a:pt x="79" y="759"/>
                      </a:lnTo>
                      <a:lnTo>
                        <a:pt x="79" y="757"/>
                      </a:lnTo>
                      <a:lnTo>
                        <a:pt x="80" y="756"/>
                      </a:lnTo>
                      <a:lnTo>
                        <a:pt x="81" y="756"/>
                      </a:lnTo>
                      <a:lnTo>
                        <a:pt x="81" y="754"/>
                      </a:lnTo>
                      <a:lnTo>
                        <a:pt x="83" y="753"/>
                      </a:lnTo>
                      <a:lnTo>
                        <a:pt x="83" y="750"/>
                      </a:lnTo>
                      <a:lnTo>
                        <a:pt x="85" y="746"/>
                      </a:lnTo>
                      <a:lnTo>
                        <a:pt x="85" y="745"/>
                      </a:lnTo>
                      <a:lnTo>
                        <a:pt x="86" y="744"/>
                      </a:lnTo>
                      <a:lnTo>
                        <a:pt x="85" y="744"/>
                      </a:lnTo>
                      <a:lnTo>
                        <a:pt x="85" y="743"/>
                      </a:lnTo>
                      <a:lnTo>
                        <a:pt x="85" y="742"/>
                      </a:lnTo>
                      <a:lnTo>
                        <a:pt x="84" y="742"/>
                      </a:lnTo>
                      <a:lnTo>
                        <a:pt x="85" y="738"/>
                      </a:lnTo>
                      <a:lnTo>
                        <a:pt x="85" y="737"/>
                      </a:lnTo>
                      <a:lnTo>
                        <a:pt x="85" y="737"/>
                      </a:lnTo>
                      <a:lnTo>
                        <a:pt x="86" y="736"/>
                      </a:lnTo>
                      <a:lnTo>
                        <a:pt x="86" y="736"/>
                      </a:lnTo>
                      <a:lnTo>
                        <a:pt x="86" y="734"/>
                      </a:lnTo>
                      <a:lnTo>
                        <a:pt x="85" y="733"/>
                      </a:lnTo>
                      <a:lnTo>
                        <a:pt x="85" y="732"/>
                      </a:lnTo>
                      <a:lnTo>
                        <a:pt x="87" y="732"/>
                      </a:lnTo>
                      <a:lnTo>
                        <a:pt x="93" y="733"/>
                      </a:lnTo>
                      <a:lnTo>
                        <a:pt x="95" y="731"/>
                      </a:lnTo>
                      <a:lnTo>
                        <a:pt x="97" y="731"/>
                      </a:lnTo>
                      <a:lnTo>
                        <a:pt x="98" y="733"/>
                      </a:lnTo>
                      <a:lnTo>
                        <a:pt x="98" y="732"/>
                      </a:lnTo>
                      <a:lnTo>
                        <a:pt x="100" y="731"/>
                      </a:lnTo>
                      <a:lnTo>
                        <a:pt x="100" y="731"/>
                      </a:lnTo>
                      <a:lnTo>
                        <a:pt x="101" y="732"/>
                      </a:lnTo>
                      <a:lnTo>
                        <a:pt x="106" y="730"/>
                      </a:lnTo>
                      <a:lnTo>
                        <a:pt x="106" y="727"/>
                      </a:lnTo>
                      <a:lnTo>
                        <a:pt x="106" y="721"/>
                      </a:lnTo>
                      <a:lnTo>
                        <a:pt x="107" y="719"/>
                      </a:lnTo>
                      <a:lnTo>
                        <a:pt x="107" y="717"/>
                      </a:lnTo>
                      <a:lnTo>
                        <a:pt x="106" y="715"/>
                      </a:lnTo>
                      <a:lnTo>
                        <a:pt x="105" y="714"/>
                      </a:lnTo>
                      <a:lnTo>
                        <a:pt x="105" y="713"/>
                      </a:lnTo>
                      <a:lnTo>
                        <a:pt x="108" y="711"/>
                      </a:lnTo>
                      <a:lnTo>
                        <a:pt x="111" y="712"/>
                      </a:lnTo>
                      <a:lnTo>
                        <a:pt x="112" y="712"/>
                      </a:lnTo>
                      <a:lnTo>
                        <a:pt x="113" y="711"/>
                      </a:lnTo>
                      <a:lnTo>
                        <a:pt x="114" y="709"/>
                      </a:lnTo>
                      <a:lnTo>
                        <a:pt x="114" y="706"/>
                      </a:lnTo>
                      <a:lnTo>
                        <a:pt x="116" y="706"/>
                      </a:lnTo>
                      <a:lnTo>
                        <a:pt x="117" y="705"/>
                      </a:lnTo>
                      <a:lnTo>
                        <a:pt x="119" y="705"/>
                      </a:lnTo>
                      <a:lnTo>
                        <a:pt x="120" y="704"/>
                      </a:lnTo>
                      <a:lnTo>
                        <a:pt x="121" y="704"/>
                      </a:lnTo>
                      <a:lnTo>
                        <a:pt x="122" y="703"/>
                      </a:lnTo>
                      <a:lnTo>
                        <a:pt x="123" y="702"/>
                      </a:lnTo>
                      <a:lnTo>
                        <a:pt x="124" y="702"/>
                      </a:lnTo>
                      <a:lnTo>
                        <a:pt x="125" y="701"/>
                      </a:lnTo>
                      <a:lnTo>
                        <a:pt x="126" y="700"/>
                      </a:lnTo>
                      <a:lnTo>
                        <a:pt x="127" y="699"/>
                      </a:lnTo>
                      <a:lnTo>
                        <a:pt x="128" y="698"/>
                      </a:lnTo>
                      <a:lnTo>
                        <a:pt x="129" y="698"/>
                      </a:lnTo>
                      <a:lnTo>
                        <a:pt x="130" y="696"/>
                      </a:lnTo>
                      <a:lnTo>
                        <a:pt x="131" y="695"/>
                      </a:lnTo>
                      <a:lnTo>
                        <a:pt x="131" y="695"/>
                      </a:lnTo>
                      <a:lnTo>
                        <a:pt x="131" y="694"/>
                      </a:lnTo>
                      <a:lnTo>
                        <a:pt x="132" y="693"/>
                      </a:lnTo>
                      <a:lnTo>
                        <a:pt x="132" y="691"/>
                      </a:lnTo>
                      <a:lnTo>
                        <a:pt x="132" y="691"/>
                      </a:lnTo>
                      <a:lnTo>
                        <a:pt x="133" y="689"/>
                      </a:lnTo>
                      <a:lnTo>
                        <a:pt x="133" y="689"/>
                      </a:lnTo>
                      <a:lnTo>
                        <a:pt x="134" y="687"/>
                      </a:lnTo>
                      <a:lnTo>
                        <a:pt x="135" y="687"/>
                      </a:lnTo>
                      <a:lnTo>
                        <a:pt x="136" y="686"/>
                      </a:lnTo>
                      <a:lnTo>
                        <a:pt x="136" y="685"/>
                      </a:lnTo>
                      <a:lnTo>
                        <a:pt x="137" y="684"/>
                      </a:lnTo>
                      <a:lnTo>
                        <a:pt x="138" y="683"/>
                      </a:lnTo>
                      <a:lnTo>
                        <a:pt x="138" y="683"/>
                      </a:lnTo>
                      <a:lnTo>
                        <a:pt x="138" y="682"/>
                      </a:lnTo>
                      <a:lnTo>
                        <a:pt x="138" y="681"/>
                      </a:lnTo>
                      <a:lnTo>
                        <a:pt x="139" y="680"/>
                      </a:lnTo>
                      <a:lnTo>
                        <a:pt x="142" y="679"/>
                      </a:lnTo>
                      <a:lnTo>
                        <a:pt x="142" y="677"/>
                      </a:lnTo>
                      <a:lnTo>
                        <a:pt x="144" y="674"/>
                      </a:lnTo>
                      <a:lnTo>
                        <a:pt x="144" y="673"/>
                      </a:lnTo>
                      <a:lnTo>
                        <a:pt x="144" y="668"/>
                      </a:lnTo>
                      <a:lnTo>
                        <a:pt x="146" y="666"/>
                      </a:lnTo>
                      <a:lnTo>
                        <a:pt x="147" y="665"/>
                      </a:lnTo>
                      <a:lnTo>
                        <a:pt x="147" y="658"/>
                      </a:lnTo>
                      <a:lnTo>
                        <a:pt x="145" y="648"/>
                      </a:lnTo>
                      <a:lnTo>
                        <a:pt x="145" y="645"/>
                      </a:lnTo>
                      <a:lnTo>
                        <a:pt x="146" y="639"/>
                      </a:lnTo>
                      <a:lnTo>
                        <a:pt x="155" y="639"/>
                      </a:lnTo>
                      <a:lnTo>
                        <a:pt x="159" y="639"/>
                      </a:lnTo>
                      <a:lnTo>
                        <a:pt x="163" y="639"/>
                      </a:lnTo>
                      <a:lnTo>
                        <a:pt x="170" y="638"/>
                      </a:lnTo>
                      <a:lnTo>
                        <a:pt x="178" y="638"/>
                      </a:lnTo>
                      <a:lnTo>
                        <a:pt x="182" y="638"/>
                      </a:lnTo>
                      <a:lnTo>
                        <a:pt x="185" y="637"/>
                      </a:lnTo>
                      <a:lnTo>
                        <a:pt x="186" y="636"/>
                      </a:lnTo>
                      <a:lnTo>
                        <a:pt x="187" y="636"/>
                      </a:lnTo>
                      <a:lnTo>
                        <a:pt x="187" y="636"/>
                      </a:lnTo>
                      <a:lnTo>
                        <a:pt x="187" y="635"/>
                      </a:lnTo>
                      <a:lnTo>
                        <a:pt x="187" y="634"/>
                      </a:lnTo>
                      <a:lnTo>
                        <a:pt x="187" y="634"/>
                      </a:lnTo>
                      <a:lnTo>
                        <a:pt x="186" y="634"/>
                      </a:lnTo>
                      <a:lnTo>
                        <a:pt x="186" y="633"/>
                      </a:lnTo>
                      <a:lnTo>
                        <a:pt x="186" y="632"/>
                      </a:lnTo>
                      <a:lnTo>
                        <a:pt x="187" y="632"/>
                      </a:lnTo>
                      <a:lnTo>
                        <a:pt x="187" y="632"/>
                      </a:lnTo>
                      <a:lnTo>
                        <a:pt x="187" y="631"/>
                      </a:lnTo>
                      <a:lnTo>
                        <a:pt x="186" y="631"/>
                      </a:lnTo>
                      <a:lnTo>
                        <a:pt x="186" y="630"/>
                      </a:lnTo>
                      <a:lnTo>
                        <a:pt x="185" y="630"/>
                      </a:lnTo>
                      <a:lnTo>
                        <a:pt x="185" y="630"/>
                      </a:lnTo>
                      <a:lnTo>
                        <a:pt x="185" y="630"/>
                      </a:lnTo>
                      <a:lnTo>
                        <a:pt x="185" y="629"/>
                      </a:lnTo>
                      <a:lnTo>
                        <a:pt x="184" y="629"/>
                      </a:lnTo>
                      <a:lnTo>
                        <a:pt x="184" y="628"/>
                      </a:lnTo>
                      <a:lnTo>
                        <a:pt x="183" y="628"/>
                      </a:lnTo>
                      <a:lnTo>
                        <a:pt x="183" y="628"/>
                      </a:lnTo>
                      <a:lnTo>
                        <a:pt x="182" y="628"/>
                      </a:lnTo>
                      <a:lnTo>
                        <a:pt x="182" y="628"/>
                      </a:lnTo>
                      <a:lnTo>
                        <a:pt x="182" y="628"/>
                      </a:lnTo>
                      <a:lnTo>
                        <a:pt x="182" y="627"/>
                      </a:lnTo>
                      <a:lnTo>
                        <a:pt x="182" y="628"/>
                      </a:lnTo>
                      <a:lnTo>
                        <a:pt x="181" y="628"/>
                      </a:lnTo>
                      <a:lnTo>
                        <a:pt x="181" y="627"/>
                      </a:lnTo>
                      <a:lnTo>
                        <a:pt x="181" y="626"/>
                      </a:lnTo>
                      <a:lnTo>
                        <a:pt x="181" y="626"/>
                      </a:lnTo>
                      <a:lnTo>
                        <a:pt x="181" y="625"/>
                      </a:lnTo>
                      <a:lnTo>
                        <a:pt x="180" y="625"/>
                      </a:lnTo>
                      <a:lnTo>
                        <a:pt x="180" y="625"/>
                      </a:lnTo>
                      <a:lnTo>
                        <a:pt x="180" y="624"/>
                      </a:lnTo>
                      <a:lnTo>
                        <a:pt x="180" y="624"/>
                      </a:lnTo>
                      <a:lnTo>
                        <a:pt x="180" y="623"/>
                      </a:lnTo>
                      <a:lnTo>
                        <a:pt x="180" y="623"/>
                      </a:lnTo>
                      <a:lnTo>
                        <a:pt x="180" y="622"/>
                      </a:lnTo>
                      <a:lnTo>
                        <a:pt x="180" y="622"/>
                      </a:lnTo>
                      <a:lnTo>
                        <a:pt x="180" y="622"/>
                      </a:lnTo>
                      <a:lnTo>
                        <a:pt x="179" y="622"/>
                      </a:lnTo>
                      <a:lnTo>
                        <a:pt x="179" y="621"/>
                      </a:lnTo>
                      <a:lnTo>
                        <a:pt x="180" y="620"/>
                      </a:lnTo>
                      <a:lnTo>
                        <a:pt x="179" y="620"/>
                      </a:lnTo>
                      <a:lnTo>
                        <a:pt x="179" y="620"/>
                      </a:lnTo>
                      <a:lnTo>
                        <a:pt x="180" y="620"/>
                      </a:lnTo>
                      <a:lnTo>
                        <a:pt x="179" y="619"/>
                      </a:lnTo>
                      <a:lnTo>
                        <a:pt x="178" y="619"/>
                      </a:lnTo>
                      <a:lnTo>
                        <a:pt x="178" y="618"/>
                      </a:lnTo>
                      <a:lnTo>
                        <a:pt x="179" y="618"/>
                      </a:lnTo>
                      <a:lnTo>
                        <a:pt x="179" y="618"/>
                      </a:lnTo>
                      <a:lnTo>
                        <a:pt x="180" y="618"/>
                      </a:lnTo>
                      <a:lnTo>
                        <a:pt x="180" y="617"/>
                      </a:lnTo>
                      <a:lnTo>
                        <a:pt x="180" y="617"/>
                      </a:lnTo>
                      <a:lnTo>
                        <a:pt x="180" y="616"/>
                      </a:lnTo>
                      <a:lnTo>
                        <a:pt x="181" y="615"/>
                      </a:lnTo>
                      <a:lnTo>
                        <a:pt x="182" y="615"/>
                      </a:lnTo>
                      <a:lnTo>
                        <a:pt x="182" y="616"/>
                      </a:lnTo>
                      <a:lnTo>
                        <a:pt x="182" y="616"/>
                      </a:lnTo>
                      <a:lnTo>
                        <a:pt x="182" y="615"/>
                      </a:lnTo>
                      <a:lnTo>
                        <a:pt x="183" y="615"/>
                      </a:lnTo>
                      <a:lnTo>
                        <a:pt x="184" y="615"/>
                      </a:lnTo>
                      <a:lnTo>
                        <a:pt x="184" y="616"/>
                      </a:lnTo>
                      <a:lnTo>
                        <a:pt x="185" y="616"/>
                      </a:lnTo>
                      <a:lnTo>
                        <a:pt x="185" y="615"/>
                      </a:lnTo>
                      <a:lnTo>
                        <a:pt x="185" y="615"/>
                      </a:lnTo>
                      <a:lnTo>
                        <a:pt x="184" y="615"/>
                      </a:lnTo>
                      <a:lnTo>
                        <a:pt x="184" y="614"/>
                      </a:lnTo>
                      <a:lnTo>
                        <a:pt x="184" y="613"/>
                      </a:lnTo>
                      <a:lnTo>
                        <a:pt x="185" y="613"/>
                      </a:lnTo>
                      <a:lnTo>
                        <a:pt x="184" y="613"/>
                      </a:lnTo>
                      <a:lnTo>
                        <a:pt x="183" y="613"/>
                      </a:lnTo>
                      <a:lnTo>
                        <a:pt x="183" y="613"/>
                      </a:lnTo>
                      <a:lnTo>
                        <a:pt x="183" y="612"/>
                      </a:lnTo>
                      <a:lnTo>
                        <a:pt x="182" y="612"/>
                      </a:lnTo>
                      <a:lnTo>
                        <a:pt x="182" y="612"/>
                      </a:lnTo>
                      <a:lnTo>
                        <a:pt x="182" y="613"/>
                      </a:lnTo>
                      <a:lnTo>
                        <a:pt x="181" y="613"/>
                      </a:lnTo>
                      <a:lnTo>
                        <a:pt x="181" y="612"/>
                      </a:lnTo>
                      <a:lnTo>
                        <a:pt x="180" y="612"/>
                      </a:lnTo>
                      <a:lnTo>
                        <a:pt x="180" y="612"/>
                      </a:lnTo>
                      <a:lnTo>
                        <a:pt x="180" y="611"/>
                      </a:lnTo>
                      <a:lnTo>
                        <a:pt x="180" y="611"/>
                      </a:lnTo>
                      <a:lnTo>
                        <a:pt x="179" y="611"/>
                      </a:lnTo>
                      <a:lnTo>
                        <a:pt x="179" y="610"/>
                      </a:lnTo>
                      <a:lnTo>
                        <a:pt x="178" y="610"/>
                      </a:lnTo>
                      <a:lnTo>
                        <a:pt x="178" y="609"/>
                      </a:lnTo>
                      <a:lnTo>
                        <a:pt x="178" y="609"/>
                      </a:lnTo>
                      <a:lnTo>
                        <a:pt x="178" y="609"/>
                      </a:lnTo>
                      <a:lnTo>
                        <a:pt x="177" y="608"/>
                      </a:lnTo>
                      <a:lnTo>
                        <a:pt x="176" y="607"/>
                      </a:lnTo>
                      <a:lnTo>
                        <a:pt x="176" y="607"/>
                      </a:lnTo>
                      <a:lnTo>
                        <a:pt x="176" y="607"/>
                      </a:lnTo>
                      <a:lnTo>
                        <a:pt x="176" y="606"/>
                      </a:lnTo>
                      <a:lnTo>
                        <a:pt x="175" y="606"/>
                      </a:lnTo>
                      <a:lnTo>
                        <a:pt x="175" y="605"/>
                      </a:lnTo>
                      <a:lnTo>
                        <a:pt x="174" y="605"/>
                      </a:lnTo>
                      <a:lnTo>
                        <a:pt x="174" y="605"/>
                      </a:lnTo>
                      <a:lnTo>
                        <a:pt x="174" y="604"/>
                      </a:lnTo>
                      <a:lnTo>
                        <a:pt x="174" y="604"/>
                      </a:lnTo>
                      <a:lnTo>
                        <a:pt x="174" y="603"/>
                      </a:lnTo>
                      <a:lnTo>
                        <a:pt x="174" y="603"/>
                      </a:lnTo>
                      <a:lnTo>
                        <a:pt x="174" y="602"/>
                      </a:lnTo>
                      <a:lnTo>
                        <a:pt x="173" y="602"/>
                      </a:lnTo>
                      <a:lnTo>
                        <a:pt x="173" y="601"/>
                      </a:lnTo>
                      <a:lnTo>
                        <a:pt x="174" y="601"/>
                      </a:lnTo>
                      <a:lnTo>
                        <a:pt x="174" y="601"/>
                      </a:lnTo>
                      <a:lnTo>
                        <a:pt x="173" y="601"/>
                      </a:lnTo>
                      <a:lnTo>
                        <a:pt x="173" y="600"/>
                      </a:lnTo>
                      <a:lnTo>
                        <a:pt x="173" y="599"/>
                      </a:lnTo>
                      <a:lnTo>
                        <a:pt x="173" y="599"/>
                      </a:lnTo>
                      <a:lnTo>
                        <a:pt x="172" y="599"/>
                      </a:lnTo>
                      <a:lnTo>
                        <a:pt x="172" y="599"/>
                      </a:lnTo>
                      <a:lnTo>
                        <a:pt x="172" y="599"/>
                      </a:lnTo>
                      <a:lnTo>
                        <a:pt x="172" y="599"/>
                      </a:lnTo>
                      <a:lnTo>
                        <a:pt x="171" y="599"/>
                      </a:lnTo>
                      <a:lnTo>
                        <a:pt x="171" y="598"/>
                      </a:lnTo>
                      <a:lnTo>
                        <a:pt x="171" y="597"/>
                      </a:lnTo>
                      <a:lnTo>
                        <a:pt x="171" y="596"/>
                      </a:lnTo>
                      <a:lnTo>
                        <a:pt x="171" y="596"/>
                      </a:lnTo>
                      <a:lnTo>
                        <a:pt x="172" y="596"/>
                      </a:lnTo>
                      <a:lnTo>
                        <a:pt x="172" y="595"/>
                      </a:lnTo>
                      <a:lnTo>
                        <a:pt x="172" y="595"/>
                      </a:lnTo>
                      <a:lnTo>
                        <a:pt x="172" y="594"/>
                      </a:lnTo>
                      <a:lnTo>
                        <a:pt x="171" y="594"/>
                      </a:lnTo>
                      <a:lnTo>
                        <a:pt x="171" y="594"/>
                      </a:lnTo>
                      <a:lnTo>
                        <a:pt x="171" y="593"/>
                      </a:lnTo>
                      <a:lnTo>
                        <a:pt x="172" y="593"/>
                      </a:lnTo>
                      <a:lnTo>
                        <a:pt x="172" y="592"/>
                      </a:lnTo>
                      <a:lnTo>
                        <a:pt x="171" y="592"/>
                      </a:lnTo>
                      <a:lnTo>
                        <a:pt x="171" y="592"/>
                      </a:lnTo>
                      <a:lnTo>
                        <a:pt x="171" y="591"/>
                      </a:lnTo>
                      <a:lnTo>
                        <a:pt x="170" y="591"/>
                      </a:lnTo>
                      <a:lnTo>
                        <a:pt x="170" y="590"/>
                      </a:lnTo>
                      <a:lnTo>
                        <a:pt x="170" y="590"/>
                      </a:lnTo>
                      <a:lnTo>
                        <a:pt x="170" y="590"/>
                      </a:lnTo>
                      <a:lnTo>
                        <a:pt x="169" y="590"/>
                      </a:lnTo>
                      <a:lnTo>
                        <a:pt x="168" y="589"/>
                      </a:lnTo>
                      <a:lnTo>
                        <a:pt x="168" y="588"/>
                      </a:lnTo>
                      <a:lnTo>
                        <a:pt x="169" y="588"/>
                      </a:lnTo>
                      <a:lnTo>
                        <a:pt x="169" y="588"/>
                      </a:lnTo>
                      <a:lnTo>
                        <a:pt x="168" y="588"/>
                      </a:lnTo>
                      <a:lnTo>
                        <a:pt x="168" y="587"/>
                      </a:lnTo>
                      <a:lnTo>
                        <a:pt x="167" y="587"/>
                      </a:lnTo>
                      <a:lnTo>
                        <a:pt x="167" y="586"/>
                      </a:lnTo>
                      <a:lnTo>
                        <a:pt x="166" y="586"/>
                      </a:lnTo>
                      <a:lnTo>
                        <a:pt x="166" y="586"/>
                      </a:lnTo>
                      <a:lnTo>
                        <a:pt x="165" y="586"/>
                      </a:lnTo>
                      <a:lnTo>
                        <a:pt x="164" y="586"/>
                      </a:lnTo>
                      <a:lnTo>
                        <a:pt x="164" y="586"/>
                      </a:lnTo>
                      <a:lnTo>
                        <a:pt x="164" y="585"/>
                      </a:lnTo>
                      <a:lnTo>
                        <a:pt x="163" y="585"/>
                      </a:lnTo>
                      <a:lnTo>
                        <a:pt x="163" y="585"/>
                      </a:lnTo>
                      <a:lnTo>
                        <a:pt x="163" y="584"/>
                      </a:lnTo>
                      <a:lnTo>
                        <a:pt x="162" y="585"/>
                      </a:lnTo>
                      <a:lnTo>
                        <a:pt x="162" y="584"/>
                      </a:lnTo>
                      <a:lnTo>
                        <a:pt x="162" y="584"/>
                      </a:lnTo>
                      <a:lnTo>
                        <a:pt x="161" y="584"/>
                      </a:lnTo>
                      <a:lnTo>
                        <a:pt x="161" y="583"/>
                      </a:lnTo>
                      <a:lnTo>
                        <a:pt x="162" y="583"/>
                      </a:lnTo>
                      <a:lnTo>
                        <a:pt x="161" y="583"/>
                      </a:lnTo>
                      <a:lnTo>
                        <a:pt x="161" y="584"/>
                      </a:lnTo>
                      <a:lnTo>
                        <a:pt x="160" y="584"/>
                      </a:lnTo>
                      <a:lnTo>
                        <a:pt x="159" y="584"/>
                      </a:lnTo>
                      <a:lnTo>
                        <a:pt x="159" y="583"/>
                      </a:lnTo>
                      <a:lnTo>
                        <a:pt x="159" y="583"/>
                      </a:lnTo>
                      <a:lnTo>
                        <a:pt x="159" y="584"/>
                      </a:lnTo>
                      <a:lnTo>
                        <a:pt x="159" y="584"/>
                      </a:lnTo>
                      <a:lnTo>
                        <a:pt x="159" y="583"/>
                      </a:lnTo>
                      <a:lnTo>
                        <a:pt x="158" y="583"/>
                      </a:lnTo>
                      <a:lnTo>
                        <a:pt x="157" y="583"/>
                      </a:lnTo>
                      <a:lnTo>
                        <a:pt x="157" y="583"/>
                      </a:lnTo>
                      <a:lnTo>
                        <a:pt x="157" y="582"/>
                      </a:lnTo>
                      <a:lnTo>
                        <a:pt x="157" y="582"/>
                      </a:lnTo>
                      <a:lnTo>
                        <a:pt x="156" y="582"/>
                      </a:lnTo>
                      <a:lnTo>
                        <a:pt x="155" y="582"/>
                      </a:lnTo>
                      <a:lnTo>
                        <a:pt x="155" y="581"/>
                      </a:lnTo>
                      <a:lnTo>
                        <a:pt x="156" y="581"/>
                      </a:lnTo>
                      <a:lnTo>
                        <a:pt x="156" y="580"/>
                      </a:lnTo>
                      <a:lnTo>
                        <a:pt x="156" y="580"/>
                      </a:lnTo>
                      <a:lnTo>
                        <a:pt x="155" y="580"/>
                      </a:lnTo>
                      <a:lnTo>
                        <a:pt x="155" y="580"/>
                      </a:lnTo>
                      <a:lnTo>
                        <a:pt x="154" y="580"/>
                      </a:lnTo>
                      <a:lnTo>
                        <a:pt x="154" y="579"/>
                      </a:lnTo>
                      <a:lnTo>
                        <a:pt x="154" y="578"/>
                      </a:lnTo>
                      <a:lnTo>
                        <a:pt x="154" y="578"/>
                      </a:lnTo>
                      <a:lnTo>
                        <a:pt x="154" y="577"/>
                      </a:lnTo>
                      <a:lnTo>
                        <a:pt x="153" y="577"/>
                      </a:lnTo>
                      <a:lnTo>
                        <a:pt x="153" y="577"/>
                      </a:lnTo>
                      <a:lnTo>
                        <a:pt x="152" y="577"/>
                      </a:lnTo>
                      <a:lnTo>
                        <a:pt x="151" y="577"/>
                      </a:lnTo>
                      <a:lnTo>
                        <a:pt x="151" y="576"/>
                      </a:lnTo>
                      <a:lnTo>
                        <a:pt x="151" y="576"/>
                      </a:lnTo>
                      <a:lnTo>
                        <a:pt x="150" y="575"/>
                      </a:lnTo>
                      <a:lnTo>
                        <a:pt x="150" y="575"/>
                      </a:lnTo>
                      <a:lnTo>
                        <a:pt x="149" y="575"/>
                      </a:lnTo>
                      <a:lnTo>
                        <a:pt x="149" y="574"/>
                      </a:lnTo>
                      <a:lnTo>
                        <a:pt x="149" y="573"/>
                      </a:lnTo>
                      <a:lnTo>
                        <a:pt x="149" y="573"/>
                      </a:lnTo>
                      <a:lnTo>
                        <a:pt x="149" y="572"/>
                      </a:lnTo>
                      <a:lnTo>
                        <a:pt x="148" y="571"/>
                      </a:lnTo>
                      <a:lnTo>
                        <a:pt x="147" y="571"/>
                      </a:lnTo>
                      <a:lnTo>
                        <a:pt x="147" y="571"/>
                      </a:lnTo>
                      <a:lnTo>
                        <a:pt x="146" y="571"/>
                      </a:lnTo>
                      <a:lnTo>
                        <a:pt x="146" y="570"/>
                      </a:lnTo>
                      <a:lnTo>
                        <a:pt x="145" y="569"/>
                      </a:lnTo>
                      <a:lnTo>
                        <a:pt x="146" y="569"/>
                      </a:lnTo>
                      <a:lnTo>
                        <a:pt x="146" y="568"/>
                      </a:lnTo>
                      <a:lnTo>
                        <a:pt x="147" y="567"/>
                      </a:lnTo>
                      <a:lnTo>
                        <a:pt x="147" y="567"/>
                      </a:lnTo>
                      <a:lnTo>
                        <a:pt x="147" y="567"/>
                      </a:lnTo>
                      <a:lnTo>
                        <a:pt x="147" y="566"/>
                      </a:lnTo>
                      <a:lnTo>
                        <a:pt x="147" y="565"/>
                      </a:lnTo>
                      <a:lnTo>
                        <a:pt x="147" y="565"/>
                      </a:lnTo>
                      <a:lnTo>
                        <a:pt x="147" y="564"/>
                      </a:lnTo>
                      <a:lnTo>
                        <a:pt x="148" y="563"/>
                      </a:lnTo>
                      <a:lnTo>
                        <a:pt x="149" y="563"/>
                      </a:lnTo>
                      <a:lnTo>
                        <a:pt x="149" y="563"/>
                      </a:lnTo>
                      <a:lnTo>
                        <a:pt x="149" y="563"/>
                      </a:lnTo>
                      <a:lnTo>
                        <a:pt x="149" y="562"/>
                      </a:lnTo>
                      <a:lnTo>
                        <a:pt x="149" y="562"/>
                      </a:lnTo>
                      <a:lnTo>
                        <a:pt x="148" y="562"/>
                      </a:lnTo>
                      <a:lnTo>
                        <a:pt x="147" y="562"/>
                      </a:lnTo>
                      <a:lnTo>
                        <a:pt x="147" y="561"/>
                      </a:lnTo>
                      <a:lnTo>
                        <a:pt x="146" y="561"/>
                      </a:lnTo>
                      <a:lnTo>
                        <a:pt x="146" y="560"/>
                      </a:lnTo>
                      <a:lnTo>
                        <a:pt x="145" y="559"/>
                      </a:lnTo>
                      <a:lnTo>
                        <a:pt x="145" y="558"/>
                      </a:lnTo>
                      <a:lnTo>
                        <a:pt x="144" y="558"/>
                      </a:lnTo>
                      <a:lnTo>
                        <a:pt x="144" y="557"/>
                      </a:lnTo>
                      <a:lnTo>
                        <a:pt x="144" y="556"/>
                      </a:lnTo>
                      <a:lnTo>
                        <a:pt x="144" y="556"/>
                      </a:lnTo>
                      <a:lnTo>
                        <a:pt x="144" y="555"/>
                      </a:lnTo>
                      <a:lnTo>
                        <a:pt x="144" y="554"/>
                      </a:lnTo>
                      <a:lnTo>
                        <a:pt x="144" y="554"/>
                      </a:lnTo>
                      <a:lnTo>
                        <a:pt x="144" y="553"/>
                      </a:lnTo>
                      <a:lnTo>
                        <a:pt x="143" y="552"/>
                      </a:lnTo>
                      <a:lnTo>
                        <a:pt x="143" y="552"/>
                      </a:lnTo>
                      <a:lnTo>
                        <a:pt x="143" y="551"/>
                      </a:lnTo>
                      <a:lnTo>
                        <a:pt x="144" y="551"/>
                      </a:lnTo>
                      <a:lnTo>
                        <a:pt x="143" y="550"/>
                      </a:lnTo>
                      <a:lnTo>
                        <a:pt x="144" y="550"/>
                      </a:lnTo>
                      <a:lnTo>
                        <a:pt x="144" y="550"/>
                      </a:lnTo>
                      <a:lnTo>
                        <a:pt x="144" y="549"/>
                      </a:lnTo>
                      <a:lnTo>
                        <a:pt x="144" y="548"/>
                      </a:lnTo>
                      <a:lnTo>
                        <a:pt x="144" y="548"/>
                      </a:lnTo>
                      <a:lnTo>
                        <a:pt x="144" y="548"/>
                      </a:lnTo>
                      <a:lnTo>
                        <a:pt x="144" y="547"/>
                      </a:lnTo>
                      <a:lnTo>
                        <a:pt x="145" y="546"/>
                      </a:lnTo>
                      <a:lnTo>
                        <a:pt x="145" y="546"/>
                      </a:lnTo>
                      <a:lnTo>
                        <a:pt x="145" y="545"/>
                      </a:lnTo>
                      <a:lnTo>
                        <a:pt x="145" y="544"/>
                      </a:lnTo>
                      <a:lnTo>
                        <a:pt x="144" y="544"/>
                      </a:lnTo>
                      <a:lnTo>
                        <a:pt x="144" y="543"/>
                      </a:lnTo>
                      <a:lnTo>
                        <a:pt x="144" y="542"/>
                      </a:lnTo>
                      <a:lnTo>
                        <a:pt x="142" y="539"/>
                      </a:lnTo>
                      <a:lnTo>
                        <a:pt x="140" y="535"/>
                      </a:lnTo>
                      <a:lnTo>
                        <a:pt x="141" y="530"/>
                      </a:lnTo>
                      <a:lnTo>
                        <a:pt x="142" y="527"/>
                      </a:lnTo>
                      <a:lnTo>
                        <a:pt x="145" y="517"/>
                      </a:lnTo>
                      <a:lnTo>
                        <a:pt x="144" y="514"/>
                      </a:lnTo>
                      <a:lnTo>
                        <a:pt x="145" y="512"/>
                      </a:lnTo>
                      <a:lnTo>
                        <a:pt x="144" y="512"/>
                      </a:lnTo>
                      <a:lnTo>
                        <a:pt x="144" y="512"/>
                      </a:lnTo>
                      <a:lnTo>
                        <a:pt x="144" y="512"/>
                      </a:lnTo>
                      <a:lnTo>
                        <a:pt x="143" y="511"/>
                      </a:lnTo>
                      <a:lnTo>
                        <a:pt x="142" y="511"/>
                      </a:lnTo>
                      <a:lnTo>
                        <a:pt x="142" y="511"/>
                      </a:lnTo>
                      <a:lnTo>
                        <a:pt x="142" y="510"/>
                      </a:lnTo>
                      <a:lnTo>
                        <a:pt x="141" y="510"/>
                      </a:lnTo>
                      <a:lnTo>
                        <a:pt x="141" y="510"/>
                      </a:lnTo>
                      <a:lnTo>
                        <a:pt x="140" y="510"/>
                      </a:lnTo>
                      <a:lnTo>
                        <a:pt x="140" y="509"/>
                      </a:lnTo>
                      <a:lnTo>
                        <a:pt x="140" y="508"/>
                      </a:lnTo>
                      <a:lnTo>
                        <a:pt x="139" y="508"/>
                      </a:lnTo>
                      <a:lnTo>
                        <a:pt x="138" y="508"/>
                      </a:lnTo>
                      <a:lnTo>
                        <a:pt x="138" y="508"/>
                      </a:lnTo>
                      <a:lnTo>
                        <a:pt x="138" y="508"/>
                      </a:lnTo>
                      <a:lnTo>
                        <a:pt x="138" y="507"/>
                      </a:lnTo>
                      <a:lnTo>
                        <a:pt x="137" y="508"/>
                      </a:lnTo>
                      <a:lnTo>
                        <a:pt x="137" y="507"/>
                      </a:lnTo>
                      <a:lnTo>
                        <a:pt x="136" y="507"/>
                      </a:lnTo>
                      <a:lnTo>
                        <a:pt x="136" y="506"/>
                      </a:lnTo>
                      <a:lnTo>
                        <a:pt x="136" y="506"/>
                      </a:lnTo>
                      <a:lnTo>
                        <a:pt x="136" y="507"/>
                      </a:lnTo>
                      <a:lnTo>
                        <a:pt x="136" y="506"/>
                      </a:lnTo>
                      <a:lnTo>
                        <a:pt x="135" y="507"/>
                      </a:lnTo>
                      <a:lnTo>
                        <a:pt x="134" y="507"/>
                      </a:lnTo>
                      <a:lnTo>
                        <a:pt x="134" y="506"/>
                      </a:lnTo>
                      <a:lnTo>
                        <a:pt x="134" y="507"/>
                      </a:lnTo>
                      <a:lnTo>
                        <a:pt x="133" y="507"/>
                      </a:lnTo>
                      <a:lnTo>
                        <a:pt x="133" y="506"/>
                      </a:lnTo>
                      <a:lnTo>
                        <a:pt x="132" y="507"/>
                      </a:lnTo>
                      <a:lnTo>
                        <a:pt x="132" y="506"/>
                      </a:lnTo>
                      <a:lnTo>
                        <a:pt x="132" y="507"/>
                      </a:lnTo>
                      <a:lnTo>
                        <a:pt x="132" y="507"/>
                      </a:lnTo>
                      <a:lnTo>
                        <a:pt x="132" y="506"/>
                      </a:lnTo>
                      <a:lnTo>
                        <a:pt x="131" y="506"/>
                      </a:lnTo>
                      <a:lnTo>
                        <a:pt x="131" y="506"/>
                      </a:lnTo>
                      <a:lnTo>
                        <a:pt x="131" y="505"/>
                      </a:lnTo>
                      <a:lnTo>
                        <a:pt x="130" y="505"/>
                      </a:lnTo>
                      <a:lnTo>
                        <a:pt x="130" y="504"/>
                      </a:lnTo>
                      <a:lnTo>
                        <a:pt x="130" y="504"/>
                      </a:lnTo>
                      <a:lnTo>
                        <a:pt x="130" y="504"/>
                      </a:lnTo>
                      <a:lnTo>
                        <a:pt x="130" y="504"/>
                      </a:lnTo>
                      <a:lnTo>
                        <a:pt x="130" y="504"/>
                      </a:lnTo>
                      <a:lnTo>
                        <a:pt x="130" y="504"/>
                      </a:lnTo>
                      <a:lnTo>
                        <a:pt x="130" y="503"/>
                      </a:lnTo>
                      <a:lnTo>
                        <a:pt x="130" y="502"/>
                      </a:lnTo>
                      <a:lnTo>
                        <a:pt x="130" y="502"/>
                      </a:lnTo>
                      <a:lnTo>
                        <a:pt x="129" y="502"/>
                      </a:lnTo>
                      <a:lnTo>
                        <a:pt x="129" y="501"/>
                      </a:lnTo>
                      <a:lnTo>
                        <a:pt x="128" y="500"/>
                      </a:lnTo>
                      <a:lnTo>
                        <a:pt x="128" y="501"/>
                      </a:lnTo>
                      <a:lnTo>
                        <a:pt x="128" y="502"/>
                      </a:lnTo>
                      <a:lnTo>
                        <a:pt x="127" y="502"/>
                      </a:lnTo>
                      <a:lnTo>
                        <a:pt x="127" y="501"/>
                      </a:lnTo>
                      <a:lnTo>
                        <a:pt x="127" y="500"/>
                      </a:lnTo>
                      <a:lnTo>
                        <a:pt x="127" y="500"/>
                      </a:lnTo>
                      <a:lnTo>
                        <a:pt x="126" y="500"/>
                      </a:lnTo>
                      <a:lnTo>
                        <a:pt x="126" y="500"/>
                      </a:lnTo>
                      <a:lnTo>
                        <a:pt x="125" y="500"/>
                      </a:lnTo>
                      <a:lnTo>
                        <a:pt x="125" y="499"/>
                      </a:lnTo>
                      <a:lnTo>
                        <a:pt x="125" y="499"/>
                      </a:lnTo>
                      <a:lnTo>
                        <a:pt x="125" y="498"/>
                      </a:lnTo>
                      <a:lnTo>
                        <a:pt x="125" y="497"/>
                      </a:lnTo>
                      <a:lnTo>
                        <a:pt x="124" y="497"/>
                      </a:lnTo>
                      <a:lnTo>
                        <a:pt x="123" y="497"/>
                      </a:lnTo>
                      <a:lnTo>
                        <a:pt x="123" y="497"/>
                      </a:lnTo>
                      <a:lnTo>
                        <a:pt x="124" y="497"/>
                      </a:lnTo>
                      <a:lnTo>
                        <a:pt x="124" y="496"/>
                      </a:lnTo>
                      <a:lnTo>
                        <a:pt x="124" y="495"/>
                      </a:lnTo>
                      <a:lnTo>
                        <a:pt x="123" y="495"/>
                      </a:lnTo>
                      <a:lnTo>
                        <a:pt x="123" y="495"/>
                      </a:lnTo>
                      <a:lnTo>
                        <a:pt x="123" y="494"/>
                      </a:lnTo>
                      <a:lnTo>
                        <a:pt x="122" y="494"/>
                      </a:lnTo>
                      <a:lnTo>
                        <a:pt x="121" y="494"/>
                      </a:lnTo>
                      <a:lnTo>
                        <a:pt x="121" y="493"/>
                      </a:lnTo>
                      <a:lnTo>
                        <a:pt x="121" y="493"/>
                      </a:lnTo>
                      <a:lnTo>
                        <a:pt x="121" y="492"/>
                      </a:lnTo>
                      <a:lnTo>
                        <a:pt x="121" y="491"/>
                      </a:lnTo>
                      <a:lnTo>
                        <a:pt x="121" y="491"/>
                      </a:lnTo>
                      <a:lnTo>
                        <a:pt x="121" y="490"/>
                      </a:lnTo>
                      <a:lnTo>
                        <a:pt x="121" y="489"/>
                      </a:lnTo>
                      <a:lnTo>
                        <a:pt x="121" y="490"/>
                      </a:lnTo>
                      <a:lnTo>
                        <a:pt x="121" y="490"/>
                      </a:lnTo>
                      <a:lnTo>
                        <a:pt x="121" y="489"/>
                      </a:lnTo>
                      <a:lnTo>
                        <a:pt x="121" y="489"/>
                      </a:lnTo>
                      <a:lnTo>
                        <a:pt x="122" y="488"/>
                      </a:lnTo>
                      <a:lnTo>
                        <a:pt x="121" y="488"/>
                      </a:lnTo>
                      <a:lnTo>
                        <a:pt x="121" y="487"/>
                      </a:lnTo>
                      <a:lnTo>
                        <a:pt x="121" y="487"/>
                      </a:lnTo>
                      <a:lnTo>
                        <a:pt x="121" y="486"/>
                      </a:lnTo>
                      <a:lnTo>
                        <a:pt x="121" y="485"/>
                      </a:lnTo>
                      <a:lnTo>
                        <a:pt x="122" y="485"/>
                      </a:lnTo>
                      <a:lnTo>
                        <a:pt x="123" y="485"/>
                      </a:lnTo>
                      <a:lnTo>
                        <a:pt x="123" y="485"/>
                      </a:lnTo>
                      <a:lnTo>
                        <a:pt x="124" y="485"/>
                      </a:lnTo>
                      <a:lnTo>
                        <a:pt x="124" y="484"/>
                      </a:lnTo>
                      <a:lnTo>
                        <a:pt x="125" y="483"/>
                      </a:lnTo>
                      <a:lnTo>
                        <a:pt x="125" y="483"/>
                      </a:lnTo>
                      <a:lnTo>
                        <a:pt x="125" y="483"/>
                      </a:lnTo>
                      <a:lnTo>
                        <a:pt x="126" y="483"/>
                      </a:lnTo>
                      <a:lnTo>
                        <a:pt x="126" y="482"/>
                      </a:lnTo>
                      <a:lnTo>
                        <a:pt x="126" y="481"/>
                      </a:lnTo>
                      <a:lnTo>
                        <a:pt x="127" y="481"/>
                      </a:lnTo>
                      <a:lnTo>
                        <a:pt x="127" y="482"/>
                      </a:lnTo>
                      <a:lnTo>
                        <a:pt x="127" y="481"/>
                      </a:lnTo>
                      <a:lnTo>
                        <a:pt x="128" y="481"/>
                      </a:lnTo>
                      <a:lnTo>
                        <a:pt x="128" y="481"/>
                      </a:lnTo>
                      <a:lnTo>
                        <a:pt x="129" y="481"/>
                      </a:lnTo>
                      <a:lnTo>
                        <a:pt x="130" y="481"/>
                      </a:lnTo>
                      <a:lnTo>
                        <a:pt x="130" y="481"/>
                      </a:lnTo>
                      <a:lnTo>
                        <a:pt x="129" y="482"/>
                      </a:lnTo>
                      <a:lnTo>
                        <a:pt x="128" y="482"/>
                      </a:lnTo>
                      <a:lnTo>
                        <a:pt x="128" y="483"/>
                      </a:lnTo>
                      <a:lnTo>
                        <a:pt x="128" y="483"/>
                      </a:lnTo>
                      <a:lnTo>
                        <a:pt x="129" y="483"/>
                      </a:lnTo>
                      <a:lnTo>
                        <a:pt x="129" y="484"/>
                      </a:lnTo>
                      <a:lnTo>
                        <a:pt x="129" y="485"/>
                      </a:lnTo>
                      <a:lnTo>
                        <a:pt x="130" y="485"/>
                      </a:lnTo>
                      <a:lnTo>
                        <a:pt x="130" y="485"/>
                      </a:lnTo>
                      <a:lnTo>
                        <a:pt x="130" y="484"/>
                      </a:lnTo>
                      <a:lnTo>
                        <a:pt x="131" y="484"/>
                      </a:lnTo>
                      <a:lnTo>
                        <a:pt x="131" y="483"/>
                      </a:lnTo>
                      <a:lnTo>
                        <a:pt x="132" y="483"/>
                      </a:lnTo>
                      <a:lnTo>
                        <a:pt x="132" y="484"/>
                      </a:lnTo>
                      <a:lnTo>
                        <a:pt x="132" y="485"/>
                      </a:lnTo>
                      <a:lnTo>
                        <a:pt x="132" y="485"/>
                      </a:lnTo>
                      <a:lnTo>
                        <a:pt x="132" y="485"/>
                      </a:lnTo>
                      <a:lnTo>
                        <a:pt x="133" y="485"/>
                      </a:lnTo>
                      <a:lnTo>
                        <a:pt x="133" y="485"/>
                      </a:lnTo>
                      <a:lnTo>
                        <a:pt x="134" y="485"/>
                      </a:lnTo>
                      <a:lnTo>
                        <a:pt x="134" y="484"/>
                      </a:lnTo>
                      <a:lnTo>
                        <a:pt x="134" y="485"/>
                      </a:lnTo>
                      <a:lnTo>
                        <a:pt x="135" y="485"/>
                      </a:lnTo>
                      <a:lnTo>
                        <a:pt x="135" y="484"/>
                      </a:lnTo>
                      <a:lnTo>
                        <a:pt x="136" y="484"/>
                      </a:lnTo>
                      <a:lnTo>
                        <a:pt x="136" y="484"/>
                      </a:lnTo>
                      <a:lnTo>
                        <a:pt x="136" y="483"/>
                      </a:lnTo>
                      <a:lnTo>
                        <a:pt x="136" y="484"/>
                      </a:lnTo>
                      <a:lnTo>
                        <a:pt x="137" y="484"/>
                      </a:lnTo>
                      <a:lnTo>
                        <a:pt x="138" y="484"/>
                      </a:lnTo>
                      <a:lnTo>
                        <a:pt x="138" y="484"/>
                      </a:lnTo>
                      <a:lnTo>
                        <a:pt x="139" y="484"/>
                      </a:lnTo>
                      <a:lnTo>
                        <a:pt x="140" y="483"/>
                      </a:lnTo>
                      <a:lnTo>
                        <a:pt x="140" y="483"/>
                      </a:lnTo>
                      <a:lnTo>
                        <a:pt x="139" y="483"/>
                      </a:lnTo>
                      <a:lnTo>
                        <a:pt x="139" y="482"/>
                      </a:lnTo>
                      <a:lnTo>
                        <a:pt x="139" y="481"/>
                      </a:lnTo>
                      <a:lnTo>
                        <a:pt x="138" y="481"/>
                      </a:lnTo>
                      <a:lnTo>
                        <a:pt x="139" y="481"/>
                      </a:lnTo>
                      <a:lnTo>
                        <a:pt x="139" y="480"/>
                      </a:lnTo>
                      <a:lnTo>
                        <a:pt x="140" y="480"/>
                      </a:lnTo>
                      <a:lnTo>
                        <a:pt x="140" y="479"/>
                      </a:lnTo>
                      <a:lnTo>
                        <a:pt x="140" y="479"/>
                      </a:lnTo>
                      <a:lnTo>
                        <a:pt x="140" y="479"/>
                      </a:lnTo>
                      <a:lnTo>
                        <a:pt x="140" y="478"/>
                      </a:lnTo>
                      <a:lnTo>
                        <a:pt x="139" y="478"/>
                      </a:lnTo>
                      <a:lnTo>
                        <a:pt x="138" y="478"/>
                      </a:lnTo>
                      <a:lnTo>
                        <a:pt x="138" y="478"/>
                      </a:lnTo>
                      <a:lnTo>
                        <a:pt x="138" y="478"/>
                      </a:lnTo>
                      <a:lnTo>
                        <a:pt x="137" y="478"/>
                      </a:lnTo>
                      <a:lnTo>
                        <a:pt x="137" y="477"/>
                      </a:lnTo>
                      <a:lnTo>
                        <a:pt x="136" y="476"/>
                      </a:lnTo>
                      <a:lnTo>
                        <a:pt x="136" y="476"/>
                      </a:lnTo>
                      <a:lnTo>
                        <a:pt x="137" y="476"/>
                      </a:lnTo>
                      <a:lnTo>
                        <a:pt x="138" y="476"/>
                      </a:lnTo>
                      <a:lnTo>
                        <a:pt x="138" y="476"/>
                      </a:lnTo>
                      <a:lnTo>
                        <a:pt x="138" y="475"/>
                      </a:lnTo>
                      <a:lnTo>
                        <a:pt x="138" y="474"/>
                      </a:lnTo>
                      <a:lnTo>
                        <a:pt x="138" y="474"/>
                      </a:lnTo>
                      <a:lnTo>
                        <a:pt x="139" y="474"/>
                      </a:lnTo>
                      <a:lnTo>
                        <a:pt x="139" y="475"/>
                      </a:lnTo>
                      <a:lnTo>
                        <a:pt x="140" y="475"/>
                      </a:lnTo>
                      <a:lnTo>
                        <a:pt x="140" y="474"/>
                      </a:lnTo>
                      <a:lnTo>
                        <a:pt x="140" y="474"/>
                      </a:lnTo>
                      <a:lnTo>
                        <a:pt x="140" y="473"/>
                      </a:lnTo>
                      <a:lnTo>
                        <a:pt x="141" y="473"/>
                      </a:lnTo>
                      <a:lnTo>
                        <a:pt x="141" y="472"/>
                      </a:lnTo>
                      <a:lnTo>
                        <a:pt x="142" y="472"/>
                      </a:lnTo>
                      <a:lnTo>
                        <a:pt x="142" y="473"/>
                      </a:lnTo>
                      <a:lnTo>
                        <a:pt x="142" y="473"/>
                      </a:lnTo>
                      <a:lnTo>
                        <a:pt x="142" y="472"/>
                      </a:lnTo>
                      <a:lnTo>
                        <a:pt x="143" y="472"/>
                      </a:lnTo>
                      <a:lnTo>
                        <a:pt x="144" y="472"/>
                      </a:lnTo>
                      <a:lnTo>
                        <a:pt x="144" y="473"/>
                      </a:lnTo>
                      <a:lnTo>
                        <a:pt x="144" y="472"/>
                      </a:lnTo>
                      <a:lnTo>
                        <a:pt x="144" y="472"/>
                      </a:lnTo>
                      <a:lnTo>
                        <a:pt x="144" y="471"/>
                      </a:lnTo>
                      <a:lnTo>
                        <a:pt x="144" y="471"/>
                      </a:lnTo>
                      <a:lnTo>
                        <a:pt x="144" y="470"/>
                      </a:lnTo>
                      <a:lnTo>
                        <a:pt x="144" y="470"/>
                      </a:lnTo>
                      <a:lnTo>
                        <a:pt x="144" y="470"/>
                      </a:lnTo>
                      <a:lnTo>
                        <a:pt x="145" y="470"/>
                      </a:lnTo>
                      <a:lnTo>
                        <a:pt x="146" y="470"/>
                      </a:lnTo>
                      <a:lnTo>
                        <a:pt x="146" y="471"/>
                      </a:lnTo>
                      <a:lnTo>
                        <a:pt x="147" y="471"/>
                      </a:lnTo>
                      <a:lnTo>
                        <a:pt x="147" y="470"/>
                      </a:lnTo>
                      <a:lnTo>
                        <a:pt x="148" y="470"/>
                      </a:lnTo>
                      <a:lnTo>
                        <a:pt x="149" y="470"/>
                      </a:lnTo>
                      <a:lnTo>
                        <a:pt x="149" y="471"/>
                      </a:lnTo>
                      <a:lnTo>
                        <a:pt x="149" y="471"/>
                      </a:lnTo>
                      <a:lnTo>
                        <a:pt x="150" y="471"/>
                      </a:lnTo>
                      <a:lnTo>
                        <a:pt x="150" y="470"/>
                      </a:lnTo>
                      <a:lnTo>
                        <a:pt x="150" y="470"/>
                      </a:lnTo>
                      <a:lnTo>
                        <a:pt x="149" y="469"/>
                      </a:lnTo>
                      <a:lnTo>
                        <a:pt x="149" y="468"/>
                      </a:lnTo>
                      <a:lnTo>
                        <a:pt x="148" y="467"/>
                      </a:lnTo>
                      <a:lnTo>
                        <a:pt x="148" y="466"/>
                      </a:lnTo>
                      <a:lnTo>
                        <a:pt x="149" y="466"/>
                      </a:lnTo>
                      <a:lnTo>
                        <a:pt x="149" y="466"/>
                      </a:lnTo>
                      <a:lnTo>
                        <a:pt x="149" y="466"/>
                      </a:lnTo>
                      <a:lnTo>
                        <a:pt x="150" y="465"/>
                      </a:lnTo>
                      <a:lnTo>
                        <a:pt x="150" y="464"/>
                      </a:lnTo>
                      <a:lnTo>
                        <a:pt x="149" y="464"/>
                      </a:lnTo>
                      <a:lnTo>
                        <a:pt x="149" y="464"/>
                      </a:lnTo>
                      <a:lnTo>
                        <a:pt x="149" y="463"/>
                      </a:lnTo>
                      <a:lnTo>
                        <a:pt x="149" y="462"/>
                      </a:lnTo>
                      <a:lnTo>
                        <a:pt x="150" y="462"/>
                      </a:lnTo>
                      <a:lnTo>
                        <a:pt x="151" y="462"/>
                      </a:lnTo>
                      <a:lnTo>
                        <a:pt x="151" y="462"/>
                      </a:lnTo>
                      <a:lnTo>
                        <a:pt x="151" y="462"/>
                      </a:lnTo>
                      <a:lnTo>
                        <a:pt x="151" y="461"/>
                      </a:lnTo>
                      <a:lnTo>
                        <a:pt x="151" y="460"/>
                      </a:lnTo>
                      <a:lnTo>
                        <a:pt x="151" y="460"/>
                      </a:lnTo>
                      <a:lnTo>
                        <a:pt x="151" y="460"/>
                      </a:lnTo>
                      <a:lnTo>
                        <a:pt x="151" y="459"/>
                      </a:lnTo>
                      <a:lnTo>
                        <a:pt x="151" y="458"/>
                      </a:lnTo>
                      <a:lnTo>
                        <a:pt x="151" y="457"/>
                      </a:lnTo>
                      <a:lnTo>
                        <a:pt x="151" y="457"/>
                      </a:lnTo>
                      <a:lnTo>
                        <a:pt x="150" y="457"/>
                      </a:lnTo>
                      <a:lnTo>
                        <a:pt x="149" y="457"/>
                      </a:lnTo>
                      <a:lnTo>
                        <a:pt x="149" y="456"/>
                      </a:lnTo>
                      <a:lnTo>
                        <a:pt x="150" y="456"/>
                      </a:lnTo>
                      <a:lnTo>
                        <a:pt x="150" y="455"/>
                      </a:lnTo>
                      <a:lnTo>
                        <a:pt x="151" y="455"/>
                      </a:lnTo>
                      <a:lnTo>
                        <a:pt x="151" y="455"/>
                      </a:lnTo>
                      <a:lnTo>
                        <a:pt x="151" y="455"/>
                      </a:lnTo>
                      <a:lnTo>
                        <a:pt x="151" y="454"/>
                      </a:lnTo>
                      <a:lnTo>
                        <a:pt x="151" y="454"/>
                      </a:lnTo>
                      <a:lnTo>
                        <a:pt x="151" y="453"/>
                      </a:lnTo>
                      <a:lnTo>
                        <a:pt x="150" y="453"/>
                      </a:lnTo>
                      <a:lnTo>
                        <a:pt x="150" y="453"/>
                      </a:lnTo>
                      <a:lnTo>
                        <a:pt x="149" y="453"/>
                      </a:lnTo>
                      <a:lnTo>
                        <a:pt x="149" y="452"/>
                      </a:lnTo>
                      <a:lnTo>
                        <a:pt x="150" y="452"/>
                      </a:lnTo>
                      <a:lnTo>
                        <a:pt x="151" y="452"/>
                      </a:lnTo>
                      <a:lnTo>
                        <a:pt x="151" y="453"/>
                      </a:lnTo>
                      <a:lnTo>
                        <a:pt x="151" y="453"/>
                      </a:lnTo>
                      <a:lnTo>
                        <a:pt x="151" y="452"/>
                      </a:lnTo>
                      <a:lnTo>
                        <a:pt x="151" y="451"/>
                      </a:lnTo>
                      <a:lnTo>
                        <a:pt x="151" y="451"/>
                      </a:lnTo>
                      <a:lnTo>
                        <a:pt x="152" y="451"/>
                      </a:lnTo>
                      <a:lnTo>
                        <a:pt x="152" y="450"/>
                      </a:lnTo>
                      <a:lnTo>
                        <a:pt x="153" y="449"/>
                      </a:lnTo>
                      <a:lnTo>
                        <a:pt x="153" y="449"/>
                      </a:lnTo>
                      <a:lnTo>
                        <a:pt x="153" y="448"/>
                      </a:lnTo>
                      <a:lnTo>
                        <a:pt x="153" y="448"/>
                      </a:lnTo>
                      <a:lnTo>
                        <a:pt x="154" y="449"/>
                      </a:lnTo>
                      <a:lnTo>
                        <a:pt x="154" y="449"/>
                      </a:lnTo>
                      <a:lnTo>
                        <a:pt x="153" y="449"/>
                      </a:lnTo>
                      <a:lnTo>
                        <a:pt x="153" y="450"/>
                      </a:lnTo>
                      <a:lnTo>
                        <a:pt x="153" y="451"/>
                      </a:lnTo>
                      <a:lnTo>
                        <a:pt x="154" y="451"/>
                      </a:lnTo>
                      <a:lnTo>
                        <a:pt x="155" y="451"/>
                      </a:lnTo>
                      <a:lnTo>
                        <a:pt x="155" y="450"/>
                      </a:lnTo>
                      <a:lnTo>
                        <a:pt x="155" y="449"/>
                      </a:lnTo>
                      <a:lnTo>
                        <a:pt x="154" y="449"/>
                      </a:lnTo>
                      <a:lnTo>
                        <a:pt x="154" y="449"/>
                      </a:lnTo>
                      <a:lnTo>
                        <a:pt x="155" y="449"/>
                      </a:lnTo>
                      <a:lnTo>
                        <a:pt x="155" y="448"/>
                      </a:lnTo>
                      <a:lnTo>
                        <a:pt x="155" y="448"/>
                      </a:lnTo>
                      <a:lnTo>
                        <a:pt x="156" y="448"/>
                      </a:lnTo>
                      <a:lnTo>
                        <a:pt x="156" y="447"/>
                      </a:lnTo>
                      <a:lnTo>
                        <a:pt x="157" y="447"/>
                      </a:lnTo>
                      <a:lnTo>
                        <a:pt x="157" y="447"/>
                      </a:lnTo>
                      <a:lnTo>
                        <a:pt x="158" y="447"/>
                      </a:lnTo>
                      <a:lnTo>
                        <a:pt x="158" y="448"/>
                      </a:lnTo>
                      <a:lnTo>
                        <a:pt x="159" y="448"/>
                      </a:lnTo>
                      <a:lnTo>
                        <a:pt x="159" y="447"/>
                      </a:lnTo>
                      <a:lnTo>
                        <a:pt x="159" y="447"/>
                      </a:lnTo>
                      <a:lnTo>
                        <a:pt x="159" y="446"/>
                      </a:lnTo>
                      <a:lnTo>
                        <a:pt x="159" y="445"/>
                      </a:lnTo>
                      <a:lnTo>
                        <a:pt x="158" y="445"/>
                      </a:lnTo>
                      <a:lnTo>
                        <a:pt x="157" y="446"/>
                      </a:lnTo>
                      <a:lnTo>
                        <a:pt x="157" y="446"/>
                      </a:lnTo>
                      <a:lnTo>
                        <a:pt x="157" y="445"/>
                      </a:lnTo>
                      <a:lnTo>
                        <a:pt x="157" y="445"/>
                      </a:lnTo>
                      <a:lnTo>
                        <a:pt x="158" y="445"/>
                      </a:lnTo>
                      <a:lnTo>
                        <a:pt x="159" y="444"/>
                      </a:lnTo>
                      <a:lnTo>
                        <a:pt x="159" y="444"/>
                      </a:lnTo>
                      <a:lnTo>
                        <a:pt x="160" y="444"/>
                      </a:lnTo>
                      <a:lnTo>
                        <a:pt x="160" y="443"/>
                      </a:lnTo>
                      <a:lnTo>
                        <a:pt x="160" y="443"/>
                      </a:lnTo>
                      <a:lnTo>
                        <a:pt x="159" y="443"/>
                      </a:lnTo>
                      <a:lnTo>
                        <a:pt x="159" y="443"/>
                      </a:lnTo>
                      <a:lnTo>
                        <a:pt x="159" y="442"/>
                      </a:lnTo>
                      <a:lnTo>
                        <a:pt x="159" y="442"/>
                      </a:lnTo>
                      <a:lnTo>
                        <a:pt x="160" y="442"/>
                      </a:lnTo>
                      <a:lnTo>
                        <a:pt x="161" y="442"/>
                      </a:lnTo>
                      <a:lnTo>
                        <a:pt x="161" y="441"/>
                      </a:lnTo>
                      <a:lnTo>
                        <a:pt x="160" y="441"/>
                      </a:lnTo>
                      <a:lnTo>
                        <a:pt x="160" y="441"/>
                      </a:lnTo>
                      <a:lnTo>
                        <a:pt x="159" y="441"/>
                      </a:lnTo>
                      <a:lnTo>
                        <a:pt x="159" y="441"/>
                      </a:lnTo>
                      <a:lnTo>
                        <a:pt x="159" y="440"/>
                      </a:lnTo>
                      <a:lnTo>
                        <a:pt x="159" y="440"/>
                      </a:lnTo>
                      <a:lnTo>
                        <a:pt x="160" y="440"/>
                      </a:lnTo>
                      <a:lnTo>
                        <a:pt x="161" y="440"/>
                      </a:lnTo>
                      <a:lnTo>
                        <a:pt x="161" y="439"/>
                      </a:lnTo>
                      <a:lnTo>
                        <a:pt x="160" y="439"/>
                      </a:lnTo>
                      <a:lnTo>
                        <a:pt x="160" y="438"/>
                      </a:lnTo>
                      <a:lnTo>
                        <a:pt x="159" y="438"/>
                      </a:lnTo>
                      <a:lnTo>
                        <a:pt x="159" y="439"/>
                      </a:lnTo>
                      <a:lnTo>
                        <a:pt x="159" y="439"/>
                      </a:lnTo>
                      <a:lnTo>
                        <a:pt x="159" y="440"/>
                      </a:lnTo>
                      <a:lnTo>
                        <a:pt x="158" y="440"/>
                      </a:lnTo>
                      <a:lnTo>
                        <a:pt x="158" y="439"/>
                      </a:lnTo>
                      <a:lnTo>
                        <a:pt x="158" y="438"/>
                      </a:lnTo>
                      <a:lnTo>
                        <a:pt x="159" y="438"/>
                      </a:lnTo>
                      <a:lnTo>
                        <a:pt x="159" y="438"/>
                      </a:lnTo>
                      <a:lnTo>
                        <a:pt x="160" y="438"/>
                      </a:lnTo>
                      <a:lnTo>
                        <a:pt x="160" y="437"/>
                      </a:lnTo>
                      <a:lnTo>
                        <a:pt x="161" y="436"/>
                      </a:lnTo>
                      <a:lnTo>
                        <a:pt x="161" y="436"/>
                      </a:lnTo>
                      <a:lnTo>
                        <a:pt x="161" y="436"/>
                      </a:lnTo>
                      <a:lnTo>
                        <a:pt x="161" y="435"/>
                      </a:lnTo>
                      <a:lnTo>
                        <a:pt x="161" y="435"/>
                      </a:lnTo>
                      <a:lnTo>
                        <a:pt x="160" y="435"/>
                      </a:lnTo>
                      <a:lnTo>
                        <a:pt x="160" y="434"/>
                      </a:lnTo>
                      <a:lnTo>
                        <a:pt x="161" y="434"/>
                      </a:lnTo>
                      <a:lnTo>
                        <a:pt x="161" y="434"/>
                      </a:lnTo>
                      <a:lnTo>
                        <a:pt x="161" y="435"/>
                      </a:lnTo>
                      <a:lnTo>
                        <a:pt x="162" y="435"/>
                      </a:lnTo>
                      <a:lnTo>
                        <a:pt x="162" y="434"/>
                      </a:lnTo>
                      <a:lnTo>
                        <a:pt x="162" y="434"/>
                      </a:lnTo>
                      <a:lnTo>
                        <a:pt x="162" y="433"/>
                      </a:lnTo>
                      <a:lnTo>
                        <a:pt x="161" y="433"/>
                      </a:lnTo>
                      <a:lnTo>
                        <a:pt x="162" y="433"/>
                      </a:lnTo>
                      <a:lnTo>
                        <a:pt x="162" y="432"/>
                      </a:lnTo>
                      <a:lnTo>
                        <a:pt x="163" y="432"/>
                      </a:lnTo>
                      <a:lnTo>
                        <a:pt x="163" y="433"/>
                      </a:lnTo>
                      <a:lnTo>
                        <a:pt x="163" y="433"/>
                      </a:lnTo>
                      <a:lnTo>
                        <a:pt x="163" y="432"/>
                      </a:lnTo>
                      <a:lnTo>
                        <a:pt x="163" y="432"/>
                      </a:lnTo>
                      <a:lnTo>
                        <a:pt x="163" y="431"/>
                      </a:lnTo>
                      <a:lnTo>
                        <a:pt x="163" y="430"/>
                      </a:lnTo>
                      <a:lnTo>
                        <a:pt x="163" y="430"/>
                      </a:lnTo>
                      <a:lnTo>
                        <a:pt x="162" y="430"/>
                      </a:lnTo>
                      <a:lnTo>
                        <a:pt x="162" y="429"/>
                      </a:lnTo>
                      <a:lnTo>
                        <a:pt x="161" y="429"/>
                      </a:lnTo>
                      <a:lnTo>
                        <a:pt x="161" y="428"/>
                      </a:lnTo>
                      <a:lnTo>
                        <a:pt x="161" y="428"/>
                      </a:lnTo>
                      <a:lnTo>
                        <a:pt x="161" y="427"/>
                      </a:lnTo>
                      <a:lnTo>
                        <a:pt x="161" y="426"/>
                      </a:lnTo>
                      <a:lnTo>
                        <a:pt x="162" y="426"/>
                      </a:lnTo>
                      <a:lnTo>
                        <a:pt x="162" y="427"/>
                      </a:lnTo>
                      <a:lnTo>
                        <a:pt x="161" y="427"/>
                      </a:lnTo>
                      <a:lnTo>
                        <a:pt x="161" y="428"/>
                      </a:lnTo>
                      <a:lnTo>
                        <a:pt x="162" y="428"/>
                      </a:lnTo>
                      <a:lnTo>
                        <a:pt x="162" y="428"/>
                      </a:lnTo>
                      <a:lnTo>
                        <a:pt x="163" y="429"/>
                      </a:lnTo>
                      <a:lnTo>
                        <a:pt x="163" y="428"/>
                      </a:lnTo>
                      <a:lnTo>
                        <a:pt x="163" y="428"/>
                      </a:lnTo>
                      <a:lnTo>
                        <a:pt x="163" y="428"/>
                      </a:lnTo>
                      <a:lnTo>
                        <a:pt x="163" y="427"/>
                      </a:lnTo>
                      <a:lnTo>
                        <a:pt x="163" y="427"/>
                      </a:lnTo>
                      <a:lnTo>
                        <a:pt x="162" y="426"/>
                      </a:lnTo>
                      <a:lnTo>
                        <a:pt x="162" y="426"/>
                      </a:lnTo>
                      <a:lnTo>
                        <a:pt x="162" y="425"/>
                      </a:lnTo>
                      <a:lnTo>
                        <a:pt x="163" y="425"/>
                      </a:lnTo>
                      <a:lnTo>
                        <a:pt x="163" y="425"/>
                      </a:lnTo>
                      <a:lnTo>
                        <a:pt x="163" y="424"/>
                      </a:lnTo>
                      <a:lnTo>
                        <a:pt x="164" y="424"/>
                      </a:lnTo>
                      <a:lnTo>
                        <a:pt x="165" y="424"/>
                      </a:lnTo>
                      <a:lnTo>
                        <a:pt x="164" y="424"/>
                      </a:lnTo>
                      <a:lnTo>
                        <a:pt x="164" y="423"/>
                      </a:lnTo>
                      <a:lnTo>
                        <a:pt x="165" y="423"/>
                      </a:lnTo>
                      <a:lnTo>
                        <a:pt x="165" y="422"/>
                      </a:lnTo>
                      <a:lnTo>
                        <a:pt x="164" y="422"/>
                      </a:lnTo>
                      <a:lnTo>
                        <a:pt x="163" y="422"/>
                      </a:lnTo>
                      <a:lnTo>
                        <a:pt x="163" y="422"/>
                      </a:lnTo>
                      <a:lnTo>
                        <a:pt x="163" y="422"/>
                      </a:lnTo>
                      <a:lnTo>
                        <a:pt x="163" y="421"/>
                      </a:lnTo>
                      <a:lnTo>
                        <a:pt x="163" y="420"/>
                      </a:lnTo>
                      <a:lnTo>
                        <a:pt x="163" y="420"/>
                      </a:lnTo>
                      <a:lnTo>
                        <a:pt x="163" y="420"/>
                      </a:lnTo>
                      <a:lnTo>
                        <a:pt x="163" y="419"/>
                      </a:lnTo>
                      <a:lnTo>
                        <a:pt x="163" y="419"/>
                      </a:lnTo>
                      <a:lnTo>
                        <a:pt x="164" y="419"/>
                      </a:lnTo>
                      <a:lnTo>
                        <a:pt x="164" y="418"/>
                      </a:lnTo>
                      <a:lnTo>
                        <a:pt x="164" y="417"/>
                      </a:lnTo>
                      <a:lnTo>
                        <a:pt x="165" y="417"/>
                      </a:lnTo>
                      <a:lnTo>
                        <a:pt x="165" y="418"/>
                      </a:lnTo>
                      <a:lnTo>
                        <a:pt x="166" y="418"/>
                      </a:lnTo>
                      <a:lnTo>
                        <a:pt x="166" y="417"/>
                      </a:lnTo>
                      <a:lnTo>
                        <a:pt x="166" y="417"/>
                      </a:lnTo>
                      <a:lnTo>
                        <a:pt x="166" y="416"/>
                      </a:lnTo>
                      <a:lnTo>
                        <a:pt x="166" y="416"/>
                      </a:lnTo>
                      <a:lnTo>
                        <a:pt x="166" y="417"/>
                      </a:lnTo>
                      <a:lnTo>
                        <a:pt x="165" y="417"/>
                      </a:lnTo>
                      <a:lnTo>
                        <a:pt x="164" y="417"/>
                      </a:lnTo>
                      <a:lnTo>
                        <a:pt x="163" y="417"/>
                      </a:lnTo>
                      <a:lnTo>
                        <a:pt x="163" y="416"/>
                      </a:lnTo>
                      <a:lnTo>
                        <a:pt x="163" y="415"/>
                      </a:lnTo>
                      <a:lnTo>
                        <a:pt x="164" y="415"/>
                      </a:lnTo>
                      <a:lnTo>
                        <a:pt x="165" y="415"/>
                      </a:lnTo>
                      <a:lnTo>
                        <a:pt x="165" y="416"/>
                      </a:lnTo>
                      <a:lnTo>
                        <a:pt x="166" y="416"/>
                      </a:lnTo>
                      <a:lnTo>
                        <a:pt x="166" y="415"/>
                      </a:lnTo>
                      <a:lnTo>
                        <a:pt x="166" y="415"/>
                      </a:lnTo>
                      <a:lnTo>
                        <a:pt x="166" y="415"/>
                      </a:lnTo>
                      <a:lnTo>
                        <a:pt x="166" y="414"/>
                      </a:lnTo>
                      <a:lnTo>
                        <a:pt x="166" y="413"/>
                      </a:lnTo>
                      <a:lnTo>
                        <a:pt x="166" y="413"/>
                      </a:lnTo>
                      <a:lnTo>
                        <a:pt x="166" y="413"/>
                      </a:lnTo>
                      <a:lnTo>
                        <a:pt x="166" y="412"/>
                      </a:lnTo>
                      <a:lnTo>
                        <a:pt x="166" y="411"/>
                      </a:lnTo>
                      <a:lnTo>
                        <a:pt x="165" y="411"/>
                      </a:lnTo>
                      <a:lnTo>
                        <a:pt x="165" y="412"/>
                      </a:lnTo>
                      <a:lnTo>
                        <a:pt x="165" y="413"/>
                      </a:lnTo>
                      <a:lnTo>
                        <a:pt x="164" y="413"/>
                      </a:lnTo>
                      <a:lnTo>
                        <a:pt x="164" y="412"/>
                      </a:lnTo>
                      <a:lnTo>
                        <a:pt x="164" y="411"/>
                      </a:lnTo>
                      <a:lnTo>
                        <a:pt x="164" y="411"/>
                      </a:lnTo>
                      <a:lnTo>
                        <a:pt x="165" y="411"/>
                      </a:lnTo>
                      <a:lnTo>
                        <a:pt x="166" y="411"/>
                      </a:lnTo>
                      <a:lnTo>
                        <a:pt x="166" y="411"/>
                      </a:lnTo>
                      <a:lnTo>
                        <a:pt x="167" y="411"/>
                      </a:lnTo>
                      <a:lnTo>
                        <a:pt x="167" y="411"/>
                      </a:lnTo>
                      <a:lnTo>
                        <a:pt x="166" y="411"/>
                      </a:lnTo>
                      <a:lnTo>
                        <a:pt x="166" y="410"/>
                      </a:lnTo>
                      <a:lnTo>
                        <a:pt x="166" y="409"/>
                      </a:lnTo>
                      <a:lnTo>
                        <a:pt x="166" y="409"/>
                      </a:lnTo>
                      <a:lnTo>
                        <a:pt x="166" y="409"/>
                      </a:lnTo>
                      <a:lnTo>
                        <a:pt x="165" y="409"/>
                      </a:lnTo>
                      <a:lnTo>
                        <a:pt x="165" y="408"/>
                      </a:lnTo>
                      <a:lnTo>
                        <a:pt x="166" y="408"/>
                      </a:lnTo>
                      <a:lnTo>
                        <a:pt x="166" y="408"/>
                      </a:lnTo>
                      <a:lnTo>
                        <a:pt x="167" y="408"/>
                      </a:lnTo>
                      <a:lnTo>
                        <a:pt x="167" y="409"/>
                      </a:lnTo>
                      <a:lnTo>
                        <a:pt x="168" y="409"/>
                      </a:lnTo>
                      <a:lnTo>
                        <a:pt x="168" y="408"/>
                      </a:lnTo>
                      <a:lnTo>
                        <a:pt x="168" y="407"/>
                      </a:lnTo>
                      <a:lnTo>
                        <a:pt x="167" y="407"/>
                      </a:lnTo>
                      <a:lnTo>
                        <a:pt x="167" y="406"/>
                      </a:lnTo>
                      <a:lnTo>
                        <a:pt x="168" y="406"/>
                      </a:lnTo>
                      <a:lnTo>
                        <a:pt x="168" y="406"/>
                      </a:lnTo>
                      <a:lnTo>
                        <a:pt x="168" y="407"/>
                      </a:lnTo>
                      <a:lnTo>
                        <a:pt x="169" y="406"/>
                      </a:lnTo>
                      <a:lnTo>
                        <a:pt x="169" y="405"/>
                      </a:lnTo>
                      <a:lnTo>
                        <a:pt x="169" y="405"/>
                      </a:lnTo>
                      <a:lnTo>
                        <a:pt x="170" y="405"/>
                      </a:lnTo>
                      <a:lnTo>
                        <a:pt x="170" y="405"/>
                      </a:lnTo>
                      <a:lnTo>
                        <a:pt x="170" y="404"/>
                      </a:lnTo>
                      <a:lnTo>
                        <a:pt x="169" y="404"/>
                      </a:lnTo>
                      <a:lnTo>
                        <a:pt x="168" y="405"/>
                      </a:lnTo>
                      <a:lnTo>
                        <a:pt x="168" y="404"/>
                      </a:lnTo>
                      <a:lnTo>
                        <a:pt x="168" y="403"/>
                      </a:lnTo>
                      <a:lnTo>
                        <a:pt x="169" y="403"/>
                      </a:lnTo>
                      <a:lnTo>
                        <a:pt x="170" y="403"/>
                      </a:lnTo>
                      <a:lnTo>
                        <a:pt x="170" y="404"/>
                      </a:lnTo>
                      <a:lnTo>
                        <a:pt x="170" y="404"/>
                      </a:lnTo>
                      <a:lnTo>
                        <a:pt x="170" y="403"/>
                      </a:lnTo>
                      <a:lnTo>
                        <a:pt x="170" y="403"/>
                      </a:lnTo>
                      <a:lnTo>
                        <a:pt x="170" y="403"/>
                      </a:lnTo>
                      <a:lnTo>
                        <a:pt x="169" y="403"/>
                      </a:lnTo>
                      <a:lnTo>
                        <a:pt x="168" y="403"/>
                      </a:lnTo>
                      <a:lnTo>
                        <a:pt x="168" y="402"/>
                      </a:lnTo>
                      <a:lnTo>
                        <a:pt x="168" y="401"/>
                      </a:lnTo>
                      <a:lnTo>
                        <a:pt x="168" y="401"/>
                      </a:lnTo>
                      <a:lnTo>
                        <a:pt x="167" y="401"/>
                      </a:lnTo>
                      <a:lnTo>
                        <a:pt x="167" y="401"/>
                      </a:lnTo>
                      <a:lnTo>
                        <a:pt x="168" y="401"/>
                      </a:lnTo>
                      <a:lnTo>
                        <a:pt x="168" y="400"/>
                      </a:lnTo>
                      <a:lnTo>
                        <a:pt x="168" y="400"/>
                      </a:lnTo>
                      <a:lnTo>
                        <a:pt x="168" y="399"/>
                      </a:lnTo>
                      <a:lnTo>
                        <a:pt x="169" y="399"/>
                      </a:lnTo>
                      <a:lnTo>
                        <a:pt x="169" y="398"/>
                      </a:lnTo>
                      <a:lnTo>
                        <a:pt x="170" y="398"/>
                      </a:lnTo>
                      <a:lnTo>
                        <a:pt x="170" y="398"/>
                      </a:lnTo>
                      <a:lnTo>
                        <a:pt x="170" y="398"/>
                      </a:lnTo>
                      <a:lnTo>
                        <a:pt x="170" y="398"/>
                      </a:lnTo>
                      <a:lnTo>
                        <a:pt x="169" y="398"/>
                      </a:lnTo>
                      <a:lnTo>
                        <a:pt x="169" y="397"/>
                      </a:lnTo>
                      <a:lnTo>
                        <a:pt x="168" y="397"/>
                      </a:lnTo>
                      <a:lnTo>
                        <a:pt x="168" y="398"/>
                      </a:lnTo>
                      <a:lnTo>
                        <a:pt x="168" y="398"/>
                      </a:lnTo>
                      <a:lnTo>
                        <a:pt x="168" y="398"/>
                      </a:lnTo>
                      <a:lnTo>
                        <a:pt x="168" y="398"/>
                      </a:lnTo>
                      <a:lnTo>
                        <a:pt x="167" y="398"/>
                      </a:lnTo>
                      <a:lnTo>
                        <a:pt x="167" y="397"/>
                      </a:lnTo>
                      <a:lnTo>
                        <a:pt x="168" y="396"/>
                      </a:lnTo>
                      <a:lnTo>
                        <a:pt x="168" y="396"/>
                      </a:lnTo>
                      <a:lnTo>
                        <a:pt x="169" y="396"/>
                      </a:lnTo>
                      <a:lnTo>
                        <a:pt x="169" y="396"/>
                      </a:lnTo>
                      <a:lnTo>
                        <a:pt x="169" y="395"/>
                      </a:lnTo>
                      <a:lnTo>
                        <a:pt x="169" y="394"/>
                      </a:lnTo>
                      <a:lnTo>
                        <a:pt x="170" y="394"/>
                      </a:lnTo>
                      <a:lnTo>
                        <a:pt x="170" y="394"/>
                      </a:lnTo>
                      <a:lnTo>
                        <a:pt x="170" y="394"/>
                      </a:lnTo>
                      <a:lnTo>
                        <a:pt x="171" y="394"/>
                      </a:lnTo>
                      <a:lnTo>
                        <a:pt x="171" y="395"/>
                      </a:lnTo>
                      <a:lnTo>
                        <a:pt x="172" y="394"/>
                      </a:lnTo>
                      <a:lnTo>
                        <a:pt x="172" y="394"/>
                      </a:lnTo>
                      <a:lnTo>
                        <a:pt x="172" y="393"/>
                      </a:lnTo>
                      <a:lnTo>
                        <a:pt x="172" y="392"/>
                      </a:lnTo>
                      <a:lnTo>
                        <a:pt x="172" y="392"/>
                      </a:lnTo>
                      <a:lnTo>
                        <a:pt x="172" y="392"/>
                      </a:lnTo>
                      <a:lnTo>
                        <a:pt x="172" y="392"/>
                      </a:lnTo>
                      <a:lnTo>
                        <a:pt x="172" y="391"/>
                      </a:lnTo>
                      <a:lnTo>
                        <a:pt x="172" y="390"/>
                      </a:lnTo>
                      <a:lnTo>
                        <a:pt x="172" y="390"/>
                      </a:lnTo>
                      <a:lnTo>
                        <a:pt x="171" y="390"/>
                      </a:lnTo>
                      <a:lnTo>
                        <a:pt x="170" y="390"/>
                      </a:lnTo>
                      <a:lnTo>
                        <a:pt x="170" y="390"/>
                      </a:lnTo>
                      <a:lnTo>
                        <a:pt x="170" y="389"/>
                      </a:lnTo>
                      <a:lnTo>
                        <a:pt x="170" y="388"/>
                      </a:lnTo>
                      <a:lnTo>
                        <a:pt x="170" y="388"/>
                      </a:lnTo>
                      <a:lnTo>
                        <a:pt x="170" y="388"/>
                      </a:lnTo>
                      <a:lnTo>
                        <a:pt x="171" y="388"/>
                      </a:lnTo>
                      <a:lnTo>
                        <a:pt x="172" y="389"/>
                      </a:lnTo>
                      <a:lnTo>
                        <a:pt x="172" y="389"/>
                      </a:lnTo>
                      <a:lnTo>
                        <a:pt x="172" y="388"/>
                      </a:lnTo>
                      <a:lnTo>
                        <a:pt x="173" y="388"/>
                      </a:lnTo>
                      <a:lnTo>
                        <a:pt x="173" y="388"/>
                      </a:lnTo>
                      <a:lnTo>
                        <a:pt x="173" y="387"/>
                      </a:lnTo>
                      <a:lnTo>
                        <a:pt x="172" y="387"/>
                      </a:lnTo>
                      <a:lnTo>
                        <a:pt x="172" y="387"/>
                      </a:lnTo>
                      <a:lnTo>
                        <a:pt x="172" y="386"/>
                      </a:lnTo>
                      <a:lnTo>
                        <a:pt x="172" y="386"/>
                      </a:lnTo>
                      <a:lnTo>
                        <a:pt x="172" y="385"/>
                      </a:lnTo>
                      <a:lnTo>
                        <a:pt x="172" y="385"/>
                      </a:lnTo>
                      <a:lnTo>
                        <a:pt x="173" y="385"/>
                      </a:lnTo>
                      <a:lnTo>
                        <a:pt x="174" y="385"/>
                      </a:lnTo>
                      <a:lnTo>
                        <a:pt x="174" y="384"/>
                      </a:lnTo>
                      <a:lnTo>
                        <a:pt x="173" y="384"/>
                      </a:lnTo>
                      <a:lnTo>
                        <a:pt x="172" y="384"/>
                      </a:lnTo>
                      <a:lnTo>
                        <a:pt x="172" y="384"/>
                      </a:lnTo>
                      <a:lnTo>
                        <a:pt x="172" y="384"/>
                      </a:lnTo>
                      <a:lnTo>
                        <a:pt x="172" y="383"/>
                      </a:lnTo>
                      <a:lnTo>
                        <a:pt x="172" y="382"/>
                      </a:lnTo>
                      <a:lnTo>
                        <a:pt x="171" y="382"/>
                      </a:lnTo>
                      <a:lnTo>
                        <a:pt x="171" y="382"/>
                      </a:lnTo>
                      <a:lnTo>
                        <a:pt x="172" y="381"/>
                      </a:lnTo>
                      <a:lnTo>
                        <a:pt x="172" y="381"/>
                      </a:lnTo>
                      <a:lnTo>
                        <a:pt x="172" y="382"/>
                      </a:lnTo>
                      <a:lnTo>
                        <a:pt x="173" y="382"/>
                      </a:lnTo>
                      <a:lnTo>
                        <a:pt x="174" y="382"/>
                      </a:lnTo>
                      <a:lnTo>
                        <a:pt x="174" y="382"/>
                      </a:lnTo>
                      <a:lnTo>
                        <a:pt x="174" y="382"/>
                      </a:lnTo>
                      <a:lnTo>
                        <a:pt x="174" y="381"/>
                      </a:lnTo>
                      <a:lnTo>
                        <a:pt x="174" y="381"/>
                      </a:lnTo>
                      <a:lnTo>
                        <a:pt x="173" y="381"/>
                      </a:lnTo>
                      <a:lnTo>
                        <a:pt x="172" y="381"/>
                      </a:lnTo>
                      <a:lnTo>
                        <a:pt x="172" y="381"/>
                      </a:lnTo>
                      <a:lnTo>
                        <a:pt x="172" y="380"/>
                      </a:lnTo>
                      <a:lnTo>
                        <a:pt x="172" y="379"/>
                      </a:lnTo>
                      <a:lnTo>
                        <a:pt x="172" y="379"/>
                      </a:lnTo>
                      <a:lnTo>
                        <a:pt x="173" y="379"/>
                      </a:lnTo>
                      <a:lnTo>
                        <a:pt x="174" y="379"/>
                      </a:lnTo>
                      <a:lnTo>
                        <a:pt x="174" y="378"/>
                      </a:lnTo>
                      <a:lnTo>
                        <a:pt x="173" y="378"/>
                      </a:lnTo>
                      <a:lnTo>
                        <a:pt x="172" y="379"/>
                      </a:lnTo>
                      <a:lnTo>
                        <a:pt x="172" y="379"/>
                      </a:lnTo>
                      <a:lnTo>
                        <a:pt x="172" y="378"/>
                      </a:lnTo>
                      <a:lnTo>
                        <a:pt x="172" y="377"/>
                      </a:lnTo>
                      <a:lnTo>
                        <a:pt x="172" y="377"/>
                      </a:lnTo>
                      <a:lnTo>
                        <a:pt x="172" y="377"/>
                      </a:lnTo>
                      <a:lnTo>
                        <a:pt x="172" y="376"/>
                      </a:lnTo>
                      <a:lnTo>
                        <a:pt x="173" y="376"/>
                      </a:lnTo>
                      <a:lnTo>
                        <a:pt x="173" y="375"/>
                      </a:lnTo>
                      <a:lnTo>
                        <a:pt x="174" y="375"/>
                      </a:lnTo>
                      <a:lnTo>
                        <a:pt x="174" y="375"/>
                      </a:lnTo>
                      <a:lnTo>
                        <a:pt x="175" y="375"/>
                      </a:lnTo>
                      <a:lnTo>
                        <a:pt x="176" y="375"/>
                      </a:lnTo>
                      <a:lnTo>
                        <a:pt x="176" y="375"/>
                      </a:lnTo>
                      <a:lnTo>
                        <a:pt x="175" y="374"/>
                      </a:lnTo>
                      <a:lnTo>
                        <a:pt x="174" y="374"/>
                      </a:lnTo>
                      <a:lnTo>
                        <a:pt x="174" y="373"/>
                      </a:lnTo>
                      <a:lnTo>
                        <a:pt x="174" y="373"/>
                      </a:lnTo>
                      <a:lnTo>
                        <a:pt x="174" y="372"/>
                      </a:lnTo>
                      <a:lnTo>
                        <a:pt x="174" y="372"/>
                      </a:lnTo>
                      <a:lnTo>
                        <a:pt x="173" y="372"/>
                      </a:lnTo>
                      <a:lnTo>
                        <a:pt x="172" y="372"/>
                      </a:lnTo>
                      <a:lnTo>
                        <a:pt x="172" y="372"/>
                      </a:lnTo>
                      <a:lnTo>
                        <a:pt x="172" y="371"/>
                      </a:lnTo>
                      <a:lnTo>
                        <a:pt x="172" y="371"/>
                      </a:lnTo>
                      <a:lnTo>
                        <a:pt x="173" y="371"/>
                      </a:lnTo>
                      <a:lnTo>
                        <a:pt x="173" y="370"/>
                      </a:lnTo>
                      <a:lnTo>
                        <a:pt x="173" y="369"/>
                      </a:lnTo>
                      <a:lnTo>
                        <a:pt x="173" y="369"/>
                      </a:lnTo>
                      <a:lnTo>
                        <a:pt x="173" y="368"/>
                      </a:lnTo>
                      <a:lnTo>
                        <a:pt x="172" y="368"/>
                      </a:lnTo>
                      <a:lnTo>
                        <a:pt x="172" y="369"/>
                      </a:lnTo>
                      <a:lnTo>
                        <a:pt x="172" y="369"/>
                      </a:lnTo>
                      <a:lnTo>
                        <a:pt x="172" y="369"/>
                      </a:lnTo>
                      <a:lnTo>
                        <a:pt x="171" y="370"/>
                      </a:lnTo>
                      <a:lnTo>
                        <a:pt x="171" y="369"/>
                      </a:lnTo>
                      <a:lnTo>
                        <a:pt x="171" y="369"/>
                      </a:lnTo>
                      <a:lnTo>
                        <a:pt x="171" y="368"/>
                      </a:lnTo>
                      <a:lnTo>
                        <a:pt x="171" y="367"/>
                      </a:lnTo>
                      <a:lnTo>
                        <a:pt x="171" y="367"/>
                      </a:lnTo>
                      <a:lnTo>
                        <a:pt x="171" y="366"/>
                      </a:lnTo>
                      <a:lnTo>
                        <a:pt x="172" y="366"/>
                      </a:lnTo>
                      <a:lnTo>
                        <a:pt x="172" y="366"/>
                      </a:lnTo>
                      <a:lnTo>
                        <a:pt x="172" y="367"/>
                      </a:lnTo>
                      <a:lnTo>
                        <a:pt x="172" y="367"/>
                      </a:lnTo>
                      <a:lnTo>
                        <a:pt x="173" y="367"/>
                      </a:lnTo>
                      <a:lnTo>
                        <a:pt x="174" y="367"/>
                      </a:lnTo>
                      <a:lnTo>
                        <a:pt x="174" y="367"/>
                      </a:lnTo>
                      <a:lnTo>
                        <a:pt x="174" y="366"/>
                      </a:lnTo>
                      <a:lnTo>
                        <a:pt x="174" y="365"/>
                      </a:lnTo>
                      <a:lnTo>
                        <a:pt x="173" y="365"/>
                      </a:lnTo>
                      <a:lnTo>
                        <a:pt x="173" y="365"/>
                      </a:lnTo>
                      <a:lnTo>
                        <a:pt x="172" y="364"/>
                      </a:lnTo>
                      <a:lnTo>
                        <a:pt x="172" y="363"/>
                      </a:lnTo>
                      <a:lnTo>
                        <a:pt x="172" y="363"/>
                      </a:lnTo>
                      <a:lnTo>
                        <a:pt x="172" y="363"/>
                      </a:lnTo>
                      <a:lnTo>
                        <a:pt x="171" y="362"/>
                      </a:lnTo>
                      <a:lnTo>
                        <a:pt x="171" y="361"/>
                      </a:lnTo>
                      <a:lnTo>
                        <a:pt x="171" y="361"/>
                      </a:lnTo>
                      <a:lnTo>
                        <a:pt x="170" y="360"/>
                      </a:lnTo>
                      <a:lnTo>
                        <a:pt x="170" y="361"/>
                      </a:lnTo>
                      <a:lnTo>
                        <a:pt x="170" y="361"/>
                      </a:lnTo>
                      <a:lnTo>
                        <a:pt x="169" y="360"/>
                      </a:lnTo>
                      <a:lnTo>
                        <a:pt x="169" y="359"/>
                      </a:lnTo>
                      <a:lnTo>
                        <a:pt x="169" y="358"/>
                      </a:lnTo>
                      <a:lnTo>
                        <a:pt x="168" y="358"/>
                      </a:lnTo>
                      <a:lnTo>
                        <a:pt x="168" y="358"/>
                      </a:lnTo>
                      <a:lnTo>
                        <a:pt x="168" y="357"/>
                      </a:lnTo>
                      <a:lnTo>
                        <a:pt x="169" y="357"/>
                      </a:lnTo>
                      <a:lnTo>
                        <a:pt x="170" y="358"/>
                      </a:lnTo>
                      <a:lnTo>
                        <a:pt x="170" y="358"/>
                      </a:lnTo>
                      <a:lnTo>
                        <a:pt x="171" y="359"/>
                      </a:lnTo>
                      <a:lnTo>
                        <a:pt x="171" y="358"/>
                      </a:lnTo>
                      <a:lnTo>
                        <a:pt x="172" y="358"/>
                      </a:lnTo>
                      <a:lnTo>
                        <a:pt x="171" y="358"/>
                      </a:lnTo>
                      <a:lnTo>
                        <a:pt x="170" y="357"/>
                      </a:lnTo>
                      <a:lnTo>
                        <a:pt x="170" y="356"/>
                      </a:lnTo>
                      <a:lnTo>
                        <a:pt x="170" y="356"/>
                      </a:lnTo>
                      <a:lnTo>
                        <a:pt x="171" y="356"/>
                      </a:lnTo>
                      <a:lnTo>
                        <a:pt x="172" y="355"/>
                      </a:lnTo>
                      <a:lnTo>
                        <a:pt x="172" y="355"/>
                      </a:lnTo>
                      <a:lnTo>
                        <a:pt x="172" y="355"/>
                      </a:lnTo>
                      <a:lnTo>
                        <a:pt x="172" y="354"/>
                      </a:lnTo>
                      <a:lnTo>
                        <a:pt x="171" y="355"/>
                      </a:lnTo>
                      <a:lnTo>
                        <a:pt x="170" y="355"/>
                      </a:lnTo>
                      <a:lnTo>
                        <a:pt x="170" y="355"/>
                      </a:lnTo>
                      <a:lnTo>
                        <a:pt x="169" y="355"/>
                      </a:lnTo>
                      <a:lnTo>
                        <a:pt x="169" y="354"/>
                      </a:lnTo>
                      <a:lnTo>
                        <a:pt x="168" y="354"/>
                      </a:lnTo>
                      <a:lnTo>
                        <a:pt x="168" y="354"/>
                      </a:lnTo>
                      <a:lnTo>
                        <a:pt x="169" y="354"/>
                      </a:lnTo>
                      <a:lnTo>
                        <a:pt x="170" y="354"/>
                      </a:lnTo>
                      <a:lnTo>
                        <a:pt x="170" y="353"/>
                      </a:lnTo>
                      <a:lnTo>
                        <a:pt x="170" y="352"/>
                      </a:lnTo>
                      <a:lnTo>
                        <a:pt x="169" y="352"/>
                      </a:lnTo>
                      <a:lnTo>
                        <a:pt x="169" y="352"/>
                      </a:lnTo>
                      <a:lnTo>
                        <a:pt x="170" y="351"/>
                      </a:lnTo>
                      <a:lnTo>
                        <a:pt x="170" y="350"/>
                      </a:lnTo>
                      <a:lnTo>
                        <a:pt x="171" y="350"/>
                      </a:lnTo>
                      <a:lnTo>
                        <a:pt x="171" y="350"/>
                      </a:lnTo>
                      <a:lnTo>
                        <a:pt x="172" y="350"/>
                      </a:lnTo>
                      <a:lnTo>
                        <a:pt x="172" y="349"/>
                      </a:lnTo>
                      <a:lnTo>
                        <a:pt x="171" y="349"/>
                      </a:lnTo>
                      <a:lnTo>
                        <a:pt x="171" y="350"/>
                      </a:lnTo>
                      <a:lnTo>
                        <a:pt x="170" y="350"/>
                      </a:lnTo>
                      <a:lnTo>
                        <a:pt x="170" y="349"/>
                      </a:lnTo>
                      <a:lnTo>
                        <a:pt x="170" y="349"/>
                      </a:lnTo>
                      <a:lnTo>
                        <a:pt x="170" y="348"/>
                      </a:lnTo>
                      <a:lnTo>
                        <a:pt x="169" y="348"/>
                      </a:lnTo>
                      <a:lnTo>
                        <a:pt x="169" y="349"/>
                      </a:lnTo>
                      <a:lnTo>
                        <a:pt x="168" y="349"/>
                      </a:lnTo>
                      <a:lnTo>
                        <a:pt x="168" y="348"/>
                      </a:lnTo>
                      <a:lnTo>
                        <a:pt x="169" y="348"/>
                      </a:lnTo>
                      <a:lnTo>
                        <a:pt x="169" y="347"/>
                      </a:lnTo>
                      <a:lnTo>
                        <a:pt x="170" y="346"/>
                      </a:lnTo>
                      <a:lnTo>
                        <a:pt x="169" y="346"/>
                      </a:lnTo>
                      <a:lnTo>
                        <a:pt x="169" y="345"/>
                      </a:lnTo>
                      <a:lnTo>
                        <a:pt x="168" y="345"/>
                      </a:lnTo>
                      <a:lnTo>
                        <a:pt x="168" y="346"/>
                      </a:lnTo>
                      <a:lnTo>
                        <a:pt x="168" y="346"/>
                      </a:lnTo>
                      <a:lnTo>
                        <a:pt x="168" y="347"/>
                      </a:lnTo>
                      <a:lnTo>
                        <a:pt x="167" y="347"/>
                      </a:lnTo>
                      <a:lnTo>
                        <a:pt x="166" y="347"/>
                      </a:lnTo>
                      <a:lnTo>
                        <a:pt x="166" y="346"/>
                      </a:lnTo>
                      <a:lnTo>
                        <a:pt x="166" y="346"/>
                      </a:lnTo>
                      <a:lnTo>
                        <a:pt x="166" y="345"/>
                      </a:lnTo>
                      <a:lnTo>
                        <a:pt x="167" y="345"/>
                      </a:lnTo>
                      <a:lnTo>
                        <a:pt x="168" y="345"/>
                      </a:lnTo>
                      <a:lnTo>
                        <a:pt x="168" y="344"/>
                      </a:lnTo>
                      <a:lnTo>
                        <a:pt x="168" y="344"/>
                      </a:lnTo>
                      <a:lnTo>
                        <a:pt x="168" y="343"/>
                      </a:lnTo>
                      <a:lnTo>
                        <a:pt x="168" y="342"/>
                      </a:lnTo>
                      <a:lnTo>
                        <a:pt x="168" y="342"/>
                      </a:lnTo>
                      <a:lnTo>
                        <a:pt x="169" y="342"/>
                      </a:lnTo>
                      <a:lnTo>
                        <a:pt x="169" y="341"/>
                      </a:lnTo>
                      <a:lnTo>
                        <a:pt x="168" y="341"/>
                      </a:lnTo>
                      <a:lnTo>
                        <a:pt x="168" y="341"/>
                      </a:lnTo>
                      <a:lnTo>
                        <a:pt x="167" y="341"/>
                      </a:lnTo>
                      <a:lnTo>
                        <a:pt x="167" y="340"/>
                      </a:lnTo>
                      <a:lnTo>
                        <a:pt x="167" y="339"/>
                      </a:lnTo>
                      <a:lnTo>
                        <a:pt x="168" y="339"/>
                      </a:lnTo>
                      <a:lnTo>
                        <a:pt x="168" y="339"/>
                      </a:lnTo>
                      <a:lnTo>
                        <a:pt x="169" y="339"/>
                      </a:lnTo>
                      <a:lnTo>
                        <a:pt x="170" y="339"/>
                      </a:lnTo>
                      <a:lnTo>
                        <a:pt x="170" y="338"/>
                      </a:lnTo>
                      <a:lnTo>
                        <a:pt x="170" y="337"/>
                      </a:lnTo>
                      <a:lnTo>
                        <a:pt x="170" y="337"/>
                      </a:lnTo>
                      <a:lnTo>
                        <a:pt x="170" y="337"/>
                      </a:lnTo>
                      <a:lnTo>
                        <a:pt x="170" y="336"/>
                      </a:lnTo>
                      <a:lnTo>
                        <a:pt x="170" y="335"/>
                      </a:lnTo>
                      <a:lnTo>
                        <a:pt x="171" y="335"/>
                      </a:lnTo>
                      <a:lnTo>
                        <a:pt x="171" y="335"/>
                      </a:lnTo>
                      <a:lnTo>
                        <a:pt x="170" y="334"/>
                      </a:lnTo>
                      <a:lnTo>
                        <a:pt x="170" y="333"/>
                      </a:lnTo>
                      <a:lnTo>
                        <a:pt x="169" y="333"/>
                      </a:lnTo>
                      <a:lnTo>
                        <a:pt x="169" y="332"/>
                      </a:lnTo>
                      <a:lnTo>
                        <a:pt x="168" y="331"/>
                      </a:lnTo>
                      <a:lnTo>
                        <a:pt x="168" y="331"/>
                      </a:lnTo>
                      <a:lnTo>
                        <a:pt x="169" y="331"/>
                      </a:lnTo>
                      <a:lnTo>
                        <a:pt x="170" y="330"/>
                      </a:lnTo>
                      <a:lnTo>
                        <a:pt x="170" y="329"/>
                      </a:lnTo>
                      <a:lnTo>
                        <a:pt x="171" y="329"/>
                      </a:lnTo>
                      <a:lnTo>
                        <a:pt x="171" y="329"/>
                      </a:lnTo>
                      <a:lnTo>
                        <a:pt x="171" y="328"/>
                      </a:lnTo>
                      <a:lnTo>
                        <a:pt x="171" y="327"/>
                      </a:lnTo>
                      <a:lnTo>
                        <a:pt x="172" y="327"/>
                      </a:lnTo>
                      <a:lnTo>
                        <a:pt x="172" y="327"/>
                      </a:lnTo>
                      <a:lnTo>
                        <a:pt x="172" y="326"/>
                      </a:lnTo>
                      <a:lnTo>
                        <a:pt x="172" y="325"/>
                      </a:lnTo>
                      <a:lnTo>
                        <a:pt x="172" y="325"/>
                      </a:lnTo>
                      <a:lnTo>
                        <a:pt x="171" y="325"/>
                      </a:lnTo>
                      <a:lnTo>
                        <a:pt x="170" y="325"/>
                      </a:lnTo>
                      <a:lnTo>
                        <a:pt x="170" y="325"/>
                      </a:lnTo>
                      <a:lnTo>
                        <a:pt x="170" y="324"/>
                      </a:lnTo>
                      <a:lnTo>
                        <a:pt x="170" y="323"/>
                      </a:lnTo>
                      <a:lnTo>
                        <a:pt x="170" y="323"/>
                      </a:lnTo>
                      <a:lnTo>
                        <a:pt x="170" y="322"/>
                      </a:lnTo>
                      <a:lnTo>
                        <a:pt x="170" y="322"/>
                      </a:lnTo>
                      <a:lnTo>
                        <a:pt x="171" y="322"/>
                      </a:lnTo>
                      <a:lnTo>
                        <a:pt x="171" y="323"/>
                      </a:lnTo>
                      <a:lnTo>
                        <a:pt x="172" y="323"/>
                      </a:lnTo>
                      <a:lnTo>
                        <a:pt x="172" y="323"/>
                      </a:lnTo>
                      <a:lnTo>
                        <a:pt x="173" y="323"/>
                      </a:lnTo>
                      <a:lnTo>
                        <a:pt x="174" y="322"/>
                      </a:lnTo>
                      <a:lnTo>
                        <a:pt x="173" y="321"/>
                      </a:lnTo>
                      <a:lnTo>
                        <a:pt x="172" y="321"/>
                      </a:lnTo>
                      <a:lnTo>
                        <a:pt x="172" y="321"/>
                      </a:lnTo>
                      <a:lnTo>
                        <a:pt x="172" y="320"/>
                      </a:lnTo>
                      <a:lnTo>
                        <a:pt x="172" y="320"/>
                      </a:lnTo>
                      <a:lnTo>
                        <a:pt x="172" y="320"/>
                      </a:lnTo>
                      <a:lnTo>
                        <a:pt x="173" y="320"/>
                      </a:lnTo>
                      <a:lnTo>
                        <a:pt x="173" y="319"/>
                      </a:lnTo>
                      <a:lnTo>
                        <a:pt x="173" y="318"/>
                      </a:lnTo>
                      <a:lnTo>
                        <a:pt x="172" y="318"/>
                      </a:lnTo>
                      <a:lnTo>
                        <a:pt x="172" y="318"/>
                      </a:lnTo>
                      <a:lnTo>
                        <a:pt x="172" y="318"/>
                      </a:lnTo>
                      <a:lnTo>
                        <a:pt x="171" y="318"/>
                      </a:lnTo>
                      <a:lnTo>
                        <a:pt x="171" y="318"/>
                      </a:lnTo>
                      <a:lnTo>
                        <a:pt x="170" y="319"/>
                      </a:lnTo>
                      <a:lnTo>
                        <a:pt x="170" y="319"/>
                      </a:lnTo>
                      <a:lnTo>
                        <a:pt x="169" y="318"/>
                      </a:lnTo>
                      <a:lnTo>
                        <a:pt x="168" y="318"/>
                      </a:lnTo>
                      <a:lnTo>
                        <a:pt x="168" y="318"/>
                      </a:lnTo>
                      <a:lnTo>
                        <a:pt x="168" y="317"/>
                      </a:lnTo>
                      <a:lnTo>
                        <a:pt x="169" y="317"/>
                      </a:lnTo>
                      <a:lnTo>
                        <a:pt x="170" y="317"/>
                      </a:lnTo>
                      <a:lnTo>
                        <a:pt x="170" y="317"/>
                      </a:lnTo>
                      <a:lnTo>
                        <a:pt x="170" y="316"/>
                      </a:lnTo>
                      <a:lnTo>
                        <a:pt x="171" y="316"/>
                      </a:lnTo>
                      <a:lnTo>
                        <a:pt x="171" y="316"/>
                      </a:lnTo>
                      <a:lnTo>
                        <a:pt x="170" y="316"/>
                      </a:lnTo>
                      <a:lnTo>
                        <a:pt x="170" y="315"/>
                      </a:lnTo>
                      <a:lnTo>
                        <a:pt x="171" y="315"/>
                      </a:lnTo>
                      <a:lnTo>
                        <a:pt x="171" y="314"/>
                      </a:lnTo>
                      <a:lnTo>
                        <a:pt x="172" y="314"/>
                      </a:lnTo>
                      <a:lnTo>
                        <a:pt x="172" y="314"/>
                      </a:lnTo>
                      <a:lnTo>
                        <a:pt x="172" y="314"/>
                      </a:lnTo>
                      <a:lnTo>
                        <a:pt x="172" y="314"/>
                      </a:lnTo>
                      <a:lnTo>
                        <a:pt x="172" y="313"/>
                      </a:lnTo>
                      <a:lnTo>
                        <a:pt x="171" y="313"/>
                      </a:lnTo>
                      <a:lnTo>
                        <a:pt x="170" y="313"/>
                      </a:lnTo>
                      <a:lnTo>
                        <a:pt x="170" y="314"/>
                      </a:lnTo>
                      <a:lnTo>
                        <a:pt x="169" y="314"/>
                      </a:lnTo>
                      <a:lnTo>
                        <a:pt x="168" y="314"/>
                      </a:lnTo>
                      <a:lnTo>
                        <a:pt x="168" y="314"/>
                      </a:lnTo>
                      <a:lnTo>
                        <a:pt x="168" y="315"/>
                      </a:lnTo>
                      <a:lnTo>
                        <a:pt x="167" y="314"/>
                      </a:lnTo>
                      <a:lnTo>
                        <a:pt x="166" y="314"/>
                      </a:lnTo>
                      <a:lnTo>
                        <a:pt x="166" y="314"/>
                      </a:lnTo>
                      <a:lnTo>
                        <a:pt x="166" y="313"/>
                      </a:lnTo>
                      <a:lnTo>
                        <a:pt x="166" y="312"/>
                      </a:lnTo>
                      <a:lnTo>
                        <a:pt x="167" y="312"/>
                      </a:lnTo>
                      <a:lnTo>
                        <a:pt x="168" y="312"/>
                      </a:lnTo>
                      <a:lnTo>
                        <a:pt x="168" y="312"/>
                      </a:lnTo>
                      <a:lnTo>
                        <a:pt x="168" y="312"/>
                      </a:lnTo>
                      <a:lnTo>
                        <a:pt x="168" y="311"/>
                      </a:lnTo>
                      <a:lnTo>
                        <a:pt x="168" y="311"/>
                      </a:lnTo>
                      <a:lnTo>
                        <a:pt x="167" y="311"/>
                      </a:lnTo>
                      <a:lnTo>
                        <a:pt x="167" y="310"/>
                      </a:lnTo>
                      <a:lnTo>
                        <a:pt x="167" y="310"/>
                      </a:lnTo>
                      <a:lnTo>
                        <a:pt x="168" y="310"/>
                      </a:lnTo>
                      <a:lnTo>
                        <a:pt x="168" y="310"/>
                      </a:lnTo>
                      <a:lnTo>
                        <a:pt x="168" y="309"/>
                      </a:lnTo>
                      <a:lnTo>
                        <a:pt x="168" y="308"/>
                      </a:lnTo>
                      <a:lnTo>
                        <a:pt x="168" y="308"/>
                      </a:lnTo>
                      <a:lnTo>
                        <a:pt x="168" y="307"/>
                      </a:lnTo>
                      <a:lnTo>
                        <a:pt x="168" y="306"/>
                      </a:lnTo>
                      <a:lnTo>
                        <a:pt x="167" y="306"/>
                      </a:lnTo>
                      <a:lnTo>
                        <a:pt x="166" y="306"/>
                      </a:lnTo>
                      <a:lnTo>
                        <a:pt x="166" y="307"/>
                      </a:lnTo>
                      <a:lnTo>
                        <a:pt x="166" y="307"/>
                      </a:lnTo>
                      <a:lnTo>
                        <a:pt x="165" y="307"/>
                      </a:lnTo>
                      <a:lnTo>
                        <a:pt x="165" y="306"/>
                      </a:lnTo>
                      <a:lnTo>
                        <a:pt x="166" y="306"/>
                      </a:lnTo>
                      <a:lnTo>
                        <a:pt x="166" y="306"/>
                      </a:lnTo>
                      <a:lnTo>
                        <a:pt x="166" y="306"/>
                      </a:lnTo>
                      <a:lnTo>
                        <a:pt x="167" y="306"/>
                      </a:lnTo>
                      <a:lnTo>
                        <a:pt x="168" y="306"/>
                      </a:lnTo>
                      <a:lnTo>
                        <a:pt x="168" y="306"/>
                      </a:lnTo>
                      <a:lnTo>
                        <a:pt x="169" y="306"/>
                      </a:lnTo>
                      <a:lnTo>
                        <a:pt x="170" y="306"/>
                      </a:lnTo>
                      <a:lnTo>
                        <a:pt x="170" y="305"/>
                      </a:lnTo>
                      <a:lnTo>
                        <a:pt x="170" y="304"/>
                      </a:lnTo>
                      <a:lnTo>
                        <a:pt x="169" y="304"/>
                      </a:lnTo>
                      <a:lnTo>
                        <a:pt x="169" y="303"/>
                      </a:lnTo>
                      <a:lnTo>
                        <a:pt x="168" y="302"/>
                      </a:lnTo>
                      <a:lnTo>
                        <a:pt x="169" y="302"/>
                      </a:lnTo>
                      <a:lnTo>
                        <a:pt x="168" y="302"/>
                      </a:lnTo>
                      <a:lnTo>
                        <a:pt x="168" y="302"/>
                      </a:lnTo>
                      <a:lnTo>
                        <a:pt x="168" y="302"/>
                      </a:lnTo>
                      <a:lnTo>
                        <a:pt x="167" y="302"/>
                      </a:lnTo>
                      <a:lnTo>
                        <a:pt x="167" y="303"/>
                      </a:lnTo>
                      <a:lnTo>
                        <a:pt x="167" y="304"/>
                      </a:lnTo>
                      <a:lnTo>
                        <a:pt x="168" y="304"/>
                      </a:lnTo>
                      <a:lnTo>
                        <a:pt x="168" y="304"/>
                      </a:lnTo>
                      <a:lnTo>
                        <a:pt x="167" y="304"/>
                      </a:lnTo>
                      <a:lnTo>
                        <a:pt x="167" y="305"/>
                      </a:lnTo>
                      <a:lnTo>
                        <a:pt x="166" y="304"/>
                      </a:lnTo>
                      <a:lnTo>
                        <a:pt x="166" y="304"/>
                      </a:lnTo>
                      <a:lnTo>
                        <a:pt x="166" y="304"/>
                      </a:lnTo>
                      <a:lnTo>
                        <a:pt x="166" y="303"/>
                      </a:lnTo>
                      <a:lnTo>
                        <a:pt x="166" y="303"/>
                      </a:lnTo>
                      <a:lnTo>
                        <a:pt x="166" y="302"/>
                      </a:lnTo>
                      <a:lnTo>
                        <a:pt x="166" y="302"/>
                      </a:lnTo>
                      <a:lnTo>
                        <a:pt x="166" y="301"/>
                      </a:lnTo>
                      <a:lnTo>
                        <a:pt x="166" y="300"/>
                      </a:lnTo>
                      <a:lnTo>
                        <a:pt x="166" y="299"/>
                      </a:lnTo>
                      <a:lnTo>
                        <a:pt x="166" y="299"/>
                      </a:lnTo>
                      <a:lnTo>
                        <a:pt x="166" y="298"/>
                      </a:lnTo>
                      <a:lnTo>
                        <a:pt x="165" y="298"/>
                      </a:lnTo>
                      <a:lnTo>
                        <a:pt x="164" y="298"/>
                      </a:lnTo>
                      <a:lnTo>
                        <a:pt x="163" y="298"/>
                      </a:lnTo>
                      <a:lnTo>
                        <a:pt x="163" y="297"/>
                      </a:lnTo>
                      <a:lnTo>
                        <a:pt x="164" y="297"/>
                      </a:lnTo>
                      <a:lnTo>
                        <a:pt x="165" y="297"/>
                      </a:lnTo>
                      <a:lnTo>
                        <a:pt x="166" y="297"/>
                      </a:lnTo>
                      <a:lnTo>
                        <a:pt x="166" y="297"/>
                      </a:lnTo>
                      <a:lnTo>
                        <a:pt x="166" y="296"/>
                      </a:lnTo>
                      <a:lnTo>
                        <a:pt x="166" y="295"/>
                      </a:lnTo>
                      <a:lnTo>
                        <a:pt x="166" y="295"/>
                      </a:lnTo>
                      <a:lnTo>
                        <a:pt x="167" y="295"/>
                      </a:lnTo>
                      <a:lnTo>
                        <a:pt x="167" y="295"/>
                      </a:lnTo>
                      <a:lnTo>
                        <a:pt x="168" y="295"/>
                      </a:lnTo>
                      <a:lnTo>
                        <a:pt x="168" y="295"/>
                      </a:lnTo>
                      <a:lnTo>
                        <a:pt x="168" y="296"/>
                      </a:lnTo>
                      <a:lnTo>
                        <a:pt x="169" y="296"/>
                      </a:lnTo>
                      <a:lnTo>
                        <a:pt x="170" y="296"/>
                      </a:lnTo>
                      <a:lnTo>
                        <a:pt x="170" y="295"/>
                      </a:lnTo>
                      <a:lnTo>
                        <a:pt x="170" y="295"/>
                      </a:lnTo>
                      <a:lnTo>
                        <a:pt x="170" y="295"/>
                      </a:lnTo>
                      <a:lnTo>
                        <a:pt x="169" y="295"/>
                      </a:lnTo>
                      <a:lnTo>
                        <a:pt x="168" y="294"/>
                      </a:lnTo>
                      <a:lnTo>
                        <a:pt x="168" y="294"/>
                      </a:lnTo>
                      <a:lnTo>
                        <a:pt x="167" y="294"/>
                      </a:lnTo>
                      <a:lnTo>
                        <a:pt x="166" y="293"/>
                      </a:lnTo>
                      <a:lnTo>
                        <a:pt x="166" y="293"/>
                      </a:lnTo>
                      <a:lnTo>
                        <a:pt x="166" y="293"/>
                      </a:lnTo>
                      <a:lnTo>
                        <a:pt x="166" y="293"/>
                      </a:lnTo>
                      <a:lnTo>
                        <a:pt x="166" y="292"/>
                      </a:lnTo>
                      <a:lnTo>
                        <a:pt x="167" y="292"/>
                      </a:lnTo>
                      <a:lnTo>
                        <a:pt x="168" y="292"/>
                      </a:lnTo>
                      <a:lnTo>
                        <a:pt x="168" y="292"/>
                      </a:lnTo>
                      <a:lnTo>
                        <a:pt x="168" y="291"/>
                      </a:lnTo>
                      <a:lnTo>
                        <a:pt x="168" y="291"/>
                      </a:lnTo>
                      <a:lnTo>
                        <a:pt x="168" y="290"/>
                      </a:lnTo>
                      <a:lnTo>
                        <a:pt x="169" y="290"/>
                      </a:lnTo>
                      <a:lnTo>
                        <a:pt x="170" y="291"/>
                      </a:lnTo>
                      <a:lnTo>
                        <a:pt x="170" y="290"/>
                      </a:lnTo>
                      <a:lnTo>
                        <a:pt x="170" y="289"/>
                      </a:lnTo>
                      <a:lnTo>
                        <a:pt x="169" y="289"/>
                      </a:lnTo>
                      <a:lnTo>
                        <a:pt x="168" y="289"/>
                      </a:lnTo>
                      <a:lnTo>
                        <a:pt x="168" y="289"/>
                      </a:lnTo>
                      <a:lnTo>
                        <a:pt x="167" y="289"/>
                      </a:lnTo>
                      <a:lnTo>
                        <a:pt x="166" y="289"/>
                      </a:lnTo>
                      <a:lnTo>
                        <a:pt x="166" y="289"/>
                      </a:lnTo>
                      <a:lnTo>
                        <a:pt x="166" y="288"/>
                      </a:lnTo>
                      <a:lnTo>
                        <a:pt x="166" y="287"/>
                      </a:lnTo>
                      <a:lnTo>
                        <a:pt x="166" y="287"/>
                      </a:lnTo>
                      <a:lnTo>
                        <a:pt x="166" y="286"/>
                      </a:lnTo>
                      <a:lnTo>
                        <a:pt x="166" y="285"/>
                      </a:lnTo>
                      <a:lnTo>
                        <a:pt x="167" y="285"/>
                      </a:lnTo>
                      <a:lnTo>
                        <a:pt x="167" y="285"/>
                      </a:lnTo>
                      <a:lnTo>
                        <a:pt x="168" y="285"/>
                      </a:lnTo>
                      <a:lnTo>
                        <a:pt x="168" y="284"/>
                      </a:lnTo>
                      <a:lnTo>
                        <a:pt x="168" y="283"/>
                      </a:lnTo>
                      <a:lnTo>
                        <a:pt x="167" y="283"/>
                      </a:lnTo>
                      <a:lnTo>
                        <a:pt x="166" y="283"/>
                      </a:lnTo>
                      <a:lnTo>
                        <a:pt x="166" y="283"/>
                      </a:lnTo>
                      <a:lnTo>
                        <a:pt x="167" y="283"/>
                      </a:lnTo>
                      <a:lnTo>
                        <a:pt x="167" y="282"/>
                      </a:lnTo>
                      <a:lnTo>
                        <a:pt x="168" y="283"/>
                      </a:lnTo>
                      <a:lnTo>
                        <a:pt x="168" y="282"/>
                      </a:lnTo>
                      <a:lnTo>
                        <a:pt x="168" y="282"/>
                      </a:lnTo>
                      <a:lnTo>
                        <a:pt x="168" y="281"/>
                      </a:lnTo>
                      <a:lnTo>
                        <a:pt x="168" y="281"/>
                      </a:lnTo>
                      <a:lnTo>
                        <a:pt x="168" y="280"/>
                      </a:lnTo>
                      <a:lnTo>
                        <a:pt x="167" y="280"/>
                      </a:lnTo>
                      <a:lnTo>
                        <a:pt x="166" y="280"/>
                      </a:lnTo>
                      <a:lnTo>
                        <a:pt x="166" y="280"/>
                      </a:lnTo>
                      <a:lnTo>
                        <a:pt x="166" y="279"/>
                      </a:lnTo>
                      <a:lnTo>
                        <a:pt x="167" y="278"/>
                      </a:lnTo>
                      <a:lnTo>
                        <a:pt x="168" y="278"/>
                      </a:lnTo>
                      <a:lnTo>
                        <a:pt x="168" y="277"/>
                      </a:lnTo>
                      <a:lnTo>
                        <a:pt x="168" y="277"/>
                      </a:lnTo>
                      <a:lnTo>
                        <a:pt x="168" y="276"/>
                      </a:lnTo>
                      <a:lnTo>
                        <a:pt x="168" y="276"/>
                      </a:lnTo>
                      <a:lnTo>
                        <a:pt x="168" y="276"/>
                      </a:lnTo>
                      <a:lnTo>
                        <a:pt x="167" y="276"/>
                      </a:lnTo>
                      <a:lnTo>
                        <a:pt x="166" y="276"/>
                      </a:lnTo>
                      <a:lnTo>
                        <a:pt x="166" y="275"/>
                      </a:lnTo>
                      <a:lnTo>
                        <a:pt x="167" y="274"/>
                      </a:lnTo>
                      <a:lnTo>
                        <a:pt x="168" y="274"/>
                      </a:lnTo>
                      <a:lnTo>
                        <a:pt x="168" y="274"/>
                      </a:lnTo>
                      <a:lnTo>
                        <a:pt x="169" y="274"/>
                      </a:lnTo>
                      <a:lnTo>
                        <a:pt x="170" y="274"/>
                      </a:lnTo>
                      <a:lnTo>
                        <a:pt x="170" y="273"/>
                      </a:lnTo>
                      <a:lnTo>
                        <a:pt x="170" y="272"/>
                      </a:lnTo>
                      <a:lnTo>
                        <a:pt x="170" y="272"/>
                      </a:lnTo>
                      <a:lnTo>
                        <a:pt x="170" y="272"/>
                      </a:lnTo>
                      <a:lnTo>
                        <a:pt x="170" y="272"/>
                      </a:lnTo>
                      <a:lnTo>
                        <a:pt x="170" y="273"/>
                      </a:lnTo>
                      <a:lnTo>
                        <a:pt x="171" y="274"/>
                      </a:lnTo>
                      <a:lnTo>
                        <a:pt x="172" y="274"/>
                      </a:lnTo>
                      <a:lnTo>
                        <a:pt x="172" y="274"/>
                      </a:lnTo>
                      <a:lnTo>
                        <a:pt x="172" y="274"/>
                      </a:lnTo>
                      <a:lnTo>
                        <a:pt x="173" y="274"/>
                      </a:lnTo>
                      <a:lnTo>
                        <a:pt x="173" y="273"/>
                      </a:lnTo>
                      <a:lnTo>
                        <a:pt x="173" y="272"/>
                      </a:lnTo>
                      <a:lnTo>
                        <a:pt x="173" y="272"/>
                      </a:lnTo>
                      <a:lnTo>
                        <a:pt x="174" y="272"/>
                      </a:lnTo>
                      <a:lnTo>
                        <a:pt x="174" y="272"/>
                      </a:lnTo>
                      <a:lnTo>
                        <a:pt x="175" y="272"/>
                      </a:lnTo>
                      <a:lnTo>
                        <a:pt x="175" y="272"/>
                      </a:lnTo>
                      <a:lnTo>
                        <a:pt x="176" y="272"/>
                      </a:lnTo>
                      <a:lnTo>
                        <a:pt x="176" y="272"/>
                      </a:lnTo>
                      <a:lnTo>
                        <a:pt x="176" y="271"/>
                      </a:lnTo>
                      <a:lnTo>
                        <a:pt x="176" y="270"/>
                      </a:lnTo>
                      <a:lnTo>
                        <a:pt x="175" y="270"/>
                      </a:lnTo>
                      <a:lnTo>
                        <a:pt x="175" y="270"/>
                      </a:lnTo>
                      <a:lnTo>
                        <a:pt x="175" y="269"/>
                      </a:lnTo>
                      <a:lnTo>
                        <a:pt x="174" y="269"/>
                      </a:lnTo>
                      <a:lnTo>
                        <a:pt x="174" y="268"/>
                      </a:lnTo>
                      <a:lnTo>
                        <a:pt x="174" y="268"/>
                      </a:lnTo>
                      <a:lnTo>
                        <a:pt x="174" y="268"/>
                      </a:lnTo>
                      <a:lnTo>
                        <a:pt x="174" y="268"/>
                      </a:lnTo>
                      <a:lnTo>
                        <a:pt x="175" y="268"/>
                      </a:lnTo>
                      <a:lnTo>
                        <a:pt x="176" y="268"/>
                      </a:lnTo>
                      <a:lnTo>
                        <a:pt x="176" y="268"/>
                      </a:lnTo>
                      <a:lnTo>
                        <a:pt x="176" y="268"/>
                      </a:lnTo>
                      <a:lnTo>
                        <a:pt x="176" y="268"/>
                      </a:lnTo>
                      <a:lnTo>
                        <a:pt x="176" y="267"/>
                      </a:lnTo>
                      <a:lnTo>
                        <a:pt x="176" y="266"/>
                      </a:lnTo>
                      <a:lnTo>
                        <a:pt x="176" y="266"/>
                      </a:lnTo>
                      <a:lnTo>
                        <a:pt x="176" y="266"/>
                      </a:lnTo>
                      <a:lnTo>
                        <a:pt x="176" y="265"/>
                      </a:lnTo>
                      <a:lnTo>
                        <a:pt x="175" y="265"/>
                      </a:lnTo>
                      <a:lnTo>
                        <a:pt x="174" y="265"/>
                      </a:lnTo>
                      <a:lnTo>
                        <a:pt x="174" y="264"/>
                      </a:lnTo>
                      <a:lnTo>
                        <a:pt x="174" y="264"/>
                      </a:lnTo>
                      <a:lnTo>
                        <a:pt x="175" y="264"/>
                      </a:lnTo>
                      <a:lnTo>
                        <a:pt x="176" y="264"/>
                      </a:lnTo>
                      <a:lnTo>
                        <a:pt x="176" y="265"/>
                      </a:lnTo>
                      <a:lnTo>
                        <a:pt x="177" y="264"/>
                      </a:lnTo>
                      <a:lnTo>
                        <a:pt x="177" y="264"/>
                      </a:lnTo>
                      <a:lnTo>
                        <a:pt x="176" y="263"/>
                      </a:lnTo>
                      <a:lnTo>
                        <a:pt x="176" y="263"/>
                      </a:lnTo>
                      <a:lnTo>
                        <a:pt x="176" y="264"/>
                      </a:lnTo>
                      <a:lnTo>
                        <a:pt x="175" y="264"/>
                      </a:lnTo>
                      <a:lnTo>
                        <a:pt x="174" y="263"/>
                      </a:lnTo>
                      <a:lnTo>
                        <a:pt x="174" y="262"/>
                      </a:lnTo>
                      <a:lnTo>
                        <a:pt x="175" y="262"/>
                      </a:lnTo>
                      <a:lnTo>
                        <a:pt x="176" y="262"/>
                      </a:lnTo>
                      <a:lnTo>
                        <a:pt x="176" y="261"/>
                      </a:lnTo>
                      <a:lnTo>
                        <a:pt x="176" y="260"/>
                      </a:lnTo>
                      <a:lnTo>
                        <a:pt x="176" y="259"/>
                      </a:lnTo>
                      <a:lnTo>
                        <a:pt x="176" y="259"/>
                      </a:lnTo>
                      <a:lnTo>
                        <a:pt x="176" y="259"/>
                      </a:lnTo>
                      <a:lnTo>
                        <a:pt x="177" y="259"/>
                      </a:lnTo>
                      <a:lnTo>
                        <a:pt x="178" y="259"/>
                      </a:lnTo>
                      <a:lnTo>
                        <a:pt x="178" y="260"/>
                      </a:lnTo>
                      <a:lnTo>
                        <a:pt x="178" y="259"/>
                      </a:lnTo>
                      <a:lnTo>
                        <a:pt x="178" y="259"/>
                      </a:lnTo>
                      <a:lnTo>
                        <a:pt x="178" y="259"/>
                      </a:lnTo>
                      <a:lnTo>
                        <a:pt x="178" y="258"/>
                      </a:lnTo>
                      <a:lnTo>
                        <a:pt x="178" y="257"/>
                      </a:lnTo>
                      <a:lnTo>
                        <a:pt x="179" y="257"/>
                      </a:lnTo>
                      <a:lnTo>
                        <a:pt x="179" y="258"/>
                      </a:lnTo>
                      <a:lnTo>
                        <a:pt x="180" y="258"/>
                      </a:lnTo>
                      <a:lnTo>
                        <a:pt x="180" y="257"/>
                      </a:lnTo>
                      <a:lnTo>
                        <a:pt x="180" y="257"/>
                      </a:lnTo>
                      <a:lnTo>
                        <a:pt x="181" y="257"/>
                      </a:lnTo>
                      <a:lnTo>
                        <a:pt x="181" y="258"/>
                      </a:lnTo>
                      <a:lnTo>
                        <a:pt x="182" y="259"/>
                      </a:lnTo>
                      <a:lnTo>
                        <a:pt x="182" y="259"/>
                      </a:lnTo>
                      <a:lnTo>
                        <a:pt x="182" y="258"/>
                      </a:lnTo>
                      <a:lnTo>
                        <a:pt x="182" y="257"/>
                      </a:lnTo>
                      <a:lnTo>
                        <a:pt x="182" y="257"/>
                      </a:lnTo>
                      <a:lnTo>
                        <a:pt x="182" y="257"/>
                      </a:lnTo>
                      <a:lnTo>
                        <a:pt x="182" y="256"/>
                      </a:lnTo>
                      <a:lnTo>
                        <a:pt x="181" y="256"/>
                      </a:lnTo>
                      <a:lnTo>
                        <a:pt x="181" y="255"/>
                      </a:lnTo>
                      <a:lnTo>
                        <a:pt x="180" y="255"/>
                      </a:lnTo>
                      <a:lnTo>
                        <a:pt x="180" y="255"/>
                      </a:lnTo>
                      <a:lnTo>
                        <a:pt x="180" y="255"/>
                      </a:lnTo>
                      <a:lnTo>
                        <a:pt x="180" y="254"/>
                      </a:lnTo>
                      <a:lnTo>
                        <a:pt x="180" y="253"/>
                      </a:lnTo>
                      <a:lnTo>
                        <a:pt x="180" y="253"/>
                      </a:lnTo>
                      <a:lnTo>
                        <a:pt x="180" y="253"/>
                      </a:lnTo>
                      <a:lnTo>
                        <a:pt x="180" y="252"/>
                      </a:lnTo>
                      <a:lnTo>
                        <a:pt x="181" y="252"/>
                      </a:lnTo>
                      <a:lnTo>
                        <a:pt x="182" y="252"/>
                      </a:lnTo>
                      <a:lnTo>
                        <a:pt x="182" y="252"/>
                      </a:lnTo>
                      <a:lnTo>
                        <a:pt x="183" y="252"/>
                      </a:lnTo>
                      <a:lnTo>
                        <a:pt x="183" y="251"/>
                      </a:lnTo>
                      <a:lnTo>
                        <a:pt x="182" y="251"/>
                      </a:lnTo>
                      <a:lnTo>
                        <a:pt x="182" y="251"/>
                      </a:lnTo>
                      <a:lnTo>
                        <a:pt x="182" y="250"/>
                      </a:lnTo>
                      <a:lnTo>
                        <a:pt x="182" y="249"/>
                      </a:lnTo>
                      <a:lnTo>
                        <a:pt x="182" y="249"/>
                      </a:lnTo>
                      <a:lnTo>
                        <a:pt x="183" y="249"/>
                      </a:lnTo>
                      <a:lnTo>
                        <a:pt x="183" y="248"/>
                      </a:lnTo>
                      <a:lnTo>
                        <a:pt x="182" y="248"/>
                      </a:lnTo>
                      <a:lnTo>
                        <a:pt x="182" y="247"/>
                      </a:lnTo>
                      <a:lnTo>
                        <a:pt x="182" y="247"/>
                      </a:lnTo>
                      <a:lnTo>
                        <a:pt x="183" y="247"/>
                      </a:lnTo>
                      <a:lnTo>
                        <a:pt x="184" y="246"/>
                      </a:lnTo>
                      <a:lnTo>
                        <a:pt x="183" y="246"/>
                      </a:lnTo>
                      <a:lnTo>
                        <a:pt x="183" y="245"/>
                      </a:lnTo>
                      <a:lnTo>
                        <a:pt x="183" y="245"/>
                      </a:lnTo>
                      <a:lnTo>
                        <a:pt x="183" y="244"/>
                      </a:lnTo>
                      <a:lnTo>
                        <a:pt x="184" y="244"/>
                      </a:lnTo>
                      <a:lnTo>
                        <a:pt x="184" y="245"/>
                      </a:lnTo>
                      <a:lnTo>
                        <a:pt x="185" y="245"/>
                      </a:lnTo>
                      <a:lnTo>
                        <a:pt x="185" y="245"/>
                      </a:lnTo>
                      <a:lnTo>
                        <a:pt x="186" y="245"/>
                      </a:lnTo>
                      <a:lnTo>
                        <a:pt x="187" y="245"/>
                      </a:lnTo>
                      <a:lnTo>
                        <a:pt x="187" y="245"/>
                      </a:lnTo>
                      <a:lnTo>
                        <a:pt x="187" y="245"/>
                      </a:lnTo>
                      <a:lnTo>
                        <a:pt x="187" y="244"/>
                      </a:lnTo>
                      <a:lnTo>
                        <a:pt x="188" y="243"/>
                      </a:lnTo>
                      <a:lnTo>
                        <a:pt x="187" y="243"/>
                      </a:lnTo>
                      <a:lnTo>
                        <a:pt x="188" y="243"/>
                      </a:lnTo>
                      <a:lnTo>
                        <a:pt x="188" y="242"/>
                      </a:lnTo>
                      <a:lnTo>
                        <a:pt x="189" y="242"/>
                      </a:lnTo>
                      <a:lnTo>
                        <a:pt x="189" y="241"/>
                      </a:lnTo>
                      <a:lnTo>
                        <a:pt x="189" y="240"/>
                      </a:lnTo>
                      <a:lnTo>
                        <a:pt x="189" y="240"/>
                      </a:lnTo>
                      <a:lnTo>
                        <a:pt x="189" y="239"/>
                      </a:lnTo>
                      <a:lnTo>
                        <a:pt x="189" y="238"/>
                      </a:lnTo>
                      <a:lnTo>
                        <a:pt x="189" y="238"/>
                      </a:lnTo>
                      <a:lnTo>
                        <a:pt x="190" y="238"/>
                      </a:lnTo>
                      <a:lnTo>
                        <a:pt x="190" y="238"/>
                      </a:lnTo>
                      <a:lnTo>
                        <a:pt x="190" y="239"/>
                      </a:lnTo>
                      <a:lnTo>
                        <a:pt x="190" y="240"/>
                      </a:lnTo>
                      <a:lnTo>
                        <a:pt x="191" y="240"/>
                      </a:lnTo>
                      <a:lnTo>
                        <a:pt x="191" y="240"/>
                      </a:lnTo>
                      <a:lnTo>
                        <a:pt x="192" y="240"/>
                      </a:lnTo>
                      <a:lnTo>
                        <a:pt x="192" y="240"/>
                      </a:lnTo>
                      <a:lnTo>
                        <a:pt x="193" y="240"/>
                      </a:lnTo>
                      <a:lnTo>
                        <a:pt x="193" y="240"/>
                      </a:lnTo>
                      <a:lnTo>
                        <a:pt x="193" y="240"/>
                      </a:lnTo>
                      <a:lnTo>
                        <a:pt x="194" y="240"/>
                      </a:lnTo>
                      <a:lnTo>
                        <a:pt x="194" y="239"/>
                      </a:lnTo>
                      <a:lnTo>
                        <a:pt x="195" y="239"/>
                      </a:lnTo>
                      <a:lnTo>
                        <a:pt x="195" y="238"/>
                      </a:lnTo>
                      <a:lnTo>
                        <a:pt x="195" y="238"/>
                      </a:lnTo>
                      <a:lnTo>
                        <a:pt x="196" y="238"/>
                      </a:lnTo>
                      <a:lnTo>
                        <a:pt x="196" y="238"/>
                      </a:lnTo>
                      <a:lnTo>
                        <a:pt x="197" y="238"/>
                      </a:lnTo>
                      <a:lnTo>
                        <a:pt x="197" y="238"/>
                      </a:lnTo>
                      <a:lnTo>
                        <a:pt x="198" y="238"/>
                      </a:lnTo>
                      <a:lnTo>
                        <a:pt x="198" y="237"/>
                      </a:lnTo>
                      <a:lnTo>
                        <a:pt x="199" y="236"/>
                      </a:lnTo>
                      <a:lnTo>
                        <a:pt x="199" y="236"/>
                      </a:lnTo>
                      <a:lnTo>
                        <a:pt x="199" y="235"/>
                      </a:lnTo>
                      <a:lnTo>
                        <a:pt x="199" y="234"/>
                      </a:lnTo>
                      <a:lnTo>
                        <a:pt x="199" y="234"/>
                      </a:lnTo>
                      <a:lnTo>
                        <a:pt x="200" y="234"/>
                      </a:lnTo>
                      <a:lnTo>
                        <a:pt x="201" y="234"/>
                      </a:lnTo>
                      <a:lnTo>
                        <a:pt x="201" y="234"/>
                      </a:lnTo>
                      <a:lnTo>
                        <a:pt x="201" y="233"/>
                      </a:lnTo>
                      <a:lnTo>
                        <a:pt x="202" y="233"/>
                      </a:lnTo>
                      <a:lnTo>
                        <a:pt x="203" y="233"/>
                      </a:lnTo>
                      <a:lnTo>
                        <a:pt x="203" y="232"/>
                      </a:lnTo>
                      <a:lnTo>
                        <a:pt x="202" y="232"/>
                      </a:lnTo>
                      <a:lnTo>
                        <a:pt x="201" y="232"/>
                      </a:lnTo>
                      <a:lnTo>
                        <a:pt x="201" y="232"/>
                      </a:lnTo>
                      <a:lnTo>
                        <a:pt x="200" y="232"/>
                      </a:lnTo>
                      <a:lnTo>
                        <a:pt x="200" y="232"/>
                      </a:lnTo>
                      <a:lnTo>
                        <a:pt x="200" y="233"/>
                      </a:lnTo>
                      <a:lnTo>
                        <a:pt x="199" y="233"/>
                      </a:lnTo>
                      <a:lnTo>
                        <a:pt x="199" y="232"/>
                      </a:lnTo>
                      <a:lnTo>
                        <a:pt x="199" y="232"/>
                      </a:lnTo>
                      <a:lnTo>
                        <a:pt x="199" y="232"/>
                      </a:lnTo>
                      <a:lnTo>
                        <a:pt x="199" y="231"/>
                      </a:lnTo>
                      <a:lnTo>
                        <a:pt x="199" y="231"/>
                      </a:lnTo>
                      <a:lnTo>
                        <a:pt x="200" y="231"/>
                      </a:lnTo>
                      <a:lnTo>
                        <a:pt x="200" y="230"/>
                      </a:lnTo>
                      <a:lnTo>
                        <a:pt x="201" y="230"/>
                      </a:lnTo>
                      <a:lnTo>
                        <a:pt x="201" y="230"/>
                      </a:lnTo>
                      <a:lnTo>
                        <a:pt x="202" y="230"/>
                      </a:lnTo>
                      <a:lnTo>
                        <a:pt x="202" y="229"/>
                      </a:lnTo>
                      <a:lnTo>
                        <a:pt x="203" y="229"/>
                      </a:lnTo>
                      <a:lnTo>
                        <a:pt x="204" y="229"/>
                      </a:lnTo>
                      <a:lnTo>
                        <a:pt x="204" y="228"/>
                      </a:lnTo>
                      <a:lnTo>
                        <a:pt x="204" y="228"/>
                      </a:lnTo>
                      <a:lnTo>
                        <a:pt x="204" y="227"/>
                      </a:lnTo>
                      <a:lnTo>
                        <a:pt x="203" y="227"/>
                      </a:lnTo>
                      <a:lnTo>
                        <a:pt x="202" y="227"/>
                      </a:lnTo>
                      <a:lnTo>
                        <a:pt x="202" y="228"/>
                      </a:lnTo>
                      <a:lnTo>
                        <a:pt x="202" y="228"/>
                      </a:lnTo>
                      <a:lnTo>
                        <a:pt x="201" y="228"/>
                      </a:lnTo>
                      <a:lnTo>
                        <a:pt x="201" y="228"/>
                      </a:lnTo>
                      <a:lnTo>
                        <a:pt x="201" y="228"/>
                      </a:lnTo>
                      <a:lnTo>
                        <a:pt x="201" y="227"/>
                      </a:lnTo>
                      <a:lnTo>
                        <a:pt x="201" y="227"/>
                      </a:lnTo>
                      <a:lnTo>
                        <a:pt x="202" y="227"/>
                      </a:lnTo>
                      <a:lnTo>
                        <a:pt x="202" y="226"/>
                      </a:lnTo>
                      <a:lnTo>
                        <a:pt x="203" y="226"/>
                      </a:lnTo>
                      <a:lnTo>
                        <a:pt x="204" y="226"/>
                      </a:lnTo>
                      <a:lnTo>
                        <a:pt x="204" y="226"/>
                      </a:lnTo>
                      <a:lnTo>
                        <a:pt x="205" y="226"/>
                      </a:lnTo>
                      <a:lnTo>
                        <a:pt x="206" y="225"/>
                      </a:lnTo>
                      <a:lnTo>
                        <a:pt x="206" y="225"/>
                      </a:lnTo>
                      <a:lnTo>
                        <a:pt x="206" y="224"/>
                      </a:lnTo>
                      <a:lnTo>
                        <a:pt x="207" y="224"/>
                      </a:lnTo>
                      <a:lnTo>
                        <a:pt x="207" y="224"/>
                      </a:lnTo>
                      <a:lnTo>
                        <a:pt x="206" y="224"/>
                      </a:lnTo>
                      <a:lnTo>
                        <a:pt x="206" y="224"/>
                      </a:lnTo>
                      <a:lnTo>
                        <a:pt x="206" y="223"/>
                      </a:lnTo>
                      <a:lnTo>
                        <a:pt x="205" y="223"/>
                      </a:lnTo>
                      <a:lnTo>
                        <a:pt x="205" y="222"/>
                      </a:lnTo>
                      <a:lnTo>
                        <a:pt x="205" y="221"/>
                      </a:lnTo>
                      <a:lnTo>
                        <a:pt x="205" y="221"/>
                      </a:lnTo>
                      <a:lnTo>
                        <a:pt x="204" y="220"/>
                      </a:lnTo>
                      <a:lnTo>
                        <a:pt x="204" y="221"/>
                      </a:lnTo>
                      <a:lnTo>
                        <a:pt x="203" y="221"/>
                      </a:lnTo>
                      <a:lnTo>
                        <a:pt x="203" y="221"/>
                      </a:lnTo>
                      <a:lnTo>
                        <a:pt x="203" y="222"/>
                      </a:lnTo>
                      <a:lnTo>
                        <a:pt x="202" y="221"/>
                      </a:lnTo>
                      <a:lnTo>
                        <a:pt x="202" y="221"/>
                      </a:lnTo>
                      <a:lnTo>
                        <a:pt x="202" y="220"/>
                      </a:lnTo>
                      <a:lnTo>
                        <a:pt x="201" y="221"/>
                      </a:lnTo>
                      <a:lnTo>
                        <a:pt x="201" y="221"/>
                      </a:lnTo>
                      <a:lnTo>
                        <a:pt x="201" y="220"/>
                      </a:lnTo>
                      <a:lnTo>
                        <a:pt x="200" y="219"/>
                      </a:lnTo>
                      <a:lnTo>
                        <a:pt x="200" y="219"/>
                      </a:lnTo>
                      <a:lnTo>
                        <a:pt x="200" y="218"/>
                      </a:lnTo>
                      <a:lnTo>
                        <a:pt x="200" y="217"/>
                      </a:lnTo>
                      <a:lnTo>
                        <a:pt x="201" y="217"/>
                      </a:lnTo>
                      <a:lnTo>
                        <a:pt x="201" y="217"/>
                      </a:lnTo>
                      <a:lnTo>
                        <a:pt x="201" y="217"/>
                      </a:lnTo>
                      <a:lnTo>
                        <a:pt x="201" y="216"/>
                      </a:lnTo>
                      <a:lnTo>
                        <a:pt x="201" y="215"/>
                      </a:lnTo>
                      <a:lnTo>
                        <a:pt x="201" y="215"/>
                      </a:lnTo>
                      <a:lnTo>
                        <a:pt x="201" y="215"/>
                      </a:lnTo>
                      <a:lnTo>
                        <a:pt x="201" y="214"/>
                      </a:lnTo>
                      <a:lnTo>
                        <a:pt x="200" y="213"/>
                      </a:lnTo>
                      <a:lnTo>
                        <a:pt x="199" y="213"/>
                      </a:lnTo>
                      <a:lnTo>
                        <a:pt x="199" y="212"/>
                      </a:lnTo>
                      <a:lnTo>
                        <a:pt x="199" y="211"/>
                      </a:lnTo>
                      <a:lnTo>
                        <a:pt x="199" y="211"/>
                      </a:lnTo>
                      <a:lnTo>
                        <a:pt x="199" y="211"/>
                      </a:lnTo>
                      <a:lnTo>
                        <a:pt x="200" y="210"/>
                      </a:lnTo>
                      <a:lnTo>
                        <a:pt x="201" y="209"/>
                      </a:lnTo>
                      <a:lnTo>
                        <a:pt x="201" y="209"/>
                      </a:lnTo>
                      <a:lnTo>
                        <a:pt x="201" y="208"/>
                      </a:lnTo>
                      <a:lnTo>
                        <a:pt x="201" y="207"/>
                      </a:lnTo>
                      <a:lnTo>
                        <a:pt x="201" y="207"/>
                      </a:lnTo>
                      <a:lnTo>
                        <a:pt x="201" y="206"/>
                      </a:lnTo>
                      <a:lnTo>
                        <a:pt x="201" y="205"/>
                      </a:lnTo>
                      <a:lnTo>
                        <a:pt x="201" y="205"/>
                      </a:lnTo>
                      <a:lnTo>
                        <a:pt x="201" y="205"/>
                      </a:lnTo>
                      <a:lnTo>
                        <a:pt x="202" y="205"/>
                      </a:lnTo>
                      <a:lnTo>
                        <a:pt x="203" y="205"/>
                      </a:lnTo>
                      <a:lnTo>
                        <a:pt x="203" y="204"/>
                      </a:lnTo>
                      <a:lnTo>
                        <a:pt x="204" y="203"/>
                      </a:lnTo>
                      <a:lnTo>
                        <a:pt x="204" y="203"/>
                      </a:lnTo>
                      <a:lnTo>
                        <a:pt x="204" y="204"/>
                      </a:lnTo>
                      <a:lnTo>
                        <a:pt x="205" y="204"/>
                      </a:lnTo>
                      <a:lnTo>
                        <a:pt x="206" y="204"/>
                      </a:lnTo>
                      <a:lnTo>
                        <a:pt x="206" y="204"/>
                      </a:lnTo>
                      <a:lnTo>
                        <a:pt x="206" y="203"/>
                      </a:lnTo>
                      <a:lnTo>
                        <a:pt x="206" y="203"/>
                      </a:lnTo>
                      <a:lnTo>
                        <a:pt x="206" y="202"/>
                      </a:lnTo>
                      <a:lnTo>
                        <a:pt x="206" y="201"/>
                      </a:lnTo>
                      <a:lnTo>
                        <a:pt x="206" y="200"/>
                      </a:lnTo>
                      <a:lnTo>
                        <a:pt x="207" y="200"/>
                      </a:lnTo>
                      <a:lnTo>
                        <a:pt x="208" y="200"/>
                      </a:lnTo>
                      <a:lnTo>
                        <a:pt x="208" y="199"/>
                      </a:lnTo>
                      <a:lnTo>
                        <a:pt x="208" y="199"/>
                      </a:lnTo>
                      <a:lnTo>
                        <a:pt x="208" y="198"/>
                      </a:lnTo>
                      <a:lnTo>
                        <a:pt x="209" y="198"/>
                      </a:lnTo>
                      <a:lnTo>
                        <a:pt x="209" y="198"/>
                      </a:lnTo>
                      <a:lnTo>
                        <a:pt x="209" y="197"/>
                      </a:lnTo>
                      <a:lnTo>
                        <a:pt x="210" y="197"/>
                      </a:lnTo>
                      <a:lnTo>
                        <a:pt x="210" y="198"/>
                      </a:lnTo>
                      <a:lnTo>
                        <a:pt x="210" y="198"/>
                      </a:lnTo>
                      <a:lnTo>
                        <a:pt x="210" y="199"/>
                      </a:lnTo>
                      <a:lnTo>
                        <a:pt x="210" y="199"/>
                      </a:lnTo>
                      <a:lnTo>
                        <a:pt x="211" y="199"/>
                      </a:lnTo>
                      <a:lnTo>
                        <a:pt x="211" y="198"/>
                      </a:lnTo>
                      <a:lnTo>
                        <a:pt x="212" y="198"/>
                      </a:lnTo>
                      <a:lnTo>
                        <a:pt x="211" y="197"/>
                      </a:lnTo>
                      <a:lnTo>
                        <a:pt x="210" y="197"/>
                      </a:lnTo>
                      <a:lnTo>
                        <a:pt x="210" y="196"/>
                      </a:lnTo>
                      <a:lnTo>
                        <a:pt x="210" y="196"/>
                      </a:lnTo>
                      <a:lnTo>
                        <a:pt x="210" y="196"/>
                      </a:lnTo>
                      <a:lnTo>
                        <a:pt x="210" y="195"/>
                      </a:lnTo>
                      <a:lnTo>
                        <a:pt x="210" y="194"/>
                      </a:lnTo>
                      <a:lnTo>
                        <a:pt x="210" y="194"/>
                      </a:lnTo>
                      <a:lnTo>
                        <a:pt x="211" y="194"/>
                      </a:lnTo>
                      <a:lnTo>
                        <a:pt x="211" y="193"/>
                      </a:lnTo>
                      <a:lnTo>
                        <a:pt x="212" y="193"/>
                      </a:lnTo>
                      <a:lnTo>
                        <a:pt x="212" y="192"/>
                      </a:lnTo>
                      <a:lnTo>
                        <a:pt x="212" y="192"/>
                      </a:lnTo>
                      <a:lnTo>
                        <a:pt x="211" y="192"/>
                      </a:lnTo>
                      <a:lnTo>
                        <a:pt x="211" y="191"/>
                      </a:lnTo>
                      <a:lnTo>
                        <a:pt x="212" y="191"/>
                      </a:lnTo>
                      <a:lnTo>
                        <a:pt x="212" y="191"/>
                      </a:lnTo>
                      <a:lnTo>
                        <a:pt x="213" y="190"/>
                      </a:lnTo>
                      <a:lnTo>
                        <a:pt x="214" y="190"/>
                      </a:lnTo>
                      <a:lnTo>
                        <a:pt x="214" y="190"/>
                      </a:lnTo>
                      <a:lnTo>
                        <a:pt x="215" y="190"/>
                      </a:lnTo>
                      <a:lnTo>
                        <a:pt x="216" y="190"/>
                      </a:lnTo>
                      <a:lnTo>
                        <a:pt x="216" y="190"/>
                      </a:lnTo>
                      <a:lnTo>
                        <a:pt x="216" y="189"/>
                      </a:lnTo>
                      <a:lnTo>
                        <a:pt x="216" y="188"/>
                      </a:lnTo>
                      <a:lnTo>
                        <a:pt x="216" y="188"/>
                      </a:lnTo>
                      <a:lnTo>
                        <a:pt x="216" y="188"/>
                      </a:lnTo>
                      <a:lnTo>
                        <a:pt x="216" y="187"/>
                      </a:lnTo>
                      <a:lnTo>
                        <a:pt x="216" y="186"/>
                      </a:lnTo>
                      <a:lnTo>
                        <a:pt x="216" y="186"/>
                      </a:lnTo>
                      <a:lnTo>
                        <a:pt x="216" y="185"/>
                      </a:lnTo>
                      <a:lnTo>
                        <a:pt x="216" y="184"/>
                      </a:lnTo>
                      <a:lnTo>
                        <a:pt x="216" y="184"/>
                      </a:lnTo>
                      <a:lnTo>
                        <a:pt x="215" y="184"/>
                      </a:lnTo>
                      <a:lnTo>
                        <a:pt x="214" y="184"/>
                      </a:lnTo>
                      <a:lnTo>
                        <a:pt x="214" y="183"/>
                      </a:lnTo>
                      <a:lnTo>
                        <a:pt x="214" y="182"/>
                      </a:lnTo>
                      <a:lnTo>
                        <a:pt x="214" y="181"/>
                      </a:lnTo>
                      <a:lnTo>
                        <a:pt x="214" y="181"/>
                      </a:lnTo>
                      <a:lnTo>
                        <a:pt x="215" y="182"/>
                      </a:lnTo>
                      <a:lnTo>
                        <a:pt x="216" y="182"/>
                      </a:lnTo>
                      <a:lnTo>
                        <a:pt x="216" y="182"/>
                      </a:lnTo>
                      <a:lnTo>
                        <a:pt x="217" y="182"/>
                      </a:lnTo>
                      <a:lnTo>
                        <a:pt x="218" y="182"/>
                      </a:lnTo>
                      <a:lnTo>
                        <a:pt x="218" y="182"/>
                      </a:lnTo>
                      <a:lnTo>
                        <a:pt x="219" y="183"/>
                      </a:lnTo>
                      <a:lnTo>
                        <a:pt x="219" y="184"/>
                      </a:lnTo>
                      <a:lnTo>
                        <a:pt x="219" y="184"/>
                      </a:lnTo>
                      <a:lnTo>
                        <a:pt x="219" y="185"/>
                      </a:lnTo>
                      <a:lnTo>
                        <a:pt x="220" y="186"/>
                      </a:lnTo>
                      <a:lnTo>
                        <a:pt x="220" y="185"/>
                      </a:lnTo>
                      <a:lnTo>
                        <a:pt x="221" y="184"/>
                      </a:lnTo>
                      <a:lnTo>
                        <a:pt x="221" y="184"/>
                      </a:lnTo>
                      <a:lnTo>
                        <a:pt x="220" y="183"/>
                      </a:lnTo>
                      <a:lnTo>
                        <a:pt x="220" y="182"/>
                      </a:lnTo>
                      <a:lnTo>
                        <a:pt x="220" y="181"/>
                      </a:lnTo>
                      <a:lnTo>
                        <a:pt x="220" y="181"/>
                      </a:lnTo>
                      <a:lnTo>
                        <a:pt x="220" y="181"/>
                      </a:lnTo>
                      <a:lnTo>
                        <a:pt x="219" y="181"/>
                      </a:lnTo>
                      <a:lnTo>
                        <a:pt x="219" y="180"/>
                      </a:lnTo>
                      <a:lnTo>
                        <a:pt x="220" y="180"/>
                      </a:lnTo>
                      <a:lnTo>
                        <a:pt x="220" y="179"/>
                      </a:lnTo>
                      <a:lnTo>
                        <a:pt x="220" y="179"/>
                      </a:lnTo>
                      <a:lnTo>
                        <a:pt x="220" y="179"/>
                      </a:lnTo>
                      <a:lnTo>
                        <a:pt x="221" y="179"/>
                      </a:lnTo>
                      <a:lnTo>
                        <a:pt x="221" y="178"/>
                      </a:lnTo>
                      <a:lnTo>
                        <a:pt x="221" y="177"/>
                      </a:lnTo>
                      <a:lnTo>
                        <a:pt x="221" y="176"/>
                      </a:lnTo>
                      <a:lnTo>
                        <a:pt x="221" y="175"/>
                      </a:lnTo>
                      <a:lnTo>
                        <a:pt x="225" y="175"/>
                      </a:lnTo>
                      <a:lnTo>
                        <a:pt x="228" y="175"/>
                      </a:lnTo>
                      <a:lnTo>
                        <a:pt x="230" y="174"/>
                      </a:lnTo>
                      <a:lnTo>
                        <a:pt x="232" y="173"/>
                      </a:lnTo>
                      <a:lnTo>
                        <a:pt x="234" y="171"/>
                      </a:lnTo>
                      <a:lnTo>
                        <a:pt x="236" y="170"/>
                      </a:lnTo>
                      <a:lnTo>
                        <a:pt x="237" y="169"/>
                      </a:lnTo>
                      <a:lnTo>
                        <a:pt x="239" y="168"/>
                      </a:lnTo>
                      <a:lnTo>
                        <a:pt x="240" y="167"/>
                      </a:lnTo>
                      <a:lnTo>
                        <a:pt x="241" y="167"/>
                      </a:lnTo>
                      <a:lnTo>
                        <a:pt x="244" y="165"/>
                      </a:lnTo>
                      <a:lnTo>
                        <a:pt x="244" y="165"/>
                      </a:lnTo>
                      <a:lnTo>
                        <a:pt x="245" y="164"/>
                      </a:lnTo>
                      <a:lnTo>
                        <a:pt x="246" y="163"/>
                      </a:lnTo>
                      <a:lnTo>
                        <a:pt x="246" y="162"/>
                      </a:lnTo>
                      <a:lnTo>
                        <a:pt x="246" y="162"/>
                      </a:lnTo>
                      <a:lnTo>
                        <a:pt x="246" y="161"/>
                      </a:lnTo>
                      <a:lnTo>
                        <a:pt x="245" y="160"/>
                      </a:lnTo>
                      <a:lnTo>
                        <a:pt x="244" y="159"/>
                      </a:lnTo>
                      <a:lnTo>
                        <a:pt x="244" y="158"/>
                      </a:lnTo>
                      <a:lnTo>
                        <a:pt x="243" y="158"/>
                      </a:lnTo>
                      <a:lnTo>
                        <a:pt x="242" y="156"/>
                      </a:lnTo>
                      <a:lnTo>
                        <a:pt x="241" y="155"/>
                      </a:lnTo>
                      <a:lnTo>
                        <a:pt x="240" y="154"/>
                      </a:lnTo>
                      <a:lnTo>
                        <a:pt x="239" y="154"/>
                      </a:lnTo>
                      <a:lnTo>
                        <a:pt x="239" y="154"/>
                      </a:lnTo>
                      <a:lnTo>
                        <a:pt x="239" y="154"/>
                      </a:lnTo>
                      <a:lnTo>
                        <a:pt x="239" y="153"/>
                      </a:lnTo>
                      <a:lnTo>
                        <a:pt x="238" y="152"/>
                      </a:lnTo>
                      <a:lnTo>
                        <a:pt x="238" y="152"/>
                      </a:lnTo>
                      <a:lnTo>
                        <a:pt x="237" y="151"/>
                      </a:lnTo>
                      <a:lnTo>
                        <a:pt x="237" y="150"/>
                      </a:lnTo>
                      <a:lnTo>
                        <a:pt x="237" y="150"/>
                      </a:lnTo>
                      <a:lnTo>
                        <a:pt x="237" y="149"/>
                      </a:lnTo>
                      <a:lnTo>
                        <a:pt x="237" y="148"/>
                      </a:lnTo>
                      <a:lnTo>
                        <a:pt x="237" y="148"/>
                      </a:lnTo>
                      <a:lnTo>
                        <a:pt x="237" y="148"/>
                      </a:lnTo>
                      <a:lnTo>
                        <a:pt x="238" y="148"/>
                      </a:lnTo>
                      <a:lnTo>
                        <a:pt x="238" y="147"/>
                      </a:lnTo>
                      <a:lnTo>
                        <a:pt x="239" y="147"/>
                      </a:lnTo>
                      <a:lnTo>
                        <a:pt x="239" y="146"/>
                      </a:lnTo>
                      <a:lnTo>
                        <a:pt x="240" y="146"/>
                      </a:lnTo>
                      <a:lnTo>
                        <a:pt x="241" y="146"/>
                      </a:lnTo>
                      <a:lnTo>
                        <a:pt x="242" y="146"/>
                      </a:lnTo>
                      <a:lnTo>
                        <a:pt x="242" y="146"/>
                      </a:lnTo>
                      <a:lnTo>
                        <a:pt x="242" y="146"/>
                      </a:lnTo>
                      <a:lnTo>
                        <a:pt x="243" y="146"/>
                      </a:lnTo>
                      <a:lnTo>
                        <a:pt x="244" y="146"/>
                      </a:lnTo>
                      <a:lnTo>
                        <a:pt x="245" y="146"/>
                      </a:lnTo>
                      <a:lnTo>
                        <a:pt x="246" y="146"/>
                      </a:lnTo>
                      <a:lnTo>
                        <a:pt x="247" y="146"/>
                      </a:lnTo>
                      <a:lnTo>
                        <a:pt x="248" y="146"/>
                      </a:lnTo>
                      <a:lnTo>
                        <a:pt x="248" y="146"/>
                      </a:lnTo>
                      <a:lnTo>
                        <a:pt x="249" y="146"/>
                      </a:lnTo>
                      <a:lnTo>
                        <a:pt x="250" y="146"/>
                      </a:lnTo>
                      <a:lnTo>
                        <a:pt x="252" y="147"/>
                      </a:lnTo>
                      <a:lnTo>
                        <a:pt x="253" y="147"/>
                      </a:lnTo>
                      <a:lnTo>
                        <a:pt x="254" y="147"/>
                      </a:lnTo>
                      <a:lnTo>
                        <a:pt x="256" y="147"/>
                      </a:lnTo>
                      <a:lnTo>
                        <a:pt x="257" y="148"/>
                      </a:lnTo>
                      <a:lnTo>
                        <a:pt x="258" y="148"/>
                      </a:lnTo>
                      <a:lnTo>
                        <a:pt x="260" y="149"/>
                      </a:lnTo>
                      <a:lnTo>
                        <a:pt x="261" y="151"/>
                      </a:lnTo>
                      <a:lnTo>
                        <a:pt x="263" y="152"/>
                      </a:lnTo>
                      <a:lnTo>
                        <a:pt x="265" y="154"/>
                      </a:lnTo>
                      <a:lnTo>
                        <a:pt x="266" y="154"/>
                      </a:lnTo>
                      <a:lnTo>
                        <a:pt x="268" y="154"/>
                      </a:lnTo>
                      <a:lnTo>
                        <a:pt x="270" y="154"/>
                      </a:lnTo>
                      <a:lnTo>
                        <a:pt x="271" y="153"/>
                      </a:lnTo>
                      <a:lnTo>
                        <a:pt x="272" y="152"/>
                      </a:lnTo>
                      <a:lnTo>
                        <a:pt x="273" y="151"/>
                      </a:lnTo>
                      <a:lnTo>
                        <a:pt x="275" y="149"/>
                      </a:lnTo>
                      <a:lnTo>
                        <a:pt x="277" y="147"/>
                      </a:lnTo>
                      <a:lnTo>
                        <a:pt x="280" y="146"/>
                      </a:lnTo>
                      <a:lnTo>
                        <a:pt x="282" y="143"/>
                      </a:lnTo>
                      <a:lnTo>
                        <a:pt x="284" y="140"/>
                      </a:lnTo>
                      <a:lnTo>
                        <a:pt x="285" y="138"/>
                      </a:lnTo>
                      <a:lnTo>
                        <a:pt x="286" y="134"/>
                      </a:lnTo>
                      <a:lnTo>
                        <a:pt x="286" y="130"/>
                      </a:lnTo>
                      <a:lnTo>
                        <a:pt x="286" y="122"/>
                      </a:lnTo>
                      <a:lnTo>
                        <a:pt x="284" y="118"/>
                      </a:lnTo>
                      <a:lnTo>
                        <a:pt x="282" y="116"/>
                      </a:lnTo>
                      <a:lnTo>
                        <a:pt x="282" y="114"/>
                      </a:lnTo>
                      <a:lnTo>
                        <a:pt x="283" y="112"/>
                      </a:lnTo>
                      <a:lnTo>
                        <a:pt x="285" y="109"/>
                      </a:lnTo>
                      <a:lnTo>
                        <a:pt x="287" y="107"/>
                      </a:lnTo>
                      <a:lnTo>
                        <a:pt x="289" y="105"/>
                      </a:lnTo>
                      <a:lnTo>
                        <a:pt x="292" y="103"/>
                      </a:lnTo>
                      <a:lnTo>
                        <a:pt x="294" y="101"/>
                      </a:lnTo>
                      <a:lnTo>
                        <a:pt x="296" y="100"/>
                      </a:lnTo>
                      <a:lnTo>
                        <a:pt x="299" y="100"/>
                      </a:lnTo>
                      <a:lnTo>
                        <a:pt x="302" y="99"/>
                      </a:lnTo>
                      <a:lnTo>
                        <a:pt x="303" y="100"/>
                      </a:lnTo>
                      <a:lnTo>
                        <a:pt x="304" y="100"/>
                      </a:lnTo>
                      <a:lnTo>
                        <a:pt x="305" y="101"/>
                      </a:lnTo>
                      <a:lnTo>
                        <a:pt x="307" y="101"/>
                      </a:lnTo>
                      <a:lnTo>
                        <a:pt x="309" y="101"/>
                      </a:lnTo>
                      <a:lnTo>
                        <a:pt x="311" y="101"/>
                      </a:lnTo>
                      <a:lnTo>
                        <a:pt x="313" y="101"/>
                      </a:lnTo>
                      <a:lnTo>
                        <a:pt x="316" y="99"/>
                      </a:lnTo>
                      <a:lnTo>
                        <a:pt x="318" y="97"/>
                      </a:lnTo>
                      <a:lnTo>
                        <a:pt x="320" y="95"/>
                      </a:lnTo>
                      <a:lnTo>
                        <a:pt x="321" y="94"/>
                      </a:lnTo>
                      <a:lnTo>
                        <a:pt x="322" y="93"/>
                      </a:lnTo>
                      <a:lnTo>
                        <a:pt x="325" y="92"/>
                      </a:lnTo>
                      <a:lnTo>
                        <a:pt x="326" y="91"/>
                      </a:lnTo>
                      <a:lnTo>
                        <a:pt x="327" y="89"/>
                      </a:lnTo>
                      <a:lnTo>
                        <a:pt x="329" y="86"/>
                      </a:lnTo>
                      <a:lnTo>
                        <a:pt x="330" y="83"/>
                      </a:lnTo>
                      <a:lnTo>
                        <a:pt x="330" y="80"/>
                      </a:lnTo>
                      <a:lnTo>
                        <a:pt x="331" y="77"/>
                      </a:lnTo>
                      <a:lnTo>
                        <a:pt x="331" y="74"/>
                      </a:lnTo>
                      <a:lnTo>
                        <a:pt x="330" y="70"/>
                      </a:lnTo>
                      <a:lnTo>
                        <a:pt x="329" y="68"/>
                      </a:lnTo>
                      <a:lnTo>
                        <a:pt x="329" y="67"/>
                      </a:lnTo>
                      <a:lnTo>
                        <a:pt x="330" y="65"/>
                      </a:lnTo>
                      <a:lnTo>
                        <a:pt x="330" y="63"/>
                      </a:lnTo>
                      <a:lnTo>
                        <a:pt x="330" y="61"/>
                      </a:lnTo>
                      <a:lnTo>
                        <a:pt x="330" y="58"/>
                      </a:lnTo>
                      <a:lnTo>
                        <a:pt x="329" y="55"/>
                      </a:lnTo>
                      <a:lnTo>
                        <a:pt x="329" y="53"/>
                      </a:lnTo>
                      <a:lnTo>
                        <a:pt x="329" y="51"/>
                      </a:lnTo>
                      <a:lnTo>
                        <a:pt x="328" y="50"/>
                      </a:lnTo>
                      <a:lnTo>
                        <a:pt x="327" y="48"/>
                      </a:lnTo>
                      <a:lnTo>
                        <a:pt x="327" y="47"/>
                      </a:lnTo>
                      <a:lnTo>
                        <a:pt x="327" y="45"/>
                      </a:lnTo>
                      <a:lnTo>
                        <a:pt x="327" y="44"/>
                      </a:lnTo>
                      <a:lnTo>
                        <a:pt x="328" y="43"/>
                      </a:lnTo>
                      <a:lnTo>
                        <a:pt x="329" y="43"/>
                      </a:lnTo>
                      <a:lnTo>
                        <a:pt x="330" y="43"/>
                      </a:lnTo>
                      <a:lnTo>
                        <a:pt x="332" y="43"/>
                      </a:lnTo>
                      <a:lnTo>
                        <a:pt x="334" y="43"/>
                      </a:lnTo>
                      <a:lnTo>
                        <a:pt x="337" y="43"/>
                      </a:lnTo>
                      <a:lnTo>
                        <a:pt x="339" y="43"/>
                      </a:lnTo>
                      <a:lnTo>
                        <a:pt x="341" y="43"/>
                      </a:lnTo>
                      <a:lnTo>
                        <a:pt x="343" y="44"/>
                      </a:lnTo>
                      <a:lnTo>
                        <a:pt x="345" y="45"/>
                      </a:lnTo>
                      <a:lnTo>
                        <a:pt x="347" y="45"/>
                      </a:lnTo>
                      <a:lnTo>
                        <a:pt x="348" y="46"/>
                      </a:lnTo>
                      <a:lnTo>
                        <a:pt x="349" y="47"/>
                      </a:lnTo>
                      <a:lnTo>
                        <a:pt x="351" y="47"/>
                      </a:lnTo>
                      <a:lnTo>
                        <a:pt x="353" y="46"/>
                      </a:lnTo>
                      <a:lnTo>
                        <a:pt x="354" y="46"/>
                      </a:lnTo>
                      <a:lnTo>
                        <a:pt x="356" y="47"/>
                      </a:lnTo>
                      <a:lnTo>
                        <a:pt x="358" y="48"/>
                      </a:lnTo>
                      <a:lnTo>
                        <a:pt x="359" y="49"/>
                      </a:lnTo>
                      <a:lnTo>
                        <a:pt x="360" y="50"/>
                      </a:lnTo>
                      <a:lnTo>
                        <a:pt x="362" y="50"/>
                      </a:lnTo>
                      <a:lnTo>
                        <a:pt x="364" y="49"/>
                      </a:lnTo>
                      <a:lnTo>
                        <a:pt x="365" y="47"/>
                      </a:lnTo>
                      <a:lnTo>
                        <a:pt x="367" y="46"/>
                      </a:lnTo>
                      <a:lnTo>
                        <a:pt x="370" y="43"/>
                      </a:lnTo>
                      <a:lnTo>
                        <a:pt x="372" y="41"/>
                      </a:lnTo>
                      <a:lnTo>
                        <a:pt x="373" y="39"/>
                      </a:lnTo>
                      <a:lnTo>
                        <a:pt x="375" y="38"/>
                      </a:lnTo>
                      <a:lnTo>
                        <a:pt x="377" y="36"/>
                      </a:lnTo>
                      <a:lnTo>
                        <a:pt x="379" y="36"/>
                      </a:lnTo>
                      <a:lnTo>
                        <a:pt x="381" y="35"/>
                      </a:lnTo>
                      <a:lnTo>
                        <a:pt x="383" y="34"/>
                      </a:lnTo>
                      <a:lnTo>
                        <a:pt x="385" y="34"/>
                      </a:lnTo>
                      <a:lnTo>
                        <a:pt x="385" y="32"/>
                      </a:lnTo>
                      <a:lnTo>
                        <a:pt x="387" y="31"/>
                      </a:lnTo>
                      <a:lnTo>
                        <a:pt x="389" y="29"/>
                      </a:lnTo>
                      <a:lnTo>
                        <a:pt x="390" y="28"/>
                      </a:lnTo>
                      <a:lnTo>
                        <a:pt x="392" y="26"/>
                      </a:lnTo>
                      <a:lnTo>
                        <a:pt x="394" y="24"/>
                      </a:lnTo>
                      <a:lnTo>
                        <a:pt x="395" y="22"/>
                      </a:lnTo>
                      <a:lnTo>
                        <a:pt x="395" y="21"/>
                      </a:lnTo>
                      <a:lnTo>
                        <a:pt x="396" y="18"/>
                      </a:lnTo>
                      <a:lnTo>
                        <a:pt x="395" y="15"/>
                      </a:lnTo>
                      <a:lnTo>
                        <a:pt x="394" y="13"/>
                      </a:lnTo>
                      <a:lnTo>
                        <a:pt x="394" y="10"/>
                      </a:lnTo>
                      <a:lnTo>
                        <a:pt x="393" y="8"/>
                      </a:lnTo>
                      <a:lnTo>
                        <a:pt x="391" y="6"/>
                      </a:lnTo>
                      <a:lnTo>
                        <a:pt x="390" y="4"/>
                      </a:lnTo>
                      <a:lnTo>
                        <a:pt x="389" y="2"/>
                      </a:lnTo>
                      <a:lnTo>
                        <a:pt x="389" y="0"/>
                      </a:lnTo>
                      <a:lnTo>
                        <a:pt x="38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5" name="Oruro">
                  <a:extLst>
                    <a:ext uri="{FF2B5EF4-FFF2-40B4-BE49-F238E27FC236}">
                      <a16:creationId xmlns:a16="http://schemas.microsoft.com/office/drawing/2014/main" xmlns="" id="{F099F90A-3E69-3383-B6CE-277C9F9D8B6C}"/>
                    </a:ext>
                  </a:extLst>
                </p:cNvPr>
                <p:cNvSpPr>
                  <a:spLocks noEditPoints="1"/>
                </p:cNvSpPr>
                <p:nvPr/>
              </p:nvSpPr>
              <p:spPr bwMode="auto">
                <a:xfrm>
                  <a:off x="2151" y="2757"/>
                  <a:ext cx="780" cy="681"/>
                </a:xfrm>
                <a:custGeom>
                  <a:avLst/>
                  <a:gdLst>
                    <a:gd name="T0" fmla="*/ 488 w 780"/>
                    <a:gd name="T1" fmla="*/ 3 h 681"/>
                    <a:gd name="T2" fmla="*/ 496 w 780"/>
                    <a:gd name="T3" fmla="*/ 27 h 681"/>
                    <a:gd name="T4" fmla="*/ 573 w 780"/>
                    <a:gd name="T5" fmla="*/ 75 h 681"/>
                    <a:gd name="T6" fmla="*/ 610 w 780"/>
                    <a:gd name="T7" fmla="*/ 133 h 681"/>
                    <a:gd name="T8" fmla="*/ 586 w 780"/>
                    <a:gd name="T9" fmla="*/ 198 h 681"/>
                    <a:gd name="T10" fmla="*/ 608 w 780"/>
                    <a:gd name="T11" fmla="*/ 239 h 681"/>
                    <a:gd name="T12" fmla="*/ 636 w 780"/>
                    <a:gd name="T13" fmla="*/ 239 h 681"/>
                    <a:gd name="T14" fmla="*/ 660 w 780"/>
                    <a:gd name="T15" fmla="*/ 240 h 681"/>
                    <a:gd name="T16" fmla="*/ 655 w 780"/>
                    <a:gd name="T17" fmla="*/ 248 h 681"/>
                    <a:gd name="T18" fmla="*/ 630 w 780"/>
                    <a:gd name="T19" fmla="*/ 256 h 681"/>
                    <a:gd name="T20" fmla="*/ 633 w 780"/>
                    <a:gd name="T21" fmla="*/ 323 h 681"/>
                    <a:gd name="T22" fmla="*/ 648 w 780"/>
                    <a:gd name="T23" fmla="*/ 353 h 681"/>
                    <a:gd name="T24" fmla="*/ 680 w 780"/>
                    <a:gd name="T25" fmla="*/ 370 h 681"/>
                    <a:gd name="T26" fmla="*/ 705 w 780"/>
                    <a:gd name="T27" fmla="*/ 373 h 681"/>
                    <a:gd name="T28" fmla="*/ 731 w 780"/>
                    <a:gd name="T29" fmla="*/ 442 h 681"/>
                    <a:gd name="T30" fmla="*/ 769 w 780"/>
                    <a:gd name="T31" fmla="*/ 452 h 681"/>
                    <a:gd name="T32" fmla="*/ 770 w 780"/>
                    <a:gd name="T33" fmla="*/ 503 h 681"/>
                    <a:gd name="T34" fmla="*/ 734 w 780"/>
                    <a:gd name="T35" fmla="*/ 519 h 681"/>
                    <a:gd name="T36" fmla="*/ 629 w 780"/>
                    <a:gd name="T37" fmla="*/ 559 h 681"/>
                    <a:gd name="T38" fmla="*/ 604 w 780"/>
                    <a:gd name="T39" fmla="*/ 558 h 681"/>
                    <a:gd name="T40" fmla="*/ 583 w 780"/>
                    <a:gd name="T41" fmla="*/ 556 h 681"/>
                    <a:gd name="T42" fmla="*/ 561 w 780"/>
                    <a:gd name="T43" fmla="*/ 540 h 681"/>
                    <a:gd name="T44" fmla="*/ 537 w 780"/>
                    <a:gd name="T45" fmla="*/ 541 h 681"/>
                    <a:gd name="T46" fmla="*/ 525 w 780"/>
                    <a:gd name="T47" fmla="*/ 551 h 681"/>
                    <a:gd name="T48" fmla="*/ 498 w 780"/>
                    <a:gd name="T49" fmla="*/ 561 h 681"/>
                    <a:gd name="T50" fmla="*/ 488 w 780"/>
                    <a:gd name="T51" fmla="*/ 567 h 681"/>
                    <a:gd name="T52" fmla="*/ 495 w 780"/>
                    <a:gd name="T53" fmla="*/ 585 h 681"/>
                    <a:gd name="T54" fmla="*/ 502 w 780"/>
                    <a:gd name="T55" fmla="*/ 607 h 681"/>
                    <a:gd name="T56" fmla="*/ 496 w 780"/>
                    <a:gd name="T57" fmla="*/ 627 h 681"/>
                    <a:gd name="T58" fmla="*/ 481 w 780"/>
                    <a:gd name="T59" fmla="*/ 646 h 681"/>
                    <a:gd name="T60" fmla="*/ 457 w 780"/>
                    <a:gd name="T61" fmla="*/ 634 h 681"/>
                    <a:gd name="T62" fmla="*/ 429 w 780"/>
                    <a:gd name="T63" fmla="*/ 634 h 681"/>
                    <a:gd name="T64" fmla="*/ 411 w 780"/>
                    <a:gd name="T65" fmla="*/ 644 h 681"/>
                    <a:gd name="T66" fmla="*/ 418 w 780"/>
                    <a:gd name="T67" fmla="*/ 654 h 681"/>
                    <a:gd name="T68" fmla="*/ 424 w 780"/>
                    <a:gd name="T69" fmla="*/ 665 h 681"/>
                    <a:gd name="T70" fmla="*/ 413 w 780"/>
                    <a:gd name="T71" fmla="*/ 678 h 681"/>
                    <a:gd name="T72" fmla="*/ 374 w 780"/>
                    <a:gd name="T73" fmla="*/ 665 h 681"/>
                    <a:gd name="T74" fmla="*/ 298 w 780"/>
                    <a:gd name="T75" fmla="*/ 621 h 681"/>
                    <a:gd name="T76" fmla="*/ 272 w 780"/>
                    <a:gd name="T77" fmla="*/ 606 h 681"/>
                    <a:gd name="T78" fmla="*/ 252 w 780"/>
                    <a:gd name="T79" fmla="*/ 608 h 681"/>
                    <a:gd name="T80" fmla="*/ 236 w 780"/>
                    <a:gd name="T81" fmla="*/ 599 h 681"/>
                    <a:gd name="T82" fmla="*/ 220 w 780"/>
                    <a:gd name="T83" fmla="*/ 589 h 681"/>
                    <a:gd name="T84" fmla="*/ 198 w 780"/>
                    <a:gd name="T85" fmla="*/ 575 h 681"/>
                    <a:gd name="T86" fmla="*/ 127 w 780"/>
                    <a:gd name="T87" fmla="*/ 508 h 681"/>
                    <a:gd name="T88" fmla="*/ 32 w 780"/>
                    <a:gd name="T89" fmla="*/ 353 h 681"/>
                    <a:gd name="T90" fmla="*/ 26 w 780"/>
                    <a:gd name="T91" fmla="*/ 274 h 681"/>
                    <a:gd name="T92" fmla="*/ 57 w 780"/>
                    <a:gd name="T93" fmla="*/ 177 h 681"/>
                    <a:gd name="T94" fmla="*/ 96 w 780"/>
                    <a:gd name="T95" fmla="*/ 165 h 681"/>
                    <a:gd name="T96" fmla="*/ 117 w 780"/>
                    <a:gd name="T97" fmla="*/ 156 h 681"/>
                    <a:gd name="T98" fmla="*/ 136 w 780"/>
                    <a:gd name="T99" fmla="*/ 142 h 681"/>
                    <a:gd name="T100" fmla="*/ 150 w 780"/>
                    <a:gd name="T101" fmla="*/ 112 h 681"/>
                    <a:gd name="T102" fmla="*/ 172 w 780"/>
                    <a:gd name="T103" fmla="*/ 97 h 681"/>
                    <a:gd name="T104" fmla="*/ 190 w 780"/>
                    <a:gd name="T105" fmla="*/ 78 h 681"/>
                    <a:gd name="T106" fmla="*/ 217 w 780"/>
                    <a:gd name="T107" fmla="*/ 90 h 681"/>
                    <a:gd name="T108" fmla="*/ 256 w 780"/>
                    <a:gd name="T109" fmla="*/ 101 h 681"/>
                    <a:gd name="T110" fmla="*/ 321 w 780"/>
                    <a:gd name="T111" fmla="*/ 132 h 681"/>
                    <a:gd name="T112" fmla="*/ 337 w 780"/>
                    <a:gd name="T113" fmla="*/ 149 h 681"/>
                    <a:gd name="T114" fmla="*/ 412 w 780"/>
                    <a:gd name="T115" fmla="*/ 88 h 681"/>
                    <a:gd name="T116" fmla="*/ 408 w 780"/>
                    <a:gd name="T117" fmla="*/ 61 h 681"/>
                    <a:gd name="T118" fmla="*/ 425 w 780"/>
                    <a:gd name="T119" fmla="*/ 53 h 681"/>
                    <a:gd name="T120" fmla="*/ 444 w 780"/>
                    <a:gd name="T121" fmla="*/ 44 h 681"/>
                    <a:gd name="T122" fmla="*/ 458 w 780"/>
                    <a:gd name="T123" fmla="*/ 18 h 681"/>
                    <a:gd name="T124" fmla="*/ 471 w 780"/>
                    <a:gd name="T125" fmla="*/ 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81">
                      <a:moveTo>
                        <a:pt x="422" y="674"/>
                      </a:moveTo>
                      <a:lnTo>
                        <a:pt x="422" y="674"/>
                      </a:lnTo>
                      <a:lnTo>
                        <a:pt x="422" y="674"/>
                      </a:lnTo>
                      <a:lnTo>
                        <a:pt x="422" y="674"/>
                      </a:lnTo>
                      <a:lnTo>
                        <a:pt x="422" y="674"/>
                      </a:lnTo>
                      <a:lnTo>
                        <a:pt x="422" y="674"/>
                      </a:lnTo>
                      <a:lnTo>
                        <a:pt x="422" y="674"/>
                      </a:lnTo>
                      <a:lnTo>
                        <a:pt x="422" y="674"/>
                      </a:lnTo>
                      <a:lnTo>
                        <a:pt x="421" y="674"/>
                      </a:lnTo>
                      <a:lnTo>
                        <a:pt x="421" y="675"/>
                      </a:lnTo>
                      <a:lnTo>
                        <a:pt x="421" y="676"/>
                      </a:lnTo>
                      <a:lnTo>
                        <a:pt x="421" y="675"/>
                      </a:lnTo>
                      <a:lnTo>
                        <a:pt x="421" y="674"/>
                      </a:lnTo>
                      <a:lnTo>
                        <a:pt x="421" y="674"/>
                      </a:lnTo>
                      <a:lnTo>
                        <a:pt x="422" y="674"/>
                      </a:lnTo>
                      <a:close/>
                      <a:moveTo>
                        <a:pt x="476" y="0"/>
                      </a:moveTo>
                      <a:lnTo>
                        <a:pt x="477" y="0"/>
                      </a:lnTo>
                      <a:lnTo>
                        <a:pt x="477" y="0"/>
                      </a:lnTo>
                      <a:lnTo>
                        <a:pt x="477" y="0"/>
                      </a:lnTo>
                      <a:lnTo>
                        <a:pt x="478" y="1"/>
                      </a:lnTo>
                      <a:lnTo>
                        <a:pt x="479" y="1"/>
                      </a:lnTo>
                      <a:lnTo>
                        <a:pt x="479" y="2"/>
                      </a:lnTo>
                      <a:lnTo>
                        <a:pt x="479" y="2"/>
                      </a:lnTo>
                      <a:lnTo>
                        <a:pt x="480" y="2"/>
                      </a:lnTo>
                      <a:lnTo>
                        <a:pt x="479" y="2"/>
                      </a:lnTo>
                      <a:lnTo>
                        <a:pt x="480" y="2"/>
                      </a:lnTo>
                      <a:lnTo>
                        <a:pt x="480" y="2"/>
                      </a:lnTo>
                      <a:lnTo>
                        <a:pt x="481" y="2"/>
                      </a:lnTo>
                      <a:lnTo>
                        <a:pt x="481" y="3"/>
                      </a:lnTo>
                      <a:lnTo>
                        <a:pt x="481" y="2"/>
                      </a:lnTo>
                      <a:lnTo>
                        <a:pt x="481" y="2"/>
                      </a:lnTo>
                      <a:lnTo>
                        <a:pt x="482" y="2"/>
                      </a:lnTo>
                      <a:lnTo>
                        <a:pt x="483" y="2"/>
                      </a:lnTo>
                      <a:lnTo>
                        <a:pt x="483" y="2"/>
                      </a:lnTo>
                      <a:lnTo>
                        <a:pt x="484" y="2"/>
                      </a:lnTo>
                      <a:lnTo>
                        <a:pt x="484" y="3"/>
                      </a:lnTo>
                      <a:lnTo>
                        <a:pt x="484" y="3"/>
                      </a:lnTo>
                      <a:lnTo>
                        <a:pt x="484" y="2"/>
                      </a:lnTo>
                      <a:lnTo>
                        <a:pt x="485" y="2"/>
                      </a:lnTo>
                      <a:lnTo>
                        <a:pt x="486" y="2"/>
                      </a:lnTo>
                      <a:lnTo>
                        <a:pt x="486" y="2"/>
                      </a:lnTo>
                      <a:lnTo>
                        <a:pt x="487" y="2"/>
                      </a:lnTo>
                      <a:lnTo>
                        <a:pt x="488" y="2"/>
                      </a:lnTo>
                      <a:lnTo>
                        <a:pt x="488" y="3"/>
                      </a:lnTo>
                      <a:lnTo>
                        <a:pt x="488" y="3"/>
                      </a:lnTo>
                      <a:lnTo>
                        <a:pt x="488" y="4"/>
                      </a:lnTo>
                      <a:lnTo>
                        <a:pt x="489" y="5"/>
                      </a:lnTo>
                      <a:lnTo>
                        <a:pt x="490" y="5"/>
                      </a:lnTo>
                      <a:lnTo>
                        <a:pt x="490" y="6"/>
                      </a:lnTo>
                      <a:lnTo>
                        <a:pt x="490" y="6"/>
                      </a:lnTo>
                      <a:lnTo>
                        <a:pt x="490" y="6"/>
                      </a:lnTo>
                      <a:lnTo>
                        <a:pt x="490" y="6"/>
                      </a:lnTo>
                      <a:lnTo>
                        <a:pt x="490" y="7"/>
                      </a:lnTo>
                      <a:lnTo>
                        <a:pt x="490" y="8"/>
                      </a:lnTo>
                      <a:lnTo>
                        <a:pt x="489" y="8"/>
                      </a:lnTo>
                      <a:lnTo>
                        <a:pt x="489" y="8"/>
                      </a:lnTo>
                      <a:lnTo>
                        <a:pt x="489" y="9"/>
                      </a:lnTo>
                      <a:lnTo>
                        <a:pt x="489" y="10"/>
                      </a:lnTo>
                      <a:lnTo>
                        <a:pt x="489" y="10"/>
                      </a:lnTo>
                      <a:lnTo>
                        <a:pt x="490" y="10"/>
                      </a:lnTo>
                      <a:lnTo>
                        <a:pt x="490" y="11"/>
                      </a:lnTo>
                      <a:lnTo>
                        <a:pt x="490" y="11"/>
                      </a:lnTo>
                      <a:lnTo>
                        <a:pt x="490" y="12"/>
                      </a:lnTo>
                      <a:lnTo>
                        <a:pt x="491" y="12"/>
                      </a:lnTo>
                      <a:lnTo>
                        <a:pt x="492" y="13"/>
                      </a:lnTo>
                      <a:lnTo>
                        <a:pt x="492" y="14"/>
                      </a:lnTo>
                      <a:lnTo>
                        <a:pt x="492" y="14"/>
                      </a:lnTo>
                      <a:lnTo>
                        <a:pt x="492" y="15"/>
                      </a:lnTo>
                      <a:lnTo>
                        <a:pt x="492" y="16"/>
                      </a:lnTo>
                      <a:lnTo>
                        <a:pt x="492" y="17"/>
                      </a:lnTo>
                      <a:lnTo>
                        <a:pt x="492" y="18"/>
                      </a:lnTo>
                      <a:lnTo>
                        <a:pt x="492" y="19"/>
                      </a:lnTo>
                      <a:lnTo>
                        <a:pt x="492" y="19"/>
                      </a:lnTo>
                      <a:lnTo>
                        <a:pt x="492" y="20"/>
                      </a:lnTo>
                      <a:lnTo>
                        <a:pt x="492" y="21"/>
                      </a:lnTo>
                      <a:lnTo>
                        <a:pt x="492" y="21"/>
                      </a:lnTo>
                      <a:lnTo>
                        <a:pt x="492" y="21"/>
                      </a:lnTo>
                      <a:lnTo>
                        <a:pt x="492" y="22"/>
                      </a:lnTo>
                      <a:lnTo>
                        <a:pt x="491" y="22"/>
                      </a:lnTo>
                      <a:lnTo>
                        <a:pt x="491" y="23"/>
                      </a:lnTo>
                      <a:lnTo>
                        <a:pt x="491" y="23"/>
                      </a:lnTo>
                      <a:lnTo>
                        <a:pt x="492" y="24"/>
                      </a:lnTo>
                      <a:lnTo>
                        <a:pt x="492" y="25"/>
                      </a:lnTo>
                      <a:lnTo>
                        <a:pt x="493" y="25"/>
                      </a:lnTo>
                      <a:lnTo>
                        <a:pt x="494" y="26"/>
                      </a:lnTo>
                      <a:lnTo>
                        <a:pt x="494" y="26"/>
                      </a:lnTo>
                      <a:lnTo>
                        <a:pt x="495" y="27"/>
                      </a:lnTo>
                      <a:lnTo>
                        <a:pt x="496" y="27"/>
                      </a:lnTo>
                      <a:lnTo>
                        <a:pt x="496" y="27"/>
                      </a:lnTo>
                      <a:lnTo>
                        <a:pt x="496" y="28"/>
                      </a:lnTo>
                      <a:lnTo>
                        <a:pt x="500" y="30"/>
                      </a:lnTo>
                      <a:lnTo>
                        <a:pt x="502" y="32"/>
                      </a:lnTo>
                      <a:lnTo>
                        <a:pt x="504" y="33"/>
                      </a:lnTo>
                      <a:lnTo>
                        <a:pt x="505" y="33"/>
                      </a:lnTo>
                      <a:lnTo>
                        <a:pt x="509" y="36"/>
                      </a:lnTo>
                      <a:lnTo>
                        <a:pt x="514" y="36"/>
                      </a:lnTo>
                      <a:lnTo>
                        <a:pt x="517" y="36"/>
                      </a:lnTo>
                      <a:lnTo>
                        <a:pt x="519" y="35"/>
                      </a:lnTo>
                      <a:lnTo>
                        <a:pt x="520" y="37"/>
                      </a:lnTo>
                      <a:lnTo>
                        <a:pt x="522" y="37"/>
                      </a:lnTo>
                      <a:lnTo>
                        <a:pt x="523" y="37"/>
                      </a:lnTo>
                      <a:lnTo>
                        <a:pt x="524" y="37"/>
                      </a:lnTo>
                      <a:lnTo>
                        <a:pt x="525" y="39"/>
                      </a:lnTo>
                      <a:lnTo>
                        <a:pt x="525" y="40"/>
                      </a:lnTo>
                      <a:lnTo>
                        <a:pt x="526" y="40"/>
                      </a:lnTo>
                      <a:lnTo>
                        <a:pt x="527" y="42"/>
                      </a:lnTo>
                      <a:lnTo>
                        <a:pt x="528" y="44"/>
                      </a:lnTo>
                      <a:lnTo>
                        <a:pt x="531" y="45"/>
                      </a:lnTo>
                      <a:lnTo>
                        <a:pt x="534" y="48"/>
                      </a:lnTo>
                      <a:lnTo>
                        <a:pt x="534" y="50"/>
                      </a:lnTo>
                      <a:lnTo>
                        <a:pt x="535" y="52"/>
                      </a:lnTo>
                      <a:lnTo>
                        <a:pt x="535" y="55"/>
                      </a:lnTo>
                      <a:lnTo>
                        <a:pt x="532" y="60"/>
                      </a:lnTo>
                      <a:lnTo>
                        <a:pt x="530" y="64"/>
                      </a:lnTo>
                      <a:lnTo>
                        <a:pt x="528" y="68"/>
                      </a:lnTo>
                      <a:lnTo>
                        <a:pt x="528" y="69"/>
                      </a:lnTo>
                      <a:lnTo>
                        <a:pt x="530" y="72"/>
                      </a:lnTo>
                      <a:lnTo>
                        <a:pt x="532" y="73"/>
                      </a:lnTo>
                      <a:lnTo>
                        <a:pt x="532" y="73"/>
                      </a:lnTo>
                      <a:lnTo>
                        <a:pt x="534" y="74"/>
                      </a:lnTo>
                      <a:lnTo>
                        <a:pt x="537" y="76"/>
                      </a:lnTo>
                      <a:lnTo>
                        <a:pt x="538" y="78"/>
                      </a:lnTo>
                      <a:lnTo>
                        <a:pt x="539" y="79"/>
                      </a:lnTo>
                      <a:lnTo>
                        <a:pt x="539" y="80"/>
                      </a:lnTo>
                      <a:lnTo>
                        <a:pt x="547" y="77"/>
                      </a:lnTo>
                      <a:lnTo>
                        <a:pt x="549" y="76"/>
                      </a:lnTo>
                      <a:lnTo>
                        <a:pt x="557" y="73"/>
                      </a:lnTo>
                      <a:lnTo>
                        <a:pt x="560" y="72"/>
                      </a:lnTo>
                      <a:lnTo>
                        <a:pt x="561" y="71"/>
                      </a:lnTo>
                      <a:lnTo>
                        <a:pt x="566" y="68"/>
                      </a:lnTo>
                      <a:lnTo>
                        <a:pt x="570" y="71"/>
                      </a:lnTo>
                      <a:lnTo>
                        <a:pt x="573" y="75"/>
                      </a:lnTo>
                      <a:lnTo>
                        <a:pt x="574" y="77"/>
                      </a:lnTo>
                      <a:lnTo>
                        <a:pt x="571" y="80"/>
                      </a:lnTo>
                      <a:lnTo>
                        <a:pt x="570" y="81"/>
                      </a:lnTo>
                      <a:lnTo>
                        <a:pt x="569" y="88"/>
                      </a:lnTo>
                      <a:lnTo>
                        <a:pt x="572" y="92"/>
                      </a:lnTo>
                      <a:lnTo>
                        <a:pt x="572" y="94"/>
                      </a:lnTo>
                      <a:lnTo>
                        <a:pt x="574" y="95"/>
                      </a:lnTo>
                      <a:lnTo>
                        <a:pt x="574" y="97"/>
                      </a:lnTo>
                      <a:lnTo>
                        <a:pt x="577" y="101"/>
                      </a:lnTo>
                      <a:lnTo>
                        <a:pt x="579" y="102"/>
                      </a:lnTo>
                      <a:lnTo>
                        <a:pt x="584" y="104"/>
                      </a:lnTo>
                      <a:lnTo>
                        <a:pt x="587" y="107"/>
                      </a:lnTo>
                      <a:lnTo>
                        <a:pt x="589" y="111"/>
                      </a:lnTo>
                      <a:lnTo>
                        <a:pt x="592" y="115"/>
                      </a:lnTo>
                      <a:lnTo>
                        <a:pt x="593" y="116"/>
                      </a:lnTo>
                      <a:lnTo>
                        <a:pt x="593" y="117"/>
                      </a:lnTo>
                      <a:lnTo>
                        <a:pt x="593" y="118"/>
                      </a:lnTo>
                      <a:lnTo>
                        <a:pt x="594" y="118"/>
                      </a:lnTo>
                      <a:lnTo>
                        <a:pt x="595" y="118"/>
                      </a:lnTo>
                      <a:lnTo>
                        <a:pt x="596" y="118"/>
                      </a:lnTo>
                      <a:lnTo>
                        <a:pt x="598" y="118"/>
                      </a:lnTo>
                      <a:lnTo>
                        <a:pt x="598" y="119"/>
                      </a:lnTo>
                      <a:lnTo>
                        <a:pt x="599" y="118"/>
                      </a:lnTo>
                      <a:lnTo>
                        <a:pt x="600" y="118"/>
                      </a:lnTo>
                      <a:lnTo>
                        <a:pt x="599" y="121"/>
                      </a:lnTo>
                      <a:lnTo>
                        <a:pt x="600" y="121"/>
                      </a:lnTo>
                      <a:lnTo>
                        <a:pt x="600" y="121"/>
                      </a:lnTo>
                      <a:lnTo>
                        <a:pt x="600" y="122"/>
                      </a:lnTo>
                      <a:lnTo>
                        <a:pt x="601" y="122"/>
                      </a:lnTo>
                      <a:lnTo>
                        <a:pt x="601" y="122"/>
                      </a:lnTo>
                      <a:lnTo>
                        <a:pt x="601" y="123"/>
                      </a:lnTo>
                      <a:lnTo>
                        <a:pt x="602" y="123"/>
                      </a:lnTo>
                      <a:lnTo>
                        <a:pt x="602" y="124"/>
                      </a:lnTo>
                      <a:lnTo>
                        <a:pt x="602" y="124"/>
                      </a:lnTo>
                      <a:lnTo>
                        <a:pt x="602" y="124"/>
                      </a:lnTo>
                      <a:lnTo>
                        <a:pt x="604" y="129"/>
                      </a:lnTo>
                      <a:lnTo>
                        <a:pt x="604" y="130"/>
                      </a:lnTo>
                      <a:lnTo>
                        <a:pt x="605" y="131"/>
                      </a:lnTo>
                      <a:lnTo>
                        <a:pt x="606" y="132"/>
                      </a:lnTo>
                      <a:lnTo>
                        <a:pt x="606" y="132"/>
                      </a:lnTo>
                      <a:lnTo>
                        <a:pt x="606" y="133"/>
                      </a:lnTo>
                      <a:lnTo>
                        <a:pt x="608" y="133"/>
                      </a:lnTo>
                      <a:lnTo>
                        <a:pt x="609" y="133"/>
                      </a:lnTo>
                      <a:lnTo>
                        <a:pt x="610" y="133"/>
                      </a:lnTo>
                      <a:lnTo>
                        <a:pt x="610" y="134"/>
                      </a:lnTo>
                      <a:lnTo>
                        <a:pt x="610" y="134"/>
                      </a:lnTo>
                      <a:lnTo>
                        <a:pt x="611" y="134"/>
                      </a:lnTo>
                      <a:lnTo>
                        <a:pt x="611" y="134"/>
                      </a:lnTo>
                      <a:lnTo>
                        <a:pt x="612" y="135"/>
                      </a:lnTo>
                      <a:lnTo>
                        <a:pt x="612" y="136"/>
                      </a:lnTo>
                      <a:lnTo>
                        <a:pt x="612" y="136"/>
                      </a:lnTo>
                      <a:lnTo>
                        <a:pt x="613" y="136"/>
                      </a:lnTo>
                      <a:lnTo>
                        <a:pt x="613" y="137"/>
                      </a:lnTo>
                      <a:lnTo>
                        <a:pt x="613" y="138"/>
                      </a:lnTo>
                      <a:lnTo>
                        <a:pt x="613" y="139"/>
                      </a:lnTo>
                      <a:lnTo>
                        <a:pt x="613" y="139"/>
                      </a:lnTo>
                      <a:lnTo>
                        <a:pt x="613" y="140"/>
                      </a:lnTo>
                      <a:lnTo>
                        <a:pt x="612" y="140"/>
                      </a:lnTo>
                      <a:lnTo>
                        <a:pt x="612" y="141"/>
                      </a:lnTo>
                      <a:lnTo>
                        <a:pt x="613" y="141"/>
                      </a:lnTo>
                      <a:lnTo>
                        <a:pt x="613" y="141"/>
                      </a:lnTo>
                      <a:lnTo>
                        <a:pt x="613" y="142"/>
                      </a:lnTo>
                      <a:lnTo>
                        <a:pt x="615" y="143"/>
                      </a:lnTo>
                      <a:lnTo>
                        <a:pt x="615" y="145"/>
                      </a:lnTo>
                      <a:lnTo>
                        <a:pt x="615" y="147"/>
                      </a:lnTo>
                      <a:lnTo>
                        <a:pt x="615" y="149"/>
                      </a:lnTo>
                      <a:lnTo>
                        <a:pt x="609" y="160"/>
                      </a:lnTo>
                      <a:lnTo>
                        <a:pt x="608" y="162"/>
                      </a:lnTo>
                      <a:lnTo>
                        <a:pt x="607" y="164"/>
                      </a:lnTo>
                      <a:lnTo>
                        <a:pt x="602" y="168"/>
                      </a:lnTo>
                      <a:lnTo>
                        <a:pt x="598" y="172"/>
                      </a:lnTo>
                      <a:lnTo>
                        <a:pt x="597" y="173"/>
                      </a:lnTo>
                      <a:lnTo>
                        <a:pt x="593" y="177"/>
                      </a:lnTo>
                      <a:lnTo>
                        <a:pt x="589" y="183"/>
                      </a:lnTo>
                      <a:lnTo>
                        <a:pt x="588" y="183"/>
                      </a:lnTo>
                      <a:lnTo>
                        <a:pt x="587" y="186"/>
                      </a:lnTo>
                      <a:lnTo>
                        <a:pt x="586" y="188"/>
                      </a:lnTo>
                      <a:lnTo>
                        <a:pt x="585" y="189"/>
                      </a:lnTo>
                      <a:lnTo>
                        <a:pt x="584" y="190"/>
                      </a:lnTo>
                      <a:lnTo>
                        <a:pt x="585" y="191"/>
                      </a:lnTo>
                      <a:lnTo>
                        <a:pt x="586" y="193"/>
                      </a:lnTo>
                      <a:lnTo>
                        <a:pt x="586" y="193"/>
                      </a:lnTo>
                      <a:lnTo>
                        <a:pt x="586" y="194"/>
                      </a:lnTo>
                      <a:lnTo>
                        <a:pt x="586" y="195"/>
                      </a:lnTo>
                      <a:lnTo>
                        <a:pt x="586" y="195"/>
                      </a:lnTo>
                      <a:lnTo>
                        <a:pt x="586" y="196"/>
                      </a:lnTo>
                      <a:lnTo>
                        <a:pt x="586" y="197"/>
                      </a:lnTo>
                      <a:lnTo>
                        <a:pt x="586" y="198"/>
                      </a:lnTo>
                      <a:lnTo>
                        <a:pt x="586" y="198"/>
                      </a:lnTo>
                      <a:lnTo>
                        <a:pt x="587" y="199"/>
                      </a:lnTo>
                      <a:lnTo>
                        <a:pt x="587" y="200"/>
                      </a:lnTo>
                      <a:lnTo>
                        <a:pt x="587" y="200"/>
                      </a:lnTo>
                      <a:lnTo>
                        <a:pt x="587" y="200"/>
                      </a:lnTo>
                      <a:lnTo>
                        <a:pt x="588" y="200"/>
                      </a:lnTo>
                      <a:lnTo>
                        <a:pt x="589" y="201"/>
                      </a:lnTo>
                      <a:lnTo>
                        <a:pt x="589" y="202"/>
                      </a:lnTo>
                      <a:lnTo>
                        <a:pt x="589" y="202"/>
                      </a:lnTo>
                      <a:lnTo>
                        <a:pt x="589" y="202"/>
                      </a:lnTo>
                      <a:lnTo>
                        <a:pt x="589" y="203"/>
                      </a:lnTo>
                      <a:lnTo>
                        <a:pt x="590" y="203"/>
                      </a:lnTo>
                      <a:lnTo>
                        <a:pt x="591" y="206"/>
                      </a:lnTo>
                      <a:lnTo>
                        <a:pt x="592" y="207"/>
                      </a:lnTo>
                      <a:lnTo>
                        <a:pt x="595" y="209"/>
                      </a:lnTo>
                      <a:lnTo>
                        <a:pt x="596" y="210"/>
                      </a:lnTo>
                      <a:lnTo>
                        <a:pt x="596" y="211"/>
                      </a:lnTo>
                      <a:lnTo>
                        <a:pt x="598" y="211"/>
                      </a:lnTo>
                      <a:lnTo>
                        <a:pt x="598" y="212"/>
                      </a:lnTo>
                      <a:lnTo>
                        <a:pt x="599" y="212"/>
                      </a:lnTo>
                      <a:lnTo>
                        <a:pt x="600" y="216"/>
                      </a:lnTo>
                      <a:lnTo>
                        <a:pt x="602" y="219"/>
                      </a:lnTo>
                      <a:lnTo>
                        <a:pt x="602" y="219"/>
                      </a:lnTo>
                      <a:lnTo>
                        <a:pt x="603" y="220"/>
                      </a:lnTo>
                      <a:lnTo>
                        <a:pt x="604" y="220"/>
                      </a:lnTo>
                      <a:lnTo>
                        <a:pt x="604" y="220"/>
                      </a:lnTo>
                      <a:lnTo>
                        <a:pt x="605" y="221"/>
                      </a:lnTo>
                      <a:lnTo>
                        <a:pt x="605" y="222"/>
                      </a:lnTo>
                      <a:lnTo>
                        <a:pt x="605" y="223"/>
                      </a:lnTo>
                      <a:lnTo>
                        <a:pt x="605" y="223"/>
                      </a:lnTo>
                      <a:lnTo>
                        <a:pt x="605" y="225"/>
                      </a:lnTo>
                      <a:lnTo>
                        <a:pt x="606" y="227"/>
                      </a:lnTo>
                      <a:lnTo>
                        <a:pt x="606" y="228"/>
                      </a:lnTo>
                      <a:lnTo>
                        <a:pt x="606" y="229"/>
                      </a:lnTo>
                      <a:lnTo>
                        <a:pt x="606" y="231"/>
                      </a:lnTo>
                      <a:lnTo>
                        <a:pt x="604" y="231"/>
                      </a:lnTo>
                      <a:lnTo>
                        <a:pt x="604" y="233"/>
                      </a:lnTo>
                      <a:lnTo>
                        <a:pt x="606" y="236"/>
                      </a:lnTo>
                      <a:lnTo>
                        <a:pt x="606" y="236"/>
                      </a:lnTo>
                      <a:lnTo>
                        <a:pt x="608" y="238"/>
                      </a:lnTo>
                      <a:lnTo>
                        <a:pt x="608" y="238"/>
                      </a:lnTo>
                      <a:lnTo>
                        <a:pt x="608" y="239"/>
                      </a:lnTo>
                      <a:lnTo>
                        <a:pt x="609" y="239"/>
                      </a:lnTo>
                      <a:lnTo>
                        <a:pt x="608" y="239"/>
                      </a:lnTo>
                      <a:lnTo>
                        <a:pt x="608" y="240"/>
                      </a:lnTo>
                      <a:lnTo>
                        <a:pt x="609" y="240"/>
                      </a:lnTo>
                      <a:lnTo>
                        <a:pt x="610" y="240"/>
                      </a:lnTo>
                      <a:lnTo>
                        <a:pt x="610" y="240"/>
                      </a:lnTo>
                      <a:lnTo>
                        <a:pt x="611" y="240"/>
                      </a:lnTo>
                      <a:lnTo>
                        <a:pt x="612" y="240"/>
                      </a:lnTo>
                      <a:lnTo>
                        <a:pt x="612" y="240"/>
                      </a:lnTo>
                      <a:lnTo>
                        <a:pt x="613" y="240"/>
                      </a:lnTo>
                      <a:lnTo>
                        <a:pt x="614" y="240"/>
                      </a:lnTo>
                      <a:lnTo>
                        <a:pt x="614" y="240"/>
                      </a:lnTo>
                      <a:lnTo>
                        <a:pt x="615" y="240"/>
                      </a:lnTo>
                      <a:lnTo>
                        <a:pt x="615" y="241"/>
                      </a:lnTo>
                      <a:lnTo>
                        <a:pt x="615" y="240"/>
                      </a:lnTo>
                      <a:lnTo>
                        <a:pt x="616" y="240"/>
                      </a:lnTo>
                      <a:lnTo>
                        <a:pt x="617" y="240"/>
                      </a:lnTo>
                      <a:lnTo>
                        <a:pt x="617" y="240"/>
                      </a:lnTo>
                      <a:lnTo>
                        <a:pt x="617" y="240"/>
                      </a:lnTo>
                      <a:lnTo>
                        <a:pt x="618" y="240"/>
                      </a:lnTo>
                      <a:lnTo>
                        <a:pt x="620" y="238"/>
                      </a:lnTo>
                      <a:lnTo>
                        <a:pt x="621" y="238"/>
                      </a:lnTo>
                      <a:lnTo>
                        <a:pt x="623" y="237"/>
                      </a:lnTo>
                      <a:lnTo>
                        <a:pt x="626" y="237"/>
                      </a:lnTo>
                      <a:lnTo>
                        <a:pt x="627" y="237"/>
                      </a:lnTo>
                      <a:lnTo>
                        <a:pt x="627" y="238"/>
                      </a:lnTo>
                      <a:lnTo>
                        <a:pt x="627" y="238"/>
                      </a:lnTo>
                      <a:lnTo>
                        <a:pt x="627" y="238"/>
                      </a:lnTo>
                      <a:lnTo>
                        <a:pt x="628" y="238"/>
                      </a:lnTo>
                      <a:lnTo>
                        <a:pt x="629" y="238"/>
                      </a:lnTo>
                      <a:lnTo>
                        <a:pt x="629" y="239"/>
                      </a:lnTo>
                      <a:lnTo>
                        <a:pt x="629" y="239"/>
                      </a:lnTo>
                      <a:lnTo>
                        <a:pt x="629" y="238"/>
                      </a:lnTo>
                      <a:lnTo>
                        <a:pt x="630" y="238"/>
                      </a:lnTo>
                      <a:lnTo>
                        <a:pt x="631" y="238"/>
                      </a:lnTo>
                      <a:lnTo>
                        <a:pt x="631" y="238"/>
                      </a:lnTo>
                      <a:lnTo>
                        <a:pt x="631" y="238"/>
                      </a:lnTo>
                      <a:lnTo>
                        <a:pt x="631" y="238"/>
                      </a:lnTo>
                      <a:lnTo>
                        <a:pt x="632" y="238"/>
                      </a:lnTo>
                      <a:lnTo>
                        <a:pt x="633" y="238"/>
                      </a:lnTo>
                      <a:lnTo>
                        <a:pt x="633" y="239"/>
                      </a:lnTo>
                      <a:lnTo>
                        <a:pt x="634" y="239"/>
                      </a:lnTo>
                      <a:lnTo>
                        <a:pt x="634" y="239"/>
                      </a:lnTo>
                      <a:lnTo>
                        <a:pt x="635" y="239"/>
                      </a:lnTo>
                      <a:lnTo>
                        <a:pt x="636" y="239"/>
                      </a:lnTo>
                      <a:lnTo>
                        <a:pt x="636" y="239"/>
                      </a:lnTo>
                      <a:lnTo>
                        <a:pt x="637" y="239"/>
                      </a:lnTo>
                      <a:lnTo>
                        <a:pt x="637" y="238"/>
                      </a:lnTo>
                      <a:lnTo>
                        <a:pt x="638" y="238"/>
                      </a:lnTo>
                      <a:lnTo>
                        <a:pt x="638" y="238"/>
                      </a:lnTo>
                      <a:lnTo>
                        <a:pt x="639" y="238"/>
                      </a:lnTo>
                      <a:lnTo>
                        <a:pt x="640" y="238"/>
                      </a:lnTo>
                      <a:lnTo>
                        <a:pt x="640" y="238"/>
                      </a:lnTo>
                      <a:lnTo>
                        <a:pt x="641" y="238"/>
                      </a:lnTo>
                      <a:lnTo>
                        <a:pt x="642" y="238"/>
                      </a:lnTo>
                      <a:lnTo>
                        <a:pt x="642" y="238"/>
                      </a:lnTo>
                      <a:lnTo>
                        <a:pt x="643" y="238"/>
                      </a:lnTo>
                      <a:lnTo>
                        <a:pt x="644" y="238"/>
                      </a:lnTo>
                      <a:lnTo>
                        <a:pt x="644" y="238"/>
                      </a:lnTo>
                      <a:lnTo>
                        <a:pt x="645" y="238"/>
                      </a:lnTo>
                      <a:lnTo>
                        <a:pt x="646" y="238"/>
                      </a:lnTo>
                      <a:lnTo>
                        <a:pt x="646" y="238"/>
                      </a:lnTo>
                      <a:lnTo>
                        <a:pt x="646" y="238"/>
                      </a:lnTo>
                      <a:lnTo>
                        <a:pt x="647" y="238"/>
                      </a:lnTo>
                      <a:lnTo>
                        <a:pt x="647" y="238"/>
                      </a:lnTo>
                      <a:lnTo>
                        <a:pt x="648" y="238"/>
                      </a:lnTo>
                      <a:lnTo>
                        <a:pt x="648" y="239"/>
                      </a:lnTo>
                      <a:lnTo>
                        <a:pt x="648" y="239"/>
                      </a:lnTo>
                      <a:lnTo>
                        <a:pt x="649" y="239"/>
                      </a:lnTo>
                      <a:lnTo>
                        <a:pt x="649" y="240"/>
                      </a:lnTo>
                      <a:lnTo>
                        <a:pt x="650" y="240"/>
                      </a:lnTo>
                      <a:lnTo>
                        <a:pt x="650" y="240"/>
                      </a:lnTo>
                      <a:lnTo>
                        <a:pt x="651" y="240"/>
                      </a:lnTo>
                      <a:lnTo>
                        <a:pt x="652" y="240"/>
                      </a:lnTo>
                      <a:lnTo>
                        <a:pt x="652" y="241"/>
                      </a:lnTo>
                      <a:lnTo>
                        <a:pt x="653" y="241"/>
                      </a:lnTo>
                      <a:lnTo>
                        <a:pt x="653" y="241"/>
                      </a:lnTo>
                      <a:lnTo>
                        <a:pt x="654" y="241"/>
                      </a:lnTo>
                      <a:lnTo>
                        <a:pt x="655" y="241"/>
                      </a:lnTo>
                      <a:lnTo>
                        <a:pt x="655" y="241"/>
                      </a:lnTo>
                      <a:lnTo>
                        <a:pt x="655" y="240"/>
                      </a:lnTo>
                      <a:lnTo>
                        <a:pt x="656" y="240"/>
                      </a:lnTo>
                      <a:lnTo>
                        <a:pt x="656" y="240"/>
                      </a:lnTo>
                      <a:lnTo>
                        <a:pt x="657" y="240"/>
                      </a:lnTo>
                      <a:lnTo>
                        <a:pt x="657" y="240"/>
                      </a:lnTo>
                      <a:lnTo>
                        <a:pt x="658" y="240"/>
                      </a:lnTo>
                      <a:lnTo>
                        <a:pt x="659" y="240"/>
                      </a:lnTo>
                      <a:lnTo>
                        <a:pt x="659" y="239"/>
                      </a:lnTo>
                      <a:lnTo>
                        <a:pt x="659" y="240"/>
                      </a:lnTo>
                      <a:lnTo>
                        <a:pt x="660" y="240"/>
                      </a:lnTo>
                      <a:lnTo>
                        <a:pt x="660" y="240"/>
                      </a:lnTo>
                      <a:lnTo>
                        <a:pt x="661" y="240"/>
                      </a:lnTo>
                      <a:lnTo>
                        <a:pt x="661" y="240"/>
                      </a:lnTo>
                      <a:lnTo>
                        <a:pt x="662" y="240"/>
                      </a:lnTo>
                      <a:lnTo>
                        <a:pt x="663" y="240"/>
                      </a:lnTo>
                      <a:lnTo>
                        <a:pt x="663" y="240"/>
                      </a:lnTo>
                      <a:lnTo>
                        <a:pt x="664" y="240"/>
                      </a:lnTo>
                      <a:lnTo>
                        <a:pt x="664" y="241"/>
                      </a:lnTo>
                      <a:lnTo>
                        <a:pt x="664" y="242"/>
                      </a:lnTo>
                      <a:lnTo>
                        <a:pt x="664" y="242"/>
                      </a:lnTo>
                      <a:lnTo>
                        <a:pt x="664" y="243"/>
                      </a:lnTo>
                      <a:lnTo>
                        <a:pt x="664" y="244"/>
                      </a:lnTo>
                      <a:lnTo>
                        <a:pt x="664" y="244"/>
                      </a:lnTo>
                      <a:lnTo>
                        <a:pt x="663" y="244"/>
                      </a:lnTo>
                      <a:lnTo>
                        <a:pt x="663" y="244"/>
                      </a:lnTo>
                      <a:lnTo>
                        <a:pt x="663" y="245"/>
                      </a:lnTo>
                      <a:lnTo>
                        <a:pt x="663" y="246"/>
                      </a:lnTo>
                      <a:lnTo>
                        <a:pt x="662" y="246"/>
                      </a:lnTo>
                      <a:lnTo>
                        <a:pt x="662" y="245"/>
                      </a:lnTo>
                      <a:lnTo>
                        <a:pt x="661" y="246"/>
                      </a:lnTo>
                      <a:lnTo>
                        <a:pt x="661" y="246"/>
                      </a:lnTo>
                      <a:lnTo>
                        <a:pt x="661" y="246"/>
                      </a:lnTo>
                      <a:lnTo>
                        <a:pt x="661" y="246"/>
                      </a:lnTo>
                      <a:lnTo>
                        <a:pt x="661" y="245"/>
                      </a:lnTo>
                      <a:lnTo>
                        <a:pt x="660" y="245"/>
                      </a:lnTo>
                      <a:lnTo>
                        <a:pt x="660" y="246"/>
                      </a:lnTo>
                      <a:lnTo>
                        <a:pt x="660" y="246"/>
                      </a:lnTo>
                      <a:lnTo>
                        <a:pt x="660" y="247"/>
                      </a:lnTo>
                      <a:lnTo>
                        <a:pt x="659" y="247"/>
                      </a:lnTo>
                      <a:lnTo>
                        <a:pt x="659" y="246"/>
                      </a:lnTo>
                      <a:lnTo>
                        <a:pt x="659" y="247"/>
                      </a:lnTo>
                      <a:lnTo>
                        <a:pt x="659" y="247"/>
                      </a:lnTo>
                      <a:lnTo>
                        <a:pt x="659" y="247"/>
                      </a:lnTo>
                      <a:lnTo>
                        <a:pt x="659" y="248"/>
                      </a:lnTo>
                      <a:lnTo>
                        <a:pt x="658" y="248"/>
                      </a:lnTo>
                      <a:lnTo>
                        <a:pt x="658" y="248"/>
                      </a:lnTo>
                      <a:lnTo>
                        <a:pt x="657" y="248"/>
                      </a:lnTo>
                      <a:lnTo>
                        <a:pt x="657" y="248"/>
                      </a:lnTo>
                      <a:lnTo>
                        <a:pt x="657" y="248"/>
                      </a:lnTo>
                      <a:lnTo>
                        <a:pt x="657" y="248"/>
                      </a:lnTo>
                      <a:lnTo>
                        <a:pt x="657" y="248"/>
                      </a:lnTo>
                      <a:lnTo>
                        <a:pt x="656" y="248"/>
                      </a:lnTo>
                      <a:lnTo>
                        <a:pt x="656" y="248"/>
                      </a:lnTo>
                      <a:lnTo>
                        <a:pt x="655" y="248"/>
                      </a:lnTo>
                      <a:lnTo>
                        <a:pt x="655" y="248"/>
                      </a:lnTo>
                      <a:lnTo>
                        <a:pt x="655" y="249"/>
                      </a:lnTo>
                      <a:lnTo>
                        <a:pt x="654" y="249"/>
                      </a:lnTo>
                      <a:lnTo>
                        <a:pt x="653" y="249"/>
                      </a:lnTo>
                      <a:lnTo>
                        <a:pt x="653" y="248"/>
                      </a:lnTo>
                      <a:lnTo>
                        <a:pt x="653" y="249"/>
                      </a:lnTo>
                      <a:lnTo>
                        <a:pt x="652" y="249"/>
                      </a:lnTo>
                      <a:lnTo>
                        <a:pt x="651" y="249"/>
                      </a:lnTo>
                      <a:lnTo>
                        <a:pt x="650" y="250"/>
                      </a:lnTo>
                      <a:lnTo>
                        <a:pt x="646" y="250"/>
                      </a:lnTo>
                      <a:lnTo>
                        <a:pt x="646" y="250"/>
                      </a:lnTo>
                      <a:lnTo>
                        <a:pt x="646" y="249"/>
                      </a:lnTo>
                      <a:lnTo>
                        <a:pt x="645" y="249"/>
                      </a:lnTo>
                      <a:lnTo>
                        <a:pt x="645" y="250"/>
                      </a:lnTo>
                      <a:lnTo>
                        <a:pt x="645" y="249"/>
                      </a:lnTo>
                      <a:lnTo>
                        <a:pt x="644" y="249"/>
                      </a:lnTo>
                      <a:lnTo>
                        <a:pt x="644" y="250"/>
                      </a:lnTo>
                      <a:lnTo>
                        <a:pt x="644" y="249"/>
                      </a:lnTo>
                      <a:lnTo>
                        <a:pt x="644" y="249"/>
                      </a:lnTo>
                      <a:lnTo>
                        <a:pt x="643" y="249"/>
                      </a:lnTo>
                      <a:lnTo>
                        <a:pt x="642" y="249"/>
                      </a:lnTo>
                      <a:lnTo>
                        <a:pt x="642" y="250"/>
                      </a:lnTo>
                      <a:lnTo>
                        <a:pt x="641" y="250"/>
                      </a:lnTo>
                      <a:lnTo>
                        <a:pt x="641" y="250"/>
                      </a:lnTo>
                      <a:lnTo>
                        <a:pt x="640" y="250"/>
                      </a:lnTo>
                      <a:lnTo>
                        <a:pt x="640" y="251"/>
                      </a:lnTo>
                      <a:lnTo>
                        <a:pt x="640" y="251"/>
                      </a:lnTo>
                      <a:lnTo>
                        <a:pt x="639" y="251"/>
                      </a:lnTo>
                      <a:lnTo>
                        <a:pt x="638" y="251"/>
                      </a:lnTo>
                      <a:lnTo>
                        <a:pt x="638" y="251"/>
                      </a:lnTo>
                      <a:lnTo>
                        <a:pt x="637" y="251"/>
                      </a:lnTo>
                      <a:lnTo>
                        <a:pt x="637" y="252"/>
                      </a:lnTo>
                      <a:lnTo>
                        <a:pt x="636" y="252"/>
                      </a:lnTo>
                      <a:lnTo>
                        <a:pt x="636" y="252"/>
                      </a:lnTo>
                      <a:lnTo>
                        <a:pt x="636" y="253"/>
                      </a:lnTo>
                      <a:lnTo>
                        <a:pt x="635" y="253"/>
                      </a:lnTo>
                      <a:lnTo>
                        <a:pt x="634" y="253"/>
                      </a:lnTo>
                      <a:lnTo>
                        <a:pt x="634" y="254"/>
                      </a:lnTo>
                      <a:lnTo>
                        <a:pt x="634" y="253"/>
                      </a:lnTo>
                      <a:lnTo>
                        <a:pt x="633" y="253"/>
                      </a:lnTo>
                      <a:lnTo>
                        <a:pt x="632" y="254"/>
                      </a:lnTo>
                      <a:lnTo>
                        <a:pt x="631" y="254"/>
                      </a:lnTo>
                      <a:lnTo>
                        <a:pt x="631" y="254"/>
                      </a:lnTo>
                      <a:lnTo>
                        <a:pt x="630" y="256"/>
                      </a:lnTo>
                      <a:lnTo>
                        <a:pt x="629" y="257"/>
                      </a:lnTo>
                      <a:lnTo>
                        <a:pt x="626" y="259"/>
                      </a:lnTo>
                      <a:lnTo>
                        <a:pt x="620" y="261"/>
                      </a:lnTo>
                      <a:lnTo>
                        <a:pt x="619" y="263"/>
                      </a:lnTo>
                      <a:lnTo>
                        <a:pt x="617" y="263"/>
                      </a:lnTo>
                      <a:lnTo>
                        <a:pt x="614" y="266"/>
                      </a:lnTo>
                      <a:lnTo>
                        <a:pt x="617" y="271"/>
                      </a:lnTo>
                      <a:lnTo>
                        <a:pt x="618" y="275"/>
                      </a:lnTo>
                      <a:lnTo>
                        <a:pt x="618" y="276"/>
                      </a:lnTo>
                      <a:lnTo>
                        <a:pt x="619" y="279"/>
                      </a:lnTo>
                      <a:lnTo>
                        <a:pt x="621" y="280"/>
                      </a:lnTo>
                      <a:lnTo>
                        <a:pt x="622" y="282"/>
                      </a:lnTo>
                      <a:lnTo>
                        <a:pt x="622" y="284"/>
                      </a:lnTo>
                      <a:lnTo>
                        <a:pt x="622" y="286"/>
                      </a:lnTo>
                      <a:lnTo>
                        <a:pt x="621" y="286"/>
                      </a:lnTo>
                      <a:lnTo>
                        <a:pt x="622" y="288"/>
                      </a:lnTo>
                      <a:lnTo>
                        <a:pt x="622" y="291"/>
                      </a:lnTo>
                      <a:lnTo>
                        <a:pt x="623" y="292"/>
                      </a:lnTo>
                      <a:lnTo>
                        <a:pt x="625" y="298"/>
                      </a:lnTo>
                      <a:lnTo>
                        <a:pt x="626" y="300"/>
                      </a:lnTo>
                      <a:lnTo>
                        <a:pt x="627" y="301"/>
                      </a:lnTo>
                      <a:lnTo>
                        <a:pt x="626" y="301"/>
                      </a:lnTo>
                      <a:lnTo>
                        <a:pt x="626" y="302"/>
                      </a:lnTo>
                      <a:lnTo>
                        <a:pt x="626" y="303"/>
                      </a:lnTo>
                      <a:lnTo>
                        <a:pt x="626" y="303"/>
                      </a:lnTo>
                      <a:lnTo>
                        <a:pt x="627" y="305"/>
                      </a:lnTo>
                      <a:lnTo>
                        <a:pt x="627" y="306"/>
                      </a:lnTo>
                      <a:lnTo>
                        <a:pt x="627" y="307"/>
                      </a:lnTo>
                      <a:lnTo>
                        <a:pt x="627" y="308"/>
                      </a:lnTo>
                      <a:lnTo>
                        <a:pt x="628" y="309"/>
                      </a:lnTo>
                      <a:lnTo>
                        <a:pt x="629" y="312"/>
                      </a:lnTo>
                      <a:lnTo>
                        <a:pt x="631" y="313"/>
                      </a:lnTo>
                      <a:lnTo>
                        <a:pt x="631" y="315"/>
                      </a:lnTo>
                      <a:lnTo>
                        <a:pt x="631" y="317"/>
                      </a:lnTo>
                      <a:lnTo>
                        <a:pt x="631" y="318"/>
                      </a:lnTo>
                      <a:lnTo>
                        <a:pt x="631" y="318"/>
                      </a:lnTo>
                      <a:lnTo>
                        <a:pt x="631" y="319"/>
                      </a:lnTo>
                      <a:lnTo>
                        <a:pt x="632" y="320"/>
                      </a:lnTo>
                      <a:lnTo>
                        <a:pt x="633" y="320"/>
                      </a:lnTo>
                      <a:lnTo>
                        <a:pt x="633" y="321"/>
                      </a:lnTo>
                      <a:lnTo>
                        <a:pt x="633" y="322"/>
                      </a:lnTo>
                      <a:lnTo>
                        <a:pt x="634" y="322"/>
                      </a:lnTo>
                      <a:lnTo>
                        <a:pt x="633" y="322"/>
                      </a:lnTo>
                      <a:lnTo>
                        <a:pt x="633" y="323"/>
                      </a:lnTo>
                      <a:lnTo>
                        <a:pt x="633" y="324"/>
                      </a:lnTo>
                      <a:lnTo>
                        <a:pt x="633" y="324"/>
                      </a:lnTo>
                      <a:lnTo>
                        <a:pt x="634" y="324"/>
                      </a:lnTo>
                      <a:lnTo>
                        <a:pt x="633" y="324"/>
                      </a:lnTo>
                      <a:lnTo>
                        <a:pt x="633" y="325"/>
                      </a:lnTo>
                      <a:lnTo>
                        <a:pt x="633" y="326"/>
                      </a:lnTo>
                      <a:lnTo>
                        <a:pt x="634" y="326"/>
                      </a:lnTo>
                      <a:lnTo>
                        <a:pt x="634" y="326"/>
                      </a:lnTo>
                      <a:lnTo>
                        <a:pt x="634" y="326"/>
                      </a:lnTo>
                      <a:lnTo>
                        <a:pt x="635" y="327"/>
                      </a:lnTo>
                      <a:lnTo>
                        <a:pt x="635" y="328"/>
                      </a:lnTo>
                      <a:lnTo>
                        <a:pt x="635" y="328"/>
                      </a:lnTo>
                      <a:lnTo>
                        <a:pt x="636" y="330"/>
                      </a:lnTo>
                      <a:lnTo>
                        <a:pt x="637" y="332"/>
                      </a:lnTo>
                      <a:lnTo>
                        <a:pt x="638" y="332"/>
                      </a:lnTo>
                      <a:lnTo>
                        <a:pt x="638" y="334"/>
                      </a:lnTo>
                      <a:lnTo>
                        <a:pt x="638" y="335"/>
                      </a:lnTo>
                      <a:lnTo>
                        <a:pt x="638" y="336"/>
                      </a:lnTo>
                      <a:lnTo>
                        <a:pt x="638" y="337"/>
                      </a:lnTo>
                      <a:lnTo>
                        <a:pt x="636" y="338"/>
                      </a:lnTo>
                      <a:lnTo>
                        <a:pt x="636" y="339"/>
                      </a:lnTo>
                      <a:lnTo>
                        <a:pt x="636" y="340"/>
                      </a:lnTo>
                      <a:lnTo>
                        <a:pt x="637" y="343"/>
                      </a:lnTo>
                      <a:lnTo>
                        <a:pt x="638" y="344"/>
                      </a:lnTo>
                      <a:lnTo>
                        <a:pt x="638" y="345"/>
                      </a:lnTo>
                      <a:lnTo>
                        <a:pt x="638" y="345"/>
                      </a:lnTo>
                      <a:lnTo>
                        <a:pt x="639" y="345"/>
                      </a:lnTo>
                      <a:lnTo>
                        <a:pt x="639" y="346"/>
                      </a:lnTo>
                      <a:lnTo>
                        <a:pt x="639" y="347"/>
                      </a:lnTo>
                      <a:lnTo>
                        <a:pt x="640" y="347"/>
                      </a:lnTo>
                      <a:lnTo>
                        <a:pt x="640" y="347"/>
                      </a:lnTo>
                      <a:lnTo>
                        <a:pt x="641" y="347"/>
                      </a:lnTo>
                      <a:lnTo>
                        <a:pt x="642" y="347"/>
                      </a:lnTo>
                      <a:lnTo>
                        <a:pt x="644" y="346"/>
                      </a:lnTo>
                      <a:lnTo>
                        <a:pt x="644" y="347"/>
                      </a:lnTo>
                      <a:lnTo>
                        <a:pt x="646" y="347"/>
                      </a:lnTo>
                      <a:lnTo>
                        <a:pt x="646" y="347"/>
                      </a:lnTo>
                      <a:lnTo>
                        <a:pt x="645" y="349"/>
                      </a:lnTo>
                      <a:lnTo>
                        <a:pt x="645" y="350"/>
                      </a:lnTo>
                      <a:lnTo>
                        <a:pt x="646" y="350"/>
                      </a:lnTo>
                      <a:lnTo>
                        <a:pt x="647" y="351"/>
                      </a:lnTo>
                      <a:lnTo>
                        <a:pt x="647" y="351"/>
                      </a:lnTo>
                      <a:lnTo>
                        <a:pt x="648" y="351"/>
                      </a:lnTo>
                      <a:lnTo>
                        <a:pt x="648" y="353"/>
                      </a:lnTo>
                      <a:lnTo>
                        <a:pt x="649" y="353"/>
                      </a:lnTo>
                      <a:lnTo>
                        <a:pt x="650" y="355"/>
                      </a:lnTo>
                      <a:lnTo>
                        <a:pt x="650" y="356"/>
                      </a:lnTo>
                      <a:lnTo>
                        <a:pt x="649" y="356"/>
                      </a:lnTo>
                      <a:lnTo>
                        <a:pt x="650" y="356"/>
                      </a:lnTo>
                      <a:lnTo>
                        <a:pt x="650" y="357"/>
                      </a:lnTo>
                      <a:lnTo>
                        <a:pt x="648" y="358"/>
                      </a:lnTo>
                      <a:lnTo>
                        <a:pt x="648" y="359"/>
                      </a:lnTo>
                      <a:lnTo>
                        <a:pt x="648" y="360"/>
                      </a:lnTo>
                      <a:lnTo>
                        <a:pt x="649" y="360"/>
                      </a:lnTo>
                      <a:lnTo>
                        <a:pt x="650" y="360"/>
                      </a:lnTo>
                      <a:lnTo>
                        <a:pt x="651" y="360"/>
                      </a:lnTo>
                      <a:lnTo>
                        <a:pt x="653" y="360"/>
                      </a:lnTo>
                      <a:lnTo>
                        <a:pt x="653" y="361"/>
                      </a:lnTo>
                      <a:lnTo>
                        <a:pt x="653" y="362"/>
                      </a:lnTo>
                      <a:lnTo>
                        <a:pt x="654" y="362"/>
                      </a:lnTo>
                      <a:lnTo>
                        <a:pt x="655" y="362"/>
                      </a:lnTo>
                      <a:lnTo>
                        <a:pt x="655" y="363"/>
                      </a:lnTo>
                      <a:lnTo>
                        <a:pt x="655" y="364"/>
                      </a:lnTo>
                      <a:lnTo>
                        <a:pt x="657" y="365"/>
                      </a:lnTo>
                      <a:lnTo>
                        <a:pt x="657" y="365"/>
                      </a:lnTo>
                      <a:lnTo>
                        <a:pt x="658" y="365"/>
                      </a:lnTo>
                      <a:lnTo>
                        <a:pt x="659" y="366"/>
                      </a:lnTo>
                      <a:lnTo>
                        <a:pt x="662" y="366"/>
                      </a:lnTo>
                      <a:lnTo>
                        <a:pt x="664" y="366"/>
                      </a:lnTo>
                      <a:lnTo>
                        <a:pt x="664" y="370"/>
                      </a:lnTo>
                      <a:lnTo>
                        <a:pt x="664" y="372"/>
                      </a:lnTo>
                      <a:lnTo>
                        <a:pt x="665" y="373"/>
                      </a:lnTo>
                      <a:lnTo>
                        <a:pt x="665" y="375"/>
                      </a:lnTo>
                      <a:lnTo>
                        <a:pt x="665" y="377"/>
                      </a:lnTo>
                      <a:lnTo>
                        <a:pt x="666" y="380"/>
                      </a:lnTo>
                      <a:lnTo>
                        <a:pt x="667" y="381"/>
                      </a:lnTo>
                      <a:lnTo>
                        <a:pt x="669" y="382"/>
                      </a:lnTo>
                      <a:lnTo>
                        <a:pt x="672" y="383"/>
                      </a:lnTo>
                      <a:lnTo>
                        <a:pt x="674" y="383"/>
                      </a:lnTo>
                      <a:lnTo>
                        <a:pt x="674" y="383"/>
                      </a:lnTo>
                      <a:lnTo>
                        <a:pt x="676" y="381"/>
                      </a:lnTo>
                      <a:lnTo>
                        <a:pt x="677" y="379"/>
                      </a:lnTo>
                      <a:lnTo>
                        <a:pt x="678" y="379"/>
                      </a:lnTo>
                      <a:lnTo>
                        <a:pt x="680" y="376"/>
                      </a:lnTo>
                      <a:lnTo>
                        <a:pt x="680" y="375"/>
                      </a:lnTo>
                      <a:lnTo>
                        <a:pt x="680" y="374"/>
                      </a:lnTo>
                      <a:lnTo>
                        <a:pt x="680" y="371"/>
                      </a:lnTo>
                      <a:lnTo>
                        <a:pt x="680" y="370"/>
                      </a:lnTo>
                      <a:lnTo>
                        <a:pt x="680" y="368"/>
                      </a:lnTo>
                      <a:lnTo>
                        <a:pt x="681" y="365"/>
                      </a:lnTo>
                      <a:lnTo>
                        <a:pt x="683" y="362"/>
                      </a:lnTo>
                      <a:lnTo>
                        <a:pt x="684" y="362"/>
                      </a:lnTo>
                      <a:lnTo>
                        <a:pt x="684" y="362"/>
                      </a:lnTo>
                      <a:lnTo>
                        <a:pt x="685" y="362"/>
                      </a:lnTo>
                      <a:lnTo>
                        <a:pt x="686" y="362"/>
                      </a:lnTo>
                      <a:lnTo>
                        <a:pt x="686" y="361"/>
                      </a:lnTo>
                      <a:lnTo>
                        <a:pt x="686" y="361"/>
                      </a:lnTo>
                      <a:lnTo>
                        <a:pt x="687" y="361"/>
                      </a:lnTo>
                      <a:lnTo>
                        <a:pt x="688" y="361"/>
                      </a:lnTo>
                      <a:lnTo>
                        <a:pt x="688" y="360"/>
                      </a:lnTo>
                      <a:lnTo>
                        <a:pt x="688" y="360"/>
                      </a:lnTo>
                      <a:lnTo>
                        <a:pt x="688" y="361"/>
                      </a:lnTo>
                      <a:lnTo>
                        <a:pt x="689" y="362"/>
                      </a:lnTo>
                      <a:lnTo>
                        <a:pt x="689" y="362"/>
                      </a:lnTo>
                      <a:lnTo>
                        <a:pt x="690" y="362"/>
                      </a:lnTo>
                      <a:lnTo>
                        <a:pt x="690" y="362"/>
                      </a:lnTo>
                      <a:lnTo>
                        <a:pt x="691" y="362"/>
                      </a:lnTo>
                      <a:lnTo>
                        <a:pt x="691" y="362"/>
                      </a:lnTo>
                      <a:lnTo>
                        <a:pt x="691" y="361"/>
                      </a:lnTo>
                      <a:lnTo>
                        <a:pt x="692" y="361"/>
                      </a:lnTo>
                      <a:lnTo>
                        <a:pt x="693" y="361"/>
                      </a:lnTo>
                      <a:lnTo>
                        <a:pt x="693" y="362"/>
                      </a:lnTo>
                      <a:lnTo>
                        <a:pt x="693" y="362"/>
                      </a:lnTo>
                      <a:lnTo>
                        <a:pt x="693" y="362"/>
                      </a:lnTo>
                      <a:lnTo>
                        <a:pt x="695" y="362"/>
                      </a:lnTo>
                      <a:lnTo>
                        <a:pt x="695" y="362"/>
                      </a:lnTo>
                      <a:lnTo>
                        <a:pt x="696" y="362"/>
                      </a:lnTo>
                      <a:lnTo>
                        <a:pt x="697" y="363"/>
                      </a:lnTo>
                      <a:lnTo>
                        <a:pt x="697" y="363"/>
                      </a:lnTo>
                      <a:lnTo>
                        <a:pt x="699" y="363"/>
                      </a:lnTo>
                      <a:lnTo>
                        <a:pt x="699" y="363"/>
                      </a:lnTo>
                      <a:lnTo>
                        <a:pt x="701" y="364"/>
                      </a:lnTo>
                      <a:lnTo>
                        <a:pt x="701" y="364"/>
                      </a:lnTo>
                      <a:lnTo>
                        <a:pt x="702" y="366"/>
                      </a:lnTo>
                      <a:lnTo>
                        <a:pt x="703" y="367"/>
                      </a:lnTo>
                      <a:lnTo>
                        <a:pt x="703" y="368"/>
                      </a:lnTo>
                      <a:lnTo>
                        <a:pt x="704" y="369"/>
                      </a:lnTo>
                      <a:lnTo>
                        <a:pt x="704" y="370"/>
                      </a:lnTo>
                      <a:lnTo>
                        <a:pt x="705" y="370"/>
                      </a:lnTo>
                      <a:lnTo>
                        <a:pt x="705" y="371"/>
                      </a:lnTo>
                      <a:lnTo>
                        <a:pt x="705" y="372"/>
                      </a:lnTo>
                      <a:lnTo>
                        <a:pt x="705" y="373"/>
                      </a:lnTo>
                      <a:lnTo>
                        <a:pt x="706" y="374"/>
                      </a:lnTo>
                      <a:lnTo>
                        <a:pt x="707" y="375"/>
                      </a:lnTo>
                      <a:lnTo>
                        <a:pt x="707" y="375"/>
                      </a:lnTo>
                      <a:lnTo>
                        <a:pt x="707" y="376"/>
                      </a:lnTo>
                      <a:lnTo>
                        <a:pt x="708" y="377"/>
                      </a:lnTo>
                      <a:lnTo>
                        <a:pt x="708" y="378"/>
                      </a:lnTo>
                      <a:lnTo>
                        <a:pt x="709" y="378"/>
                      </a:lnTo>
                      <a:lnTo>
                        <a:pt x="710" y="381"/>
                      </a:lnTo>
                      <a:lnTo>
                        <a:pt x="712" y="384"/>
                      </a:lnTo>
                      <a:lnTo>
                        <a:pt x="712" y="385"/>
                      </a:lnTo>
                      <a:lnTo>
                        <a:pt x="712" y="387"/>
                      </a:lnTo>
                      <a:lnTo>
                        <a:pt x="713" y="389"/>
                      </a:lnTo>
                      <a:lnTo>
                        <a:pt x="714" y="391"/>
                      </a:lnTo>
                      <a:lnTo>
                        <a:pt x="714" y="392"/>
                      </a:lnTo>
                      <a:lnTo>
                        <a:pt x="714" y="393"/>
                      </a:lnTo>
                      <a:lnTo>
                        <a:pt x="714" y="394"/>
                      </a:lnTo>
                      <a:lnTo>
                        <a:pt x="714" y="396"/>
                      </a:lnTo>
                      <a:lnTo>
                        <a:pt x="716" y="398"/>
                      </a:lnTo>
                      <a:lnTo>
                        <a:pt x="716" y="400"/>
                      </a:lnTo>
                      <a:lnTo>
                        <a:pt x="718" y="402"/>
                      </a:lnTo>
                      <a:lnTo>
                        <a:pt x="717" y="402"/>
                      </a:lnTo>
                      <a:lnTo>
                        <a:pt x="717" y="404"/>
                      </a:lnTo>
                      <a:lnTo>
                        <a:pt x="718" y="404"/>
                      </a:lnTo>
                      <a:lnTo>
                        <a:pt x="718" y="405"/>
                      </a:lnTo>
                      <a:lnTo>
                        <a:pt x="718" y="405"/>
                      </a:lnTo>
                      <a:lnTo>
                        <a:pt x="718" y="406"/>
                      </a:lnTo>
                      <a:lnTo>
                        <a:pt x="719" y="406"/>
                      </a:lnTo>
                      <a:lnTo>
                        <a:pt x="719" y="408"/>
                      </a:lnTo>
                      <a:lnTo>
                        <a:pt x="720" y="408"/>
                      </a:lnTo>
                      <a:lnTo>
                        <a:pt x="720" y="409"/>
                      </a:lnTo>
                      <a:lnTo>
                        <a:pt x="720" y="410"/>
                      </a:lnTo>
                      <a:lnTo>
                        <a:pt x="720" y="411"/>
                      </a:lnTo>
                      <a:lnTo>
                        <a:pt x="721" y="412"/>
                      </a:lnTo>
                      <a:lnTo>
                        <a:pt x="722" y="414"/>
                      </a:lnTo>
                      <a:lnTo>
                        <a:pt x="722" y="415"/>
                      </a:lnTo>
                      <a:lnTo>
                        <a:pt x="722" y="418"/>
                      </a:lnTo>
                      <a:lnTo>
                        <a:pt x="724" y="420"/>
                      </a:lnTo>
                      <a:lnTo>
                        <a:pt x="725" y="421"/>
                      </a:lnTo>
                      <a:lnTo>
                        <a:pt x="725" y="425"/>
                      </a:lnTo>
                      <a:lnTo>
                        <a:pt x="726" y="431"/>
                      </a:lnTo>
                      <a:lnTo>
                        <a:pt x="726" y="433"/>
                      </a:lnTo>
                      <a:lnTo>
                        <a:pt x="725" y="436"/>
                      </a:lnTo>
                      <a:lnTo>
                        <a:pt x="726" y="438"/>
                      </a:lnTo>
                      <a:lnTo>
                        <a:pt x="731" y="442"/>
                      </a:lnTo>
                      <a:lnTo>
                        <a:pt x="733" y="441"/>
                      </a:lnTo>
                      <a:lnTo>
                        <a:pt x="739" y="440"/>
                      </a:lnTo>
                      <a:lnTo>
                        <a:pt x="740" y="440"/>
                      </a:lnTo>
                      <a:lnTo>
                        <a:pt x="741" y="439"/>
                      </a:lnTo>
                      <a:lnTo>
                        <a:pt x="742" y="438"/>
                      </a:lnTo>
                      <a:lnTo>
                        <a:pt x="743" y="438"/>
                      </a:lnTo>
                      <a:lnTo>
                        <a:pt x="743" y="437"/>
                      </a:lnTo>
                      <a:lnTo>
                        <a:pt x="744" y="437"/>
                      </a:lnTo>
                      <a:lnTo>
                        <a:pt x="745" y="437"/>
                      </a:lnTo>
                      <a:lnTo>
                        <a:pt x="745" y="437"/>
                      </a:lnTo>
                      <a:lnTo>
                        <a:pt x="746" y="437"/>
                      </a:lnTo>
                      <a:lnTo>
                        <a:pt x="747" y="437"/>
                      </a:lnTo>
                      <a:lnTo>
                        <a:pt x="747" y="436"/>
                      </a:lnTo>
                      <a:lnTo>
                        <a:pt x="748" y="436"/>
                      </a:lnTo>
                      <a:lnTo>
                        <a:pt x="748" y="437"/>
                      </a:lnTo>
                      <a:lnTo>
                        <a:pt x="748" y="436"/>
                      </a:lnTo>
                      <a:lnTo>
                        <a:pt x="748" y="436"/>
                      </a:lnTo>
                      <a:lnTo>
                        <a:pt x="749" y="436"/>
                      </a:lnTo>
                      <a:lnTo>
                        <a:pt x="749" y="436"/>
                      </a:lnTo>
                      <a:lnTo>
                        <a:pt x="750" y="436"/>
                      </a:lnTo>
                      <a:lnTo>
                        <a:pt x="750" y="436"/>
                      </a:lnTo>
                      <a:lnTo>
                        <a:pt x="751" y="435"/>
                      </a:lnTo>
                      <a:lnTo>
                        <a:pt x="752" y="435"/>
                      </a:lnTo>
                      <a:lnTo>
                        <a:pt x="752" y="435"/>
                      </a:lnTo>
                      <a:lnTo>
                        <a:pt x="752" y="434"/>
                      </a:lnTo>
                      <a:lnTo>
                        <a:pt x="752" y="435"/>
                      </a:lnTo>
                      <a:lnTo>
                        <a:pt x="752" y="434"/>
                      </a:lnTo>
                      <a:lnTo>
                        <a:pt x="753" y="434"/>
                      </a:lnTo>
                      <a:lnTo>
                        <a:pt x="754" y="434"/>
                      </a:lnTo>
                      <a:lnTo>
                        <a:pt x="754" y="434"/>
                      </a:lnTo>
                      <a:lnTo>
                        <a:pt x="755" y="434"/>
                      </a:lnTo>
                      <a:lnTo>
                        <a:pt x="755" y="434"/>
                      </a:lnTo>
                      <a:lnTo>
                        <a:pt x="756" y="434"/>
                      </a:lnTo>
                      <a:lnTo>
                        <a:pt x="756" y="436"/>
                      </a:lnTo>
                      <a:lnTo>
                        <a:pt x="756" y="436"/>
                      </a:lnTo>
                      <a:lnTo>
                        <a:pt x="756" y="438"/>
                      </a:lnTo>
                      <a:lnTo>
                        <a:pt x="757" y="442"/>
                      </a:lnTo>
                      <a:lnTo>
                        <a:pt x="757" y="444"/>
                      </a:lnTo>
                      <a:lnTo>
                        <a:pt x="758" y="443"/>
                      </a:lnTo>
                      <a:lnTo>
                        <a:pt x="763" y="446"/>
                      </a:lnTo>
                      <a:lnTo>
                        <a:pt x="765" y="449"/>
                      </a:lnTo>
                      <a:lnTo>
                        <a:pt x="766" y="450"/>
                      </a:lnTo>
                      <a:lnTo>
                        <a:pt x="767" y="452"/>
                      </a:lnTo>
                      <a:lnTo>
                        <a:pt x="769" y="452"/>
                      </a:lnTo>
                      <a:lnTo>
                        <a:pt x="770" y="453"/>
                      </a:lnTo>
                      <a:lnTo>
                        <a:pt x="771" y="454"/>
                      </a:lnTo>
                      <a:lnTo>
                        <a:pt x="773" y="457"/>
                      </a:lnTo>
                      <a:lnTo>
                        <a:pt x="775" y="458"/>
                      </a:lnTo>
                      <a:lnTo>
                        <a:pt x="775" y="459"/>
                      </a:lnTo>
                      <a:lnTo>
                        <a:pt x="775" y="459"/>
                      </a:lnTo>
                      <a:lnTo>
                        <a:pt x="775" y="460"/>
                      </a:lnTo>
                      <a:lnTo>
                        <a:pt x="776" y="461"/>
                      </a:lnTo>
                      <a:lnTo>
                        <a:pt x="777" y="460"/>
                      </a:lnTo>
                      <a:lnTo>
                        <a:pt x="778" y="460"/>
                      </a:lnTo>
                      <a:lnTo>
                        <a:pt x="779" y="462"/>
                      </a:lnTo>
                      <a:lnTo>
                        <a:pt x="779" y="463"/>
                      </a:lnTo>
                      <a:lnTo>
                        <a:pt x="779" y="463"/>
                      </a:lnTo>
                      <a:lnTo>
                        <a:pt x="780" y="464"/>
                      </a:lnTo>
                      <a:lnTo>
                        <a:pt x="779" y="465"/>
                      </a:lnTo>
                      <a:lnTo>
                        <a:pt x="779" y="465"/>
                      </a:lnTo>
                      <a:lnTo>
                        <a:pt x="778" y="465"/>
                      </a:lnTo>
                      <a:lnTo>
                        <a:pt x="777" y="467"/>
                      </a:lnTo>
                      <a:lnTo>
                        <a:pt x="776" y="469"/>
                      </a:lnTo>
                      <a:lnTo>
                        <a:pt x="777" y="471"/>
                      </a:lnTo>
                      <a:lnTo>
                        <a:pt x="776" y="475"/>
                      </a:lnTo>
                      <a:lnTo>
                        <a:pt x="773" y="478"/>
                      </a:lnTo>
                      <a:lnTo>
                        <a:pt x="773" y="479"/>
                      </a:lnTo>
                      <a:lnTo>
                        <a:pt x="774" y="480"/>
                      </a:lnTo>
                      <a:lnTo>
                        <a:pt x="774" y="480"/>
                      </a:lnTo>
                      <a:lnTo>
                        <a:pt x="775" y="480"/>
                      </a:lnTo>
                      <a:lnTo>
                        <a:pt x="775" y="481"/>
                      </a:lnTo>
                      <a:lnTo>
                        <a:pt x="775" y="482"/>
                      </a:lnTo>
                      <a:lnTo>
                        <a:pt x="775" y="482"/>
                      </a:lnTo>
                      <a:lnTo>
                        <a:pt x="776" y="483"/>
                      </a:lnTo>
                      <a:lnTo>
                        <a:pt x="777" y="483"/>
                      </a:lnTo>
                      <a:lnTo>
                        <a:pt x="777" y="484"/>
                      </a:lnTo>
                      <a:lnTo>
                        <a:pt x="777" y="484"/>
                      </a:lnTo>
                      <a:lnTo>
                        <a:pt x="776" y="486"/>
                      </a:lnTo>
                      <a:lnTo>
                        <a:pt x="775" y="486"/>
                      </a:lnTo>
                      <a:lnTo>
                        <a:pt x="773" y="488"/>
                      </a:lnTo>
                      <a:lnTo>
                        <a:pt x="772" y="490"/>
                      </a:lnTo>
                      <a:lnTo>
                        <a:pt x="771" y="493"/>
                      </a:lnTo>
                      <a:lnTo>
                        <a:pt x="771" y="495"/>
                      </a:lnTo>
                      <a:lnTo>
                        <a:pt x="770" y="496"/>
                      </a:lnTo>
                      <a:lnTo>
                        <a:pt x="770" y="497"/>
                      </a:lnTo>
                      <a:lnTo>
                        <a:pt x="771" y="501"/>
                      </a:lnTo>
                      <a:lnTo>
                        <a:pt x="770" y="502"/>
                      </a:lnTo>
                      <a:lnTo>
                        <a:pt x="770" y="503"/>
                      </a:lnTo>
                      <a:lnTo>
                        <a:pt x="769" y="503"/>
                      </a:lnTo>
                      <a:lnTo>
                        <a:pt x="769" y="503"/>
                      </a:lnTo>
                      <a:lnTo>
                        <a:pt x="768" y="503"/>
                      </a:lnTo>
                      <a:lnTo>
                        <a:pt x="767" y="503"/>
                      </a:lnTo>
                      <a:lnTo>
                        <a:pt x="767" y="502"/>
                      </a:lnTo>
                      <a:lnTo>
                        <a:pt x="766" y="502"/>
                      </a:lnTo>
                      <a:lnTo>
                        <a:pt x="766" y="501"/>
                      </a:lnTo>
                      <a:lnTo>
                        <a:pt x="765" y="501"/>
                      </a:lnTo>
                      <a:lnTo>
                        <a:pt x="764" y="501"/>
                      </a:lnTo>
                      <a:lnTo>
                        <a:pt x="764" y="501"/>
                      </a:lnTo>
                      <a:lnTo>
                        <a:pt x="764" y="501"/>
                      </a:lnTo>
                      <a:lnTo>
                        <a:pt x="764" y="500"/>
                      </a:lnTo>
                      <a:lnTo>
                        <a:pt x="763" y="500"/>
                      </a:lnTo>
                      <a:lnTo>
                        <a:pt x="762" y="500"/>
                      </a:lnTo>
                      <a:lnTo>
                        <a:pt x="762" y="500"/>
                      </a:lnTo>
                      <a:lnTo>
                        <a:pt x="761" y="500"/>
                      </a:lnTo>
                      <a:lnTo>
                        <a:pt x="761" y="501"/>
                      </a:lnTo>
                      <a:lnTo>
                        <a:pt x="760" y="501"/>
                      </a:lnTo>
                      <a:lnTo>
                        <a:pt x="760" y="501"/>
                      </a:lnTo>
                      <a:lnTo>
                        <a:pt x="760" y="501"/>
                      </a:lnTo>
                      <a:lnTo>
                        <a:pt x="760" y="501"/>
                      </a:lnTo>
                      <a:lnTo>
                        <a:pt x="759" y="501"/>
                      </a:lnTo>
                      <a:lnTo>
                        <a:pt x="759" y="501"/>
                      </a:lnTo>
                      <a:lnTo>
                        <a:pt x="758" y="501"/>
                      </a:lnTo>
                      <a:lnTo>
                        <a:pt x="758" y="501"/>
                      </a:lnTo>
                      <a:lnTo>
                        <a:pt x="758" y="502"/>
                      </a:lnTo>
                      <a:lnTo>
                        <a:pt x="757" y="502"/>
                      </a:lnTo>
                      <a:lnTo>
                        <a:pt x="756" y="502"/>
                      </a:lnTo>
                      <a:lnTo>
                        <a:pt x="756" y="502"/>
                      </a:lnTo>
                      <a:lnTo>
                        <a:pt x="755" y="502"/>
                      </a:lnTo>
                      <a:lnTo>
                        <a:pt x="754" y="503"/>
                      </a:lnTo>
                      <a:lnTo>
                        <a:pt x="753" y="503"/>
                      </a:lnTo>
                      <a:lnTo>
                        <a:pt x="752" y="505"/>
                      </a:lnTo>
                      <a:lnTo>
                        <a:pt x="748" y="506"/>
                      </a:lnTo>
                      <a:lnTo>
                        <a:pt x="747" y="507"/>
                      </a:lnTo>
                      <a:lnTo>
                        <a:pt x="746" y="511"/>
                      </a:lnTo>
                      <a:lnTo>
                        <a:pt x="745" y="512"/>
                      </a:lnTo>
                      <a:lnTo>
                        <a:pt x="745" y="514"/>
                      </a:lnTo>
                      <a:lnTo>
                        <a:pt x="741" y="516"/>
                      </a:lnTo>
                      <a:lnTo>
                        <a:pt x="739" y="518"/>
                      </a:lnTo>
                      <a:lnTo>
                        <a:pt x="738" y="518"/>
                      </a:lnTo>
                      <a:lnTo>
                        <a:pt x="737" y="518"/>
                      </a:lnTo>
                      <a:lnTo>
                        <a:pt x="735" y="518"/>
                      </a:lnTo>
                      <a:lnTo>
                        <a:pt x="734" y="519"/>
                      </a:lnTo>
                      <a:lnTo>
                        <a:pt x="734" y="520"/>
                      </a:lnTo>
                      <a:lnTo>
                        <a:pt x="735" y="522"/>
                      </a:lnTo>
                      <a:lnTo>
                        <a:pt x="733" y="522"/>
                      </a:lnTo>
                      <a:lnTo>
                        <a:pt x="731" y="526"/>
                      </a:lnTo>
                      <a:lnTo>
                        <a:pt x="726" y="537"/>
                      </a:lnTo>
                      <a:lnTo>
                        <a:pt x="718" y="549"/>
                      </a:lnTo>
                      <a:lnTo>
                        <a:pt x="714" y="559"/>
                      </a:lnTo>
                      <a:lnTo>
                        <a:pt x="705" y="560"/>
                      </a:lnTo>
                      <a:lnTo>
                        <a:pt x="695" y="547"/>
                      </a:lnTo>
                      <a:lnTo>
                        <a:pt x="687" y="540"/>
                      </a:lnTo>
                      <a:lnTo>
                        <a:pt x="676" y="535"/>
                      </a:lnTo>
                      <a:lnTo>
                        <a:pt x="665" y="542"/>
                      </a:lnTo>
                      <a:lnTo>
                        <a:pt x="665" y="543"/>
                      </a:lnTo>
                      <a:lnTo>
                        <a:pt x="663" y="545"/>
                      </a:lnTo>
                      <a:lnTo>
                        <a:pt x="661" y="545"/>
                      </a:lnTo>
                      <a:lnTo>
                        <a:pt x="659" y="546"/>
                      </a:lnTo>
                      <a:lnTo>
                        <a:pt x="657" y="551"/>
                      </a:lnTo>
                      <a:lnTo>
                        <a:pt x="657" y="552"/>
                      </a:lnTo>
                      <a:lnTo>
                        <a:pt x="655" y="553"/>
                      </a:lnTo>
                      <a:lnTo>
                        <a:pt x="654" y="553"/>
                      </a:lnTo>
                      <a:lnTo>
                        <a:pt x="652" y="554"/>
                      </a:lnTo>
                      <a:lnTo>
                        <a:pt x="650" y="554"/>
                      </a:lnTo>
                      <a:lnTo>
                        <a:pt x="648" y="553"/>
                      </a:lnTo>
                      <a:lnTo>
                        <a:pt x="647" y="553"/>
                      </a:lnTo>
                      <a:lnTo>
                        <a:pt x="645" y="553"/>
                      </a:lnTo>
                      <a:lnTo>
                        <a:pt x="644" y="554"/>
                      </a:lnTo>
                      <a:lnTo>
                        <a:pt x="642" y="554"/>
                      </a:lnTo>
                      <a:lnTo>
                        <a:pt x="641" y="554"/>
                      </a:lnTo>
                      <a:lnTo>
                        <a:pt x="638" y="555"/>
                      </a:lnTo>
                      <a:lnTo>
                        <a:pt x="638" y="555"/>
                      </a:lnTo>
                      <a:lnTo>
                        <a:pt x="638" y="554"/>
                      </a:lnTo>
                      <a:lnTo>
                        <a:pt x="637" y="554"/>
                      </a:lnTo>
                      <a:lnTo>
                        <a:pt x="636" y="554"/>
                      </a:lnTo>
                      <a:lnTo>
                        <a:pt x="636" y="555"/>
                      </a:lnTo>
                      <a:lnTo>
                        <a:pt x="636" y="555"/>
                      </a:lnTo>
                      <a:lnTo>
                        <a:pt x="636" y="556"/>
                      </a:lnTo>
                      <a:lnTo>
                        <a:pt x="635" y="556"/>
                      </a:lnTo>
                      <a:lnTo>
                        <a:pt x="635" y="556"/>
                      </a:lnTo>
                      <a:lnTo>
                        <a:pt x="634" y="556"/>
                      </a:lnTo>
                      <a:lnTo>
                        <a:pt x="634" y="557"/>
                      </a:lnTo>
                      <a:lnTo>
                        <a:pt x="633" y="558"/>
                      </a:lnTo>
                      <a:lnTo>
                        <a:pt x="632" y="558"/>
                      </a:lnTo>
                      <a:lnTo>
                        <a:pt x="631" y="559"/>
                      </a:lnTo>
                      <a:lnTo>
                        <a:pt x="629" y="559"/>
                      </a:lnTo>
                      <a:lnTo>
                        <a:pt x="627" y="560"/>
                      </a:lnTo>
                      <a:lnTo>
                        <a:pt x="625" y="559"/>
                      </a:lnTo>
                      <a:lnTo>
                        <a:pt x="625" y="559"/>
                      </a:lnTo>
                      <a:lnTo>
                        <a:pt x="623" y="558"/>
                      </a:lnTo>
                      <a:lnTo>
                        <a:pt x="623" y="558"/>
                      </a:lnTo>
                      <a:lnTo>
                        <a:pt x="621" y="557"/>
                      </a:lnTo>
                      <a:lnTo>
                        <a:pt x="621" y="556"/>
                      </a:lnTo>
                      <a:lnTo>
                        <a:pt x="620" y="556"/>
                      </a:lnTo>
                      <a:lnTo>
                        <a:pt x="620" y="556"/>
                      </a:lnTo>
                      <a:lnTo>
                        <a:pt x="620" y="555"/>
                      </a:lnTo>
                      <a:lnTo>
                        <a:pt x="619" y="555"/>
                      </a:lnTo>
                      <a:lnTo>
                        <a:pt x="619" y="554"/>
                      </a:lnTo>
                      <a:lnTo>
                        <a:pt x="618" y="556"/>
                      </a:lnTo>
                      <a:lnTo>
                        <a:pt x="617" y="556"/>
                      </a:lnTo>
                      <a:lnTo>
                        <a:pt x="617" y="556"/>
                      </a:lnTo>
                      <a:lnTo>
                        <a:pt x="616" y="556"/>
                      </a:lnTo>
                      <a:lnTo>
                        <a:pt x="615" y="556"/>
                      </a:lnTo>
                      <a:lnTo>
                        <a:pt x="615" y="556"/>
                      </a:lnTo>
                      <a:lnTo>
                        <a:pt x="615" y="557"/>
                      </a:lnTo>
                      <a:lnTo>
                        <a:pt x="615" y="556"/>
                      </a:lnTo>
                      <a:lnTo>
                        <a:pt x="614" y="556"/>
                      </a:lnTo>
                      <a:lnTo>
                        <a:pt x="614" y="556"/>
                      </a:lnTo>
                      <a:lnTo>
                        <a:pt x="614" y="555"/>
                      </a:lnTo>
                      <a:lnTo>
                        <a:pt x="614" y="554"/>
                      </a:lnTo>
                      <a:lnTo>
                        <a:pt x="613" y="554"/>
                      </a:lnTo>
                      <a:lnTo>
                        <a:pt x="612" y="554"/>
                      </a:lnTo>
                      <a:lnTo>
                        <a:pt x="612" y="555"/>
                      </a:lnTo>
                      <a:lnTo>
                        <a:pt x="612" y="555"/>
                      </a:lnTo>
                      <a:lnTo>
                        <a:pt x="611" y="555"/>
                      </a:lnTo>
                      <a:lnTo>
                        <a:pt x="610" y="555"/>
                      </a:lnTo>
                      <a:lnTo>
                        <a:pt x="610" y="555"/>
                      </a:lnTo>
                      <a:lnTo>
                        <a:pt x="609" y="555"/>
                      </a:lnTo>
                      <a:lnTo>
                        <a:pt x="608" y="555"/>
                      </a:lnTo>
                      <a:lnTo>
                        <a:pt x="608" y="555"/>
                      </a:lnTo>
                      <a:lnTo>
                        <a:pt x="608" y="556"/>
                      </a:lnTo>
                      <a:lnTo>
                        <a:pt x="607" y="556"/>
                      </a:lnTo>
                      <a:lnTo>
                        <a:pt x="606" y="556"/>
                      </a:lnTo>
                      <a:lnTo>
                        <a:pt x="606" y="556"/>
                      </a:lnTo>
                      <a:lnTo>
                        <a:pt x="605" y="556"/>
                      </a:lnTo>
                      <a:lnTo>
                        <a:pt x="605" y="556"/>
                      </a:lnTo>
                      <a:lnTo>
                        <a:pt x="604" y="556"/>
                      </a:lnTo>
                      <a:lnTo>
                        <a:pt x="604" y="557"/>
                      </a:lnTo>
                      <a:lnTo>
                        <a:pt x="604" y="557"/>
                      </a:lnTo>
                      <a:lnTo>
                        <a:pt x="604" y="558"/>
                      </a:lnTo>
                      <a:lnTo>
                        <a:pt x="603" y="558"/>
                      </a:lnTo>
                      <a:lnTo>
                        <a:pt x="603" y="558"/>
                      </a:lnTo>
                      <a:lnTo>
                        <a:pt x="602" y="558"/>
                      </a:lnTo>
                      <a:lnTo>
                        <a:pt x="602" y="558"/>
                      </a:lnTo>
                      <a:lnTo>
                        <a:pt x="602" y="559"/>
                      </a:lnTo>
                      <a:lnTo>
                        <a:pt x="602" y="560"/>
                      </a:lnTo>
                      <a:lnTo>
                        <a:pt x="601" y="560"/>
                      </a:lnTo>
                      <a:lnTo>
                        <a:pt x="601" y="560"/>
                      </a:lnTo>
                      <a:lnTo>
                        <a:pt x="600" y="560"/>
                      </a:lnTo>
                      <a:lnTo>
                        <a:pt x="600" y="560"/>
                      </a:lnTo>
                      <a:lnTo>
                        <a:pt x="599" y="560"/>
                      </a:lnTo>
                      <a:lnTo>
                        <a:pt x="598" y="560"/>
                      </a:lnTo>
                      <a:lnTo>
                        <a:pt x="598" y="560"/>
                      </a:lnTo>
                      <a:lnTo>
                        <a:pt x="598" y="561"/>
                      </a:lnTo>
                      <a:lnTo>
                        <a:pt x="597" y="561"/>
                      </a:lnTo>
                      <a:lnTo>
                        <a:pt x="597" y="562"/>
                      </a:lnTo>
                      <a:lnTo>
                        <a:pt x="596" y="562"/>
                      </a:lnTo>
                      <a:lnTo>
                        <a:pt x="596" y="562"/>
                      </a:lnTo>
                      <a:lnTo>
                        <a:pt x="595" y="562"/>
                      </a:lnTo>
                      <a:lnTo>
                        <a:pt x="594" y="562"/>
                      </a:lnTo>
                      <a:lnTo>
                        <a:pt x="593" y="562"/>
                      </a:lnTo>
                      <a:lnTo>
                        <a:pt x="593" y="562"/>
                      </a:lnTo>
                      <a:lnTo>
                        <a:pt x="592" y="562"/>
                      </a:lnTo>
                      <a:lnTo>
                        <a:pt x="591" y="562"/>
                      </a:lnTo>
                      <a:lnTo>
                        <a:pt x="591" y="562"/>
                      </a:lnTo>
                      <a:lnTo>
                        <a:pt x="590" y="561"/>
                      </a:lnTo>
                      <a:lnTo>
                        <a:pt x="590" y="560"/>
                      </a:lnTo>
                      <a:lnTo>
                        <a:pt x="589" y="560"/>
                      </a:lnTo>
                      <a:lnTo>
                        <a:pt x="589" y="560"/>
                      </a:lnTo>
                      <a:lnTo>
                        <a:pt x="589" y="560"/>
                      </a:lnTo>
                      <a:lnTo>
                        <a:pt x="588" y="560"/>
                      </a:lnTo>
                      <a:lnTo>
                        <a:pt x="588" y="560"/>
                      </a:lnTo>
                      <a:lnTo>
                        <a:pt x="587" y="560"/>
                      </a:lnTo>
                      <a:lnTo>
                        <a:pt x="587" y="559"/>
                      </a:lnTo>
                      <a:lnTo>
                        <a:pt x="587" y="559"/>
                      </a:lnTo>
                      <a:lnTo>
                        <a:pt x="586" y="558"/>
                      </a:lnTo>
                      <a:lnTo>
                        <a:pt x="586" y="558"/>
                      </a:lnTo>
                      <a:lnTo>
                        <a:pt x="585" y="558"/>
                      </a:lnTo>
                      <a:lnTo>
                        <a:pt x="585" y="558"/>
                      </a:lnTo>
                      <a:lnTo>
                        <a:pt x="584" y="557"/>
                      </a:lnTo>
                      <a:lnTo>
                        <a:pt x="584" y="556"/>
                      </a:lnTo>
                      <a:lnTo>
                        <a:pt x="583" y="556"/>
                      </a:lnTo>
                      <a:lnTo>
                        <a:pt x="584" y="556"/>
                      </a:lnTo>
                      <a:lnTo>
                        <a:pt x="583" y="556"/>
                      </a:lnTo>
                      <a:lnTo>
                        <a:pt x="583" y="555"/>
                      </a:lnTo>
                      <a:lnTo>
                        <a:pt x="583" y="554"/>
                      </a:lnTo>
                      <a:lnTo>
                        <a:pt x="583" y="554"/>
                      </a:lnTo>
                      <a:lnTo>
                        <a:pt x="582" y="554"/>
                      </a:lnTo>
                      <a:lnTo>
                        <a:pt x="581" y="554"/>
                      </a:lnTo>
                      <a:lnTo>
                        <a:pt x="581" y="553"/>
                      </a:lnTo>
                      <a:lnTo>
                        <a:pt x="581" y="552"/>
                      </a:lnTo>
                      <a:lnTo>
                        <a:pt x="581" y="552"/>
                      </a:lnTo>
                      <a:lnTo>
                        <a:pt x="581" y="551"/>
                      </a:lnTo>
                      <a:lnTo>
                        <a:pt x="581" y="551"/>
                      </a:lnTo>
                      <a:lnTo>
                        <a:pt x="580" y="551"/>
                      </a:lnTo>
                      <a:lnTo>
                        <a:pt x="579" y="551"/>
                      </a:lnTo>
                      <a:lnTo>
                        <a:pt x="579" y="550"/>
                      </a:lnTo>
                      <a:lnTo>
                        <a:pt x="579" y="550"/>
                      </a:lnTo>
                      <a:lnTo>
                        <a:pt x="577" y="550"/>
                      </a:lnTo>
                      <a:lnTo>
                        <a:pt x="577" y="549"/>
                      </a:lnTo>
                      <a:lnTo>
                        <a:pt x="575" y="549"/>
                      </a:lnTo>
                      <a:lnTo>
                        <a:pt x="574" y="548"/>
                      </a:lnTo>
                      <a:lnTo>
                        <a:pt x="573" y="547"/>
                      </a:lnTo>
                      <a:lnTo>
                        <a:pt x="572" y="546"/>
                      </a:lnTo>
                      <a:lnTo>
                        <a:pt x="571" y="546"/>
                      </a:lnTo>
                      <a:lnTo>
                        <a:pt x="570" y="545"/>
                      </a:lnTo>
                      <a:lnTo>
                        <a:pt x="570" y="545"/>
                      </a:lnTo>
                      <a:lnTo>
                        <a:pt x="569" y="545"/>
                      </a:lnTo>
                      <a:lnTo>
                        <a:pt x="569" y="544"/>
                      </a:lnTo>
                      <a:lnTo>
                        <a:pt x="568" y="544"/>
                      </a:lnTo>
                      <a:lnTo>
                        <a:pt x="568" y="543"/>
                      </a:lnTo>
                      <a:lnTo>
                        <a:pt x="568" y="543"/>
                      </a:lnTo>
                      <a:lnTo>
                        <a:pt x="567" y="543"/>
                      </a:lnTo>
                      <a:lnTo>
                        <a:pt x="567" y="543"/>
                      </a:lnTo>
                      <a:lnTo>
                        <a:pt x="566" y="543"/>
                      </a:lnTo>
                      <a:lnTo>
                        <a:pt x="566" y="542"/>
                      </a:lnTo>
                      <a:lnTo>
                        <a:pt x="566" y="542"/>
                      </a:lnTo>
                      <a:lnTo>
                        <a:pt x="565" y="542"/>
                      </a:lnTo>
                      <a:lnTo>
                        <a:pt x="564" y="542"/>
                      </a:lnTo>
                      <a:lnTo>
                        <a:pt x="564" y="541"/>
                      </a:lnTo>
                      <a:lnTo>
                        <a:pt x="564" y="541"/>
                      </a:lnTo>
                      <a:lnTo>
                        <a:pt x="564" y="541"/>
                      </a:lnTo>
                      <a:lnTo>
                        <a:pt x="564" y="540"/>
                      </a:lnTo>
                      <a:lnTo>
                        <a:pt x="563" y="540"/>
                      </a:lnTo>
                      <a:lnTo>
                        <a:pt x="562" y="539"/>
                      </a:lnTo>
                      <a:lnTo>
                        <a:pt x="562" y="539"/>
                      </a:lnTo>
                      <a:lnTo>
                        <a:pt x="561" y="539"/>
                      </a:lnTo>
                      <a:lnTo>
                        <a:pt x="561" y="540"/>
                      </a:lnTo>
                      <a:lnTo>
                        <a:pt x="560" y="540"/>
                      </a:lnTo>
                      <a:lnTo>
                        <a:pt x="560" y="540"/>
                      </a:lnTo>
                      <a:lnTo>
                        <a:pt x="559" y="540"/>
                      </a:lnTo>
                      <a:lnTo>
                        <a:pt x="559" y="541"/>
                      </a:lnTo>
                      <a:lnTo>
                        <a:pt x="558" y="541"/>
                      </a:lnTo>
                      <a:lnTo>
                        <a:pt x="558" y="540"/>
                      </a:lnTo>
                      <a:lnTo>
                        <a:pt x="558" y="540"/>
                      </a:lnTo>
                      <a:lnTo>
                        <a:pt x="558" y="541"/>
                      </a:lnTo>
                      <a:lnTo>
                        <a:pt x="557" y="541"/>
                      </a:lnTo>
                      <a:lnTo>
                        <a:pt x="556" y="541"/>
                      </a:lnTo>
                      <a:lnTo>
                        <a:pt x="555" y="541"/>
                      </a:lnTo>
                      <a:lnTo>
                        <a:pt x="555" y="541"/>
                      </a:lnTo>
                      <a:lnTo>
                        <a:pt x="554" y="541"/>
                      </a:lnTo>
                      <a:lnTo>
                        <a:pt x="553" y="542"/>
                      </a:lnTo>
                      <a:lnTo>
                        <a:pt x="553" y="542"/>
                      </a:lnTo>
                      <a:lnTo>
                        <a:pt x="553" y="543"/>
                      </a:lnTo>
                      <a:lnTo>
                        <a:pt x="552" y="543"/>
                      </a:lnTo>
                      <a:lnTo>
                        <a:pt x="551" y="543"/>
                      </a:lnTo>
                      <a:lnTo>
                        <a:pt x="551" y="543"/>
                      </a:lnTo>
                      <a:lnTo>
                        <a:pt x="551" y="543"/>
                      </a:lnTo>
                      <a:lnTo>
                        <a:pt x="549" y="541"/>
                      </a:lnTo>
                      <a:lnTo>
                        <a:pt x="549" y="541"/>
                      </a:lnTo>
                      <a:lnTo>
                        <a:pt x="548" y="541"/>
                      </a:lnTo>
                      <a:lnTo>
                        <a:pt x="547" y="540"/>
                      </a:lnTo>
                      <a:lnTo>
                        <a:pt x="547" y="540"/>
                      </a:lnTo>
                      <a:lnTo>
                        <a:pt x="546" y="540"/>
                      </a:lnTo>
                      <a:lnTo>
                        <a:pt x="545" y="540"/>
                      </a:lnTo>
                      <a:lnTo>
                        <a:pt x="545" y="541"/>
                      </a:lnTo>
                      <a:lnTo>
                        <a:pt x="544" y="541"/>
                      </a:lnTo>
                      <a:lnTo>
                        <a:pt x="543" y="541"/>
                      </a:lnTo>
                      <a:lnTo>
                        <a:pt x="543" y="541"/>
                      </a:lnTo>
                      <a:lnTo>
                        <a:pt x="542" y="542"/>
                      </a:lnTo>
                      <a:lnTo>
                        <a:pt x="541" y="543"/>
                      </a:lnTo>
                      <a:lnTo>
                        <a:pt x="541" y="543"/>
                      </a:lnTo>
                      <a:lnTo>
                        <a:pt x="541" y="543"/>
                      </a:lnTo>
                      <a:lnTo>
                        <a:pt x="540" y="543"/>
                      </a:lnTo>
                      <a:lnTo>
                        <a:pt x="540" y="543"/>
                      </a:lnTo>
                      <a:lnTo>
                        <a:pt x="539" y="543"/>
                      </a:lnTo>
                      <a:lnTo>
                        <a:pt x="539" y="543"/>
                      </a:lnTo>
                      <a:lnTo>
                        <a:pt x="539" y="542"/>
                      </a:lnTo>
                      <a:lnTo>
                        <a:pt x="538" y="542"/>
                      </a:lnTo>
                      <a:lnTo>
                        <a:pt x="538" y="541"/>
                      </a:lnTo>
                      <a:lnTo>
                        <a:pt x="538" y="541"/>
                      </a:lnTo>
                      <a:lnTo>
                        <a:pt x="537" y="541"/>
                      </a:lnTo>
                      <a:lnTo>
                        <a:pt x="536" y="541"/>
                      </a:lnTo>
                      <a:lnTo>
                        <a:pt x="536" y="541"/>
                      </a:lnTo>
                      <a:lnTo>
                        <a:pt x="536" y="542"/>
                      </a:lnTo>
                      <a:lnTo>
                        <a:pt x="536" y="542"/>
                      </a:lnTo>
                      <a:lnTo>
                        <a:pt x="536" y="541"/>
                      </a:lnTo>
                      <a:lnTo>
                        <a:pt x="536" y="542"/>
                      </a:lnTo>
                      <a:lnTo>
                        <a:pt x="535" y="542"/>
                      </a:lnTo>
                      <a:lnTo>
                        <a:pt x="535" y="541"/>
                      </a:lnTo>
                      <a:lnTo>
                        <a:pt x="534" y="541"/>
                      </a:lnTo>
                      <a:lnTo>
                        <a:pt x="534" y="541"/>
                      </a:lnTo>
                      <a:lnTo>
                        <a:pt x="534" y="541"/>
                      </a:lnTo>
                      <a:lnTo>
                        <a:pt x="534" y="540"/>
                      </a:lnTo>
                      <a:lnTo>
                        <a:pt x="534" y="539"/>
                      </a:lnTo>
                      <a:lnTo>
                        <a:pt x="533" y="539"/>
                      </a:lnTo>
                      <a:lnTo>
                        <a:pt x="533" y="539"/>
                      </a:lnTo>
                      <a:lnTo>
                        <a:pt x="532" y="539"/>
                      </a:lnTo>
                      <a:lnTo>
                        <a:pt x="532" y="538"/>
                      </a:lnTo>
                      <a:lnTo>
                        <a:pt x="532" y="538"/>
                      </a:lnTo>
                      <a:lnTo>
                        <a:pt x="532" y="537"/>
                      </a:lnTo>
                      <a:lnTo>
                        <a:pt x="532" y="538"/>
                      </a:lnTo>
                      <a:lnTo>
                        <a:pt x="531" y="538"/>
                      </a:lnTo>
                      <a:lnTo>
                        <a:pt x="531" y="537"/>
                      </a:lnTo>
                      <a:lnTo>
                        <a:pt x="530" y="537"/>
                      </a:lnTo>
                      <a:lnTo>
                        <a:pt x="530" y="538"/>
                      </a:lnTo>
                      <a:lnTo>
                        <a:pt x="530" y="539"/>
                      </a:lnTo>
                      <a:lnTo>
                        <a:pt x="530" y="539"/>
                      </a:lnTo>
                      <a:lnTo>
                        <a:pt x="529" y="540"/>
                      </a:lnTo>
                      <a:lnTo>
                        <a:pt x="529" y="541"/>
                      </a:lnTo>
                      <a:lnTo>
                        <a:pt x="529" y="542"/>
                      </a:lnTo>
                      <a:lnTo>
                        <a:pt x="529" y="543"/>
                      </a:lnTo>
                      <a:lnTo>
                        <a:pt x="528" y="543"/>
                      </a:lnTo>
                      <a:lnTo>
                        <a:pt x="528" y="544"/>
                      </a:lnTo>
                      <a:lnTo>
                        <a:pt x="528" y="545"/>
                      </a:lnTo>
                      <a:lnTo>
                        <a:pt x="527" y="545"/>
                      </a:lnTo>
                      <a:lnTo>
                        <a:pt x="527" y="546"/>
                      </a:lnTo>
                      <a:lnTo>
                        <a:pt x="526" y="547"/>
                      </a:lnTo>
                      <a:lnTo>
                        <a:pt x="526" y="547"/>
                      </a:lnTo>
                      <a:lnTo>
                        <a:pt x="526" y="547"/>
                      </a:lnTo>
                      <a:lnTo>
                        <a:pt x="526" y="548"/>
                      </a:lnTo>
                      <a:lnTo>
                        <a:pt x="526" y="549"/>
                      </a:lnTo>
                      <a:lnTo>
                        <a:pt x="526" y="549"/>
                      </a:lnTo>
                      <a:lnTo>
                        <a:pt x="525" y="549"/>
                      </a:lnTo>
                      <a:lnTo>
                        <a:pt x="525" y="550"/>
                      </a:lnTo>
                      <a:lnTo>
                        <a:pt x="525" y="551"/>
                      </a:lnTo>
                      <a:lnTo>
                        <a:pt x="524" y="551"/>
                      </a:lnTo>
                      <a:lnTo>
                        <a:pt x="524" y="552"/>
                      </a:lnTo>
                      <a:lnTo>
                        <a:pt x="524" y="552"/>
                      </a:lnTo>
                      <a:lnTo>
                        <a:pt x="524" y="552"/>
                      </a:lnTo>
                      <a:lnTo>
                        <a:pt x="523" y="552"/>
                      </a:lnTo>
                      <a:lnTo>
                        <a:pt x="522" y="553"/>
                      </a:lnTo>
                      <a:lnTo>
                        <a:pt x="521" y="553"/>
                      </a:lnTo>
                      <a:lnTo>
                        <a:pt x="520" y="553"/>
                      </a:lnTo>
                      <a:lnTo>
                        <a:pt x="520" y="554"/>
                      </a:lnTo>
                      <a:lnTo>
                        <a:pt x="519" y="554"/>
                      </a:lnTo>
                      <a:lnTo>
                        <a:pt x="518" y="554"/>
                      </a:lnTo>
                      <a:lnTo>
                        <a:pt x="517" y="554"/>
                      </a:lnTo>
                      <a:lnTo>
                        <a:pt x="516" y="554"/>
                      </a:lnTo>
                      <a:lnTo>
                        <a:pt x="515" y="554"/>
                      </a:lnTo>
                      <a:lnTo>
                        <a:pt x="515" y="555"/>
                      </a:lnTo>
                      <a:lnTo>
                        <a:pt x="515" y="555"/>
                      </a:lnTo>
                      <a:lnTo>
                        <a:pt x="515" y="556"/>
                      </a:lnTo>
                      <a:lnTo>
                        <a:pt x="514" y="556"/>
                      </a:lnTo>
                      <a:lnTo>
                        <a:pt x="513" y="556"/>
                      </a:lnTo>
                      <a:lnTo>
                        <a:pt x="512" y="558"/>
                      </a:lnTo>
                      <a:lnTo>
                        <a:pt x="511" y="559"/>
                      </a:lnTo>
                      <a:lnTo>
                        <a:pt x="511" y="559"/>
                      </a:lnTo>
                      <a:lnTo>
                        <a:pt x="511" y="560"/>
                      </a:lnTo>
                      <a:lnTo>
                        <a:pt x="510" y="560"/>
                      </a:lnTo>
                      <a:lnTo>
                        <a:pt x="510" y="560"/>
                      </a:lnTo>
                      <a:lnTo>
                        <a:pt x="509" y="560"/>
                      </a:lnTo>
                      <a:lnTo>
                        <a:pt x="509" y="560"/>
                      </a:lnTo>
                      <a:lnTo>
                        <a:pt x="508" y="561"/>
                      </a:lnTo>
                      <a:lnTo>
                        <a:pt x="507" y="561"/>
                      </a:lnTo>
                      <a:lnTo>
                        <a:pt x="507" y="561"/>
                      </a:lnTo>
                      <a:lnTo>
                        <a:pt x="506" y="561"/>
                      </a:lnTo>
                      <a:lnTo>
                        <a:pt x="505" y="562"/>
                      </a:lnTo>
                      <a:lnTo>
                        <a:pt x="505" y="562"/>
                      </a:lnTo>
                      <a:lnTo>
                        <a:pt x="504" y="562"/>
                      </a:lnTo>
                      <a:lnTo>
                        <a:pt x="503" y="562"/>
                      </a:lnTo>
                      <a:lnTo>
                        <a:pt x="503" y="562"/>
                      </a:lnTo>
                      <a:lnTo>
                        <a:pt x="502" y="562"/>
                      </a:lnTo>
                      <a:lnTo>
                        <a:pt x="501" y="562"/>
                      </a:lnTo>
                      <a:lnTo>
                        <a:pt x="500" y="562"/>
                      </a:lnTo>
                      <a:lnTo>
                        <a:pt x="500" y="562"/>
                      </a:lnTo>
                      <a:lnTo>
                        <a:pt x="499" y="562"/>
                      </a:lnTo>
                      <a:lnTo>
                        <a:pt x="498" y="562"/>
                      </a:lnTo>
                      <a:lnTo>
                        <a:pt x="498" y="561"/>
                      </a:lnTo>
                      <a:lnTo>
                        <a:pt x="498" y="561"/>
                      </a:lnTo>
                      <a:lnTo>
                        <a:pt x="497" y="560"/>
                      </a:lnTo>
                      <a:lnTo>
                        <a:pt x="495" y="561"/>
                      </a:lnTo>
                      <a:lnTo>
                        <a:pt x="494" y="560"/>
                      </a:lnTo>
                      <a:lnTo>
                        <a:pt x="493" y="559"/>
                      </a:lnTo>
                      <a:lnTo>
                        <a:pt x="492" y="559"/>
                      </a:lnTo>
                      <a:lnTo>
                        <a:pt x="492" y="559"/>
                      </a:lnTo>
                      <a:lnTo>
                        <a:pt x="491" y="559"/>
                      </a:lnTo>
                      <a:lnTo>
                        <a:pt x="490" y="559"/>
                      </a:lnTo>
                      <a:lnTo>
                        <a:pt x="490" y="559"/>
                      </a:lnTo>
                      <a:lnTo>
                        <a:pt x="490" y="558"/>
                      </a:lnTo>
                      <a:lnTo>
                        <a:pt x="489" y="558"/>
                      </a:lnTo>
                      <a:lnTo>
                        <a:pt x="488" y="558"/>
                      </a:lnTo>
                      <a:lnTo>
                        <a:pt x="488" y="558"/>
                      </a:lnTo>
                      <a:lnTo>
                        <a:pt x="487" y="558"/>
                      </a:lnTo>
                      <a:lnTo>
                        <a:pt x="486" y="558"/>
                      </a:lnTo>
                      <a:lnTo>
                        <a:pt x="486" y="558"/>
                      </a:lnTo>
                      <a:lnTo>
                        <a:pt x="485" y="558"/>
                      </a:lnTo>
                      <a:lnTo>
                        <a:pt x="484" y="558"/>
                      </a:lnTo>
                      <a:lnTo>
                        <a:pt x="484" y="558"/>
                      </a:lnTo>
                      <a:lnTo>
                        <a:pt x="484" y="559"/>
                      </a:lnTo>
                      <a:lnTo>
                        <a:pt x="484" y="559"/>
                      </a:lnTo>
                      <a:lnTo>
                        <a:pt x="484" y="560"/>
                      </a:lnTo>
                      <a:lnTo>
                        <a:pt x="484" y="560"/>
                      </a:lnTo>
                      <a:lnTo>
                        <a:pt x="485" y="560"/>
                      </a:lnTo>
                      <a:lnTo>
                        <a:pt x="485" y="561"/>
                      </a:lnTo>
                      <a:lnTo>
                        <a:pt x="486" y="561"/>
                      </a:lnTo>
                      <a:lnTo>
                        <a:pt x="486" y="562"/>
                      </a:lnTo>
                      <a:lnTo>
                        <a:pt x="486" y="562"/>
                      </a:lnTo>
                      <a:lnTo>
                        <a:pt x="486" y="563"/>
                      </a:lnTo>
                      <a:lnTo>
                        <a:pt x="486" y="563"/>
                      </a:lnTo>
                      <a:lnTo>
                        <a:pt x="486" y="562"/>
                      </a:lnTo>
                      <a:lnTo>
                        <a:pt x="486" y="563"/>
                      </a:lnTo>
                      <a:lnTo>
                        <a:pt x="487" y="563"/>
                      </a:lnTo>
                      <a:lnTo>
                        <a:pt x="487" y="564"/>
                      </a:lnTo>
                      <a:lnTo>
                        <a:pt x="486" y="564"/>
                      </a:lnTo>
                      <a:lnTo>
                        <a:pt x="486" y="564"/>
                      </a:lnTo>
                      <a:lnTo>
                        <a:pt x="486" y="565"/>
                      </a:lnTo>
                      <a:lnTo>
                        <a:pt x="487" y="565"/>
                      </a:lnTo>
                      <a:lnTo>
                        <a:pt x="487" y="566"/>
                      </a:lnTo>
                      <a:lnTo>
                        <a:pt x="487" y="566"/>
                      </a:lnTo>
                      <a:lnTo>
                        <a:pt x="488" y="566"/>
                      </a:lnTo>
                      <a:lnTo>
                        <a:pt x="488" y="567"/>
                      </a:lnTo>
                      <a:lnTo>
                        <a:pt x="488" y="566"/>
                      </a:lnTo>
                      <a:lnTo>
                        <a:pt x="488" y="567"/>
                      </a:lnTo>
                      <a:lnTo>
                        <a:pt x="488" y="567"/>
                      </a:lnTo>
                      <a:lnTo>
                        <a:pt x="488" y="568"/>
                      </a:lnTo>
                      <a:lnTo>
                        <a:pt x="489" y="568"/>
                      </a:lnTo>
                      <a:lnTo>
                        <a:pt x="490" y="568"/>
                      </a:lnTo>
                      <a:lnTo>
                        <a:pt x="490" y="568"/>
                      </a:lnTo>
                      <a:lnTo>
                        <a:pt x="490" y="568"/>
                      </a:lnTo>
                      <a:lnTo>
                        <a:pt x="491" y="569"/>
                      </a:lnTo>
                      <a:lnTo>
                        <a:pt x="491" y="570"/>
                      </a:lnTo>
                      <a:lnTo>
                        <a:pt x="492" y="570"/>
                      </a:lnTo>
                      <a:lnTo>
                        <a:pt x="492" y="570"/>
                      </a:lnTo>
                      <a:lnTo>
                        <a:pt x="492" y="570"/>
                      </a:lnTo>
                      <a:lnTo>
                        <a:pt x="493" y="571"/>
                      </a:lnTo>
                      <a:lnTo>
                        <a:pt x="494" y="571"/>
                      </a:lnTo>
                      <a:lnTo>
                        <a:pt x="494" y="571"/>
                      </a:lnTo>
                      <a:lnTo>
                        <a:pt x="495" y="571"/>
                      </a:lnTo>
                      <a:lnTo>
                        <a:pt x="495" y="572"/>
                      </a:lnTo>
                      <a:lnTo>
                        <a:pt x="495" y="573"/>
                      </a:lnTo>
                      <a:lnTo>
                        <a:pt x="495" y="573"/>
                      </a:lnTo>
                      <a:lnTo>
                        <a:pt x="495" y="574"/>
                      </a:lnTo>
                      <a:lnTo>
                        <a:pt x="495" y="575"/>
                      </a:lnTo>
                      <a:lnTo>
                        <a:pt x="495" y="575"/>
                      </a:lnTo>
                      <a:lnTo>
                        <a:pt x="494" y="575"/>
                      </a:lnTo>
                      <a:lnTo>
                        <a:pt x="494" y="575"/>
                      </a:lnTo>
                      <a:lnTo>
                        <a:pt x="494" y="576"/>
                      </a:lnTo>
                      <a:lnTo>
                        <a:pt x="493" y="577"/>
                      </a:lnTo>
                      <a:lnTo>
                        <a:pt x="493" y="577"/>
                      </a:lnTo>
                      <a:lnTo>
                        <a:pt x="492" y="577"/>
                      </a:lnTo>
                      <a:lnTo>
                        <a:pt x="492" y="578"/>
                      </a:lnTo>
                      <a:lnTo>
                        <a:pt x="493" y="578"/>
                      </a:lnTo>
                      <a:lnTo>
                        <a:pt x="493" y="579"/>
                      </a:lnTo>
                      <a:lnTo>
                        <a:pt x="494" y="579"/>
                      </a:lnTo>
                      <a:lnTo>
                        <a:pt x="494" y="579"/>
                      </a:lnTo>
                      <a:lnTo>
                        <a:pt x="494" y="580"/>
                      </a:lnTo>
                      <a:lnTo>
                        <a:pt x="494" y="581"/>
                      </a:lnTo>
                      <a:lnTo>
                        <a:pt x="494" y="581"/>
                      </a:lnTo>
                      <a:lnTo>
                        <a:pt x="494" y="582"/>
                      </a:lnTo>
                      <a:lnTo>
                        <a:pt x="494" y="583"/>
                      </a:lnTo>
                      <a:lnTo>
                        <a:pt x="494" y="583"/>
                      </a:lnTo>
                      <a:lnTo>
                        <a:pt x="495" y="583"/>
                      </a:lnTo>
                      <a:lnTo>
                        <a:pt x="495" y="584"/>
                      </a:lnTo>
                      <a:lnTo>
                        <a:pt x="495" y="585"/>
                      </a:lnTo>
                      <a:lnTo>
                        <a:pt x="496" y="585"/>
                      </a:lnTo>
                      <a:lnTo>
                        <a:pt x="495" y="585"/>
                      </a:lnTo>
                      <a:lnTo>
                        <a:pt x="495" y="585"/>
                      </a:lnTo>
                      <a:lnTo>
                        <a:pt x="495" y="585"/>
                      </a:lnTo>
                      <a:lnTo>
                        <a:pt x="494" y="585"/>
                      </a:lnTo>
                      <a:lnTo>
                        <a:pt x="495" y="588"/>
                      </a:lnTo>
                      <a:lnTo>
                        <a:pt x="496" y="589"/>
                      </a:lnTo>
                      <a:lnTo>
                        <a:pt x="497" y="590"/>
                      </a:lnTo>
                      <a:lnTo>
                        <a:pt x="498" y="591"/>
                      </a:lnTo>
                      <a:lnTo>
                        <a:pt x="498" y="592"/>
                      </a:lnTo>
                      <a:lnTo>
                        <a:pt x="497" y="592"/>
                      </a:lnTo>
                      <a:lnTo>
                        <a:pt x="497" y="593"/>
                      </a:lnTo>
                      <a:lnTo>
                        <a:pt x="496" y="593"/>
                      </a:lnTo>
                      <a:lnTo>
                        <a:pt x="496" y="594"/>
                      </a:lnTo>
                      <a:lnTo>
                        <a:pt x="495" y="594"/>
                      </a:lnTo>
                      <a:lnTo>
                        <a:pt x="495" y="594"/>
                      </a:lnTo>
                      <a:lnTo>
                        <a:pt x="494" y="594"/>
                      </a:lnTo>
                      <a:lnTo>
                        <a:pt x="494" y="595"/>
                      </a:lnTo>
                      <a:lnTo>
                        <a:pt x="494" y="596"/>
                      </a:lnTo>
                      <a:lnTo>
                        <a:pt x="494" y="596"/>
                      </a:lnTo>
                      <a:lnTo>
                        <a:pt x="494" y="597"/>
                      </a:lnTo>
                      <a:lnTo>
                        <a:pt x="494" y="598"/>
                      </a:lnTo>
                      <a:lnTo>
                        <a:pt x="494" y="598"/>
                      </a:lnTo>
                      <a:lnTo>
                        <a:pt x="494" y="599"/>
                      </a:lnTo>
                      <a:lnTo>
                        <a:pt x="495" y="599"/>
                      </a:lnTo>
                      <a:lnTo>
                        <a:pt x="496" y="599"/>
                      </a:lnTo>
                      <a:lnTo>
                        <a:pt x="496" y="600"/>
                      </a:lnTo>
                      <a:lnTo>
                        <a:pt x="496" y="600"/>
                      </a:lnTo>
                      <a:lnTo>
                        <a:pt x="496" y="600"/>
                      </a:lnTo>
                      <a:lnTo>
                        <a:pt x="497" y="600"/>
                      </a:lnTo>
                      <a:lnTo>
                        <a:pt x="497" y="601"/>
                      </a:lnTo>
                      <a:lnTo>
                        <a:pt x="498" y="601"/>
                      </a:lnTo>
                      <a:lnTo>
                        <a:pt x="498" y="601"/>
                      </a:lnTo>
                      <a:lnTo>
                        <a:pt x="498" y="602"/>
                      </a:lnTo>
                      <a:lnTo>
                        <a:pt x="499" y="602"/>
                      </a:lnTo>
                      <a:lnTo>
                        <a:pt x="499" y="602"/>
                      </a:lnTo>
                      <a:lnTo>
                        <a:pt x="500" y="602"/>
                      </a:lnTo>
                      <a:lnTo>
                        <a:pt x="500" y="603"/>
                      </a:lnTo>
                      <a:lnTo>
                        <a:pt x="500" y="603"/>
                      </a:lnTo>
                      <a:lnTo>
                        <a:pt x="500" y="604"/>
                      </a:lnTo>
                      <a:lnTo>
                        <a:pt x="500" y="604"/>
                      </a:lnTo>
                      <a:lnTo>
                        <a:pt x="501" y="604"/>
                      </a:lnTo>
                      <a:lnTo>
                        <a:pt x="501" y="605"/>
                      </a:lnTo>
                      <a:lnTo>
                        <a:pt x="501" y="606"/>
                      </a:lnTo>
                      <a:lnTo>
                        <a:pt x="501" y="606"/>
                      </a:lnTo>
                      <a:lnTo>
                        <a:pt x="502" y="606"/>
                      </a:lnTo>
                      <a:lnTo>
                        <a:pt x="502" y="607"/>
                      </a:lnTo>
                      <a:lnTo>
                        <a:pt x="501" y="607"/>
                      </a:lnTo>
                      <a:lnTo>
                        <a:pt x="500" y="607"/>
                      </a:lnTo>
                      <a:lnTo>
                        <a:pt x="500" y="608"/>
                      </a:lnTo>
                      <a:lnTo>
                        <a:pt x="500" y="608"/>
                      </a:lnTo>
                      <a:lnTo>
                        <a:pt x="500" y="609"/>
                      </a:lnTo>
                      <a:lnTo>
                        <a:pt x="500" y="610"/>
                      </a:lnTo>
                      <a:lnTo>
                        <a:pt x="500" y="610"/>
                      </a:lnTo>
                      <a:lnTo>
                        <a:pt x="500" y="611"/>
                      </a:lnTo>
                      <a:lnTo>
                        <a:pt x="500" y="612"/>
                      </a:lnTo>
                      <a:lnTo>
                        <a:pt x="500" y="613"/>
                      </a:lnTo>
                      <a:lnTo>
                        <a:pt x="500" y="613"/>
                      </a:lnTo>
                      <a:lnTo>
                        <a:pt x="500" y="614"/>
                      </a:lnTo>
                      <a:lnTo>
                        <a:pt x="500" y="615"/>
                      </a:lnTo>
                      <a:lnTo>
                        <a:pt x="500" y="615"/>
                      </a:lnTo>
                      <a:lnTo>
                        <a:pt x="500" y="616"/>
                      </a:lnTo>
                      <a:lnTo>
                        <a:pt x="500" y="617"/>
                      </a:lnTo>
                      <a:lnTo>
                        <a:pt x="500" y="617"/>
                      </a:lnTo>
                      <a:lnTo>
                        <a:pt x="500" y="617"/>
                      </a:lnTo>
                      <a:lnTo>
                        <a:pt x="500" y="618"/>
                      </a:lnTo>
                      <a:lnTo>
                        <a:pt x="501" y="618"/>
                      </a:lnTo>
                      <a:lnTo>
                        <a:pt x="501" y="619"/>
                      </a:lnTo>
                      <a:lnTo>
                        <a:pt x="501" y="619"/>
                      </a:lnTo>
                      <a:lnTo>
                        <a:pt x="501" y="620"/>
                      </a:lnTo>
                      <a:lnTo>
                        <a:pt x="501" y="621"/>
                      </a:lnTo>
                      <a:lnTo>
                        <a:pt x="501" y="621"/>
                      </a:lnTo>
                      <a:lnTo>
                        <a:pt x="500" y="621"/>
                      </a:lnTo>
                      <a:lnTo>
                        <a:pt x="501" y="622"/>
                      </a:lnTo>
                      <a:lnTo>
                        <a:pt x="500" y="622"/>
                      </a:lnTo>
                      <a:lnTo>
                        <a:pt x="500" y="623"/>
                      </a:lnTo>
                      <a:lnTo>
                        <a:pt x="500" y="622"/>
                      </a:lnTo>
                      <a:lnTo>
                        <a:pt x="500" y="622"/>
                      </a:lnTo>
                      <a:lnTo>
                        <a:pt x="500" y="623"/>
                      </a:lnTo>
                      <a:lnTo>
                        <a:pt x="500" y="623"/>
                      </a:lnTo>
                      <a:lnTo>
                        <a:pt x="499" y="623"/>
                      </a:lnTo>
                      <a:lnTo>
                        <a:pt x="499" y="624"/>
                      </a:lnTo>
                      <a:lnTo>
                        <a:pt x="500" y="624"/>
                      </a:lnTo>
                      <a:lnTo>
                        <a:pt x="499" y="624"/>
                      </a:lnTo>
                      <a:lnTo>
                        <a:pt x="499" y="625"/>
                      </a:lnTo>
                      <a:lnTo>
                        <a:pt x="498" y="625"/>
                      </a:lnTo>
                      <a:lnTo>
                        <a:pt x="498" y="625"/>
                      </a:lnTo>
                      <a:lnTo>
                        <a:pt x="497" y="625"/>
                      </a:lnTo>
                      <a:lnTo>
                        <a:pt x="497" y="626"/>
                      </a:lnTo>
                      <a:lnTo>
                        <a:pt x="496" y="626"/>
                      </a:lnTo>
                      <a:lnTo>
                        <a:pt x="496" y="627"/>
                      </a:lnTo>
                      <a:lnTo>
                        <a:pt x="496" y="627"/>
                      </a:lnTo>
                      <a:lnTo>
                        <a:pt x="495" y="627"/>
                      </a:lnTo>
                      <a:lnTo>
                        <a:pt x="494" y="627"/>
                      </a:lnTo>
                      <a:lnTo>
                        <a:pt x="494" y="627"/>
                      </a:lnTo>
                      <a:lnTo>
                        <a:pt x="493" y="627"/>
                      </a:lnTo>
                      <a:lnTo>
                        <a:pt x="492" y="627"/>
                      </a:lnTo>
                      <a:lnTo>
                        <a:pt x="492" y="627"/>
                      </a:lnTo>
                      <a:lnTo>
                        <a:pt x="492" y="627"/>
                      </a:lnTo>
                      <a:lnTo>
                        <a:pt x="491" y="627"/>
                      </a:lnTo>
                      <a:lnTo>
                        <a:pt x="490" y="628"/>
                      </a:lnTo>
                      <a:lnTo>
                        <a:pt x="490" y="628"/>
                      </a:lnTo>
                      <a:lnTo>
                        <a:pt x="490" y="629"/>
                      </a:lnTo>
                      <a:lnTo>
                        <a:pt x="489" y="629"/>
                      </a:lnTo>
                      <a:lnTo>
                        <a:pt x="489" y="629"/>
                      </a:lnTo>
                      <a:lnTo>
                        <a:pt x="489" y="630"/>
                      </a:lnTo>
                      <a:lnTo>
                        <a:pt x="489" y="631"/>
                      </a:lnTo>
                      <a:lnTo>
                        <a:pt x="488" y="631"/>
                      </a:lnTo>
                      <a:lnTo>
                        <a:pt x="488" y="632"/>
                      </a:lnTo>
                      <a:lnTo>
                        <a:pt x="489" y="632"/>
                      </a:lnTo>
                      <a:lnTo>
                        <a:pt x="488" y="632"/>
                      </a:lnTo>
                      <a:lnTo>
                        <a:pt x="488" y="632"/>
                      </a:lnTo>
                      <a:lnTo>
                        <a:pt x="489" y="632"/>
                      </a:lnTo>
                      <a:lnTo>
                        <a:pt x="488" y="633"/>
                      </a:lnTo>
                      <a:lnTo>
                        <a:pt x="489" y="633"/>
                      </a:lnTo>
                      <a:lnTo>
                        <a:pt x="489" y="634"/>
                      </a:lnTo>
                      <a:lnTo>
                        <a:pt x="488" y="634"/>
                      </a:lnTo>
                      <a:lnTo>
                        <a:pt x="488" y="634"/>
                      </a:lnTo>
                      <a:lnTo>
                        <a:pt x="488" y="635"/>
                      </a:lnTo>
                      <a:lnTo>
                        <a:pt x="488" y="636"/>
                      </a:lnTo>
                      <a:lnTo>
                        <a:pt x="487" y="636"/>
                      </a:lnTo>
                      <a:lnTo>
                        <a:pt x="487" y="637"/>
                      </a:lnTo>
                      <a:lnTo>
                        <a:pt x="486" y="638"/>
                      </a:lnTo>
                      <a:lnTo>
                        <a:pt x="486" y="638"/>
                      </a:lnTo>
                      <a:lnTo>
                        <a:pt x="486" y="639"/>
                      </a:lnTo>
                      <a:lnTo>
                        <a:pt x="486" y="640"/>
                      </a:lnTo>
                      <a:lnTo>
                        <a:pt x="486" y="640"/>
                      </a:lnTo>
                      <a:lnTo>
                        <a:pt x="486" y="640"/>
                      </a:lnTo>
                      <a:lnTo>
                        <a:pt x="486" y="641"/>
                      </a:lnTo>
                      <a:lnTo>
                        <a:pt x="485" y="642"/>
                      </a:lnTo>
                      <a:lnTo>
                        <a:pt x="485" y="642"/>
                      </a:lnTo>
                      <a:lnTo>
                        <a:pt x="485" y="643"/>
                      </a:lnTo>
                      <a:lnTo>
                        <a:pt x="481" y="646"/>
                      </a:lnTo>
                      <a:lnTo>
                        <a:pt x="481" y="647"/>
                      </a:lnTo>
                      <a:lnTo>
                        <a:pt x="481" y="646"/>
                      </a:lnTo>
                      <a:lnTo>
                        <a:pt x="481" y="646"/>
                      </a:lnTo>
                      <a:lnTo>
                        <a:pt x="481" y="645"/>
                      </a:lnTo>
                      <a:lnTo>
                        <a:pt x="480" y="645"/>
                      </a:lnTo>
                      <a:lnTo>
                        <a:pt x="480" y="644"/>
                      </a:lnTo>
                      <a:lnTo>
                        <a:pt x="479" y="644"/>
                      </a:lnTo>
                      <a:lnTo>
                        <a:pt x="479" y="644"/>
                      </a:lnTo>
                      <a:lnTo>
                        <a:pt x="479" y="644"/>
                      </a:lnTo>
                      <a:lnTo>
                        <a:pt x="478" y="644"/>
                      </a:lnTo>
                      <a:lnTo>
                        <a:pt x="478" y="643"/>
                      </a:lnTo>
                      <a:lnTo>
                        <a:pt x="477" y="642"/>
                      </a:lnTo>
                      <a:lnTo>
                        <a:pt x="477" y="642"/>
                      </a:lnTo>
                      <a:lnTo>
                        <a:pt x="476" y="642"/>
                      </a:lnTo>
                      <a:lnTo>
                        <a:pt x="475" y="642"/>
                      </a:lnTo>
                      <a:lnTo>
                        <a:pt x="475" y="642"/>
                      </a:lnTo>
                      <a:lnTo>
                        <a:pt x="474" y="641"/>
                      </a:lnTo>
                      <a:lnTo>
                        <a:pt x="473" y="642"/>
                      </a:lnTo>
                      <a:lnTo>
                        <a:pt x="473" y="641"/>
                      </a:lnTo>
                      <a:lnTo>
                        <a:pt x="473" y="641"/>
                      </a:lnTo>
                      <a:lnTo>
                        <a:pt x="472" y="641"/>
                      </a:lnTo>
                      <a:lnTo>
                        <a:pt x="471" y="640"/>
                      </a:lnTo>
                      <a:lnTo>
                        <a:pt x="471" y="640"/>
                      </a:lnTo>
                      <a:lnTo>
                        <a:pt x="470" y="640"/>
                      </a:lnTo>
                      <a:lnTo>
                        <a:pt x="470" y="639"/>
                      </a:lnTo>
                      <a:lnTo>
                        <a:pt x="469" y="638"/>
                      </a:lnTo>
                      <a:lnTo>
                        <a:pt x="469" y="638"/>
                      </a:lnTo>
                      <a:lnTo>
                        <a:pt x="469" y="638"/>
                      </a:lnTo>
                      <a:lnTo>
                        <a:pt x="468" y="637"/>
                      </a:lnTo>
                      <a:lnTo>
                        <a:pt x="467" y="637"/>
                      </a:lnTo>
                      <a:lnTo>
                        <a:pt x="467" y="636"/>
                      </a:lnTo>
                      <a:lnTo>
                        <a:pt x="467" y="636"/>
                      </a:lnTo>
                      <a:lnTo>
                        <a:pt x="467" y="636"/>
                      </a:lnTo>
                      <a:lnTo>
                        <a:pt x="466" y="636"/>
                      </a:lnTo>
                      <a:lnTo>
                        <a:pt x="465" y="636"/>
                      </a:lnTo>
                      <a:lnTo>
                        <a:pt x="465" y="636"/>
                      </a:lnTo>
                      <a:lnTo>
                        <a:pt x="464" y="635"/>
                      </a:lnTo>
                      <a:lnTo>
                        <a:pt x="463" y="635"/>
                      </a:lnTo>
                      <a:lnTo>
                        <a:pt x="462" y="635"/>
                      </a:lnTo>
                      <a:lnTo>
                        <a:pt x="462" y="634"/>
                      </a:lnTo>
                      <a:lnTo>
                        <a:pt x="461" y="634"/>
                      </a:lnTo>
                      <a:lnTo>
                        <a:pt x="460" y="634"/>
                      </a:lnTo>
                      <a:lnTo>
                        <a:pt x="460" y="634"/>
                      </a:lnTo>
                      <a:lnTo>
                        <a:pt x="459" y="634"/>
                      </a:lnTo>
                      <a:lnTo>
                        <a:pt x="458" y="634"/>
                      </a:lnTo>
                      <a:lnTo>
                        <a:pt x="457" y="634"/>
                      </a:lnTo>
                      <a:lnTo>
                        <a:pt x="456" y="634"/>
                      </a:lnTo>
                      <a:lnTo>
                        <a:pt x="456" y="634"/>
                      </a:lnTo>
                      <a:lnTo>
                        <a:pt x="455" y="634"/>
                      </a:lnTo>
                      <a:lnTo>
                        <a:pt x="454" y="634"/>
                      </a:lnTo>
                      <a:lnTo>
                        <a:pt x="454" y="634"/>
                      </a:lnTo>
                      <a:lnTo>
                        <a:pt x="452" y="634"/>
                      </a:lnTo>
                      <a:lnTo>
                        <a:pt x="452" y="634"/>
                      </a:lnTo>
                      <a:lnTo>
                        <a:pt x="451" y="634"/>
                      </a:lnTo>
                      <a:lnTo>
                        <a:pt x="450" y="634"/>
                      </a:lnTo>
                      <a:lnTo>
                        <a:pt x="450" y="634"/>
                      </a:lnTo>
                      <a:lnTo>
                        <a:pt x="449" y="634"/>
                      </a:lnTo>
                      <a:lnTo>
                        <a:pt x="448" y="634"/>
                      </a:lnTo>
                      <a:lnTo>
                        <a:pt x="448" y="634"/>
                      </a:lnTo>
                      <a:lnTo>
                        <a:pt x="447" y="634"/>
                      </a:lnTo>
                      <a:lnTo>
                        <a:pt x="446" y="634"/>
                      </a:lnTo>
                      <a:lnTo>
                        <a:pt x="446" y="634"/>
                      </a:lnTo>
                      <a:lnTo>
                        <a:pt x="445" y="634"/>
                      </a:lnTo>
                      <a:lnTo>
                        <a:pt x="444" y="634"/>
                      </a:lnTo>
                      <a:lnTo>
                        <a:pt x="443" y="634"/>
                      </a:lnTo>
                      <a:lnTo>
                        <a:pt x="443" y="634"/>
                      </a:lnTo>
                      <a:lnTo>
                        <a:pt x="442" y="633"/>
                      </a:lnTo>
                      <a:lnTo>
                        <a:pt x="441" y="633"/>
                      </a:lnTo>
                      <a:lnTo>
                        <a:pt x="441" y="632"/>
                      </a:lnTo>
                      <a:lnTo>
                        <a:pt x="441" y="632"/>
                      </a:lnTo>
                      <a:lnTo>
                        <a:pt x="440" y="632"/>
                      </a:lnTo>
                      <a:lnTo>
                        <a:pt x="439" y="632"/>
                      </a:lnTo>
                      <a:lnTo>
                        <a:pt x="439" y="632"/>
                      </a:lnTo>
                      <a:lnTo>
                        <a:pt x="438" y="632"/>
                      </a:lnTo>
                      <a:lnTo>
                        <a:pt x="437" y="632"/>
                      </a:lnTo>
                      <a:lnTo>
                        <a:pt x="437" y="632"/>
                      </a:lnTo>
                      <a:lnTo>
                        <a:pt x="436" y="632"/>
                      </a:lnTo>
                      <a:lnTo>
                        <a:pt x="435" y="632"/>
                      </a:lnTo>
                      <a:lnTo>
                        <a:pt x="435" y="632"/>
                      </a:lnTo>
                      <a:lnTo>
                        <a:pt x="434" y="632"/>
                      </a:lnTo>
                      <a:lnTo>
                        <a:pt x="433" y="632"/>
                      </a:lnTo>
                      <a:lnTo>
                        <a:pt x="433" y="632"/>
                      </a:lnTo>
                      <a:lnTo>
                        <a:pt x="433" y="632"/>
                      </a:lnTo>
                      <a:lnTo>
                        <a:pt x="432" y="632"/>
                      </a:lnTo>
                      <a:lnTo>
                        <a:pt x="431" y="632"/>
                      </a:lnTo>
                      <a:lnTo>
                        <a:pt x="431" y="632"/>
                      </a:lnTo>
                      <a:lnTo>
                        <a:pt x="430" y="633"/>
                      </a:lnTo>
                      <a:lnTo>
                        <a:pt x="429" y="633"/>
                      </a:lnTo>
                      <a:lnTo>
                        <a:pt x="429" y="633"/>
                      </a:lnTo>
                      <a:lnTo>
                        <a:pt x="429" y="634"/>
                      </a:lnTo>
                      <a:lnTo>
                        <a:pt x="428" y="634"/>
                      </a:lnTo>
                      <a:lnTo>
                        <a:pt x="428" y="634"/>
                      </a:lnTo>
                      <a:lnTo>
                        <a:pt x="427" y="634"/>
                      </a:lnTo>
                      <a:lnTo>
                        <a:pt x="427" y="634"/>
                      </a:lnTo>
                      <a:lnTo>
                        <a:pt x="426" y="634"/>
                      </a:lnTo>
                      <a:lnTo>
                        <a:pt x="425" y="634"/>
                      </a:lnTo>
                      <a:lnTo>
                        <a:pt x="424" y="634"/>
                      </a:lnTo>
                      <a:lnTo>
                        <a:pt x="424" y="635"/>
                      </a:lnTo>
                      <a:lnTo>
                        <a:pt x="424" y="635"/>
                      </a:lnTo>
                      <a:lnTo>
                        <a:pt x="423" y="635"/>
                      </a:lnTo>
                      <a:lnTo>
                        <a:pt x="422" y="636"/>
                      </a:lnTo>
                      <a:lnTo>
                        <a:pt x="422" y="636"/>
                      </a:lnTo>
                      <a:lnTo>
                        <a:pt x="421" y="636"/>
                      </a:lnTo>
                      <a:lnTo>
                        <a:pt x="420" y="636"/>
                      </a:lnTo>
                      <a:lnTo>
                        <a:pt x="420" y="636"/>
                      </a:lnTo>
                      <a:lnTo>
                        <a:pt x="419" y="636"/>
                      </a:lnTo>
                      <a:lnTo>
                        <a:pt x="419" y="635"/>
                      </a:lnTo>
                      <a:lnTo>
                        <a:pt x="418" y="635"/>
                      </a:lnTo>
                      <a:lnTo>
                        <a:pt x="418" y="635"/>
                      </a:lnTo>
                      <a:lnTo>
                        <a:pt x="418" y="634"/>
                      </a:lnTo>
                      <a:lnTo>
                        <a:pt x="418" y="635"/>
                      </a:lnTo>
                      <a:lnTo>
                        <a:pt x="417" y="635"/>
                      </a:lnTo>
                      <a:lnTo>
                        <a:pt x="416" y="635"/>
                      </a:lnTo>
                      <a:lnTo>
                        <a:pt x="416" y="635"/>
                      </a:lnTo>
                      <a:lnTo>
                        <a:pt x="415" y="635"/>
                      </a:lnTo>
                      <a:lnTo>
                        <a:pt x="414" y="635"/>
                      </a:lnTo>
                      <a:lnTo>
                        <a:pt x="414" y="636"/>
                      </a:lnTo>
                      <a:lnTo>
                        <a:pt x="413" y="636"/>
                      </a:lnTo>
                      <a:lnTo>
                        <a:pt x="412" y="636"/>
                      </a:lnTo>
                      <a:lnTo>
                        <a:pt x="412" y="636"/>
                      </a:lnTo>
                      <a:lnTo>
                        <a:pt x="412" y="636"/>
                      </a:lnTo>
                      <a:lnTo>
                        <a:pt x="411" y="637"/>
                      </a:lnTo>
                      <a:lnTo>
                        <a:pt x="410" y="638"/>
                      </a:lnTo>
                      <a:lnTo>
                        <a:pt x="410" y="638"/>
                      </a:lnTo>
                      <a:lnTo>
                        <a:pt x="410" y="639"/>
                      </a:lnTo>
                      <a:lnTo>
                        <a:pt x="410" y="639"/>
                      </a:lnTo>
                      <a:lnTo>
                        <a:pt x="410" y="640"/>
                      </a:lnTo>
                      <a:lnTo>
                        <a:pt x="410" y="640"/>
                      </a:lnTo>
                      <a:lnTo>
                        <a:pt x="410" y="641"/>
                      </a:lnTo>
                      <a:lnTo>
                        <a:pt x="410" y="642"/>
                      </a:lnTo>
                      <a:lnTo>
                        <a:pt x="410" y="642"/>
                      </a:lnTo>
                      <a:lnTo>
                        <a:pt x="411" y="643"/>
                      </a:lnTo>
                      <a:lnTo>
                        <a:pt x="411" y="644"/>
                      </a:lnTo>
                      <a:lnTo>
                        <a:pt x="411" y="644"/>
                      </a:lnTo>
                      <a:lnTo>
                        <a:pt x="411" y="645"/>
                      </a:lnTo>
                      <a:lnTo>
                        <a:pt x="411" y="646"/>
                      </a:lnTo>
                      <a:lnTo>
                        <a:pt x="412" y="646"/>
                      </a:lnTo>
                      <a:lnTo>
                        <a:pt x="412" y="647"/>
                      </a:lnTo>
                      <a:lnTo>
                        <a:pt x="412" y="648"/>
                      </a:lnTo>
                      <a:lnTo>
                        <a:pt x="412" y="648"/>
                      </a:lnTo>
                      <a:lnTo>
                        <a:pt x="411" y="648"/>
                      </a:lnTo>
                      <a:lnTo>
                        <a:pt x="412" y="648"/>
                      </a:lnTo>
                      <a:lnTo>
                        <a:pt x="412" y="648"/>
                      </a:lnTo>
                      <a:lnTo>
                        <a:pt x="412" y="649"/>
                      </a:lnTo>
                      <a:lnTo>
                        <a:pt x="413" y="650"/>
                      </a:lnTo>
                      <a:lnTo>
                        <a:pt x="413" y="649"/>
                      </a:lnTo>
                      <a:lnTo>
                        <a:pt x="413" y="650"/>
                      </a:lnTo>
                      <a:lnTo>
                        <a:pt x="414" y="650"/>
                      </a:lnTo>
                      <a:lnTo>
                        <a:pt x="414" y="651"/>
                      </a:lnTo>
                      <a:lnTo>
                        <a:pt x="413" y="651"/>
                      </a:lnTo>
                      <a:lnTo>
                        <a:pt x="414" y="651"/>
                      </a:lnTo>
                      <a:lnTo>
                        <a:pt x="414" y="651"/>
                      </a:lnTo>
                      <a:lnTo>
                        <a:pt x="413" y="651"/>
                      </a:lnTo>
                      <a:lnTo>
                        <a:pt x="413" y="652"/>
                      </a:lnTo>
                      <a:lnTo>
                        <a:pt x="412" y="652"/>
                      </a:lnTo>
                      <a:lnTo>
                        <a:pt x="412" y="651"/>
                      </a:lnTo>
                      <a:lnTo>
                        <a:pt x="412" y="652"/>
                      </a:lnTo>
                      <a:lnTo>
                        <a:pt x="413" y="652"/>
                      </a:lnTo>
                      <a:lnTo>
                        <a:pt x="413" y="653"/>
                      </a:lnTo>
                      <a:lnTo>
                        <a:pt x="414" y="653"/>
                      </a:lnTo>
                      <a:lnTo>
                        <a:pt x="414" y="653"/>
                      </a:lnTo>
                      <a:lnTo>
                        <a:pt x="414" y="654"/>
                      </a:lnTo>
                      <a:lnTo>
                        <a:pt x="414" y="653"/>
                      </a:lnTo>
                      <a:lnTo>
                        <a:pt x="414" y="654"/>
                      </a:lnTo>
                      <a:lnTo>
                        <a:pt x="414" y="654"/>
                      </a:lnTo>
                      <a:lnTo>
                        <a:pt x="414" y="653"/>
                      </a:lnTo>
                      <a:lnTo>
                        <a:pt x="415" y="653"/>
                      </a:lnTo>
                      <a:lnTo>
                        <a:pt x="415" y="654"/>
                      </a:lnTo>
                      <a:lnTo>
                        <a:pt x="416" y="654"/>
                      </a:lnTo>
                      <a:lnTo>
                        <a:pt x="416" y="654"/>
                      </a:lnTo>
                      <a:lnTo>
                        <a:pt x="416" y="653"/>
                      </a:lnTo>
                      <a:lnTo>
                        <a:pt x="416" y="653"/>
                      </a:lnTo>
                      <a:lnTo>
                        <a:pt x="416" y="653"/>
                      </a:lnTo>
                      <a:lnTo>
                        <a:pt x="416" y="653"/>
                      </a:lnTo>
                      <a:lnTo>
                        <a:pt x="416" y="653"/>
                      </a:lnTo>
                      <a:lnTo>
                        <a:pt x="417" y="653"/>
                      </a:lnTo>
                      <a:lnTo>
                        <a:pt x="417" y="654"/>
                      </a:lnTo>
                      <a:lnTo>
                        <a:pt x="418" y="654"/>
                      </a:lnTo>
                      <a:lnTo>
                        <a:pt x="418" y="654"/>
                      </a:lnTo>
                      <a:lnTo>
                        <a:pt x="418" y="653"/>
                      </a:lnTo>
                      <a:lnTo>
                        <a:pt x="419" y="653"/>
                      </a:lnTo>
                      <a:lnTo>
                        <a:pt x="418" y="653"/>
                      </a:lnTo>
                      <a:lnTo>
                        <a:pt x="419" y="653"/>
                      </a:lnTo>
                      <a:lnTo>
                        <a:pt x="419" y="654"/>
                      </a:lnTo>
                      <a:lnTo>
                        <a:pt x="419" y="655"/>
                      </a:lnTo>
                      <a:lnTo>
                        <a:pt x="420" y="655"/>
                      </a:lnTo>
                      <a:lnTo>
                        <a:pt x="420" y="655"/>
                      </a:lnTo>
                      <a:lnTo>
                        <a:pt x="420" y="656"/>
                      </a:lnTo>
                      <a:lnTo>
                        <a:pt x="419" y="656"/>
                      </a:lnTo>
                      <a:lnTo>
                        <a:pt x="419" y="657"/>
                      </a:lnTo>
                      <a:lnTo>
                        <a:pt x="418" y="657"/>
                      </a:lnTo>
                      <a:lnTo>
                        <a:pt x="418" y="657"/>
                      </a:lnTo>
                      <a:lnTo>
                        <a:pt x="418" y="657"/>
                      </a:lnTo>
                      <a:lnTo>
                        <a:pt x="418" y="658"/>
                      </a:lnTo>
                      <a:lnTo>
                        <a:pt x="417" y="658"/>
                      </a:lnTo>
                      <a:lnTo>
                        <a:pt x="417" y="659"/>
                      </a:lnTo>
                      <a:lnTo>
                        <a:pt x="416" y="659"/>
                      </a:lnTo>
                      <a:lnTo>
                        <a:pt x="416" y="659"/>
                      </a:lnTo>
                      <a:lnTo>
                        <a:pt x="416" y="660"/>
                      </a:lnTo>
                      <a:lnTo>
                        <a:pt x="417" y="660"/>
                      </a:lnTo>
                      <a:lnTo>
                        <a:pt x="417" y="661"/>
                      </a:lnTo>
                      <a:lnTo>
                        <a:pt x="417" y="661"/>
                      </a:lnTo>
                      <a:lnTo>
                        <a:pt x="418" y="661"/>
                      </a:lnTo>
                      <a:lnTo>
                        <a:pt x="418" y="662"/>
                      </a:lnTo>
                      <a:lnTo>
                        <a:pt x="418" y="663"/>
                      </a:lnTo>
                      <a:lnTo>
                        <a:pt x="418" y="662"/>
                      </a:lnTo>
                      <a:lnTo>
                        <a:pt x="418" y="663"/>
                      </a:lnTo>
                      <a:lnTo>
                        <a:pt x="418" y="663"/>
                      </a:lnTo>
                      <a:lnTo>
                        <a:pt x="418" y="663"/>
                      </a:lnTo>
                      <a:lnTo>
                        <a:pt x="418" y="664"/>
                      </a:lnTo>
                      <a:lnTo>
                        <a:pt x="419" y="664"/>
                      </a:lnTo>
                      <a:lnTo>
                        <a:pt x="420" y="665"/>
                      </a:lnTo>
                      <a:lnTo>
                        <a:pt x="420" y="665"/>
                      </a:lnTo>
                      <a:lnTo>
                        <a:pt x="421" y="665"/>
                      </a:lnTo>
                      <a:lnTo>
                        <a:pt x="421" y="665"/>
                      </a:lnTo>
                      <a:lnTo>
                        <a:pt x="421" y="666"/>
                      </a:lnTo>
                      <a:lnTo>
                        <a:pt x="421" y="667"/>
                      </a:lnTo>
                      <a:lnTo>
                        <a:pt x="422" y="667"/>
                      </a:lnTo>
                      <a:lnTo>
                        <a:pt x="422" y="667"/>
                      </a:lnTo>
                      <a:lnTo>
                        <a:pt x="423" y="666"/>
                      </a:lnTo>
                      <a:lnTo>
                        <a:pt x="423" y="665"/>
                      </a:lnTo>
                      <a:lnTo>
                        <a:pt x="424" y="665"/>
                      </a:lnTo>
                      <a:lnTo>
                        <a:pt x="424" y="666"/>
                      </a:lnTo>
                      <a:lnTo>
                        <a:pt x="424" y="667"/>
                      </a:lnTo>
                      <a:lnTo>
                        <a:pt x="423" y="667"/>
                      </a:lnTo>
                      <a:lnTo>
                        <a:pt x="422" y="667"/>
                      </a:lnTo>
                      <a:lnTo>
                        <a:pt x="422" y="667"/>
                      </a:lnTo>
                      <a:lnTo>
                        <a:pt x="422" y="667"/>
                      </a:lnTo>
                      <a:lnTo>
                        <a:pt x="422" y="667"/>
                      </a:lnTo>
                      <a:lnTo>
                        <a:pt x="422" y="667"/>
                      </a:lnTo>
                      <a:lnTo>
                        <a:pt x="421" y="667"/>
                      </a:lnTo>
                      <a:lnTo>
                        <a:pt x="421" y="668"/>
                      </a:lnTo>
                      <a:lnTo>
                        <a:pt x="421" y="669"/>
                      </a:lnTo>
                      <a:lnTo>
                        <a:pt x="421" y="669"/>
                      </a:lnTo>
                      <a:lnTo>
                        <a:pt x="422" y="669"/>
                      </a:lnTo>
                      <a:lnTo>
                        <a:pt x="422" y="670"/>
                      </a:lnTo>
                      <a:lnTo>
                        <a:pt x="422" y="671"/>
                      </a:lnTo>
                      <a:lnTo>
                        <a:pt x="422" y="670"/>
                      </a:lnTo>
                      <a:lnTo>
                        <a:pt x="421" y="670"/>
                      </a:lnTo>
                      <a:lnTo>
                        <a:pt x="421" y="671"/>
                      </a:lnTo>
                      <a:lnTo>
                        <a:pt x="421" y="670"/>
                      </a:lnTo>
                      <a:lnTo>
                        <a:pt x="420" y="670"/>
                      </a:lnTo>
                      <a:lnTo>
                        <a:pt x="420" y="671"/>
                      </a:lnTo>
                      <a:lnTo>
                        <a:pt x="420" y="671"/>
                      </a:lnTo>
                      <a:lnTo>
                        <a:pt x="420" y="672"/>
                      </a:lnTo>
                      <a:lnTo>
                        <a:pt x="419" y="672"/>
                      </a:lnTo>
                      <a:lnTo>
                        <a:pt x="419" y="672"/>
                      </a:lnTo>
                      <a:lnTo>
                        <a:pt x="418" y="672"/>
                      </a:lnTo>
                      <a:lnTo>
                        <a:pt x="418" y="673"/>
                      </a:lnTo>
                      <a:lnTo>
                        <a:pt x="418" y="674"/>
                      </a:lnTo>
                      <a:lnTo>
                        <a:pt x="418" y="674"/>
                      </a:lnTo>
                      <a:lnTo>
                        <a:pt x="418" y="674"/>
                      </a:lnTo>
                      <a:lnTo>
                        <a:pt x="418" y="675"/>
                      </a:lnTo>
                      <a:lnTo>
                        <a:pt x="417" y="675"/>
                      </a:lnTo>
                      <a:lnTo>
                        <a:pt x="416" y="675"/>
                      </a:lnTo>
                      <a:lnTo>
                        <a:pt x="416" y="675"/>
                      </a:lnTo>
                      <a:lnTo>
                        <a:pt x="415" y="675"/>
                      </a:lnTo>
                      <a:lnTo>
                        <a:pt x="414" y="675"/>
                      </a:lnTo>
                      <a:lnTo>
                        <a:pt x="414" y="676"/>
                      </a:lnTo>
                      <a:lnTo>
                        <a:pt x="414" y="675"/>
                      </a:lnTo>
                      <a:lnTo>
                        <a:pt x="414" y="676"/>
                      </a:lnTo>
                      <a:lnTo>
                        <a:pt x="414" y="676"/>
                      </a:lnTo>
                      <a:lnTo>
                        <a:pt x="413" y="676"/>
                      </a:lnTo>
                      <a:lnTo>
                        <a:pt x="413" y="677"/>
                      </a:lnTo>
                      <a:lnTo>
                        <a:pt x="413" y="678"/>
                      </a:lnTo>
                      <a:lnTo>
                        <a:pt x="413" y="678"/>
                      </a:lnTo>
                      <a:lnTo>
                        <a:pt x="412" y="678"/>
                      </a:lnTo>
                      <a:lnTo>
                        <a:pt x="412" y="679"/>
                      </a:lnTo>
                      <a:lnTo>
                        <a:pt x="412" y="680"/>
                      </a:lnTo>
                      <a:lnTo>
                        <a:pt x="412" y="680"/>
                      </a:lnTo>
                      <a:lnTo>
                        <a:pt x="412" y="680"/>
                      </a:lnTo>
                      <a:lnTo>
                        <a:pt x="412" y="681"/>
                      </a:lnTo>
                      <a:lnTo>
                        <a:pt x="411" y="681"/>
                      </a:lnTo>
                      <a:lnTo>
                        <a:pt x="411" y="680"/>
                      </a:lnTo>
                      <a:lnTo>
                        <a:pt x="411" y="680"/>
                      </a:lnTo>
                      <a:lnTo>
                        <a:pt x="410" y="679"/>
                      </a:lnTo>
                      <a:lnTo>
                        <a:pt x="410" y="679"/>
                      </a:lnTo>
                      <a:lnTo>
                        <a:pt x="410" y="678"/>
                      </a:lnTo>
                      <a:lnTo>
                        <a:pt x="409" y="678"/>
                      </a:lnTo>
                      <a:lnTo>
                        <a:pt x="409" y="678"/>
                      </a:lnTo>
                      <a:lnTo>
                        <a:pt x="408" y="678"/>
                      </a:lnTo>
                      <a:lnTo>
                        <a:pt x="408" y="678"/>
                      </a:lnTo>
                      <a:lnTo>
                        <a:pt x="407" y="678"/>
                      </a:lnTo>
                      <a:lnTo>
                        <a:pt x="407" y="677"/>
                      </a:lnTo>
                      <a:lnTo>
                        <a:pt x="406" y="677"/>
                      </a:lnTo>
                      <a:lnTo>
                        <a:pt x="406" y="678"/>
                      </a:lnTo>
                      <a:lnTo>
                        <a:pt x="405" y="678"/>
                      </a:lnTo>
                      <a:lnTo>
                        <a:pt x="405" y="678"/>
                      </a:lnTo>
                      <a:lnTo>
                        <a:pt x="405" y="677"/>
                      </a:lnTo>
                      <a:lnTo>
                        <a:pt x="404" y="677"/>
                      </a:lnTo>
                      <a:lnTo>
                        <a:pt x="403" y="677"/>
                      </a:lnTo>
                      <a:lnTo>
                        <a:pt x="403" y="676"/>
                      </a:lnTo>
                      <a:lnTo>
                        <a:pt x="403" y="676"/>
                      </a:lnTo>
                      <a:lnTo>
                        <a:pt x="403" y="675"/>
                      </a:lnTo>
                      <a:lnTo>
                        <a:pt x="402" y="675"/>
                      </a:lnTo>
                      <a:lnTo>
                        <a:pt x="401" y="675"/>
                      </a:lnTo>
                      <a:lnTo>
                        <a:pt x="401" y="675"/>
                      </a:lnTo>
                      <a:lnTo>
                        <a:pt x="401" y="674"/>
                      </a:lnTo>
                      <a:lnTo>
                        <a:pt x="400" y="674"/>
                      </a:lnTo>
                      <a:lnTo>
                        <a:pt x="400" y="674"/>
                      </a:lnTo>
                      <a:lnTo>
                        <a:pt x="399" y="674"/>
                      </a:lnTo>
                      <a:lnTo>
                        <a:pt x="395" y="671"/>
                      </a:lnTo>
                      <a:lnTo>
                        <a:pt x="392" y="669"/>
                      </a:lnTo>
                      <a:lnTo>
                        <a:pt x="387" y="669"/>
                      </a:lnTo>
                      <a:lnTo>
                        <a:pt x="384" y="667"/>
                      </a:lnTo>
                      <a:lnTo>
                        <a:pt x="374" y="662"/>
                      </a:lnTo>
                      <a:lnTo>
                        <a:pt x="374" y="663"/>
                      </a:lnTo>
                      <a:lnTo>
                        <a:pt x="374" y="663"/>
                      </a:lnTo>
                      <a:lnTo>
                        <a:pt x="374" y="664"/>
                      </a:lnTo>
                      <a:lnTo>
                        <a:pt x="374" y="665"/>
                      </a:lnTo>
                      <a:lnTo>
                        <a:pt x="374" y="665"/>
                      </a:lnTo>
                      <a:lnTo>
                        <a:pt x="373" y="666"/>
                      </a:lnTo>
                      <a:lnTo>
                        <a:pt x="372" y="666"/>
                      </a:lnTo>
                      <a:lnTo>
                        <a:pt x="372" y="666"/>
                      </a:lnTo>
                      <a:lnTo>
                        <a:pt x="371" y="667"/>
                      </a:lnTo>
                      <a:lnTo>
                        <a:pt x="370" y="667"/>
                      </a:lnTo>
                      <a:lnTo>
                        <a:pt x="370" y="667"/>
                      </a:lnTo>
                      <a:lnTo>
                        <a:pt x="370" y="667"/>
                      </a:lnTo>
                      <a:lnTo>
                        <a:pt x="369" y="667"/>
                      </a:lnTo>
                      <a:lnTo>
                        <a:pt x="369" y="667"/>
                      </a:lnTo>
                      <a:lnTo>
                        <a:pt x="369" y="666"/>
                      </a:lnTo>
                      <a:lnTo>
                        <a:pt x="368" y="665"/>
                      </a:lnTo>
                      <a:lnTo>
                        <a:pt x="367" y="665"/>
                      </a:lnTo>
                      <a:lnTo>
                        <a:pt x="367" y="665"/>
                      </a:lnTo>
                      <a:lnTo>
                        <a:pt x="367" y="665"/>
                      </a:lnTo>
                      <a:lnTo>
                        <a:pt x="366" y="664"/>
                      </a:lnTo>
                      <a:lnTo>
                        <a:pt x="365" y="663"/>
                      </a:lnTo>
                      <a:lnTo>
                        <a:pt x="365" y="663"/>
                      </a:lnTo>
                      <a:lnTo>
                        <a:pt x="365" y="663"/>
                      </a:lnTo>
                      <a:lnTo>
                        <a:pt x="364" y="662"/>
                      </a:lnTo>
                      <a:lnTo>
                        <a:pt x="364" y="663"/>
                      </a:lnTo>
                      <a:lnTo>
                        <a:pt x="363" y="663"/>
                      </a:lnTo>
                      <a:lnTo>
                        <a:pt x="363" y="662"/>
                      </a:lnTo>
                      <a:lnTo>
                        <a:pt x="363" y="662"/>
                      </a:lnTo>
                      <a:lnTo>
                        <a:pt x="363" y="661"/>
                      </a:lnTo>
                      <a:lnTo>
                        <a:pt x="363" y="661"/>
                      </a:lnTo>
                      <a:lnTo>
                        <a:pt x="358" y="661"/>
                      </a:lnTo>
                      <a:lnTo>
                        <a:pt x="357" y="661"/>
                      </a:lnTo>
                      <a:lnTo>
                        <a:pt x="353" y="663"/>
                      </a:lnTo>
                      <a:lnTo>
                        <a:pt x="348" y="662"/>
                      </a:lnTo>
                      <a:lnTo>
                        <a:pt x="342" y="659"/>
                      </a:lnTo>
                      <a:lnTo>
                        <a:pt x="338" y="653"/>
                      </a:lnTo>
                      <a:lnTo>
                        <a:pt x="334" y="651"/>
                      </a:lnTo>
                      <a:lnTo>
                        <a:pt x="334" y="650"/>
                      </a:lnTo>
                      <a:lnTo>
                        <a:pt x="327" y="649"/>
                      </a:lnTo>
                      <a:lnTo>
                        <a:pt x="324" y="645"/>
                      </a:lnTo>
                      <a:lnTo>
                        <a:pt x="319" y="643"/>
                      </a:lnTo>
                      <a:lnTo>
                        <a:pt x="316" y="642"/>
                      </a:lnTo>
                      <a:lnTo>
                        <a:pt x="313" y="642"/>
                      </a:lnTo>
                      <a:lnTo>
                        <a:pt x="313" y="641"/>
                      </a:lnTo>
                      <a:lnTo>
                        <a:pt x="309" y="636"/>
                      </a:lnTo>
                      <a:lnTo>
                        <a:pt x="304" y="631"/>
                      </a:lnTo>
                      <a:lnTo>
                        <a:pt x="302" y="626"/>
                      </a:lnTo>
                      <a:lnTo>
                        <a:pt x="298" y="621"/>
                      </a:lnTo>
                      <a:lnTo>
                        <a:pt x="296" y="617"/>
                      </a:lnTo>
                      <a:lnTo>
                        <a:pt x="294" y="614"/>
                      </a:lnTo>
                      <a:lnTo>
                        <a:pt x="292" y="613"/>
                      </a:lnTo>
                      <a:lnTo>
                        <a:pt x="291" y="613"/>
                      </a:lnTo>
                      <a:lnTo>
                        <a:pt x="289" y="612"/>
                      </a:lnTo>
                      <a:lnTo>
                        <a:pt x="288" y="611"/>
                      </a:lnTo>
                      <a:lnTo>
                        <a:pt x="287" y="611"/>
                      </a:lnTo>
                      <a:lnTo>
                        <a:pt x="287" y="610"/>
                      </a:lnTo>
                      <a:lnTo>
                        <a:pt x="287" y="610"/>
                      </a:lnTo>
                      <a:lnTo>
                        <a:pt x="287" y="610"/>
                      </a:lnTo>
                      <a:lnTo>
                        <a:pt x="287" y="609"/>
                      </a:lnTo>
                      <a:lnTo>
                        <a:pt x="287" y="608"/>
                      </a:lnTo>
                      <a:lnTo>
                        <a:pt x="286" y="608"/>
                      </a:lnTo>
                      <a:lnTo>
                        <a:pt x="287" y="608"/>
                      </a:lnTo>
                      <a:lnTo>
                        <a:pt x="286" y="608"/>
                      </a:lnTo>
                      <a:lnTo>
                        <a:pt x="286" y="607"/>
                      </a:lnTo>
                      <a:lnTo>
                        <a:pt x="285" y="607"/>
                      </a:lnTo>
                      <a:lnTo>
                        <a:pt x="285" y="606"/>
                      </a:lnTo>
                      <a:lnTo>
                        <a:pt x="284" y="606"/>
                      </a:lnTo>
                      <a:lnTo>
                        <a:pt x="283" y="606"/>
                      </a:lnTo>
                      <a:lnTo>
                        <a:pt x="283" y="606"/>
                      </a:lnTo>
                      <a:lnTo>
                        <a:pt x="283" y="606"/>
                      </a:lnTo>
                      <a:lnTo>
                        <a:pt x="282" y="606"/>
                      </a:lnTo>
                      <a:lnTo>
                        <a:pt x="282" y="605"/>
                      </a:lnTo>
                      <a:lnTo>
                        <a:pt x="281" y="605"/>
                      </a:lnTo>
                      <a:lnTo>
                        <a:pt x="281" y="604"/>
                      </a:lnTo>
                      <a:lnTo>
                        <a:pt x="281" y="604"/>
                      </a:lnTo>
                      <a:lnTo>
                        <a:pt x="279" y="602"/>
                      </a:lnTo>
                      <a:lnTo>
                        <a:pt x="279" y="603"/>
                      </a:lnTo>
                      <a:lnTo>
                        <a:pt x="278" y="604"/>
                      </a:lnTo>
                      <a:lnTo>
                        <a:pt x="278" y="604"/>
                      </a:lnTo>
                      <a:lnTo>
                        <a:pt x="278" y="605"/>
                      </a:lnTo>
                      <a:lnTo>
                        <a:pt x="277" y="605"/>
                      </a:lnTo>
                      <a:lnTo>
                        <a:pt x="277" y="606"/>
                      </a:lnTo>
                      <a:lnTo>
                        <a:pt x="277" y="606"/>
                      </a:lnTo>
                      <a:lnTo>
                        <a:pt x="277" y="606"/>
                      </a:lnTo>
                      <a:lnTo>
                        <a:pt x="276" y="606"/>
                      </a:lnTo>
                      <a:lnTo>
                        <a:pt x="275" y="606"/>
                      </a:lnTo>
                      <a:lnTo>
                        <a:pt x="275" y="606"/>
                      </a:lnTo>
                      <a:lnTo>
                        <a:pt x="275" y="606"/>
                      </a:lnTo>
                      <a:lnTo>
                        <a:pt x="274" y="606"/>
                      </a:lnTo>
                      <a:lnTo>
                        <a:pt x="273" y="606"/>
                      </a:lnTo>
                      <a:lnTo>
                        <a:pt x="273" y="606"/>
                      </a:lnTo>
                      <a:lnTo>
                        <a:pt x="272" y="606"/>
                      </a:lnTo>
                      <a:lnTo>
                        <a:pt x="272" y="606"/>
                      </a:lnTo>
                      <a:lnTo>
                        <a:pt x="272" y="606"/>
                      </a:lnTo>
                      <a:lnTo>
                        <a:pt x="272" y="606"/>
                      </a:lnTo>
                      <a:lnTo>
                        <a:pt x="272" y="607"/>
                      </a:lnTo>
                      <a:lnTo>
                        <a:pt x="272" y="608"/>
                      </a:lnTo>
                      <a:lnTo>
                        <a:pt x="272" y="608"/>
                      </a:lnTo>
                      <a:lnTo>
                        <a:pt x="271" y="608"/>
                      </a:lnTo>
                      <a:lnTo>
                        <a:pt x="270" y="608"/>
                      </a:lnTo>
                      <a:lnTo>
                        <a:pt x="270" y="608"/>
                      </a:lnTo>
                      <a:lnTo>
                        <a:pt x="270" y="608"/>
                      </a:lnTo>
                      <a:lnTo>
                        <a:pt x="269" y="608"/>
                      </a:lnTo>
                      <a:lnTo>
                        <a:pt x="269" y="609"/>
                      </a:lnTo>
                      <a:lnTo>
                        <a:pt x="268" y="609"/>
                      </a:lnTo>
                      <a:lnTo>
                        <a:pt x="268" y="610"/>
                      </a:lnTo>
                      <a:lnTo>
                        <a:pt x="267" y="610"/>
                      </a:lnTo>
                      <a:lnTo>
                        <a:pt x="266" y="610"/>
                      </a:lnTo>
                      <a:lnTo>
                        <a:pt x="266" y="610"/>
                      </a:lnTo>
                      <a:lnTo>
                        <a:pt x="265" y="610"/>
                      </a:lnTo>
                      <a:lnTo>
                        <a:pt x="264" y="610"/>
                      </a:lnTo>
                      <a:lnTo>
                        <a:pt x="264" y="610"/>
                      </a:lnTo>
                      <a:lnTo>
                        <a:pt x="263" y="611"/>
                      </a:lnTo>
                      <a:lnTo>
                        <a:pt x="262" y="612"/>
                      </a:lnTo>
                      <a:lnTo>
                        <a:pt x="262" y="613"/>
                      </a:lnTo>
                      <a:lnTo>
                        <a:pt x="261" y="613"/>
                      </a:lnTo>
                      <a:lnTo>
                        <a:pt x="260" y="613"/>
                      </a:lnTo>
                      <a:lnTo>
                        <a:pt x="260" y="613"/>
                      </a:lnTo>
                      <a:lnTo>
                        <a:pt x="260" y="613"/>
                      </a:lnTo>
                      <a:lnTo>
                        <a:pt x="259" y="613"/>
                      </a:lnTo>
                      <a:lnTo>
                        <a:pt x="260" y="613"/>
                      </a:lnTo>
                      <a:lnTo>
                        <a:pt x="260" y="612"/>
                      </a:lnTo>
                      <a:lnTo>
                        <a:pt x="259" y="612"/>
                      </a:lnTo>
                      <a:lnTo>
                        <a:pt x="259" y="611"/>
                      </a:lnTo>
                      <a:lnTo>
                        <a:pt x="258" y="610"/>
                      </a:lnTo>
                      <a:lnTo>
                        <a:pt x="258" y="610"/>
                      </a:lnTo>
                      <a:lnTo>
                        <a:pt x="258" y="609"/>
                      </a:lnTo>
                      <a:lnTo>
                        <a:pt x="257" y="609"/>
                      </a:lnTo>
                      <a:lnTo>
                        <a:pt x="256" y="609"/>
                      </a:lnTo>
                      <a:lnTo>
                        <a:pt x="255" y="609"/>
                      </a:lnTo>
                      <a:lnTo>
                        <a:pt x="255" y="609"/>
                      </a:lnTo>
                      <a:lnTo>
                        <a:pt x="254" y="609"/>
                      </a:lnTo>
                      <a:lnTo>
                        <a:pt x="254" y="608"/>
                      </a:lnTo>
                      <a:lnTo>
                        <a:pt x="253" y="608"/>
                      </a:lnTo>
                      <a:lnTo>
                        <a:pt x="253" y="608"/>
                      </a:lnTo>
                      <a:lnTo>
                        <a:pt x="252" y="608"/>
                      </a:lnTo>
                      <a:lnTo>
                        <a:pt x="251" y="608"/>
                      </a:lnTo>
                      <a:lnTo>
                        <a:pt x="251" y="608"/>
                      </a:lnTo>
                      <a:lnTo>
                        <a:pt x="251" y="608"/>
                      </a:lnTo>
                      <a:lnTo>
                        <a:pt x="251" y="607"/>
                      </a:lnTo>
                      <a:lnTo>
                        <a:pt x="250" y="607"/>
                      </a:lnTo>
                      <a:lnTo>
                        <a:pt x="250" y="606"/>
                      </a:lnTo>
                      <a:lnTo>
                        <a:pt x="249" y="606"/>
                      </a:lnTo>
                      <a:lnTo>
                        <a:pt x="249" y="606"/>
                      </a:lnTo>
                      <a:lnTo>
                        <a:pt x="249" y="606"/>
                      </a:lnTo>
                      <a:lnTo>
                        <a:pt x="249" y="606"/>
                      </a:lnTo>
                      <a:lnTo>
                        <a:pt x="249" y="605"/>
                      </a:lnTo>
                      <a:lnTo>
                        <a:pt x="249" y="605"/>
                      </a:lnTo>
                      <a:lnTo>
                        <a:pt x="248" y="605"/>
                      </a:lnTo>
                      <a:lnTo>
                        <a:pt x="248" y="606"/>
                      </a:lnTo>
                      <a:lnTo>
                        <a:pt x="248" y="605"/>
                      </a:lnTo>
                      <a:lnTo>
                        <a:pt x="247" y="605"/>
                      </a:lnTo>
                      <a:lnTo>
                        <a:pt x="247" y="605"/>
                      </a:lnTo>
                      <a:lnTo>
                        <a:pt x="246" y="605"/>
                      </a:lnTo>
                      <a:lnTo>
                        <a:pt x="245" y="605"/>
                      </a:lnTo>
                      <a:lnTo>
                        <a:pt x="245" y="604"/>
                      </a:lnTo>
                      <a:lnTo>
                        <a:pt x="245" y="604"/>
                      </a:lnTo>
                      <a:lnTo>
                        <a:pt x="245" y="604"/>
                      </a:lnTo>
                      <a:lnTo>
                        <a:pt x="244" y="604"/>
                      </a:lnTo>
                      <a:lnTo>
                        <a:pt x="245" y="604"/>
                      </a:lnTo>
                      <a:lnTo>
                        <a:pt x="244" y="604"/>
                      </a:lnTo>
                      <a:lnTo>
                        <a:pt x="243" y="604"/>
                      </a:lnTo>
                      <a:lnTo>
                        <a:pt x="243" y="604"/>
                      </a:lnTo>
                      <a:lnTo>
                        <a:pt x="243" y="604"/>
                      </a:lnTo>
                      <a:lnTo>
                        <a:pt x="243" y="603"/>
                      </a:lnTo>
                      <a:lnTo>
                        <a:pt x="243" y="602"/>
                      </a:lnTo>
                      <a:lnTo>
                        <a:pt x="242" y="602"/>
                      </a:lnTo>
                      <a:lnTo>
                        <a:pt x="242" y="602"/>
                      </a:lnTo>
                      <a:lnTo>
                        <a:pt x="242" y="601"/>
                      </a:lnTo>
                      <a:lnTo>
                        <a:pt x="241" y="601"/>
                      </a:lnTo>
                      <a:lnTo>
                        <a:pt x="241" y="600"/>
                      </a:lnTo>
                      <a:lnTo>
                        <a:pt x="240" y="600"/>
                      </a:lnTo>
                      <a:lnTo>
                        <a:pt x="239" y="600"/>
                      </a:lnTo>
                      <a:lnTo>
                        <a:pt x="239" y="600"/>
                      </a:lnTo>
                      <a:lnTo>
                        <a:pt x="238" y="600"/>
                      </a:lnTo>
                      <a:lnTo>
                        <a:pt x="238" y="600"/>
                      </a:lnTo>
                      <a:lnTo>
                        <a:pt x="237" y="600"/>
                      </a:lnTo>
                      <a:lnTo>
                        <a:pt x="236" y="600"/>
                      </a:lnTo>
                      <a:lnTo>
                        <a:pt x="236" y="600"/>
                      </a:lnTo>
                      <a:lnTo>
                        <a:pt x="236" y="599"/>
                      </a:lnTo>
                      <a:lnTo>
                        <a:pt x="235" y="599"/>
                      </a:lnTo>
                      <a:lnTo>
                        <a:pt x="235" y="598"/>
                      </a:lnTo>
                      <a:lnTo>
                        <a:pt x="234" y="598"/>
                      </a:lnTo>
                      <a:lnTo>
                        <a:pt x="234" y="598"/>
                      </a:lnTo>
                      <a:lnTo>
                        <a:pt x="233" y="598"/>
                      </a:lnTo>
                      <a:lnTo>
                        <a:pt x="232" y="598"/>
                      </a:lnTo>
                      <a:lnTo>
                        <a:pt x="232" y="597"/>
                      </a:lnTo>
                      <a:lnTo>
                        <a:pt x="231" y="597"/>
                      </a:lnTo>
                      <a:lnTo>
                        <a:pt x="230" y="597"/>
                      </a:lnTo>
                      <a:lnTo>
                        <a:pt x="230" y="597"/>
                      </a:lnTo>
                      <a:lnTo>
                        <a:pt x="229" y="597"/>
                      </a:lnTo>
                      <a:lnTo>
                        <a:pt x="228" y="597"/>
                      </a:lnTo>
                      <a:lnTo>
                        <a:pt x="228" y="596"/>
                      </a:lnTo>
                      <a:lnTo>
                        <a:pt x="228" y="596"/>
                      </a:lnTo>
                      <a:lnTo>
                        <a:pt x="227" y="596"/>
                      </a:lnTo>
                      <a:lnTo>
                        <a:pt x="227" y="596"/>
                      </a:lnTo>
                      <a:lnTo>
                        <a:pt x="226" y="596"/>
                      </a:lnTo>
                      <a:lnTo>
                        <a:pt x="226" y="595"/>
                      </a:lnTo>
                      <a:lnTo>
                        <a:pt x="226" y="594"/>
                      </a:lnTo>
                      <a:lnTo>
                        <a:pt x="227" y="594"/>
                      </a:lnTo>
                      <a:lnTo>
                        <a:pt x="227" y="594"/>
                      </a:lnTo>
                      <a:lnTo>
                        <a:pt x="228" y="594"/>
                      </a:lnTo>
                      <a:lnTo>
                        <a:pt x="228" y="593"/>
                      </a:lnTo>
                      <a:lnTo>
                        <a:pt x="228" y="592"/>
                      </a:lnTo>
                      <a:lnTo>
                        <a:pt x="228" y="592"/>
                      </a:lnTo>
                      <a:lnTo>
                        <a:pt x="228" y="592"/>
                      </a:lnTo>
                      <a:lnTo>
                        <a:pt x="228" y="591"/>
                      </a:lnTo>
                      <a:lnTo>
                        <a:pt x="227" y="591"/>
                      </a:lnTo>
                      <a:lnTo>
                        <a:pt x="227" y="590"/>
                      </a:lnTo>
                      <a:lnTo>
                        <a:pt x="228" y="590"/>
                      </a:lnTo>
                      <a:lnTo>
                        <a:pt x="227" y="590"/>
                      </a:lnTo>
                      <a:lnTo>
                        <a:pt x="226" y="591"/>
                      </a:lnTo>
                      <a:lnTo>
                        <a:pt x="226" y="590"/>
                      </a:lnTo>
                      <a:lnTo>
                        <a:pt x="226" y="591"/>
                      </a:lnTo>
                      <a:lnTo>
                        <a:pt x="225" y="591"/>
                      </a:lnTo>
                      <a:lnTo>
                        <a:pt x="225" y="590"/>
                      </a:lnTo>
                      <a:lnTo>
                        <a:pt x="224" y="590"/>
                      </a:lnTo>
                      <a:lnTo>
                        <a:pt x="224" y="591"/>
                      </a:lnTo>
                      <a:lnTo>
                        <a:pt x="224" y="590"/>
                      </a:lnTo>
                      <a:lnTo>
                        <a:pt x="223" y="590"/>
                      </a:lnTo>
                      <a:lnTo>
                        <a:pt x="222" y="590"/>
                      </a:lnTo>
                      <a:lnTo>
                        <a:pt x="222" y="590"/>
                      </a:lnTo>
                      <a:lnTo>
                        <a:pt x="221" y="589"/>
                      </a:lnTo>
                      <a:lnTo>
                        <a:pt x="220" y="589"/>
                      </a:lnTo>
                      <a:lnTo>
                        <a:pt x="220" y="589"/>
                      </a:lnTo>
                      <a:lnTo>
                        <a:pt x="220" y="589"/>
                      </a:lnTo>
                      <a:lnTo>
                        <a:pt x="219" y="589"/>
                      </a:lnTo>
                      <a:lnTo>
                        <a:pt x="218" y="589"/>
                      </a:lnTo>
                      <a:lnTo>
                        <a:pt x="217" y="588"/>
                      </a:lnTo>
                      <a:lnTo>
                        <a:pt x="217" y="588"/>
                      </a:lnTo>
                      <a:lnTo>
                        <a:pt x="216" y="588"/>
                      </a:lnTo>
                      <a:lnTo>
                        <a:pt x="215" y="588"/>
                      </a:lnTo>
                      <a:lnTo>
                        <a:pt x="215" y="588"/>
                      </a:lnTo>
                      <a:lnTo>
                        <a:pt x="215" y="589"/>
                      </a:lnTo>
                      <a:lnTo>
                        <a:pt x="214" y="589"/>
                      </a:lnTo>
                      <a:lnTo>
                        <a:pt x="213" y="589"/>
                      </a:lnTo>
                      <a:lnTo>
                        <a:pt x="213" y="589"/>
                      </a:lnTo>
                      <a:lnTo>
                        <a:pt x="213" y="589"/>
                      </a:lnTo>
                      <a:lnTo>
                        <a:pt x="213" y="589"/>
                      </a:lnTo>
                      <a:lnTo>
                        <a:pt x="212" y="589"/>
                      </a:lnTo>
                      <a:lnTo>
                        <a:pt x="211" y="589"/>
                      </a:lnTo>
                      <a:lnTo>
                        <a:pt x="211" y="588"/>
                      </a:lnTo>
                      <a:lnTo>
                        <a:pt x="210" y="587"/>
                      </a:lnTo>
                      <a:lnTo>
                        <a:pt x="209" y="587"/>
                      </a:lnTo>
                      <a:lnTo>
                        <a:pt x="209" y="587"/>
                      </a:lnTo>
                      <a:lnTo>
                        <a:pt x="209" y="586"/>
                      </a:lnTo>
                      <a:lnTo>
                        <a:pt x="208" y="586"/>
                      </a:lnTo>
                      <a:lnTo>
                        <a:pt x="208" y="585"/>
                      </a:lnTo>
                      <a:lnTo>
                        <a:pt x="207" y="585"/>
                      </a:lnTo>
                      <a:lnTo>
                        <a:pt x="207" y="585"/>
                      </a:lnTo>
                      <a:lnTo>
                        <a:pt x="206" y="585"/>
                      </a:lnTo>
                      <a:lnTo>
                        <a:pt x="205" y="584"/>
                      </a:lnTo>
                      <a:lnTo>
                        <a:pt x="205" y="583"/>
                      </a:lnTo>
                      <a:lnTo>
                        <a:pt x="204" y="583"/>
                      </a:lnTo>
                      <a:lnTo>
                        <a:pt x="203" y="582"/>
                      </a:lnTo>
                      <a:lnTo>
                        <a:pt x="203" y="581"/>
                      </a:lnTo>
                      <a:lnTo>
                        <a:pt x="203" y="581"/>
                      </a:lnTo>
                      <a:lnTo>
                        <a:pt x="202" y="581"/>
                      </a:lnTo>
                      <a:lnTo>
                        <a:pt x="201" y="580"/>
                      </a:lnTo>
                      <a:lnTo>
                        <a:pt x="201" y="579"/>
                      </a:lnTo>
                      <a:lnTo>
                        <a:pt x="200" y="579"/>
                      </a:lnTo>
                      <a:lnTo>
                        <a:pt x="200" y="578"/>
                      </a:lnTo>
                      <a:lnTo>
                        <a:pt x="200" y="577"/>
                      </a:lnTo>
                      <a:lnTo>
                        <a:pt x="199" y="577"/>
                      </a:lnTo>
                      <a:lnTo>
                        <a:pt x="198" y="577"/>
                      </a:lnTo>
                      <a:lnTo>
                        <a:pt x="198" y="577"/>
                      </a:lnTo>
                      <a:lnTo>
                        <a:pt x="198" y="576"/>
                      </a:lnTo>
                      <a:lnTo>
                        <a:pt x="198" y="575"/>
                      </a:lnTo>
                      <a:lnTo>
                        <a:pt x="198" y="575"/>
                      </a:lnTo>
                      <a:lnTo>
                        <a:pt x="198" y="575"/>
                      </a:lnTo>
                      <a:lnTo>
                        <a:pt x="198" y="574"/>
                      </a:lnTo>
                      <a:lnTo>
                        <a:pt x="197" y="574"/>
                      </a:lnTo>
                      <a:lnTo>
                        <a:pt x="197" y="573"/>
                      </a:lnTo>
                      <a:lnTo>
                        <a:pt x="196" y="573"/>
                      </a:lnTo>
                      <a:lnTo>
                        <a:pt x="196" y="572"/>
                      </a:lnTo>
                      <a:lnTo>
                        <a:pt x="196" y="572"/>
                      </a:lnTo>
                      <a:lnTo>
                        <a:pt x="196" y="571"/>
                      </a:lnTo>
                      <a:lnTo>
                        <a:pt x="196" y="570"/>
                      </a:lnTo>
                      <a:lnTo>
                        <a:pt x="196" y="570"/>
                      </a:lnTo>
                      <a:lnTo>
                        <a:pt x="196" y="569"/>
                      </a:lnTo>
                      <a:lnTo>
                        <a:pt x="196" y="569"/>
                      </a:lnTo>
                      <a:lnTo>
                        <a:pt x="196" y="568"/>
                      </a:lnTo>
                      <a:lnTo>
                        <a:pt x="196" y="568"/>
                      </a:lnTo>
                      <a:lnTo>
                        <a:pt x="195" y="568"/>
                      </a:lnTo>
                      <a:lnTo>
                        <a:pt x="195" y="568"/>
                      </a:lnTo>
                      <a:lnTo>
                        <a:pt x="194" y="568"/>
                      </a:lnTo>
                      <a:lnTo>
                        <a:pt x="194" y="568"/>
                      </a:lnTo>
                      <a:lnTo>
                        <a:pt x="193" y="568"/>
                      </a:lnTo>
                      <a:lnTo>
                        <a:pt x="192" y="568"/>
                      </a:lnTo>
                      <a:lnTo>
                        <a:pt x="193" y="567"/>
                      </a:lnTo>
                      <a:lnTo>
                        <a:pt x="194" y="567"/>
                      </a:lnTo>
                      <a:lnTo>
                        <a:pt x="194" y="566"/>
                      </a:lnTo>
                      <a:lnTo>
                        <a:pt x="195" y="566"/>
                      </a:lnTo>
                      <a:lnTo>
                        <a:pt x="196" y="566"/>
                      </a:lnTo>
                      <a:lnTo>
                        <a:pt x="196" y="564"/>
                      </a:lnTo>
                      <a:lnTo>
                        <a:pt x="197" y="563"/>
                      </a:lnTo>
                      <a:lnTo>
                        <a:pt x="197" y="562"/>
                      </a:lnTo>
                      <a:lnTo>
                        <a:pt x="198" y="562"/>
                      </a:lnTo>
                      <a:lnTo>
                        <a:pt x="198" y="562"/>
                      </a:lnTo>
                      <a:lnTo>
                        <a:pt x="186" y="550"/>
                      </a:lnTo>
                      <a:lnTo>
                        <a:pt x="186" y="549"/>
                      </a:lnTo>
                      <a:lnTo>
                        <a:pt x="180" y="545"/>
                      </a:lnTo>
                      <a:lnTo>
                        <a:pt x="179" y="545"/>
                      </a:lnTo>
                      <a:lnTo>
                        <a:pt x="162" y="532"/>
                      </a:lnTo>
                      <a:lnTo>
                        <a:pt x="158" y="530"/>
                      </a:lnTo>
                      <a:lnTo>
                        <a:pt x="144" y="527"/>
                      </a:lnTo>
                      <a:lnTo>
                        <a:pt x="142" y="527"/>
                      </a:lnTo>
                      <a:lnTo>
                        <a:pt x="142" y="526"/>
                      </a:lnTo>
                      <a:lnTo>
                        <a:pt x="140" y="520"/>
                      </a:lnTo>
                      <a:lnTo>
                        <a:pt x="139" y="519"/>
                      </a:lnTo>
                      <a:lnTo>
                        <a:pt x="133" y="514"/>
                      </a:lnTo>
                      <a:lnTo>
                        <a:pt x="127" y="508"/>
                      </a:lnTo>
                      <a:lnTo>
                        <a:pt x="125" y="506"/>
                      </a:lnTo>
                      <a:lnTo>
                        <a:pt x="123" y="505"/>
                      </a:lnTo>
                      <a:lnTo>
                        <a:pt x="118" y="499"/>
                      </a:lnTo>
                      <a:lnTo>
                        <a:pt x="112" y="496"/>
                      </a:lnTo>
                      <a:lnTo>
                        <a:pt x="108" y="490"/>
                      </a:lnTo>
                      <a:lnTo>
                        <a:pt x="100" y="484"/>
                      </a:lnTo>
                      <a:lnTo>
                        <a:pt x="94" y="477"/>
                      </a:lnTo>
                      <a:lnTo>
                        <a:pt x="93" y="477"/>
                      </a:lnTo>
                      <a:lnTo>
                        <a:pt x="82" y="472"/>
                      </a:lnTo>
                      <a:lnTo>
                        <a:pt x="77" y="471"/>
                      </a:lnTo>
                      <a:lnTo>
                        <a:pt x="72" y="467"/>
                      </a:lnTo>
                      <a:lnTo>
                        <a:pt x="64" y="450"/>
                      </a:lnTo>
                      <a:lnTo>
                        <a:pt x="60" y="444"/>
                      </a:lnTo>
                      <a:lnTo>
                        <a:pt x="56" y="440"/>
                      </a:lnTo>
                      <a:lnTo>
                        <a:pt x="58" y="436"/>
                      </a:lnTo>
                      <a:lnTo>
                        <a:pt x="65" y="427"/>
                      </a:lnTo>
                      <a:lnTo>
                        <a:pt x="61" y="415"/>
                      </a:lnTo>
                      <a:lnTo>
                        <a:pt x="55" y="401"/>
                      </a:lnTo>
                      <a:lnTo>
                        <a:pt x="45" y="390"/>
                      </a:lnTo>
                      <a:lnTo>
                        <a:pt x="46" y="389"/>
                      </a:lnTo>
                      <a:lnTo>
                        <a:pt x="46" y="387"/>
                      </a:lnTo>
                      <a:lnTo>
                        <a:pt x="49" y="387"/>
                      </a:lnTo>
                      <a:lnTo>
                        <a:pt x="49" y="385"/>
                      </a:lnTo>
                      <a:lnTo>
                        <a:pt x="47" y="383"/>
                      </a:lnTo>
                      <a:lnTo>
                        <a:pt x="47" y="383"/>
                      </a:lnTo>
                      <a:lnTo>
                        <a:pt x="47" y="381"/>
                      </a:lnTo>
                      <a:lnTo>
                        <a:pt x="46" y="381"/>
                      </a:lnTo>
                      <a:lnTo>
                        <a:pt x="46" y="381"/>
                      </a:lnTo>
                      <a:lnTo>
                        <a:pt x="45" y="380"/>
                      </a:lnTo>
                      <a:lnTo>
                        <a:pt x="44" y="379"/>
                      </a:lnTo>
                      <a:lnTo>
                        <a:pt x="44" y="379"/>
                      </a:lnTo>
                      <a:lnTo>
                        <a:pt x="44" y="377"/>
                      </a:lnTo>
                      <a:lnTo>
                        <a:pt x="45" y="377"/>
                      </a:lnTo>
                      <a:lnTo>
                        <a:pt x="45" y="375"/>
                      </a:lnTo>
                      <a:lnTo>
                        <a:pt x="44" y="372"/>
                      </a:lnTo>
                      <a:lnTo>
                        <a:pt x="44" y="370"/>
                      </a:lnTo>
                      <a:lnTo>
                        <a:pt x="40" y="364"/>
                      </a:lnTo>
                      <a:lnTo>
                        <a:pt x="38" y="363"/>
                      </a:lnTo>
                      <a:lnTo>
                        <a:pt x="37" y="360"/>
                      </a:lnTo>
                      <a:lnTo>
                        <a:pt x="37" y="359"/>
                      </a:lnTo>
                      <a:lnTo>
                        <a:pt x="35" y="359"/>
                      </a:lnTo>
                      <a:lnTo>
                        <a:pt x="32" y="358"/>
                      </a:lnTo>
                      <a:lnTo>
                        <a:pt x="31" y="354"/>
                      </a:lnTo>
                      <a:lnTo>
                        <a:pt x="32" y="353"/>
                      </a:lnTo>
                      <a:lnTo>
                        <a:pt x="33" y="352"/>
                      </a:lnTo>
                      <a:lnTo>
                        <a:pt x="33" y="351"/>
                      </a:lnTo>
                      <a:lnTo>
                        <a:pt x="34" y="350"/>
                      </a:lnTo>
                      <a:lnTo>
                        <a:pt x="35" y="350"/>
                      </a:lnTo>
                      <a:lnTo>
                        <a:pt x="36" y="350"/>
                      </a:lnTo>
                      <a:lnTo>
                        <a:pt x="38" y="351"/>
                      </a:lnTo>
                      <a:lnTo>
                        <a:pt x="40" y="347"/>
                      </a:lnTo>
                      <a:lnTo>
                        <a:pt x="38" y="345"/>
                      </a:lnTo>
                      <a:lnTo>
                        <a:pt x="36" y="343"/>
                      </a:lnTo>
                      <a:lnTo>
                        <a:pt x="37" y="334"/>
                      </a:lnTo>
                      <a:lnTo>
                        <a:pt x="34" y="325"/>
                      </a:lnTo>
                      <a:lnTo>
                        <a:pt x="32" y="316"/>
                      </a:lnTo>
                      <a:lnTo>
                        <a:pt x="32" y="316"/>
                      </a:lnTo>
                      <a:lnTo>
                        <a:pt x="32" y="315"/>
                      </a:lnTo>
                      <a:lnTo>
                        <a:pt x="32" y="314"/>
                      </a:lnTo>
                      <a:lnTo>
                        <a:pt x="32" y="314"/>
                      </a:lnTo>
                      <a:lnTo>
                        <a:pt x="33" y="313"/>
                      </a:lnTo>
                      <a:lnTo>
                        <a:pt x="29" y="309"/>
                      </a:lnTo>
                      <a:lnTo>
                        <a:pt x="29" y="307"/>
                      </a:lnTo>
                      <a:lnTo>
                        <a:pt x="27" y="300"/>
                      </a:lnTo>
                      <a:lnTo>
                        <a:pt x="26" y="293"/>
                      </a:lnTo>
                      <a:lnTo>
                        <a:pt x="25" y="292"/>
                      </a:lnTo>
                      <a:lnTo>
                        <a:pt x="24" y="291"/>
                      </a:lnTo>
                      <a:lnTo>
                        <a:pt x="25" y="290"/>
                      </a:lnTo>
                      <a:lnTo>
                        <a:pt x="26" y="288"/>
                      </a:lnTo>
                      <a:lnTo>
                        <a:pt x="25" y="287"/>
                      </a:lnTo>
                      <a:lnTo>
                        <a:pt x="25" y="286"/>
                      </a:lnTo>
                      <a:lnTo>
                        <a:pt x="25" y="286"/>
                      </a:lnTo>
                      <a:lnTo>
                        <a:pt x="25" y="285"/>
                      </a:lnTo>
                      <a:lnTo>
                        <a:pt x="24" y="284"/>
                      </a:lnTo>
                      <a:lnTo>
                        <a:pt x="25" y="283"/>
                      </a:lnTo>
                      <a:lnTo>
                        <a:pt x="25" y="282"/>
                      </a:lnTo>
                      <a:lnTo>
                        <a:pt x="25" y="281"/>
                      </a:lnTo>
                      <a:lnTo>
                        <a:pt x="25" y="281"/>
                      </a:lnTo>
                      <a:lnTo>
                        <a:pt x="25" y="280"/>
                      </a:lnTo>
                      <a:lnTo>
                        <a:pt x="26" y="280"/>
                      </a:lnTo>
                      <a:lnTo>
                        <a:pt x="27" y="278"/>
                      </a:lnTo>
                      <a:lnTo>
                        <a:pt x="28" y="277"/>
                      </a:lnTo>
                      <a:lnTo>
                        <a:pt x="27" y="277"/>
                      </a:lnTo>
                      <a:lnTo>
                        <a:pt x="27" y="276"/>
                      </a:lnTo>
                      <a:lnTo>
                        <a:pt x="27" y="276"/>
                      </a:lnTo>
                      <a:lnTo>
                        <a:pt x="27" y="275"/>
                      </a:lnTo>
                      <a:lnTo>
                        <a:pt x="26" y="275"/>
                      </a:lnTo>
                      <a:lnTo>
                        <a:pt x="26" y="274"/>
                      </a:lnTo>
                      <a:lnTo>
                        <a:pt x="25" y="274"/>
                      </a:lnTo>
                      <a:lnTo>
                        <a:pt x="25" y="274"/>
                      </a:lnTo>
                      <a:lnTo>
                        <a:pt x="24" y="274"/>
                      </a:lnTo>
                      <a:lnTo>
                        <a:pt x="24" y="273"/>
                      </a:lnTo>
                      <a:lnTo>
                        <a:pt x="23" y="273"/>
                      </a:lnTo>
                      <a:lnTo>
                        <a:pt x="23" y="273"/>
                      </a:lnTo>
                      <a:lnTo>
                        <a:pt x="23" y="273"/>
                      </a:lnTo>
                      <a:lnTo>
                        <a:pt x="22" y="273"/>
                      </a:lnTo>
                      <a:lnTo>
                        <a:pt x="22" y="272"/>
                      </a:lnTo>
                      <a:lnTo>
                        <a:pt x="21" y="272"/>
                      </a:lnTo>
                      <a:lnTo>
                        <a:pt x="21" y="271"/>
                      </a:lnTo>
                      <a:lnTo>
                        <a:pt x="21" y="271"/>
                      </a:lnTo>
                      <a:lnTo>
                        <a:pt x="20" y="271"/>
                      </a:lnTo>
                      <a:lnTo>
                        <a:pt x="20" y="271"/>
                      </a:lnTo>
                      <a:lnTo>
                        <a:pt x="19" y="271"/>
                      </a:lnTo>
                      <a:lnTo>
                        <a:pt x="19" y="270"/>
                      </a:lnTo>
                      <a:lnTo>
                        <a:pt x="19" y="269"/>
                      </a:lnTo>
                      <a:lnTo>
                        <a:pt x="19" y="269"/>
                      </a:lnTo>
                      <a:lnTo>
                        <a:pt x="19" y="267"/>
                      </a:lnTo>
                      <a:lnTo>
                        <a:pt x="19" y="265"/>
                      </a:lnTo>
                      <a:lnTo>
                        <a:pt x="19" y="260"/>
                      </a:lnTo>
                      <a:lnTo>
                        <a:pt x="19" y="259"/>
                      </a:lnTo>
                      <a:lnTo>
                        <a:pt x="21" y="255"/>
                      </a:lnTo>
                      <a:lnTo>
                        <a:pt x="15" y="250"/>
                      </a:lnTo>
                      <a:lnTo>
                        <a:pt x="13" y="250"/>
                      </a:lnTo>
                      <a:lnTo>
                        <a:pt x="11" y="248"/>
                      </a:lnTo>
                      <a:lnTo>
                        <a:pt x="11" y="248"/>
                      </a:lnTo>
                      <a:lnTo>
                        <a:pt x="0" y="236"/>
                      </a:lnTo>
                      <a:lnTo>
                        <a:pt x="4" y="226"/>
                      </a:lnTo>
                      <a:lnTo>
                        <a:pt x="15" y="216"/>
                      </a:lnTo>
                      <a:lnTo>
                        <a:pt x="17" y="211"/>
                      </a:lnTo>
                      <a:lnTo>
                        <a:pt x="15" y="204"/>
                      </a:lnTo>
                      <a:lnTo>
                        <a:pt x="17" y="202"/>
                      </a:lnTo>
                      <a:lnTo>
                        <a:pt x="21" y="200"/>
                      </a:lnTo>
                      <a:lnTo>
                        <a:pt x="23" y="199"/>
                      </a:lnTo>
                      <a:lnTo>
                        <a:pt x="26" y="195"/>
                      </a:lnTo>
                      <a:lnTo>
                        <a:pt x="29" y="193"/>
                      </a:lnTo>
                      <a:lnTo>
                        <a:pt x="32" y="193"/>
                      </a:lnTo>
                      <a:lnTo>
                        <a:pt x="34" y="190"/>
                      </a:lnTo>
                      <a:lnTo>
                        <a:pt x="37" y="189"/>
                      </a:lnTo>
                      <a:lnTo>
                        <a:pt x="38" y="189"/>
                      </a:lnTo>
                      <a:lnTo>
                        <a:pt x="44" y="186"/>
                      </a:lnTo>
                      <a:lnTo>
                        <a:pt x="52" y="181"/>
                      </a:lnTo>
                      <a:lnTo>
                        <a:pt x="57" y="177"/>
                      </a:lnTo>
                      <a:lnTo>
                        <a:pt x="68" y="175"/>
                      </a:lnTo>
                      <a:lnTo>
                        <a:pt x="72" y="173"/>
                      </a:lnTo>
                      <a:lnTo>
                        <a:pt x="73" y="173"/>
                      </a:lnTo>
                      <a:lnTo>
                        <a:pt x="74" y="174"/>
                      </a:lnTo>
                      <a:lnTo>
                        <a:pt x="74" y="174"/>
                      </a:lnTo>
                      <a:lnTo>
                        <a:pt x="75" y="174"/>
                      </a:lnTo>
                      <a:lnTo>
                        <a:pt x="76" y="174"/>
                      </a:lnTo>
                      <a:lnTo>
                        <a:pt x="76" y="174"/>
                      </a:lnTo>
                      <a:lnTo>
                        <a:pt x="76" y="174"/>
                      </a:lnTo>
                      <a:lnTo>
                        <a:pt x="76" y="173"/>
                      </a:lnTo>
                      <a:lnTo>
                        <a:pt x="77" y="172"/>
                      </a:lnTo>
                      <a:lnTo>
                        <a:pt x="78" y="172"/>
                      </a:lnTo>
                      <a:lnTo>
                        <a:pt x="78" y="172"/>
                      </a:lnTo>
                      <a:lnTo>
                        <a:pt x="78" y="172"/>
                      </a:lnTo>
                      <a:lnTo>
                        <a:pt x="79" y="172"/>
                      </a:lnTo>
                      <a:lnTo>
                        <a:pt x="80" y="172"/>
                      </a:lnTo>
                      <a:lnTo>
                        <a:pt x="80" y="171"/>
                      </a:lnTo>
                      <a:lnTo>
                        <a:pt x="80" y="171"/>
                      </a:lnTo>
                      <a:lnTo>
                        <a:pt x="81" y="171"/>
                      </a:lnTo>
                      <a:lnTo>
                        <a:pt x="82" y="171"/>
                      </a:lnTo>
                      <a:lnTo>
                        <a:pt x="82" y="171"/>
                      </a:lnTo>
                      <a:lnTo>
                        <a:pt x="84" y="170"/>
                      </a:lnTo>
                      <a:lnTo>
                        <a:pt x="84" y="170"/>
                      </a:lnTo>
                      <a:lnTo>
                        <a:pt x="85" y="170"/>
                      </a:lnTo>
                      <a:lnTo>
                        <a:pt x="86" y="170"/>
                      </a:lnTo>
                      <a:lnTo>
                        <a:pt x="87" y="170"/>
                      </a:lnTo>
                      <a:lnTo>
                        <a:pt x="87" y="170"/>
                      </a:lnTo>
                      <a:lnTo>
                        <a:pt x="89" y="170"/>
                      </a:lnTo>
                      <a:lnTo>
                        <a:pt x="89" y="170"/>
                      </a:lnTo>
                      <a:lnTo>
                        <a:pt x="90" y="170"/>
                      </a:lnTo>
                      <a:lnTo>
                        <a:pt x="91" y="170"/>
                      </a:lnTo>
                      <a:lnTo>
                        <a:pt x="91" y="169"/>
                      </a:lnTo>
                      <a:lnTo>
                        <a:pt x="91" y="168"/>
                      </a:lnTo>
                      <a:lnTo>
                        <a:pt x="92" y="168"/>
                      </a:lnTo>
                      <a:lnTo>
                        <a:pt x="93" y="168"/>
                      </a:lnTo>
                      <a:lnTo>
                        <a:pt x="93" y="168"/>
                      </a:lnTo>
                      <a:lnTo>
                        <a:pt x="93" y="167"/>
                      </a:lnTo>
                      <a:lnTo>
                        <a:pt x="94" y="167"/>
                      </a:lnTo>
                      <a:lnTo>
                        <a:pt x="95" y="167"/>
                      </a:lnTo>
                      <a:lnTo>
                        <a:pt x="95" y="166"/>
                      </a:lnTo>
                      <a:lnTo>
                        <a:pt x="95" y="166"/>
                      </a:lnTo>
                      <a:lnTo>
                        <a:pt x="95" y="166"/>
                      </a:lnTo>
                      <a:lnTo>
                        <a:pt x="95" y="165"/>
                      </a:lnTo>
                      <a:lnTo>
                        <a:pt x="96" y="165"/>
                      </a:lnTo>
                      <a:lnTo>
                        <a:pt x="96" y="164"/>
                      </a:lnTo>
                      <a:lnTo>
                        <a:pt x="95" y="164"/>
                      </a:lnTo>
                      <a:lnTo>
                        <a:pt x="95" y="164"/>
                      </a:lnTo>
                      <a:lnTo>
                        <a:pt x="95" y="163"/>
                      </a:lnTo>
                      <a:lnTo>
                        <a:pt x="96" y="163"/>
                      </a:lnTo>
                      <a:lnTo>
                        <a:pt x="96" y="162"/>
                      </a:lnTo>
                      <a:lnTo>
                        <a:pt x="97" y="162"/>
                      </a:lnTo>
                      <a:lnTo>
                        <a:pt x="97" y="162"/>
                      </a:lnTo>
                      <a:lnTo>
                        <a:pt x="97" y="162"/>
                      </a:lnTo>
                      <a:lnTo>
                        <a:pt x="98" y="161"/>
                      </a:lnTo>
                      <a:lnTo>
                        <a:pt x="99" y="161"/>
                      </a:lnTo>
                      <a:lnTo>
                        <a:pt x="99" y="160"/>
                      </a:lnTo>
                      <a:lnTo>
                        <a:pt x="99" y="160"/>
                      </a:lnTo>
                      <a:lnTo>
                        <a:pt x="100" y="160"/>
                      </a:lnTo>
                      <a:lnTo>
                        <a:pt x="100" y="159"/>
                      </a:lnTo>
                      <a:lnTo>
                        <a:pt x="101" y="158"/>
                      </a:lnTo>
                      <a:lnTo>
                        <a:pt x="102" y="158"/>
                      </a:lnTo>
                      <a:lnTo>
                        <a:pt x="103" y="158"/>
                      </a:lnTo>
                      <a:lnTo>
                        <a:pt x="103" y="158"/>
                      </a:lnTo>
                      <a:lnTo>
                        <a:pt x="103" y="159"/>
                      </a:lnTo>
                      <a:lnTo>
                        <a:pt x="104" y="159"/>
                      </a:lnTo>
                      <a:lnTo>
                        <a:pt x="105" y="160"/>
                      </a:lnTo>
                      <a:lnTo>
                        <a:pt x="106" y="160"/>
                      </a:lnTo>
                      <a:lnTo>
                        <a:pt x="106" y="159"/>
                      </a:lnTo>
                      <a:lnTo>
                        <a:pt x="106" y="159"/>
                      </a:lnTo>
                      <a:lnTo>
                        <a:pt x="107" y="159"/>
                      </a:lnTo>
                      <a:lnTo>
                        <a:pt x="108" y="159"/>
                      </a:lnTo>
                      <a:lnTo>
                        <a:pt x="108" y="159"/>
                      </a:lnTo>
                      <a:lnTo>
                        <a:pt x="109" y="159"/>
                      </a:lnTo>
                      <a:lnTo>
                        <a:pt x="110" y="159"/>
                      </a:lnTo>
                      <a:lnTo>
                        <a:pt x="110" y="159"/>
                      </a:lnTo>
                      <a:lnTo>
                        <a:pt x="111" y="159"/>
                      </a:lnTo>
                      <a:lnTo>
                        <a:pt x="112" y="159"/>
                      </a:lnTo>
                      <a:lnTo>
                        <a:pt x="112" y="158"/>
                      </a:lnTo>
                      <a:lnTo>
                        <a:pt x="112" y="158"/>
                      </a:lnTo>
                      <a:lnTo>
                        <a:pt x="112" y="158"/>
                      </a:lnTo>
                      <a:lnTo>
                        <a:pt x="112" y="157"/>
                      </a:lnTo>
                      <a:lnTo>
                        <a:pt x="113" y="156"/>
                      </a:lnTo>
                      <a:lnTo>
                        <a:pt x="114" y="156"/>
                      </a:lnTo>
                      <a:lnTo>
                        <a:pt x="114" y="156"/>
                      </a:lnTo>
                      <a:lnTo>
                        <a:pt x="115" y="156"/>
                      </a:lnTo>
                      <a:lnTo>
                        <a:pt x="116" y="156"/>
                      </a:lnTo>
                      <a:lnTo>
                        <a:pt x="116" y="156"/>
                      </a:lnTo>
                      <a:lnTo>
                        <a:pt x="117" y="156"/>
                      </a:lnTo>
                      <a:lnTo>
                        <a:pt x="118" y="156"/>
                      </a:lnTo>
                      <a:lnTo>
                        <a:pt x="118" y="156"/>
                      </a:lnTo>
                      <a:lnTo>
                        <a:pt x="118" y="155"/>
                      </a:lnTo>
                      <a:lnTo>
                        <a:pt x="119" y="155"/>
                      </a:lnTo>
                      <a:lnTo>
                        <a:pt x="119" y="155"/>
                      </a:lnTo>
                      <a:lnTo>
                        <a:pt x="120" y="154"/>
                      </a:lnTo>
                      <a:lnTo>
                        <a:pt x="120" y="153"/>
                      </a:lnTo>
                      <a:lnTo>
                        <a:pt x="120" y="153"/>
                      </a:lnTo>
                      <a:lnTo>
                        <a:pt x="121" y="153"/>
                      </a:lnTo>
                      <a:lnTo>
                        <a:pt x="122" y="153"/>
                      </a:lnTo>
                      <a:lnTo>
                        <a:pt x="122" y="153"/>
                      </a:lnTo>
                      <a:lnTo>
                        <a:pt x="123" y="153"/>
                      </a:lnTo>
                      <a:lnTo>
                        <a:pt x="124" y="153"/>
                      </a:lnTo>
                      <a:lnTo>
                        <a:pt x="124" y="152"/>
                      </a:lnTo>
                      <a:lnTo>
                        <a:pt x="125" y="152"/>
                      </a:lnTo>
                      <a:lnTo>
                        <a:pt x="125" y="151"/>
                      </a:lnTo>
                      <a:lnTo>
                        <a:pt x="125" y="152"/>
                      </a:lnTo>
                      <a:lnTo>
                        <a:pt x="125" y="151"/>
                      </a:lnTo>
                      <a:lnTo>
                        <a:pt x="126" y="151"/>
                      </a:lnTo>
                      <a:lnTo>
                        <a:pt x="126" y="151"/>
                      </a:lnTo>
                      <a:lnTo>
                        <a:pt x="127" y="150"/>
                      </a:lnTo>
                      <a:lnTo>
                        <a:pt x="127" y="149"/>
                      </a:lnTo>
                      <a:lnTo>
                        <a:pt x="127" y="149"/>
                      </a:lnTo>
                      <a:lnTo>
                        <a:pt x="129" y="148"/>
                      </a:lnTo>
                      <a:lnTo>
                        <a:pt x="129" y="148"/>
                      </a:lnTo>
                      <a:lnTo>
                        <a:pt x="130" y="148"/>
                      </a:lnTo>
                      <a:lnTo>
                        <a:pt x="130" y="147"/>
                      </a:lnTo>
                      <a:lnTo>
                        <a:pt x="130" y="147"/>
                      </a:lnTo>
                      <a:lnTo>
                        <a:pt x="130" y="146"/>
                      </a:lnTo>
                      <a:lnTo>
                        <a:pt x="131" y="146"/>
                      </a:lnTo>
                      <a:lnTo>
                        <a:pt x="131" y="145"/>
                      </a:lnTo>
                      <a:lnTo>
                        <a:pt x="131" y="145"/>
                      </a:lnTo>
                      <a:lnTo>
                        <a:pt x="131" y="145"/>
                      </a:lnTo>
                      <a:lnTo>
                        <a:pt x="132" y="145"/>
                      </a:lnTo>
                      <a:lnTo>
                        <a:pt x="132" y="144"/>
                      </a:lnTo>
                      <a:lnTo>
                        <a:pt x="133" y="144"/>
                      </a:lnTo>
                      <a:lnTo>
                        <a:pt x="133" y="145"/>
                      </a:lnTo>
                      <a:lnTo>
                        <a:pt x="133" y="145"/>
                      </a:lnTo>
                      <a:lnTo>
                        <a:pt x="133" y="144"/>
                      </a:lnTo>
                      <a:lnTo>
                        <a:pt x="134" y="144"/>
                      </a:lnTo>
                      <a:lnTo>
                        <a:pt x="134" y="143"/>
                      </a:lnTo>
                      <a:lnTo>
                        <a:pt x="135" y="143"/>
                      </a:lnTo>
                      <a:lnTo>
                        <a:pt x="135" y="143"/>
                      </a:lnTo>
                      <a:lnTo>
                        <a:pt x="136" y="142"/>
                      </a:lnTo>
                      <a:lnTo>
                        <a:pt x="137" y="142"/>
                      </a:lnTo>
                      <a:lnTo>
                        <a:pt x="137" y="141"/>
                      </a:lnTo>
                      <a:lnTo>
                        <a:pt x="137" y="141"/>
                      </a:lnTo>
                      <a:lnTo>
                        <a:pt x="138" y="141"/>
                      </a:lnTo>
                      <a:lnTo>
                        <a:pt x="138" y="140"/>
                      </a:lnTo>
                      <a:lnTo>
                        <a:pt x="139" y="140"/>
                      </a:lnTo>
                      <a:lnTo>
                        <a:pt x="139" y="140"/>
                      </a:lnTo>
                      <a:lnTo>
                        <a:pt x="139" y="139"/>
                      </a:lnTo>
                      <a:lnTo>
                        <a:pt x="140" y="139"/>
                      </a:lnTo>
                      <a:lnTo>
                        <a:pt x="141" y="139"/>
                      </a:lnTo>
                      <a:lnTo>
                        <a:pt x="141" y="139"/>
                      </a:lnTo>
                      <a:lnTo>
                        <a:pt x="142" y="139"/>
                      </a:lnTo>
                      <a:lnTo>
                        <a:pt x="143" y="139"/>
                      </a:lnTo>
                      <a:lnTo>
                        <a:pt x="144" y="139"/>
                      </a:lnTo>
                      <a:lnTo>
                        <a:pt x="144" y="139"/>
                      </a:lnTo>
                      <a:lnTo>
                        <a:pt x="144" y="139"/>
                      </a:lnTo>
                      <a:lnTo>
                        <a:pt x="145" y="139"/>
                      </a:lnTo>
                      <a:lnTo>
                        <a:pt x="146" y="139"/>
                      </a:lnTo>
                      <a:lnTo>
                        <a:pt x="146" y="139"/>
                      </a:lnTo>
                      <a:lnTo>
                        <a:pt x="147" y="139"/>
                      </a:lnTo>
                      <a:lnTo>
                        <a:pt x="147" y="139"/>
                      </a:lnTo>
                      <a:lnTo>
                        <a:pt x="148" y="139"/>
                      </a:lnTo>
                      <a:lnTo>
                        <a:pt x="148" y="138"/>
                      </a:lnTo>
                      <a:lnTo>
                        <a:pt x="149" y="138"/>
                      </a:lnTo>
                      <a:lnTo>
                        <a:pt x="150" y="137"/>
                      </a:lnTo>
                      <a:lnTo>
                        <a:pt x="150" y="137"/>
                      </a:lnTo>
                      <a:lnTo>
                        <a:pt x="151" y="137"/>
                      </a:lnTo>
                      <a:lnTo>
                        <a:pt x="152" y="136"/>
                      </a:lnTo>
                      <a:lnTo>
                        <a:pt x="152" y="136"/>
                      </a:lnTo>
                      <a:lnTo>
                        <a:pt x="151" y="134"/>
                      </a:lnTo>
                      <a:lnTo>
                        <a:pt x="150" y="134"/>
                      </a:lnTo>
                      <a:lnTo>
                        <a:pt x="150" y="133"/>
                      </a:lnTo>
                      <a:lnTo>
                        <a:pt x="149" y="133"/>
                      </a:lnTo>
                      <a:lnTo>
                        <a:pt x="149" y="132"/>
                      </a:lnTo>
                      <a:lnTo>
                        <a:pt x="150" y="131"/>
                      </a:lnTo>
                      <a:lnTo>
                        <a:pt x="150" y="130"/>
                      </a:lnTo>
                      <a:lnTo>
                        <a:pt x="150" y="128"/>
                      </a:lnTo>
                      <a:lnTo>
                        <a:pt x="149" y="126"/>
                      </a:lnTo>
                      <a:lnTo>
                        <a:pt x="149" y="124"/>
                      </a:lnTo>
                      <a:lnTo>
                        <a:pt x="150" y="118"/>
                      </a:lnTo>
                      <a:lnTo>
                        <a:pt x="150" y="116"/>
                      </a:lnTo>
                      <a:lnTo>
                        <a:pt x="150" y="114"/>
                      </a:lnTo>
                      <a:lnTo>
                        <a:pt x="150" y="113"/>
                      </a:lnTo>
                      <a:lnTo>
                        <a:pt x="150" y="112"/>
                      </a:lnTo>
                      <a:lnTo>
                        <a:pt x="150" y="111"/>
                      </a:lnTo>
                      <a:lnTo>
                        <a:pt x="150" y="111"/>
                      </a:lnTo>
                      <a:lnTo>
                        <a:pt x="151" y="110"/>
                      </a:lnTo>
                      <a:lnTo>
                        <a:pt x="151" y="109"/>
                      </a:lnTo>
                      <a:lnTo>
                        <a:pt x="152" y="108"/>
                      </a:lnTo>
                      <a:lnTo>
                        <a:pt x="152" y="108"/>
                      </a:lnTo>
                      <a:lnTo>
                        <a:pt x="153" y="108"/>
                      </a:lnTo>
                      <a:lnTo>
                        <a:pt x="154" y="108"/>
                      </a:lnTo>
                      <a:lnTo>
                        <a:pt x="154" y="108"/>
                      </a:lnTo>
                      <a:lnTo>
                        <a:pt x="155" y="108"/>
                      </a:lnTo>
                      <a:lnTo>
                        <a:pt x="156" y="109"/>
                      </a:lnTo>
                      <a:lnTo>
                        <a:pt x="156" y="109"/>
                      </a:lnTo>
                      <a:lnTo>
                        <a:pt x="157" y="109"/>
                      </a:lnTo>
                      <a:lnTo>
                        <a:pt x="158" y="109"/>
                      </a:lnTo>
                      <a:lnTo>
                        <a:pt x="158" y="109"/>
                      </a:lnTo>
                      <a:lnTo>
                        <a:pt x="158" y="109"/>
                      </a:lnTo>
                      <a:lnTo>
                        <a:pt x="159" y="109"/>
                      </a:lnTo>
                      <a:lnTo>
                        <a:pt x="159" y="108"/>
                      </a:lnTo>
                      <a:lnTo>
                        <a:pt x="160" y="107"/>
                      </a:lnTo>
                      <a:lnTo>
                        <a:pt x="160" y="107"/>
                      </a:lnTo>
                      <a:lnTo>
                        <a:pt x="160" y="107"/>
                      </a:lnTo>
                      <a:lnTo>
                        <a:pt x="160" y="106"/>
                      </a:lnTo>
                      <a:lnTo>
                        <a:pt x="160" y="105"/>
                      </a:lnTo>
                      <a:lnTo>
                        <a:pt x="160" y="105"/>
                      </a:lnTo>
                      <a:lnTo>
                        <a:pt x="161" y="105"/>
                      </a:lnTo>
                      <a:lnTo>
                        <a:pt x="162" y="104"/>
                      </a:lnTo>
                      <a:lnTo>
                        <a:pt x="163" y="104"/>
                      </a:lnTo>
                      <a:lnTo>
                        <a:pt x="165" y="103"/>
                      </a:lnTo>
                      <a:lnTo>
                        <a:pt x="165" y="103"/>
                      </a:lnTo>
                      <a:lnTo>
                        <a:pt x="165" y="103"/>
                      </a:lnTo>
                      <a:lnTo>
                        <a:pt x="166" y="104"/>
                      </a:lnTo>
                      <a:lnTo>
                        <a:pt x="167" y="104"/>
                      </a:lnTo>
                      <a:lnTo>
                        <a:pt x="167" y="103"/>
                      </a:lnTo>
                      <a:lnTo>
                        <a:pt x="168" y="102"/>
                      </a:lnTo>
                      <a:lnTo>
                        <a:pt x="169" y="101"/>
                      </a:lnTo>
                      <a:lnTo>
                        <a:pt x="169" y="100"/>
                      </a:lnTo>
                      <a:lnTo>
                        <a:pt x="169" y="99"/>
                      </a:lnTo>
                      <a:lnTo>
                        <a:pt x="169" y="99"/>
                      </a:lnTo>
                      <a:lnTo>
                        <a:pt x="169" y="99"/>
                      </a:lnTo>
                      <a:lnTo>
                        <a:pt x="170" y="99"/>
                      </a:lnTo>
                      <a:lnTo>
                        <a:pt x="171" y="99"/>
                      </a:lnTo>
                      <a:lnTo>
                        <a:pt x="171" y="98"/>
                      </a:lnTo>
                      <a:lnTo>
                        <a:pt x="171" y="97"/>
                      </a:lnTo>
                      <a:lnTo>
                        <a:pt x="172" y="97"/>
                      </a:lnTo>
                      <a:lnTo>
                        <a:pt x="173" y="97"/>
                      </a:lnTo>
                      <a:lnTo>
                        <a:pt x="173" y="98"/>
                      </a:lnTo>
                      <a:lnTo>
                        <a:pt x="174" y="98"/>
                      </a:lnTo>
                      <a:lnTo>
                        <a:pt x="175" y="99"/>
                      </a:lnTo>
                      <a:lnTo>
                        <a:pt x="175" y="99"/>
                      </a:lnTo>
                      <a:lnTo>
                        <a:pt x="176" y="99"/>
                      </a:lnTo>
                      <a:lnTo>
                        <a:pt x="176" y="98"/>
                      </a:lnTo>
                      <a:lnTo>
                        <a:pt x="176" y="97"/>
                      </a:lnTo>
                      <a:lnTo>
                        <a:pt x="176" y="96"/>
                      </a:lnTo>
                      <a:lnTo>
                        <a:pt x="178" y="93"/>
                      </a:lnTo>
                      <a:lnTo>
                        <a:pt x="179" y="92"/>
                      </a:lnTo>
                      <a:lnTo>
                        <a:pt x="179" y="92"/>
                      </a:lnTo>
                      <a:lnTo>
                        <a:pt x="179" y="91"/>
                      </a:lnTo>
                      <a:lnTo>
                        <a:pt x="180" y="91"/>
                      </a:lnTo>
                      <a:lnTo>
                        <a:pt x="180" y="90"/>
                      </a:lnTo>
                      <a:lnTo>
                        <a:pt x="180" y="90"/>
                      </a:lnTo>
                      <a:lnTo>
                        <a:pt x="181" y="90"/>
                      </a:lnTo>
                      <a:lnTo>
                        <a:pt x="181" y="89"/>
                      </a:lnTo>
                      <a:lnTo>
                        <a:pt x="181" y="88"/>
                      </a:lnTo>
                      <a:lnTo>
                        <a:pt x="181" y="88"/>
                      </a:lnTo>
                      <a:lnTo>
                        <a:pt x="181" y="87"/>
                      </a:lnTo>
                      <a:lnTo>
                        <a:pt x="182" y="87"/>
                      </a:lnTo>
                      <a:lnTo>
                        <a:pt x="182" y="86"/>
                      </a:lnTo>
                      <a:lnTo>
                        <a:pt x="182" y="86"/>
                      </a:lnTo>
                      <a:lnTo>
                        <a:pt x="183" y="86"/>
                      </a:lnTo>
                      <a:lnTo>
                        <a:pt x="184" y="86"/>
                      </a:lnTo>
                      <a:lnTo>
                        <a:pt x="184" y="86"/>
                      </a:lnTo>
                      <a:lnTo>
                        <a:pt x="184" y="86"/>
                      </a:lnTo>
                      <a:lnTo>
                        <a:pt x="185" y="85"/>
                      </a:lnTo>
                      <a:lnTo>
                        <a:pt x="186" y="85"/>
                      </a:lnTo>
                      <a:lnTo>
                        <a:pt x="186" y="85"/>
                      </a:lnTo>
                      <a:lnTo>
                        <a:pt x="187" y="85"/>
                      </a:lnTo>
                      <a:lnTo>
                        <a:pt x="188" y="85"/>
                      </a:lnTo>
                      <a:lnTo>
                        <a:pt x="188" y="84"/>
                      </a:lnTo>
                      <a:lnTo>
                        <a:pt x="188" y="84"/>
                      </a:lnTo>
                      <a:lnTo>
                        <a:pt x="188" y="83"/>
                      </a:lnTo>
                      <a:lnTo>
                        <a:pt x="188" y="82"/>
                      </a:lnTo>
                      <a:lnTo>
                        <a:pt x="188" y="82"/>
                      </a:lnTo>
                      <a:lnTo>
                        <a:pt x="188" y="81"/>
                      </a:lnTo>
                      <a:lnTo>
                        <a:pt x="188" y="80"/>
                      </a:lnTo>
                      <a:lnTo>
                        <a:pt x="188" y="80"/>
                      </a:lnTo>
                      <a:lnTo>
                        <a:pt x="189" y="80"/>
                      </a:lnTo>
                      <a:lnTo>
                        <a:pt x="190" y="79"/>
                      </a:lnTo>
                      <a:lnTo>
                        <a:pt x="190" y="78"/>
                      </a:lnTo>
                      <a:lnTo>
                        <a:pt x="191" y="78"/>
                      </a:lnTo>
                      <a:lnTo>
                        <a:pt x="192" y="78"/>
                      </a:lnTo>
                      <a:lnTo>
                        <a:pt x="194" y="78"/>
                      </a:lnTo>
                      <a:lnTo>
                        <a:pt x="195" y="78"/>
                      </a:lnTo>
                      <a:lnTo>
                        <a:pt x="196" y="78"/>
                      </a:lnTo>
                      <a:lnTo>
                        <a:pt x="198" y="78"/>
                      </a:lnTo>
                      <a:lnTo>
                        <a:pt x="198" y="79"/>
                      </a:lnTo>
                      <a:lnTo>
                        <a:pt x="202" y="82"/>
                      </a:lnTo>
                      <a:lnTo>
                        <a:pt x="202" y="81"/>
                      </a:lnTo>
                      <a:lnTo>
                        <a:pt x="203" y="81"/>
                      </a:lnTo>
                      <a:lnTo>
                        <a:pt x="203" y="80"/>
                      </a:lnTo>
                      <a:lnTo>
                        <a:pt x="203" y="80"/>
                      </a:lnTo>
                      <a:lnTo>
                        <a:pt x="203" y="80"/>
                      </a:lnTo>
                      <a:lnTo>
                        <a:pt x="204" y="80"/>
                      </a:lnTo>
                      <a:lnTo>
                        <a:pt x="204" y="79"/>
                      </a:lnTo>
                      <a:lnTo>
                        <a:pt x="205" y="79"/>
                      </a:lnTo>
                      <a:lnTo>
                        <a:pt x="205" y="79"/>
                      </a:lnTo>
                      <a:lnTo>
                        <a:pt x="206" y="79"/>
                      </a:lnTo>
                      <a:lnTo>
                        <a:pt x="207" y="79"/>
                      </a:lnTo>
                      <a:lnTo>
                        <a:pt x="207" y="78"/>
                      </a:lnTo>
                      <a:lnTo>
                        <a:pt x="207" y="78"/>
                      </a:lnTo>
                      <a:lnTo>
                        <a:pt x="207" y="78"/>
                      </a:lnTo>
                      <a:lnTo>
                        <a:pt x="207" y="78"/>
                      </a:lnTo>
                      <a:lnTo>
                        <a:pt x="208" y="78"/>
                      </a:lnTo>
                      <a:lnTo>
                        <a:pt x="208" y="79"/>
                      </a:lnTo>
                      <a:lnTo>
                        <a:pt x="209" y="80"/>
                      </a:lnTo>
                      <a:lnTo>
                        <a:pt x="209" y="80"/>
                      </a:lnTo>
                      <a:lnTo>
                        <a:pt x="210" y="80"/>
                      </a:lnTo>
                      <a:lnTo>
                        <a:pt x="210" y="80"/>
                      </a:lnTo>
                      <a:lnTo>
                        <a:pt x="211" y="80"/>
                      </a:lnTo>
                      <a:lnTo>
                        <a:pt x="211" y="81"/>
                      </a:lnTo>
                      <a:lnTo>
                        <a:pt x="211" y="82"/>
                      </a:lnTo>
                      <a:lnTo>
                        <a:pt x="212" y="83"/>
                      </a:lnTo>
                      <a:lnTo>
                        <a:pt x="213" y="83"/>
                      </a:lnTo>
                      <a:lnTo>
                        <a:pt x="213" y="84"/>
                      </a:lnTo>
                      <a:lnTo>
                        <a:pt x="213" y="84"/>
                      </a:lnTo>
                      <a:lnTo>
                        <a:pt x="213" y="84"/>
                      </a:lnTo>
                      <a:lnTo>
                        <a:pt x="214" y="85"/>
                      </a:lnTo>
                      <a:lnTo>
                        <a:pt x="215" y="86"/>
                      </a:lnTo>
                      <a:lnTo>
                        <a:pt x="216" y="87"/>
                      </a:lnTo>
                      <a:lnTo>
                        <a:pt x="217" y="88"/>
                      </a:lnTo>
                      <a:lnTo>
                        <a:pt x="217" y="89"/>
                      </a:lnTo>
                      <a:lnTo>
                        <a:pt x="217" y="90"/>
                      </a:lnTo>
                      <a:lnTo>
                        <a:pt x="217" y="90"/>
                      </a:lnTo>
                      <a:lnTo>
                        <a:pt x="218" y="90"/>
                      </a:lnTo>
                      <a:lnTo>
                        <a:pt x="219" y="90"/>
                      </a:lnTo>
                      <a:lnTo>
                        <a:pt x="220" y="90"/>
                      </a:lnTo>
                      <a:lnTo>
                        <a:pt x="220" y="90"/>
                      </a:lnTo>
                      <a:lnTo>
                        <a:pt x="221" y="89"/>
                      </a:lnTo>
                      <a:lnTo>
                        <a:pt x="222" y="89"/>
                      </a:lnTo>
                      <a:lnTo>
                        <a:pt x="222" y="89"/>
                      </a:lnTo>
                      <a:lnTo>
                        <a:pt x="223" y="89"/>
                      </a:lnTo>
                      <a:lnTo>
                        <a:pt x="224" y="90"/>
                      </a:lnTo>
                      <a:lnTo>
                        <a:pt x="224" y="90"/>
                      </a:lnTo>
                      <a:lnTo>
                        <a:pt x="225" y="91"/>
                      </a:lnTo>
                      <a:lnTo>
                        <a:pt x="226" y="92"/>
                      </a:lnTo>
                      <a:lnTo>
                        <a:pt x="227" y="92"/>
                      </a:lnTo>
                      <a:lnTo>
                        <a:pt x="228" y="92"/>
                      </a:lnTo>
                      <a:lnTo>
                        <a:pt x="229" y="92"/>
                      </a:lnTo>
                      <a:lnTo>
                        <a:pt x="230" y="92"/>
                      </a:lnTo>
                      <a:lnTo>
                        <a:pt x="230" y="92"/>
                      </a:lnTo>
                      <a:lnTo>
                        <a:pt x="231" y="94"/>
                      </a:lnTo>
                      <a:lnTo>
                        <a:pt x="232" y="96"/>
                      </a:lnTo>
                      <a:lnTo>
                        <a:pt x="233" y="96"/>
                      </a:lnTo>
                      <a:lnTo>
                        <a:pt x="234" y="97"/>
                      </a:lnTo>
                      <a:lnTo>
                        <a:pt x="234" y="97"/>
                      </a:lnTo>
                      <a:lnTo>
                        <a:pt x="235" y="98"/>
                      </a:lnTo>
                      <a:lnTo>
                        <a:pt x="236" y="98"/>
                      </a:lnTo>
                      <a:lnTo>
                        <a:pt x="236" y="97"/>
                      </a:lnTo>
                      <a:lnTo>
                        <a:pt x="236" y="96"/>
                      </a:lnTo>
                      <a:lnTo>
                        <a:pt x="236" y="96"/>
                      </a:lnTo>
                      <a:lnTo>
                        <a:pt x="236" y="96"/>
                      </a:lnTo>
                      <a:lnTo>
                        <a:pt x="237" y="96"/>
                      </a:lnTo>
                      <a:lnTo>
                        <a:pt x="237" y="95"/>
                      </a:lnTo>
                      <a:lnTo>
                        <a:pt x="238" y="95"/>
                      </a:lnTo>
                      <a:lnTo>
                        <a:pt x="238" y="96"/>
                      </a:lnTo>
                      <a:lnTo>
                        <a:pt x="238" y="95"/>
                      </a:lnTo>
                      <a:lnTo>
                        <a:pt x="239" y="95"/>
                      </a:lnTo>
                      <a:lnTo>
                        <a:pt x="239" y="94"/>
                      </a:lnTo>
                      <a:lnTo>
                        <a:pt x="239" y="94"/>
                      </a:lnTo>
                      <a:lnTo>
                        <a:pt x="239" y="93"/>
                      </a:lnTo>
                      <a:lnTo>
                        <a:pt x="240" y="94"/>
                      </a:lnTo>
                      <a:lnTo>
                        <a:pt x="242" y="94"/>
                      </a:lnTo>
                      <a:lnTo>
                        <a:pt x="245" y="95"/>
                      </a:lnTo>
                      <a:lnTo>
                        <a:pt x="250" y="96"/>
                      </a:lnTo>
                      <a:lnTo>
                        <a:pt x="252" y="99"/>
                      </a:lnTo>
                      <a:lnTo>
                        <a:pt x="255" y="100"/>
                      </a:lnTo>
                      <a:lnTo>
                        <a:pt x="256" y="101"/>
                      </a:lnTo>
                      <a:lnTo>
                        <a:pt x="260" y="103"/>
                      </a:lnTo>
                      <a:lnTo>
                        <a:pt x="262" y="104"/>
                      </a:lnTo>
                      <a:lnTo>
                        <a:pt x="263" y="105"/>
                      </a:lnTo>
                      <a:lnTo>
                        <a:pt x="266" y="108"/>
                      </a:lnTo>
                      <a:lnTo>
                        <a:pt x="268" y="109"/>
                      </a:lnTo>
                      <a:lnTo>
                        <a:pt x="273" y="109"/>
                      </a:lnTo>
                      <a:lnTo>
                        <a:pt x="283" y="113"/>
                      </a:lnTo>
                      <a:lnTo>
                        <a:pt x="283" y="113"/>
                      </a:lnTo>
                      <a:lnTo>
                        <a:pt x="287" y="114"/>
                      </a:lnTo>
                      <a:lnTo>
                        <a:pt x="287" y="115"/>
                      </a:lnTo>
                      <a:lnTo>
                        <a:pt x="287" y="114"/>
                      </a:lnTo>
                      <a:lnTo>
                        <a:pt x="288" y="114"/>
                      </a:lnTo>
                      <a:lnTo>
                        <a:pt x="289" y="114"/>
                      </a:lnTo>
                      <a:lnTo>
                        <a:pt x="289" y="114"/>
                      </a:lnTo>
                      <a:lnTo>
                        <a:pt x="290" y="114"/>
                      </a:lnTo>
                      <a:lnTo>
                        <a:pt x="290" y="115"/>
                      </a:lnTo>
                      <a:lnTo>
                        <a:pt x="291" y="115"/>
                      </a:lnTo>
                      <a:lnTo>
                        <a:pt x="291" y="115"/>
                      </a:lnTo>
                      <a:lnTo>
                        <a:pt x="292" y="115"/>
                      </a:lnTo>
                      <a:lnTo>
                        <a:pt x="292" y="114"/>
                      </a:lnTo>
                      <a:lnTo>
                        <a:pt x="293" y="114"/>
                      </a:lnTo>
                      <a:lnTo>
                        <a:pt x="294" y="113"/>
                      </a:lnTo>
                      <a:lnTo>
                        <a:pt x="294" y="113"/>
                      </a:lnTo>
                      <a:lnTo>
                        <a:pt x="295" y="113"/>
                      </a:lnTo>
                      <a:lnTo>
                        <a:pt x="295" y="112"/>
                      </a:lnTo>
                      <a:lnTo>
                        <a:pt x="296" y="112"/>
                      </a:lnTo>
                      <a:lnTo>
                        <a:pt x="296" y="113"/>
                      </a:lnTo>
                      <a:lnTo>
                        <a:pt x="296" y="113"/>
                      </a:lnTo>
                      <a:lnTo>
                        <a:pt x="296" y="114"/>
                      </a:lnTo>
                      <a:lnTo>
                        <a:pt x="296" y="115"/>
                      </a:lnTo>
                      <a:lnTo>
                        <a:pt x="296" y="115"/>
                      </a:lnTo>
                      <a:lnTo>
                        <a:pt x="296" y="116"/>
                      </a:lnTo>
                      <a:lnTo>
                        <a:pt x="297" y="118"/>
                      </a:lnTo>
                      <a:lnTo>
                        <a:pt x="298" y="120"/>
                      </a:lnTo>
                      <a:lnTo>
                        <a:pt x="303" y="123"/>
                      </a:lnTo>
                      <a:lnTo>
                        <a:pt x="306" y="125"/>
                      </a:lnTo>
                      <a:lnTo>
                        <a:pt x="313" y="127"/>
                      </a:lnTo>
                      <a:lnTo>
                        <a:pt x="317" y="131"/>
                      </a:lnTo>
                      <a:lnTo>
                        <a:pt x="318" y="131"/>
                      </a:lnTo>
                      <a:lnTo>
                        <a:pt x="319" y="131"/>
                      </a:lnTo>
                      <a:lnTo>
                        <a:pt x="319" y="132"/>
                      </a:lnTo>
                      <a:lnTo>
                        <a:pt x="319" y="132"/>
                      </a:lnTo>
                      <a:lnTo>
                        <a:pt x="320" y="132"/>
                      </a:lnTo>
                      <a:lnTo>
                        <a:pt x="321" y="132"/>
                      </a:lnTo>
                      <a:lnTo>
                        <a:pt x="321" y="132"/>
                      </a:lnTo>
                      <a:lnTo>
                        <a:pt x="322" y="132"/>
                      </a:lnTo>
                      <a:lnTo>
                        <a:pt x="322" y="133"/>
                      </a:lnTo>
                      <a:lnTo>
                        <a:pt x="323" y="133"/>
                      </a:lnTo>
                      <a:lnTo>
                        <a:pt x="323" y="133"/>
                      </a:lnTo>
                      <a:lnTo>
                        <a:pt x="323" y="134"/>
                      </a:lnTo>
                      <a:lnTo>
                        <a:pt x="323" y="134"/>
                      </a:lnTo>
                      <a:lnTo>
                        <a:pt x="323" y="135"/>
                      </a:lnTo>
                      <a:lnTo>
                        <a:pt x="324" y="135"/>
                      </a:lnTo>
                      <a:lnTo>
                        <a:pt x="325" y="135"/>
                      </a:lnTo>
                      <a:lnTo>
                        <a:pt x="325" y="136"/>
                      </a:lnTo>
                      <a:lnTo>
                        <a:pt x="325" y="136"/>
                      </a:lnTo>
                      <a:lnTo>
                        <a:pt x="325" y="136"/>
                      </a:lnTo>
                      <a:lnTo>
                        <a:pt x="325" y="137"/>
                      </a:lnTo>
                      <a:lnTo>
                        <a:pt x="326" y="137"/>
                      </a:lnTo>
                      <a:lnTo>
                        <a:pt x="327" y="137"/>
                      </a:lnTo>
                      <a:lnTo>
                        <a:pt x="327" y="138"/>
                      </a:lnTo>
                      <a:lnTo>
                        <a:pt x="327" y="139"/>
                      </a:lnTo>
                      <a:lnTo>
                        <a:pt x="328" y="139"/>
                      </a:lnTo>
                      <a:lnTo>
                        <a:pt x="328" y="139"/>
                      </a:lnTo>
                      <a:lnTo>
                        <a:pt x="329" y="140"/>
                      </a:lnTo>
                      <a:lnTo>
                        <a:pt x="330" y="142"/>
                      </a:lnTo>
                      <a:lnTo>
                        <a:pt x="331" y="142"/>
                      </a:lnTo>
                      <a:lnTo>
                        <a:pt x="332" y="142"/>
                      </a:lnTo>
                      <a:lnTo>
                        <a:pt x="332" y="143"/>
                      </a:lnTo>
                      <a:lnTo>
                        <a:pt x="332" y="143"/>
                      </a:lnTo>
                      <a:lnTo>
                        <a:pt x="332" y="143"/>
                      </a:lnTo>
                      <a:lnTo>
                        <a:pt x="332" y="144"/>
                      </a:lnTo>
                      <a:lnTo>
                        <a:pt x="333" y="144"/>
                      </a:lnTo>
                      <a:lnTo>
                        <a:pt x="333" y="145"/>
                      </a:lnTo>
                      <a:lnTo>
                        <a:pt x="334" y="145"/>
                      </a:lnTo>
                      <a:lnTo>
                        <a:pt x="334" y="145"/>
                      </a:lnTo>
                      <a:lnTo>
                        <a:pt x="333" y="145"/>
                      </a:lnTo>
                      <a:lnTo>
                        <a:pt x="334" y="145"/>
                      </a:lnTo>
                      <a:lnTo>
                        <a:pt x="334" y="145"/>
                      </a:lnTo>
                      <a:lnTo>
                        <a:pt x="334" y="146"/>
                      </a:lnTo>
                      <a:lnTo>
                        <a:pt x="335" y="146"/>
                      </a:lnTo>
                      <a:lnTo>
                        <a:pt x="335" y="147"/>
                      </a:lnTo>
                      <a:lnTo>
                        <a:pt x="336" y="147"/>
                      </a:lnTo>
                      <a:lnTo>
                        <a:pt x="336" y="147"/>
                      </a:lnTo>
                      <a:lnTo>
                        <a:pt x="336" y="147"/>
                      </a:lnTo>
                      <a:lnTo>
                        <a:pt x="337" y="147"/>
                      </a:lnTo>
                      <a:lnTo>
                        <a:pt x="337" y="148"/>
                      </a:lnTo>
                      <a:lnTo>
                        <a:pt x="337" y="149"/>
                      </a:lnTo>
                      <a:lnTo>
                        <a:pt x="338" y="148"/>
                      </a:lnTo>
                      <a:lnTo>
                        <a:pt x="338" y="149"/>
                      </a:lnTo>
                      <a:lnTo>
                        <a:pt x="338" y="149"/>
                      </a:lnTo>
                      <a:lnTo>
                        <a:pt x="339" y="149"/>
                      </a:lnTo>
                      <a:lnTo>
                        <a:pt x="340" y="149"/>
                      </a:lnTo>
                      <a:lnTo>
                        <a:pt x="340" y="149"/>
                      </a:lnTo>
                      <a:lnTo>
                        <a:pt x="342" y="150"/>
                      </a:lnTo>
                      <a:lnTo>
                        <a:pt x="342" y="150"/>
                      </a:lnTo>
                      <a:lnTo>
                        <a:pt x="343" y="150"/>
                      </a:lnTo>
                      <a:lnTo>
                        <a:pt x="344" y="150"/>
                      </a:lnTo>
                      <a:lnTo>
                        <a:pt x="345" y="149"/>
                      </a:lnTo>
                      <a:lnTo>
                        <a:pt x="346" y="149"/>
                      </a:lnTo>
                      <a:lnTo>
                        <a:pt x="348" y="149"/>
                      </a:lnTo>
                      <a:lnTo>
                        <a:pt x="349" y="149"/>
                      </a:lnTo>
                      <a:lnTo>
                        <a:pt x="350" y="148"/>
                      </a:lnTo>
                      <a:lnTo>
                        <a:pt x="351" y="148"/>
                      </a:lnTo>
                      <a:lnTo>
                        <a:pt x="351" y="148"/>
                      </a:lnTo>
                      <a:lnTo>
                        <a:pt x="351" y="147"/>
                      </a:lnTo>
                      <a:lnTo>
                        <a:pt x="352" y="147"/>
                      </a:lnTo>
                      <a:lnTo>
                        <a:pt x="352" y="147"/>
                      </a:lnTo>
                      <a:lnTo>
                        <a:pt x="354" y="146"/>
                      </a:lnTo>
                      <a:lnTo>
                        <a:pt x="357" y="145"/>
                      </a:lnTo>
                      <a:lnTo>
                        <a:pt x="357" y="144"/>
                      </a:lnTo>
                      <a:lnTo>
                        <a:pt x="358" y="143"/>
                      </a:lnTo>
                      <a:lnTo>
                        <a:pt x="360" y="142"/>
                      </a:lnTo>
                      <a:lnTo>
                        <a:pt x="363" y="141"/>
                      </a:lnTo>
                      <a:lnTo>
                        <a:pt x="363" y="129"/>
                      </a:lnTo>
                      <a:lnTo>
                        <a:pt x="369" y="122"/>
                      </a:lnTo>
                      <a:lnTo>
                        <a:pt x="370" y="119"/>
                      </a:lnTo>
                      <a:lnTo>
                        <a:pt x="378" y="117"/>
                      </a:lnTo>
                      <a:lnTo>
                        <a:pt x="380" y="118"/>
                      </a:lnTo>
                      <a:lnTo>
                        <a:pt x="381" y="119"/>
                      </a:lnTo>
                      <a:lnTo>
                        <a:pt x="393" y="119"/>
                      </a:lnTo>
                      <a:lnTo>
                        <a:pt x="393" y="115"/>
                      </a:lnTo>
                      <a:lnTo>
                        <a:pt x="393" y="104"/>
                      </a:lnTo>
                      <a:lnTo>
                        <a:pt x="399" y="102"/>
                      </a:lnTo>
                      <a:lnTo>
                        <a:pt x="406" y="94"/>
                      </a:lnTo>
                      <a:lnTo>
                        <a:pt x="410" y="93"/>
                      </a:lnTo>
                      <a:lnTo>
                        <a:pt x="410" y="92"/>
                      </a:lnTo>
                      <a:lnTo>
                        <a:pt x="411" y="91"/>
                      </a:lnTo>
                      <a:lnTo>
                        <a:pt x="411" y="90"/>
                      </a:lnTo>
                      <a:lnTo>
                        <a:pt x="411" y="90"/>
                      </a:lnTo>
                      <a:lnTo>
                        <a:pt x="412" y="88"/>
                      </a:lnTo>
                      <a:lnTo>
                        <a:pt x="412" y="88"/>
                      </a:lnTo>
                      <a:lnTo>
                        <a:pt x="412" y="86"/>
                      </a:lnTo>
                      <a:lnTo>
                        <a:pt x="412" y="86"/>
                      </a:lnTo>
                      <a:lnTo>
                        <a:pt x="412" y="85"/>
                      </a:lnTo>
                      <a:lnTo>
                        <a:pt x="411" y="84"/>
                      </a:lnTo>
                      <a:lnTo>
                        <a:pt x="410" y="84"/>
                      </a:lnTo>
                      <a:lnTo>
                        <a:pt x="410" y="83"/>
                      </a:lnTo>
                      <a:lnTo>
                        <a:pt x="410" y="82"/>
                      </a:lnTo>
                      <a:lnTo>
                        <a:pt x="409" y="82"/>
                      </a:lnTo>
                      <a:lnTo>
                        <a:pt x="408" y="80"/>
                      </a:lnTo>
                      <a:lnTo>
                        <a:pt x="407" y="79"/>
                      </a:lnTo>
                      <a:lnTo>
                        <a:pt x="407" y="78"/>
                      </a:lnTo>
                      <a:lnTo>
                        <a:pt x="406" y="78"/>
                      </a:lnTo>
                      <a:lnTo>
                        <a:pt x="406" y="77"/>
                      </a:lnTo>
                      <a:lnTo>
                        <a:pt x="406" y="76"/>
                      </a:lnTo>
                      <a:lnTo>
                        <a:pt x="406" y="75"/>
                      </a:lnTo>
                      <a:lnTo>
                        <a:pt x="407" y="74"/>
                      </a:lnTo>
                      <a:lnTo>
                        <a:pt x="406" y="73"/>
                      </a:lnTo>
                      <a:lnTo>
                        <a:pt x="405" y="73"/>
                      </a:lnTo>
                      <a:lnTo>
                        <a:pt x="405" y="73"/>
                      </a:lnTo>
                      <a:lnTo>
                        <a:pt x="404" y="73"/>
                      </a:lnTo>
                      <a:lnTo>
                        <a:pt x="403" y="72"/>
                      </a:lnTo>
                      <a:lnTo>
                        <a:pt x="401" y="71"/>
                      </a:lnTo>
                      <a:lnTo>
                        <a:pt x="401" y="71"/>
                      </a:lnTo>
                      <a:lnTo>
                        <a:pt x="401" y="69"/>
                      </a:lnTo>
                      <a:lnTo>
                        <a:pt x="401" y="69"/>
                      </a:lnTo>
                      <a:lnTo>
                        <a:pt x="401" y="69"/>
                      </a:lnTo>
                      <a:lnTo>
                        <a:pt x="401" y="68"/>
                      </a:lnTo>
                      <a:lnTo>
                        <a:pt x="402" y="67"/>
                      </a:lnTo>
                      <a:lnTo>
                        <a:pt x="403" y="67"/>
                      </a:lnTo>
                      <a:lnTo>
                        <a:pt x="403" y="66"/>
                      </a:lnTo>
                      <a:lnTo>
                        <a:pt x="404" y="65"/>
                      </a:lnTo>
                      <a:lnTo>
                        <a:pt x="404" y="65"/>
                      </a:lnTo>
                      <a:lnTo>
                        <a:pt x="405" y="65"/>
                      </a:lnTo>
                      <a:lnTo>
                        <a:pt x="405" y="64"/>
                      </a:lnTo>
                      <a:lnTo>
                        <a:pt x="405" y="64"/>
                      </a:lnTo>
                      <a:lnTo>
                        <a:pt x="405" y="63"/>
                      </a:lnTo>
                      <a:lnTo>
                        <a:pt x="406" y="63"/>
                      </a:lnTo>
                      <a:lnTo>
                        <a:pt x="407" y="63"/>
                      </a:lnTo>
                      <a:lnTo>
                        <a:pt x="407" y="63"/>
                      </a:lnTo>
                      <a:lnTo>
                        <a:pt x="408" y="63"/>
                      </a:lnTo>
                      <a:lnTo>
                        <a:pt x="408" y="62"/>
                      </a:lnTo>
                      <a:lnTo>
                        <a:pt x="408" y="62"/>
                      </a:lnTo>
                      <a:lnTo>
                        <a:pt x="408" y="61"/>
                      </a:lnTo>
                      <a:lnTo>
                        <a:pt x="408" y="61"/>
                      </a:lnTo>
                      <a:lnTo>
                        <a:pt x="408" y="61"/>
                      </a:lnTo>
                      <a:lnTo>
                        <a:pt x="408" y="60"/>
                      </a:lnTo>
                      <a:lnTo>
                        <a:pt x="408" y="59"/>
                      </a:lnTo>
                      <a:lnTo>
                        <a:pt x="408" y="59"/>
                      </a:lnTo>
                      <a:lnTo>
                        <a:pt x="409" y="59"/>
                      </a:lnTo>
                      <a:lnTo>
                        <a:pt x="409" y="59"/>
                      </a:lnTo>
                      <a:lnTo>
                        <a:pt x="410" y="58"/>
                      </a:lnTo>
                      <a:lnTo>
                        <a:pt x="410" y="57"/>
                      </a:lnTo>
                      <a:lnTo>
                        <a:pt x="410" y="56"/>
                      </a:lnTo>
                      <a:lnTo>
                        <a:pt x="410" y="56"/>
                      </a:lnTo>
                      <a:lnTo>
                        <a:pt x="410" y="56"/>
                      </a:lnTo>
                      <a:lnTo>
                        <a:pt x="412" y="53"/>
                      </a:lnTo>
                      <a:lnTo>
                        <a:pt x="412" y="52"/>
                      </a:lnTo>
                      <a:lnTo>
                        <a:pt x="412" y="52"/>
                      </a:lnTo>
                      <a:lnTo>
                        <a:pt x="413" y="52"/>
                      </a:lnTo>
                      <a:lnTo>
                        <a:pt x="414" y="53"/>
                      </a:lnTo>
                      <a:lnTo>
                        <a:pt x="414" y="53"/>
                      </a:lnTo>
                      <a:lnTo>
                        <a:pt x="416" y="53"/>
                      </a:lnTo>
                      <a:lnTo>
                        <a:pt x="416" y="53"/>
                      </a:lnTo>
                      <a:lnTo>
                        <a:pt x="417" y="53"/>
                      </a:lnTo>
                      <a:lnTo>
                        <a:pt x="418" y="53"/>
                      </a:lnTo>
                      <a:lnTo>
                        <a:pt x="418" y="53"/>
                      </a:lnTo>
                      <a:lnTo>
                        <a:pt x="418" y="52"/>
                      </a:lnTo>
                      <a:lnTo>
                        <a:pt x="419" y="52"/>
                      </a:lnTo>
                      <a:lnTo>
                        <a:pt x="419" y="52"/>
                      </a:lnTo>
                      <a:lnTo>
                        <a:pt x="420" y="52"/>
                      </a:lnTo>
                      <a:lnTo>
                        <a:pt x="420" y="51"/>
                      </a:lnTo>
                      <a:lnTo>
                        <a:pt x="420" y="50"/>
                      </a:lnTo>
                      <a:lnTo>
                        <a:pt x="420" y="50"/>
                      </a:lnTo>
                      <a:lnTo>
                        <a:pt x="420" y="50"/>
                      </a:lnTo>
                      <a:lnTo>
                        <a:pt x="420" y="49"/>
                      </a:lnTo>
                      <a:lnTo>
                        <a:pt x="421" y="49"/>
                      </a:lnTo>
                      <a:lnTo>
                        <a:pt x="422" y="49"/>
                      </a:lnTo>
                      <a:lnTo>
                        <a:pt x="422" y="50"/>
                      </a:lnTo>
                      <a:lnTo>
                        <a:pt x="422" y="50"/>
                      </a:lnTo>
                      <a:lnTo>
                        <a:pt x="422" y="50"/>
                      </a:lnTo>
                      <a:lnTo>
                        <a:pt x="422" y="51"/>
                      </a:lnTo>
                      <a:lnTo>
                        <a:pt x="423" y="51"/>
                      </a:lnTo>
                      <a:lnTo>
                        <a:pt x="424" y="51"/>
                      </a:lnTo>
                      <a:lnTo>
                        <a:pt x="424" y="52"/>
                      </a:lnTo>
                      <a:lnTo>
                        <a:pt x="424" y="52"/>
                      </a:lnTo>
                      <a:lnTo>
                        <a:pt x="424" y="52"/>
                      </a:lnTo>
                      <a:lnTo>
                        <a:pt x="424" y="53"/>
                      </a:lnTo>
                      <a:lnTo>
                        <a:pt x="425" y="53"/>
                      </a:lnTo>
                      <a:lnTo>
                        <a:pt x="426" y="53"/>
                      </a:lnTo>
                      <a:lnTo>
                        <a:pt x="426" y="54"/>
                      </a:lnTo>
                      <a:lnTo>
                        <a:pt x="427" y="54"/>
                      </a:lnTo>
                      <a:lnTo>
                        <a:pt x="427" y="54"/>
                      </a:lnTo>
                      <a:lnTo>
                        <a:pt x="427" y="55"/>
                      </a:lnTo>
                      <a:lnTo>
                        <a:pt x="427" y="56"/>
                      </a:lnTo>
                      <a:lnTo>
                        <a:pt x="427" y="56"/>
                      </a:lnTo>
                      <a:lnTo>
                        <a:pt x="427" y="57"/>
                      </a:lnTo>
                      <a:lnTo>
                        <a:pt x="427" y="58"/>
                      </a:lnTo>
                      <a:lnTo>
                        <a:pt x="428" y="58"/>
                      </a:lnTo>
                      <a:lnTo>
                        <a:pt x="428" y="59"/>
                      </a:lnTo>
                      <a:lnTo>
                        <a:pt x="429" y="60"/>
                      </a:lnTo>
                      <a:lnTo>
                        <a:pt x="429" y="61"/>
                      </a:lnTo>
                      <a:lnTo>
                        <a:pt x="431" y="63"/>
                      </a:lnTo>
                      <a:lnTo>
                        <a:pt x="431" y="63"/>
                      </a:lnTo>
                      <a:lnTo>
                        <a:pt x="433" y="63"/>
                      </a:lnTo>
                      <a:lnTo>
                        <a:pt x="434" y="64"/>
                      </a:lnTo>
                      <a:lnTo>
                        <a:pt x="435" y="65"/>
                      </a:lnTo>
                      <a:lnTo>
                        <a:pt x="435" y="65"/>
                      </a:lnTo>
                      <a:lnTo>
                        <a:pt x="436" y="66"/>
                      </a:lnTo>
                      <a:lnTo>
                        <a:pt x="437" y="66"/>
                      </a:lnTo>
                      <a:lnTo>
                        <a:pt x="438" y="67"/>
                      </a:lnTo>
                      <a:lnTo>
                        <a:pt x="441" y="63"/>
                      </a:lnTo>
                      <a:lnTo>
                        <a:pt x="441" y="60"/>
                      </a:lnTo>
                      <a:lnTo>
                        <a:pt x="442" y="59"/>
                      </a:lnTo>
                      <a:lnTo>
                        <a:pt x="443" y="58"/>
                      </a:lnTo>
                      <a:lnTo>
                        <a:pt x="443" y="57"/>
                      </a:lnTo>
                      <a:lnTo>
                        <a:pt x="444" y="57"/>
                      </a:lnTo>
                      <a:lnTo>
                        <a:pt x="444" y="56"/>
                      </a:lnTo>
                      <a:lnTo>
                        <a:pt x="443" y="56"/>
                      </a:lnTo>
                      <a:lnTo>
                        <a:pt x="443" y="55"/>
                      </a:lnTo>
                      <a:lnTo>
                        <a:pt x="443" y="54"/>
                      </a:lnTo>
                      <a:lnTo>
                        <a:pt x="443" y="54"/>
                      </a:lnTo>
                      <a:lnTo>
                        <a:pt x="443" y="52"/>
                      </a:lnTo>
                      <a:lnTo>
                        <a:pt x="442" y="52"/>
                      </a:lnTo>
                      <a:lnTo>
                        <a:pt x="441" y="51"/>
                      </a:lnTo>
                      <a:lnTo>
                        <a:pt x="443" y="50"/>
                      </a:lnTo>
                      <a:lnTo>
                        <a:pt x="443" y="49"/>
                      </a:lnTo>
                      <a:lnTo>
                        <a:pt x="443" y="48"/>
                      </a:lnTo>
                      <a:lnTo>
                        <a:pt x="443" y="47"/>
                      </a:lnTo>
                      <a:lnTo>
                        <a:pt x="444" y="46"/>
                      </a:lnTo>
                      <a:lnTo>
                        <a:pt x="444" y="45"/>
                      </a:lnTo>
                      <a:lnTo>
                        <a:pt x="445" y="44"/>
                      </a:lnTo>
                      <a:lnTo>
                        <a:pt x="444" y="44"/>
                      </a:lnTo>
                      <a:lnTo>
                        <a:pt x="444" y="41"/>
                      </a:lnTo>
                      <a:lnTo>
                        <a:pt x="444" y="40"/>
                      </a:lnTo>
                      <a:lnTo>
                        <a:pt x="445" y="38"/>
                      </a:lnTo>
                      <a:lnTo>
                        <a:pt x="445" y="37"/>
                      </a:lnTo>
                      <a:lnTo>
                        <a:pt x="446" y="35"/>
                      </a:lnTo>
                      <a:lnTo>
                        <a:pt x="447" y="34"/>
                      </a:lnTo>
                      <a:lnTo>
                        <a:pt x="448" y="34"/>
                      </a:lnTo>
                      <a:lnTo>
                        <a:pt x="449" y="34"/>
                      </a:lnTo>
                      <a:lnTo>
                        <a:pt x="450" y="34"/>
                      </a:lnTo>
                      <a:lnTo>
                        <a:pt x="450" y="34"/>
                      </a:lnTo>
                      <a:lnTo>
                        <a:pt x="451" y="34"/>
                      </a:lnTo>
                      <a:lnTo>
                        <a:pt x="452" y="33"/>
                      </a:lnTo>
                      <a:lnTo>
                        <a:pt x="452" y="33"/>
                      </a:lnTo>
                      <a:lnTo>
                        <a:pt x="452" y="33"/>
                      </a:lnTo>
                      <a:lnTo>
                        <a:pt x="453" y="33"/>
                      </a:lnTo>
                      <a:lnTo>
                        <a:pt x="454" y="33"/>
                      </a:lnTo>
                      <a:lnTo>
                        <a:pt x="454" y="32"/>
                      </a:lnTo>
                      <a:lnTo>
                        <a:pt x="454" y="31"/>
                      </a:lnTo>
                      <a:lnTo>
                        <a:pt x="454" y="31"/>
                      </a:lnTo>
                      <a:lnTo>
                        <a:pt x="454" y="30"/>
                      </a:lnTo>
                      <a:lnTo>
                        <a:pt x="454" y="29"/>
                      </a:lnTo>
                      <a:lnTo>
                        <a:pt x="454" y="29"/>
                      </a:lnTo>
                      <a:lnTo>
                        <a:pt x="454" y="28"/>
                      </a:lnTo>
                      <a:lnTo>
                        <a:pt x="454" y="28"/>
                      </a:lnTo>
                      <a:lnTo>
                        <a:pt x="454" y="27"/>
                      </a:lnTo>
                      <a:lnTo>
                        <a:pt x="455" y="27"/>
                      </a:lnTo>
                      <a:lnTo>
                        <a:pt x="456" y="27"/>
                      </a:lnTo>
                      <a:lnTo>
                        <a:pt x="456" y="27"/>
                      </a:lnTo>
                      <a:lnTo>
                        <a:pt x="457" y="27"/>
                      </a:lnTo>
                      <a:lnTo>
                        <a:pt x="458" y="27"/>
                      </a:lnTo>
                      <a:lnTo>
                        <a:pt x="458" y="27"/>
                      </a:lnTo>
                      <a:lnTo>
                        <a:pt x="458" y="26"/>
                      </a:lnTo>
                      <a:lnTo>
                        <a:pt x="458" y="25"/>
                      </a:lnTo>
                      <a:lnTo>
                        <a:pt x="459" y="25"/>
                      </a:lnTo>
                      <a:lnTo>
                        <a:pt x="459" y="25"/>
                      </a:lnTo>
                      <a:lnTo>
                        <a:pt x="459" y="24"/>
                      </a:lnTo>
                      <a:lnTo>
                        <a:pt x="460" y="24"/>
                      </a:lnTo>
                      <a:lnTo>
                        <a:pt x="460" y="23"/>
                      </a:lnTo>
                      <a:lnTo>
                        <a:pt x="460" y="22"/>
                      </a:lnTo>
                      <a:lnTo>
                        <a:pt x="459" y="21"/>
                      </a:lnTo>
                      <a:lnTo>
                        <a:pt x="458" y="21"/>
                      </a:lnTo>
                      <a:lnTo>
                        <a:pt x="458" y="20"/>
                      </a:lnTo>
                      <a:lnTo>
                        <a:pt x="458" y="19"/>
                      </a:lnTo>
                      <a:lnTo>
                        <a:pt x="458" y="18"/>
                      </a:lnTo>
                      <a:lnTo>
                        <a:pt x="459" y="18"/>
                      </a:lnTo>
                      <a:lnTo>
                        <a:pt x="460" y="18"/>
                      </a:lnTo>
                      <a:lnTo>
                        <a:pt x="460" y="17"/>
                      </a:lnTo>
                      <a:lnTo>
                        <a:pt x="460" y="16"/>
                      </a:lnTo>
                      <a:lnTo>
                        <a:pt x="460" y="16"/>
                      </a:lnTo>
                      <a:lnTo>
                        <a:pt x="460" y="15"/>
                      </a:lnTo>
                      <a:lnTo>
                        <a:pt x="460" y="15"/>
                      </a:lnTo>
                      <a:lnTo>
                        <a:pt x="460" y="14"/>
                      </a:lnTo>
                      <a:lnTo>
                        <a:pt x="461" y="14"/>
                      </a:lnTo>
                      <a:lnTo>
                        <a:pt x="461" y="15"/>
                      </a:lnTo>
                      <a:lnTo>
                        <a:pt x="462" y="15"/>
                      </a:lnTo>
                      <a:lnTo>
                        <a:pt x="462" y="15"/>
                      </a:lnTo>
                      <a:lnTo>
                        <a:pt x="463" y="15"/>
                      </a:lnTo>
                      <a:lnTo>
                        <a:pt x="464" y="16"/>
                      </a:lnTo>
                      <a:lnTo>
                        <a:pt x="464" y="15"/>
                      </a:lnTo>
                      <a:lnTo>
                        <a:pt x="465" y="15"/>
                      </a:lnTo>
                      <a:lnTo>
                        <a:pt x="465" y="14"/>
                      </a:lnTo>
                      <a:lnTo>
                        <a:pt x="465" y="14"/>
                      </a:lnTo>
                      <a:lnTo>
                        <a:pt x="465" y="13"/>
                      </a:lnTo>
                      <a:lnTo>
                        <a:pt x="465" y="13"/>
                      </a:lnTo>
                      <a:lnTo>
                        <a:pt x="465" y="12"/>
                      </a:lnTo>
                      <a:lnTo>
                        <a:pt x="466" y="12"/>
                      </a:lnTo>
                      <a:lnTo>
                        <a:pt x="466" y="12"/>
                      </a:lnTo>
                      <a:lnTo>
                        <a:pt x="467" y="12"/>
                      </a:lnTo>
                      <a:lnTo>
                        <a:pt x="467" y="11"/>
                      </a:lnTo>
                      <a:lnTo>
                        <a:pt x="467" y="10"/>
                      </a:lnTo>
                      <a:lnTo>
                        <a:pt x="467" y="10"/>
                      </a:lnTo>
                      <a:lnTo>
                        <a:pt x="467" y="10"/>
                      </a:lnTo>
                      <a:lnTo>
                        <a:pt x="467" y="10"/>
                      </a:lnTo>
                      <a:lnTo>
                        <a:pt x="467" y="9"/>
                      </a:lnTo>
                      <a:lnTo>
                        <a:pt x="467" y="8"/>
                      </a:lnTo>
                      <a:lnTo>
                        <a:pt x="467" y="8"/>
                      </a:lnTo>
                      <a:lnTo>
                        <a:pt x="467" y="8"/>
                      </a:lnTo>
                      <a:lnTo>
                        <a:pt x="467" y="7"/>
                      </a:lnTo>
                      <a:lnTo>
                        <a:pt x="468" y="7"/>
                      </a:lnTo>
                      <a:lnTo>
                        <a:pt x="468" y="6"/>
                      </a:lnTo>
                      <a:lnTo>
                        <a:pt x="469" y="6"/>
                      </a:lnTo>
                      <a:lnTo>
                        <a:pt x="469" y="6"/>
                      </a:lnTo>
                      <a:lnTo>
                        <a:pt x="469" y="5"/>
                      </a:lnTo>
                      <a:lnTo>
                        <a:pt x="469" y="5"/>
                      </a:lnTo>
                      <a:lnTo>
                        <a:pt x="469" y="4"/>
                      </a:lnTo>
                      <a:lnTo>
                        <a:pt x="470" y="4"/>
                      </a:lnTo>
                      <a:lnTo>
                        <a:pt x="470" y="4"/>
                      </a:lnTo>
                      <a:lnTo>
                        <a:pt x="471" y="4"/>
                      </a:lnTo>
                      <a:lnTo>
                        <a:pt x="471" y="4"/>
                      </a:lnTo>
                      <a:lnTo>
                        <a:pt x="472" y="3"/>
                      </a:lnTo>
                      <a:lnTo>
                        <a:pt x="473" y="3"/>
                      </a:lnTo>
                      <a:lnTo>
                        <a:pt x="473" y="2"/>
                      </a:lnTo>
                      <a:lnTo>
                        <a:pt x="474" y="2"/>
                      </a:lnTo>
                      <a:lnTo>
                        <a:pt x="474" y="2"/>
                      </a:lnTo>
                      <a:lnTo>
                        <a:pt x="475" y="1"/>
                      </a:lnTo>
                      <a:lnTo>
                        <a:pt x="475" y="0"/>
                      </a:lnTo>
                      <a:lnTo>
                        <a:pt x="475" y="0"/>
                      </a:lnTo>
                      <a:lnTo>
                        <a:pt x="475" y="0"/>
                      </a:lnTo>
                      <a:lnTo>
                        <a:pt x="47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6" name="Potosí">
                  <a:extLst>
                    <a:ext uri="{FF2B5EF4-FFF2-40B4-BE49-F238E27FC236}">
                      <a16:creationId xmlns:a16="http://schemas.microsoft.com/office/drawing/2014/main" xmlns="" id="{875CD94C-F96B-FA6B-F713-FA4FF91BAB5F}"/>
                    </a:ext>
                  </a:extLst>
                </p:cNvPr>
                <p:cNvSpPr>
                  <a:spLocks noEditPoints="1"/>
                </p:cNvSpPr>
                <p:nvPr/>
              </p:nvSpPr>
              <p:spPr bwMode="auto">
                <a:xfrm>
                  <a:off x="2255" y="2893"/>
                  <a:ext cx="1017" cy="1360"/>
                </a:xfrm>
                <a:custGeom>
                  <a:avLst/>
                  <a:gdLst>
                    <a:gd name="T0" fmla="*/ 694 w 1017"/>
                    <a:gd name="T1" fmla="*/ 38 h 1360"/>
                    <a:gd name="T2" fmla="*/ 731 w 1017"/>
                    <a:gd name="T3" fmla="*/ 49 h 1360"/>
                    <a:gd name="T4" fmla="*/ 769 w 1017"/>
                    <a:gd name="T5" fmla="*/ 81 h 1360"/>
                    <a:gd name="T6" fmla="*/ 803 w 1017"/>
                    <a:gd name="T7" fmla="*/ 114 h 1360"/>
                    <a:gd name="T8" fmla="*/ 832 w 1017"/>
                    <a:gd name="T9" fmla="*/ 146 h 1360"/>
                    <a:gd name="T10" fmla="*/ 832 w 1017"/>
                    <a:gd name="T11" fmla="*/ 157 h 1360"/>
                    <a:gd name="T12" fmla="*/ 775 w 1017"/>
                    <a:gd name="T13" fmla="*/ 146 h 1360"/>
                    <a:gd name="T14" fmla="*/ 791 w 1017"/>
                    <a:gd name="T15" fmla="*/ 181 h 1360"/>
                    <a:gd name="T16" fmla="*/ 822 w 1017"/>
                    <a:gd name="T17" fmla="*/ 206 h 1360"/>
                    <a:gd name="T18" fmla="*/ 837 w 1017"/>
                    <a:gd name="T19" fmla="*/ 229 h 1360"/>
                    <a:gd name="T20" fmla="*/ 850 w 1017"/>
                    <a:gd name="T21" fmla="*/ 254 h 1360"/>
                    <a:gd name="T22" fmla="*/ 834 w 1017"/>
                    <a:gd name="T23" fmla="*/ 270 h 1360"/>
                    <a:gd name="T24" fmla="*/ 827 w 1017"/>
                    <a:gd name="T25" fmla="*/ 294 h 1360"/>
                    <a:gd name="T26" fmla="*/ 798 w 1017"/>
                    <a:gd name="T27" fmla="*/ 318 h 1360"/>
                    <a:gd name="T28" fmla="*/ 834 w 1017"/>
                    <a:gd name="T29" fmla="*/ 349 h 1360"/>
                    <a:gd name="T30" fmla="*/ 862 w 1017"/>
                    <a:gd name="T31" fmla="*/ 387 h 1360"/>
                    <a:gd name="T32" fmla="*/ 910 w 1017"/>
                    <a:gd name="T33" fmla="*/ 411 h 1360"/>
                    <a:gd name="T34" fmla="*/ 964 w 1017"/>
                    <a:gd name="T35" fmla="*/ 406 h 1360"/>
                    <a:gd name="T36" fmla="*/ 989 w 1017"/>
                    <a:gd name="T37" fmla="*/ 444 h 1360"/>
                    <a:gd name="T38" fmla="*/ 1007 w 1017"/>
                    <a:gd name="T39" fmla="*/ 497 h 1360"/>
                    <a:gd name="T40" fmla="*/ 998 w 1017"/>
                    <a:gd name="T41" fmla="*/ 542 h 1360"/>
                    <a:gd name="T42" fmla="*/ 973 w 1017"/>
                    <a:gd name="T43" fmla="*/ 565 h 1360"/>
                    <a:gd name="T44" fmla="*/ 947 w 1017"/>
                    <a:gd name="T45" fmla="*/ 538 h 1360"/>
                    <a:gd name="T46" fmla="*/ 928 w 1017"/>
                    <a:gd name="T47" fmla="*/ 543 h 1360"/>
                    <a:gd name="T48" fmla="*/ 889 w 1017"/>
                    <a:gd name="T49" fmla="*/ 562 h 1360"/>
                    <a:gd name="T50" fmla="*/ 876 w 1017"/>
                    <a:gd name="T51" fmla="*/ 620 h 1360"/>
                    <a:gd name="T52" fmla="*/ 885 w 1017"/>
                    <a:gd name="T53" fmla="*/ 682 h 1360"/>
                    <a:gd name="T54" fmla="*/ 860 w 1017"/>
                    <a:gd name="T55" fmla="*/ 745 h 1360"/>
                    <a:gd name="T56" fmla="*/ 859 w 1017"/>
                    <a:gd name="T57" fmla="*/ 792 h 1360"/>
                    <a:gd name="T58" fmla="*/ 846 w 1017"/>
                    <a:gd name="T59" fmla="*/ 888 h 1360"/>
                    <a:gd name="T60" fmla="*/ 841 w 1017"/>
                    <a:gd name="T61" fmla="*/ 951 h 1360"/>
                    <a:gd name="T62" fmla="*/ 890 w 1017"/>
                    <a:gd name="T63" fmla="*/ 973 h 1360"/>
                    <a:gd name="T64" fmla="*/ 882 w 1017"/>
                    <a:gd name="T65" fmla="*/ 1016 h 1360"/>
                    <a:gd name="T66" fmla="*/ 869 w 1017"/>
                    <a:gd name="T67" fmla="*/ 1055 h 1360"/>
                    <a:gd name="T68" fmla="*/ 854 w 1017"/>
                    <a:gd name="T69" fmla="*/ 1088 h 1360"/>
                    <a:gd name="T70" fmla="*/ 899 w 1017"/>
                    <a:gd name="T71" fmla="*/ 1106 h 1360"/>
                    <a:gd name="T72" fmla="*/ 808 w 1017"/>
                    <a:gd name="T73" fmla="*/ 1133 h 1360"/>
                    <a:gd name="T74" fmla="*/ 765 w 1017"/>
                    <a:gd name="T75" fmla="*/ 1135 h 1360"/>
                    <a:gd name="T76" fmla="*/ 645 w 1017"/>
                    <a:gd name="T77" fmla="*/ 1068 h 1360"/>
                    <a:gd name="T78" fmla="*/ 636 w 1017"/>
                    <a:gd name="T79" fmla="*/ 1114 h 1360"/>
                    <a:gd name="T80" fmla="*/ 622 w 1017"/>
                    <a:gd name="T81" fmla="*/ 1144 h 1360"/>
                    <a:gd name="T82" fmla="*/ 183 w 1017"/>
                    <a:gd name="T83" fmla="*/ 1049 h 1360"/>
                    <a:gd name="T84" fmla="*/ 43 w 1017"/>
                    <a:gd name="T85" fmla="*/ 552 h 1360"/>
                    <a:gd name="T86" fmla="*/ 117 w 1017"/>
                    <a:gd name="T87" fmla="*/ 468 h 1360"/>
                    <a:gd name="T88" fmla="*/ 151 w 1017"/>
                    <a:gd name="T89" fmla="*/ 490 h 1360"/>
                    <a:gd name="T90" fmla="*/ 256 w 1017"/>
                    <a:gd name="T91" fmla="*/ 543 h 1360"/>
                    <a:gd name="T92" fmla="*/ 311 w 1017"/>
                    <a:gd name="T93" fmla="*/ 545 h 1360"/>
                    <a:gd name="T94" fmla="*/ 300 w 1017"/>
                    <a:gd name="T95" fmla="*/ 521 h 1360"/>
                    <a:gd name="T96" fmla="*/ 354 w 1017"/>
                    <a:gd name="T97" fmla="*/ 514 h 1360"/>
                    <a:gd name="T98" fmla="*/ 389 w 1017"/>
                    <a:gd name="T99" fmla="*/ 499 h 1360"/>
                    <a:gd name="T100" fmla="*/ 384 w 1017"/>
                    <a:gd name="T101" fmla="*/ 451 h 1360"/>
                    <a:gd name="T102" fmla="*/ 408 w 1017"/>
                    <a:gd name="T103" fmla="*/ 432 h 1360"/>
                    <a:gd name="T104" fmla="*/ 449 w 1017"/>
                    <a:gd name="T105" fmla="*/ 418 h 1360"/>
                    <a:gd name="T106" fmla="*/ 495 w 1017"/>
                    <a:gd name="T107" fmla="*/ 434 h 1360"/>
                    <a:gd name="T108" fmla="*/ 644 w 1017"/>
                    <a:gd name="T109" fmla="*/ 380 h 1360"/>
                    <a:gd name="T110" fmla="*/ 640 w 1017"/>
                    <a:gd name="T111" fmla="*/ 313 h 1360"/>
                    <a:gd name="T112" fmla="*/ 577 w 1017"/>
                    <a:gd name="T113" fmla="*/ 239 h 1360"/>
                    <a:gd name="T114" fmla="*/ 522 w 1017"/>
                    <a:gd name="T115" fmla="*/ 204 h 1360"/>
                    <a:gd name="T116" fmla="*/ 545 w 1017"/>
                    <a:gd name="T117" fmla="*/ 126 h 1360"/>
                    <a:gd name="T118" fmla="*/ 520 w 1017"/>
                    <a:gd name="T119" fmla="*/ 116 h 1360"/>
                    <a:gd name="T120" fmla="*/ 525 w 1017"/>
                    <a:gd name="T121" fmla="*/ 85 h 1360"/>
                    <a:gd name="T122" fmla="*/ 587 w 1017"/>
                    <a:gd name="T123" fmla="*/ 42 h 1360"/>
                    <a:gd name="T124" fmla="*/ 647 w 1017"/>
                    <a:gd name="T125" fmla="*/ 2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7" h="1360">
                      <a:moveTo>
                        <a:pt x="660" y="0"/>
                      </a:moveTo>
                      <a:lnTo>
                        <a:pt x="660" y="0"/>
                      </a:lnTo>
                      <a:lnTo>
                        <a:pt x="660" y="0"/>
                      </a:lnTo>
                      <a:lnTo>
                        <a:pt x="661" y="0"/>
                      </a:lnTo>
                      <a:lnTo>
                        <a:pt x="661" y="0"/>
                      </a:lnTo>
                      <a:lnTo>
                        <a:pt x="662" y="0"/>
                      </a:lnTo>
                      <a:lnTo>
                        <a:pt x="662" y="0"/>
                      </a:lnTo>
                      <a:lnTo>
                        <a:pt x="663" y="0"/>
                      </a:lnTo>
                      <a:lnTo>
                        <a:pt x="663" y="1"/>
                      </a:lnTo>
                      <a:lnTo>
                        <a:pt x="664" y="1"/>
                      </a:lnTo>
                      <a:lnTo>
                        <a:pt x="664" y="2"/>
                      </a:lnTo>
                      <a:lnTo>
                        <a:pt x="664" y="2"/>
                      </a:lnTo>
                      <a:lnTo>
                        <a:pt x="664" y="2"/>
                      </a:lnTo>
                      <a:lnTo>
                        <a:pt x="664" y="3"/>
                      </a:lnTo>
                      <a:lnTo>
                        <a:pt x="665" y="3"/>
                      </a:lnTo>
                      <a:lnTo>
                        <a:pt x="666" y="3"/>
                      </a:lnTo>
                      <a:lnTo>
                        <a:pt x="666" y="3"/>
                      </a:lnTo>
                      <a:lnTo>
                        <a:pt x="666" y="4"/>
                      </a:lnTo>
                      <a:lnTo>
                        <a:pt x="667" y="4"/>
                      </a:lnTo>
                      <a:lnTo>
                        <a:pt x="668" y="4"/>
                      </a:lnTo>
                      <a:lnTo>
                        <a:pt x="668" y="4"/>
                      </a:lnTo>
                      <a:lnTo>
                        <a:pt x="669" y="5"/>
                      </a:lnTo>
                      <a:lnTo>
                        <a:pt x="670" y="5"/>
                      </a:lnTo>
                      <a:lnTo>
                        <a:pt x="670" y="5"/>
                      </a:lnTo>
                      <a:lnTo>
                        <a:pt x="670" y="6"/>
                      </a:lnTo>
                      <a:lnTo>
                        <a:pt x="671" y="6"/>
                      </a:lnTo>
                      <a:lnTo>
                        <a:pt x="671" y="6"/>
                      </a:lnTo>
                      <a:lnTo>
                        <a:pt x="672" y="7"/>
                      </a:lnTo>
                      <a:lnTo>
                        <a:pt x="673" y="7"/>
                      </a:lnTo>
                      <a:lnTo>
                        <a:pt x="673" y="7"/>
                      </a:lnTo>
                      <a:lnTo>
                        <a:pt x="674" y="8"/>
                      </a:lnTo>
                      <a:lnTo>
                        <a:pt x="675" y="8"/>
                      </a:lnTo>
                      <a:lnTo>
                        <a:pt x="675" y="9"/>
                      </a:lnTo>
                      <a:lnTo>
                        <a:pt x="675" y="10"/>
                      </a:lnTo>
                      <a:lnTo>
                        <a:pt x="675" y="10"/>
                      </a:lnTo>
                      <a:lnTo>
                        <a:pt x="675" y="10"/>
                      </a:lnTo>
                      <a:lnTo>
                        <a:pt x="676" y="10"/>
                      </a:lnTo>
                      <a:lnTo>
                        <a:pt x="676" y="11"/>
                      </a:lnTo>
                      <a:lnTo>
                        <a:pt x="676" y="12"/>
                      </a:lnTo>
                      <a:lnTo>
                        <a:pt x="677" y="12"/>
                      </a:lnTo>
                      <a:lnTo>
                        <a:pt x="677" y="13"/>
                      </a:lnTo>
                      <a:lnTo>
                        <a:pt x="678" y="13"/>
                      </a:lnTo>
                      <a:lnTo>
                        <a:pt x="678" y="14"/>
                      </a:lnTo>
                      <a:lnTo>
                        <a:pt x="679" y="14"/>
                      </a:lnTo>
                      <a:lnTo>
                        <a:pt x="679" y="14"/>
                      </a:lnTo>
                      <a:lnTo>
                        <a:pt x="679" y="15"/>
                      </a:lnTo>
                      <a:lnTo>
                        <a:pt x="679" y="16"/>
                      </a:lnTo>
                      <a:lnTo>
                        <a:pt x="679" y="16"/>
                      </a:lnTo>
                      <a:lnTo>
                        <a:pt x="679" y="17"/>
                      </a:lnTo>
                      <a:lnTo>
                        <a:pt x="679" y="17"/>
                      </a:lnTo>
                      <a:lnTo>
                        <a:pt x="680" y="17"/>
                      </a:lnTo>
                      <a:lnTo>
                        <a:pt x="681" y="17"/>
                      </a:lnTo>
                      <a:lnTo>
                        <a:pt x="681" y="17"/>
                      </a:lnTo>
                      <a:lnTo>
                        <a:pt x="681" y="18"/>
                      </a:lnTo>
                      <a:lnTo>
                        <a:pt x="681" y="19"/>
                      </a:lnTo>
                      <a:lnTo>
                        <a:pt x="681" y="19"/>
                      </a:lnTo>
                      <a:lnTo>
                        <a:pt x="681" y="19"/>
                      </a:lnTo>
                      <a:lnTo>
                        <a:pt x="681" y="20"/>
                      </a:lnTo>
                      <a:lnTo>
                        <a:pt x="681" y="21"/>
                      </a:lnTo>
                      <a:lnTo>
                        <a:pt x="682" y="21"/>
                      </a:lnTo>
                      <a:lnTo>
                        <a:pt x="682" y="21"/>
                      </a:lnTo>
                      <a:lnTo>
                        <a:pt x="682" y="22"/>
                      </a:lnTo>
                      <a:lnTo>
                        <a:pt x="683" y="22"/>
                      </a:lnTo>
                      <a:lnTo>
                        <a:pt x="683" y="23"/>
                      </a:lnTo>
                      <a:lnTo>
                        <a:pt x="683" y="23"/>
                      </a:lnTo>
                      <a:lnTo>
                        <a:pt x="683" y="24"/>
                      </a:lnTo>
                      <a:lnTo>
                        <a:pt x="684" y="24"/>
                      </a:lnTo>
                      <a:lnTo>
                        <a:pt x="684" y="25"/>
                      </a:lnTo>
                      <a:lnTo>
                        <a:pt x="684" y="25"/>
                      </a:lnTo>
                      <a:lnTo>
                        <a:pt x="685" y="25"/>
                      </a:lnTo>
                      <a:lnTo>
                        <a:pt x="685" y="26"/>
                      </a:lnTo>
                      <a:lnTo>
                        <a:pt x="685" y="27"/>
                      </a:lnTo>
                      <a:lnTo>
                        <a:pt x="685" y="27"/>
                      </a:lnTo>
                      <a:lnTo>
                        <a:pt x="685" y="27"/>
                      </a:lnTo>
                      <a:lnTo>
                        <a:pt x="686" y="27"/>
                      </a:lnTo>
                      <a:lnTo>
                        <a:pt x="687" y="28"/>
                      </a:lnTo>
                      <a:lnTo>
                        <a:pt x="687" y="29"/>
                      </a:lnTo>
                      <a:lnTo>
                        <a:pt x="687" y="29"/>
                      </a:lnTo>
                      <a:lnTo>
                        <a:pt x="687" y="30"/>
                      </a:lnTo>
                      <a:lnTo>
                        <a:pt x="688" y="30"/>
                      </a:lnTo>
                      <a:lnTo>
                        <a:pt x="688" y="31"/>
                      </a:lnTo>
                      <a:lnTo>
                        <a:pt x="688" y="31"/>
                      </a:lnTo>
                      <a:lnTo>
                        <a:pt x="688" y="32"/>
                      </a:lnTo>
                      <a:lnTo>
                        <a:pt x="688" y="33"/>
                      </a:lnTo>
                      <a:lnTo>
                        <a:pt x="689" y="33"/>
                      </a:lnTo>
                      <a:lnTo>
                        <a:pt x="689" y="34"/>
                      </a:lnTo>
                      <a:lnTo>
                        <a:pt x="690" y="34"/>
                      </a:lnTo>
                      <a:lnTo>
                        <a:pt x="691" y="35"/>
                      </a:lnTo>
                      <a:lnTo>
                        <a:pt x="692" y="35"/>
                      </a:lnTo>
                      <a:lnTo>
                        <a:pt x="692" y="35"/>
                      </a:lnTo>
                      <a:lnTo>
                        <a:pt x="692" y="36"/>
                      </a:lnTo>
                      <a:lnTo>
                        <a:pt x="693" y="36"/>
                      </a:lnTo>
                      <a:lnTo>
                        <a:pt x="694" y="36"/>
                      </a:lnTo>
                      <a:lnTo>
                        <a:pt x="694" y="37"/>
                      </a:lnTo>
                      <a:lnTo>
                        <a:pt x="694" y="38"/>
                      </a:lnTo>
                      <a:lnTo>
                        <a:pt x="694" y="38"/>
                      </a:lnTo>
                      <a:lnTo>
                        <a:pt x="695" y="38"/>
                      </a:lnTo>
                      <a:lnTo>
                        <a:pt x="695" y="38"/>
                      </a:lnTo>
                      <a:lnTo>
                        <a:pt x="696" y="38"/>
                      </a:lnTo>
                      <a:lnTo>
                        <a:pt x="696" y="38"/>
                      </a:lnTo>
                      <a:lnTo>
                        <a:pt x="696" y="37"/>
                      </a:lnTo>
                      <a:lnTo>
                        <a:pt x="696" y="36"/>
                      </a:lnTo>
                      <a:lnTo>
                        <a:pt x="696" y="36"/>
                      </a:lnTo>
                      <a:lnTo>
                        <a:pt x="697" y="36"/>
                      </a:lnTo>
                      <a:lnTo>
                        <a:pt x="698" y="36"/>
                      </a:lnTo>
                      <a:lnTo>
                        <a:pt x="698" y="36"/>
                      </a:lnTo>
                      <a:lnTo>
                        <a:pt x="698" y="37"/>
                      </a:lnTo>
                      <a:lnTo>
                        <a:pt x="698" y="38"/>
                      </a:lnTo>
                      <a:lnTo>
                        <a:pt x="698" y="38"/>
                      </a:lnTo>
                      <a:lnTo>
                        <a:pt x="699" y="38"/>
                      </a:lnTo>
                      <a:lnTo>
                        <a:pt x="700" y="38"/>
                      </a:lnTo>
                      <a:lnTo>
                        <a:pt x="700" y="38"/>
                      </a:lnTo>
                      <a:lnTo>
                        <a:pt x="700" y="39"/>
                      </a:lnTo>
                      <a:lnTo>
                        <a:pt x="700" y="40"/>
                      </a:lnTo>
                      <a:lnTo>
                        <a:pt x="700" y="40"/>
                      </a:lnTo>
                      <a:lnTo>
                        <a:pt x="700" y="41"/>
                      </a:lnTo>
                      <a:lnTo>
                        <a:pt x="700" y="42"/>
                      </a:lnTo>
                      <a:lnTo>
                        <a:pt x="700" y="42"/>
                      </a:lnTo>
                      <a:lnTo>
                        <a:pt x="700" y="43"/>
                      </a:lnTo>
                      <a:lnTo>
                        <a:pt x="700" y="44"/>
                      </a:lnTo>
                      <a:lnTo>
                        <a:pt x="700" y="44"/>
                      </a:lnTo>
                      <a:lnTo>
                        <a:pt x="700" y="45"/>
                      </a:lnTo>
                      <a:lnTo>
                        <a:pt x="701" y="45"/>
                      </a:lnTo>
                      <a:lnTo>
                        <a:pt x="701" y="46"/>
                      </a:lnTo>
                      <a:lnTo>
                        <a:pt x="702" y="46"/>
                      </a:lnTo>
                      <a:lnTo>
                        <a:pt x="702" y="46"/>
                      </a:lnTo>
                      <a:lnTo>
                        <a:pt x="702" y="46"/>
                      </a:lnTo>
                      <a:lnTo>
                        <a:pt x="702" y="47"/>
                      </a:lnTo>
                      <a:lnTo>
                        <a:pt x="702" y="48"/>
                      </a:lnTo>
                      <a:lnTo>
                        <a:pt x="702" y="48"/>
                      </a:lnTo>
                      <a:lnTo>
                        <a:pt x="703" y="48"/>
                      </a:lnTo>
                      <a:lnTo>
                        <a:pt x="704" y="48"/>
                      </a:lnTo>
                      <a:lnTo>
                        <a:pt x="704" y="48"/>
                      </a:lnTo>
                      <a:lnTo>
                        <a:pt x="705" y="48"/>
                      </a:lnTo>
                      <a:lnTo>
                        <a:pt x="706" y="48"/>
                      </a:lnTo>
                      <a:lnTo>
                        <a:pt x="706" y="48"/>
                      </a:lnTo>
                      <a:lnTo>
                        <a:pt x="706" y="48"/>
                      </a:lnTo>
                      <a:lnTo>
                        <a:pt x="707" y="48"/>
                      </a:lnTo>
                      <a:lnTo>
                        <a:pt x="708" y="48"/>
                      </a:lnTo>
                      <a:lnTo>
                        <a:pt x="708" y="47"/>
                      </a:lnTo>
                      <a:lnTo>
                        <a:pt x="709" y="47"/>
                      </a:lnTo>
                      <a:lnTo>
                        <a:pt x="709" y="46"/>
                      </a:lnTo>
                      <a:lnTo>
                        <a:pt x="710" y="46"/>
                      </a:lnTo>
                      <a:lnTo>
                        <a:pt x="711" y="46"/>
                      </a:lnTo>
                      <a:lnTo>
                        <a:pt x="711" y="46"/>
                      </a:lnTo>
                      <a:lnTo>
                        <a:pt x="712" y="46"/>
                      </a:lnTo>
                      <a:lnTo>
                        <a:pt x="713" y="46"/>
                      </a:lnTo>
                      <a:lnTo>
                        <a:pt x="713" y="46"/>
                      </a:lnTo>
                      <a:lnTo>
                        <a:pt x="713" y="46"/>
                      </a:lnTo>
                      <a:lnTo>
                        <a:pt x="714" y="46"/>
                      </a:lnTo>
                      <a:lnTo>
                        <a:pt x="715" y="45"/>
                      </a:lnTo>
                      <a:lnTo>
                        <a:pt x="714" y="45"/>
                      </a:lnTo>
                      <a:lnTo>
                        <a:pt x="714" y="44"/>
                      </a:lnTo>
                      <a:lnTo>
                        <a:pt x="715" y="44"/>
                      </a:lnTo>
                      <a:lnTo>
                        <a:pt x="715" y="44"/>
                      </a:lnTo>
                      <a:lnTo>
                        <a:pt x="716" y="44"/>
                      </a:lnTo>
                      <a:lnTo>
                        <a:pt x="717" y="44"/>
                      </a:lnTo>
                      <a:lnTo>
                        <a:pt x="717" y="44"/>
                      </a:lnTo>
                      <a:lnTo>
                        <a:pt x="717" y="44"/>
                      </a:lnTo>
                      <a:lnTo>
                        <a:pt x="718" y="44"/>
                      </a:lnTo>
                      <a:lnTo>
                        <a:pt x="719" y="44"/>
                      </a:lnTo>
                      <a:lnTo>
                        <a:pt x="719" y="43"/>
                      </a:lnTo>
                      <a:lnTo>
                        <a:pt x="719" y="42"/>
                      </a:lnTo>
                      <a:lnTo>
                        <a:pt x="719" y="42"/>
                      </a:lnTo>
                      <a:lnTo>
                        <a:pt x="720" y="42"/>
                      </a:lnTo>
                      <a:lnTo>
                        <a:pt x="721" y="42"/>
                      </a:lnTo>
                      <a:lnTo>
                        <a:pt x="721" y="43"/>
                      </a:lnTo>
                      <a:lnTo>
                        <a:pt x="722" y="43"/>
                      </a:lnTo>
                      <a:lnTo>
                        <a:pt x="723" y="43"/>
                      </a:lnTo>
                      <a:lnTo>
                        <a:pt x="723" y="43"/>
                      </a:lnTo>
                      <a:lnTo>
                        <a:pt x="723" y="44"/>
                      </a:lnTo>
                      <a:lnTo>
                        <a:pt x="723" y="43"/>
                      </a:lnTo>
                      <a:lnTo>
                        <a:pt x="724" y="43"/>
                      </a:lnTo>
                      <a:lnTo>
                        <a:pt x="725" y="43"/>
                      </a:lnTo>
                      <a:lnTo>
                        <a:pt x="725" y="43"/>
                      </a:lnTo>
                      <a:lnTo>
                        <a:pt x="725" y="44"/>
                      </a:lnTo>
                      <a:lnTo>
                        <a:pt x="725" y="44"/>
                      </a:lnTo>
                      <a:lnTo>
                        <a:pt x="726" y="44"/>
                      </a:lnTo>
                      <a:lnTo>
                        <a:pt x="726" y="45"/>
                      </a:lnTo>
                      <a:lnTo>
                        <a:pt x="727" y="45"/>
                      </a:lnTo>
                      <a:lnTo>
                        <a:pt x="727" y="46"/>
                      </a:lnTo>
                      <a:lnTo>
                        <a:pt x="727" y="46"/>
                      </a:lnTo>
                      <a:lnTo>
                        <a:pt x="727" y="46"/>
                      </a:lnTo>
                      <a:lnTo>
                        <a:pt x="728" y="46"/>
                      </a:lnTo>
                      <a:lnTo>
                        <a:pt x="729" y="46"/>
                      </a:lnTo>
                      <a:lnTo>
                        <a:pt x="729" y="47"/>
                      </a:lnTo>
                      <a:lnTo>
                        <a:pt x="730" y="47"/>
                      </a:lnTo>
                      <a:lnTo>
                        <a:pt x="730" y="48"/>
                      </a:lnTo>
                      <a:lnTo>
                        <a:pt x="730" y="48"/>
                      </a:lnTo>
                      <a:lnTo>
                        <a:pt x="730" y="49"/>
                      </a:lnTo>
                      <a:lnTo>
                        <a:pt x="730" y="49"/>
                      </a:lnTo>
                      <a:lnTo>
                        <a:pt x="731" y="49"/>
                      </a:lnTo>
                      <a:lnTo>
                        <a:pt x="731" y="50"/>
                      </a:lnTo>
                      <a:lnTo>
                        <a:pt x="732" y="50"/>
                      </a:lnTo>
                      <a:lnTo>
                        <a:pt x="732" y="50"/>
                      </a:lnTo>
                      <a:lnTo>
                        <a:pt x="732" y="50"/>
                      </a:lnTo>
                      <a:lnTo>
                        <a:pt x="733" y="50"/>
                      </a:lnTo>
                      <a:lnTo>
                        <a:pt x="733" y="51"/>
                      </a:lnTo>
                      <a:lnTo>
                        <a:pt x="734" y="52"/>
                      </a:lnTo>
                      <a:lnTo>
                        <a:pt x="734" y="52"/>
                      </a:lnTo>
                      <a:lnTo>
                        <a:pt x="735" y="52"/>
                      </a:lnTo>
                      <a:lnTo>
                        <a:pt x="736" y="52"/>
                      </a:lnTo>
                      <a:lnTo>
                        <a:pt x="736" y="52"/>
                      </a:lnTo>
                      <a:lnTo>
                        <a:pt x="736" y="52"/>
                      </a:lnTo>
                      <a:lnTo>
                        <a:pt x="737" y="52"/>
                      </a:lnTo>
                      <a:lnTo>
                        <a:pt x="737" y="53"/>
                      </a:lnTo>
                      <a:lnTo>
                        <a:pt x="738" y="53"/>
                      </a:lnTo>
                      <a:lnTo>
                        <a:pt x="738" y="53"/>
                      </a:lnTo>
                      <a:lnTo>
                        <a:pt x="739" y="53"/>
                      </a:lnTo>
                      <a:lnTo>
                        <a:pt x="740" y="54"/>
                      </a:lnTo>
                      <a:lnTo>
                        <a:pt x="740" y="55"/>
                      </a:lnTo>
                      <a:lnTo>
                        <a:pt x="740" y="55"/>
                      </a:lnTo>
                      <a:lnTo>
                        <a:pt x="741" y="55"/>
                      </a:lnTo>
                      <a:lnTo>
                        <a:pt x="742" y="56"/>
                      </a:lnTo>
                      <a:lnTo>
                        <a:pt x="741" y="56"/>
                      </a:lnTo>
                      <a:lnTo>
                        <a:pt x="741" y="57"/>
                      </a:lnTo>
                      <a:lnTo>
                        <a:pt x="741" y="57"/>
                      </a:lnTo>
                      <a:lnTo>
                        <a:pt x="741" y="58"/>
                      </a:lnTo>
                      <a:lnTo>
                        <a:pt x="742" y="59"/>
                      </a:lnTo>
                      <a:lnTo>
                        <a:pt x="742" y="59"/>
                      </a:lnTo>
                      <a:lnTo>
                        <a:pt x="743" y="59"/>
                      </a:lnTo>
                      <a:lnTo>
                        <a:pt x="743" y="59"/>
                      </a:lnTo>
                      <a:lnTo>
                        <a:pt x="744" y="59"/>
                      </a:lnTo>
                      <a:lnTo>
                        <a:pt x="744" y="59"/>
                      </a:lnTo>
                      <a:lnTo>
                        <a:pt x="745" y="59"/>
                      </a:lnTo>
                      <a:lnTo>
                        <a:pt x="745" y="60"/>
                      </a:lnTo>
                      <a:lnTo>
                        <a:pt x="746" y="60"/>
                      </a:lnTo>
                      <a:lnTo>
                        <a:pt x="746" y="61"/>
                      </a:lnTo>
                      <a:lnTo>
                        <a:pt x="746" y="61"/>
                      </a:lnTo>
                      <a:lnTo>
                        <a:pt x="747" y="61"/>
                      </a:lnTo>
                      <a:lnTo>
                        <a:pt x="748" y="61"/>
                      </a:lnTo>
                      <a:lnTo>
                        <a:pt x="748" y="61"/>
                      </a:lnTo>
                      <a:lnTo>
                        <a:pt x="749" y="61"/>
                      </a:lnTo>
                      <a:lnTo>
                        <a:pt x="749" y="62"/>
                      </a:lnTo>
                      <a:lnTo>
                        <a:pt x="749" y="62"/>
                      </a:lnTo>
                      <a:lnTo>
                        <a:pt x="749" y="63"/>
                      </a:lnTo>
                      <a:lnTo>
                        <a:pt x="750" y="63"/>
                      </a:lnTo>
                      <a:lnTo>
                        <a:pt x="751" y="63"/>
                      </a:lnTo>
                      <a:lnTo>
                        <a:pt x="751" y="63"/>
                      </a:lnTo>
                      <a:lnTo>
                        <a:pt x="751" y="63"/>
                      </a:lnTo>
                      <a:lnTo>
                        <a:pt x="752" y="63"/>
                      </a:lnTo>
                      <a:lnTo>
                        <a:pt x="752" y="64"/>
                      </a:lnTo>
                      <a:lnTo>
                        <a:pt x="752" y="65"/>
                      </a:lnTo>
                      <a:lnTo>
                        <a:pt x="752" y="65"/>
                      </a:lnTo>
                      <a:lnTo>
                        <a:pt x="753" y="65"/>
                      </a:lnTo>
                      <a:lnTo>
                        <a:pt x="753" y="65"/>
                      </a:lnTo>
                      <a:lnTo>
                        <a:pt x="754" y="65"/>
                      </a:lnTo>
                      <a:lnTo>
                        <a:pt x="755" y="65"/>
                      </a:lnTo>
                      <a:lnTo>
                        <a:pt x="755" y="66"/>
                      </a:lnTo>
                      <a:lnTo>
                        <a:pt x="755" y="67"/>
                      </a:lnTo>
                      <a:lnTo>
                        <a:pt x="755" y="67"/>
                      </a:lnTo>
                      <a:lnTo>
                        <a:pt x="756" y="67"/>
                      </a:lnTo>
                      <a:lnTo>
                        <a:pt x="757" y="67"/>
                      </a:lnTo>
                      <a:lnTo>
                        <a:pt x="757" y="68"/>
                      </a:lnTo>
                      <a:lnTo>
                        <a:pt x="757" y="68"/>
                      </a:lnTo>
                      <a:lnTo>
                        <a:pt x="757" y="69"/>
                      </a:lnTo>
                      <a:lnTo>
                        <a:pt x="757" y="68"/>
                      </a:lnTo>
                      <a:lnTo>
                        <a:pt x="757" y="69"/>
                      </a:lnTo>
                      <a:lnTo>
                        <a:pt x="758" y="69"/>
                      </a:lnTo>
                      <a:lnTo>
                        <a:pt x="758" y="69"/>
                      </a:lnTo>
                      <a:lnTo>
                        <a:pt x="759" y="69"/>
                      </a:lnTo>
                      <a:lnTo>
                        <a:pt x="759" y="69"/>
                      </a:lnTo>
                      <a:lnTo>
                        <a:pt x="759" y="70"/>
                      </a:lnTo>
                      <a:lnTo>
                        <a:pt x="760" y="70"/>
                      </a:lnTo>
                      <a:lnTo>
                        <a:pt x="760" y="71"/>
                      </a:lnTo>
                      <a:lnTo>
                        <a:pt x="760" y="71"/>
                      </a:lnTo>
                      <a:lnTo>
                        <a:pt x="761" y="71"/>
                      </a:lnTo>
                      <a:lnTo>
                        <a:pt x="761" y="72"/>
                      </a:lnTo>
                      <a:lnTo>
                        <a:pt x="761" y="73"/>
                      </a:lnTo>
                      <a:lnTo>
                        <a:pt x="762" y="73"/>
                      </a:lnTo>
                      <a:lnTo>
                        <a:pt x="762" y="73"/>
                      </a:lnTo>
                      <a:lnTo>
                        <a:pt x="763" y="73"/>
                      </a:lnTo>
                      <a:lnTo>
                        <a:pt x="763" y="74"/>
                      </a:lnTo>
                      <a:lnTo>
                        <a:pt x="763" y="74"/>
                      </a:lnTo>
                      <a:lnTo>
                        <a:pt x="764" y="74"/>
                      </a:lnTo>
                      <a:lnTo>
                        <a:pt x="765" y="75"/>
                      </a:lnTo>
                      <a:lnTo>
                        <a:pt x="765" y="76"/>
                      </a:lnTo>
                      <a:lnTo>
                        <a:pt x="765" y="76"/>
                      </a:lnTo>
                      <a:lnTo>
                        <a:pt x="766" y="77"/>
                      </a:lnTo>
                      <a:lnTo>
                        <a:pt x="766" y="78"/>
                      </a:lnTo>
                      <a:lnTo>
                        <a:pt x="766" y="78"/>
                      </a:lnTo>
                      <a:lnTo>
                        <a:pt x="766" y="79"/>
                      </a:lnTo>
                      <a:lnTo>
                        <a:pt x="767" y="79"/>
                      </a:lnTo>
                      <a:lnTo>
                        <a:pt x="767" y="80"/>
                      </a:lnTo>
                      <a:lnTo>
                        <a:pt x="768" y="80"/>
                      </a:lnTo>
                      <a:lnTo>
                        <a:pt x="768" y="80"/>
                      </a:lnTo>
                      <a:lnTo>
                        <a:pt x="768" y="81"/>
                      </a:lnTo>
                      <a:lnTo>
                        <a:pt x="769" y="81"/>
                      </a:lnTo>
                      <a:lnTo>
                        <a:pt x="770" y="81"/>
                      </a:lnTo>
                      <a:lnTo>
                        <a:pt x="770" y="82"/>
                      </a:lnTo>
                      <a:lnTo>
                        <a:pt x="770" y="82"/>
                      </a:lnTo>
                      <a:lnTo>
                        <a:pt x="771" y="82"/>
                      </a:lnTo>
                      <a:lnTo>
                        <a:pt x="772" y="83"/>
                      </a:lnTo>
                      <a:lnTo>
                        <a:pt x="772" y="84"/>
                      </a:lnTo>
                      <a:lnTo>
                        <a:pt x="773" y="84"/>
                      </a:lnTo>
                      <a:lnTo>
                        <a:pt x="774" y="84"/>
                      </a:lnTo>
                      <a:lnTo>
                        <a:pt x="774" y="84"/>
                      </a:lnTo>
                      <a:lnTo>
                        <a:pt x="774" y="85"/>
                      </a:lnTo>
                      <a:lnTo>
                        <a:pt x="775" y="85"/>
                      </a:lnTo>
                      <a:lnTo>
                        <a:pt x="775" y="86"/>
                      </a:lnTo>
                      <a:lnTo>
                        <a:pt x="776" y="86"/>
                      </a:lnTo>
                      <a:lnTo>
                        <a:pt x="776" y="86"/>
                      </a:lnTo>
                      <a:lnTo>
                        <a:pt x="777" y="86"/>
                      </a:lnTo>
                      <a:lnTo>
                        <a:pt x="777" y="85"/>
                      </a:lnTo>
                      <a:lnTo>
                        <a:pt x="778" y="85"/>
                      </a:lnTo>
                      <a:lnTo>
                        <a:pt x="778" y="85"/>
                      </a:lnTo>
                      <a:lnTo>
                        <a:pt x="778" y="86"/>
                      </a:lnTo>
                      <a:lnTo>
                        <a:pt x="778" y="86"/>
                      </a:lnTo>
                      <a:lnTo>
                        <a:pt x="778" y="86"/>
                      </a:lnTo>
                      <a:lnTo>
                        <a:pt x="778" y="87"/>
                      </a:lnTo>
                      <a:lnTo>
                        <a:pt x="778" y="87"/>
                      </a:lnTo>
                      <a:lnTo>
                        <a:pt x="779" y="87"/>
                      </a:lnTo>
                      <a:lnTo>
                        <a:pt x="779" y="88"/>
                      </a:lnTo>
                      <a:lnTo>
                        <a:pt x="780" y="88"/>
                      </a:lnTo>
                      <a:lnTo>
                        <a:pt x="780" y="88"/>
                      </a:lnTo>
                      <a:lnTo>
                        <a:pt x="780" y="89"/>
                      </a:lnTo>
                      <a:lnTo>
                        <a:pt x="780" y="90"/>
                      </a:lnTo>
                      <a:lnTo>
                        <a:pt x="781" y="90"/>
                      </a:lnTo>
                      <a:lnTo>
                        <a:pt x="781" y="90"/>
                      </a:lnTo>
                      <a:lnTo>
                        <a:pt x="782" y="90"/>
                      </a:lnTo>
                      <a:lnTo>
                        <a:pt x="782" y="90"/>
                      </a:lnTo>
                      <a:lnTo>
                        <a:pt x="782" y="91"/>
                      </a:lnTo>
                      <a:lnTo>
                        <a:pt x="783" y="91"/>
                      </a:lnTo>
                      <a:lnTo>
                        <a:pt x="783" y="92"/>
                      </a:lnTo>
                      <a:lnTo>
                        <a:pt x="784" y="92"/>
                      </a:lnTo>
                      <a:lnTo>
                        <a:pt x="784" y="92"/>
                      </a:lnTo>
                      <a:lnTo>
                        <a:pt x="784" y="93"/>
                      </a:lnTo>
                      <a:lnTo>
                        <a:pt x="784" y="94"/>
                      </a:lnTo>
                      <a:lnTo>
                        <a:pt x="785" y="94"/>
                      </a:lnTo>
                      <a:lnTo>
                        <a:pt x="785" y="95"/>
                      </a:lnTo>
                      <a:lnTo>
                        <a:pt x="786" y="95"/>
                      </a:lnTo>
                      <a:lnTo>
                        <a:pt x="787" y="95"/>
                      </a:lnTo>
                      <a:lnTo>
                        <a:pt x="787" y="95"/>
                      </a:lnTo>
                      <a:lnTo>
                        <a:pt x="787" y="95"/>
                      </a:lnTo>
                      <a:lnTo>
                        <a:pt x="787" y="96"/>
                      </a:lnTo>
                      <a:lnTo>
                        <a:pt x="787" y="97"/>
                      </a:lnTo>
                      <a:lnTo>
                        <a:pt x="787" y="97"/>
                      </a:lnTo>
                      <a:lnTo>
                        <a:pt x="787" y="98"/>
                      </a:lnTo>
                      <a:lnTo>
                        <a:pt x="787" y="99"/>
                      </a:lnTo>
                      <a:lnTo>
                        <a:pt x="788" y="99"/>
                      </a:lnTo>
                      <a:lnTo>
                        <a:pt x="788" y="99"/>
                      </a:lnTo>
                      <a:lnTo>
                        <a:pt x="788" y="100"/>
                      </a:lnTo>
                      <a:lnTo>
                        <a:pt x="789" y="100"/>
                      </a:lnTo>
                      <a:lnTo>
                        <a:pt x="789" y="101"/>
                      </a:lnTo>
                      <a:lnTo>
                        <a:pt x="789" y="101"/>
                      </a:lnTo>
                      <a:lnTo>
                        <a:pt x="789" y="102"/>
                      </a:lnTo>
                      <a:lnTo>
                        <a:pt x="789" y="103"/>
                      </a:lnTo>
                      <a:lnTo>
                        <a:pt x="789" y="103"/>
                      </a:lnTo>
                      <a:lnTo>
                        <a:pt x="790" y="103"/>
                      </a:lnTo>
                      <a:lnTo>
                        <a:pt x="790" y="103"/>
                      </a:lnTo>
                      <a:lnTo>
                        <a:pt x="790" y="104"/>
                      </a:lnTo>
                      <a:lnTo>
                        <a:pt x="791" y="104"/>
                      </a:lnTo>
                      <a:lnTo>
                        <a:pt x="791" y="104"/>
                      </a:lnTo>
                      <a:lnTo>
                        <a:pt x="792" y="104"/>
                      </a:lnTo>
                      <a:lnTo>
                        <a:pt x="792" y="105"/>
                      </a:lnTo>
                      <a:lnTo>
                        <a:pt x="792" y="105"/>
                      </a:lnTo>
                      <a:lnTo>
                        <a:pt x="793" y="105"/>
                      </a:lnTo>
                      <a:lnTo>
                        <a:pt x="793" y="106"/>
                      </a:lnTo>
                      <a:lnTo>
                        <a:pt x="793" y="106"/>
                      </a:lnTo>
                      <a:lnTo>
                        <a:pt x="794" y="106"/>
                      </a:lnTo>
                      <a:lnTo>
                        <a:pt x="794" y="107"/>
                      </a:lnTo>
                      <a:lnTo>
                        <a:pt x="795" y="107"/>
                      </a:lnTo>
                      <a:lnTo>
                        <a:pt x="795" y="107"/>
                      </a:lnTo>
                      <a:lnTo>
                        <a:pt x="795" y="108"/>
                      </a:lnTo>
                      <a:lnTo>
                        <a:pt x="796" y="108"/>
                      </a:lnTo>
                      <a:lnTo>
                        <a:pt x="796" y="109"/>
                      </a:lnTo>
                      <a:lnTo>
                        <a:pt x="796" y="109"/>
                      </a:lnTo>
                      <a:lnTo>
                        <a:pt x="797" y="109"/>
                      </a:lnTo>
                      <a:lnTo>
                        <a:pt x="797" y="110"/>
                      </a:lnTo>
                      <a:lnTo>
                        <a:pt x="797" y="111"/>
                      </a:lnTo>
                      <a:lnTo>
                        <a:pt x="797" y="111"/>
                      </a:lnTo>
                      <a:lnTo>
                        <a:pt x="798" y="111"/>
                      </a:lnTo>
                      <a:lnTo>
                        <a:pt x="799" y="111"/>
                      </a:lnTo>
                      <a:lnTo>
                        <a:pt x="799" y="111"/>
                      </a:lnTo>
                      <a:lnTo>
                        <a:pt x="799" y="111"/>
                      </a:lnTo>
                      <a:lnTo>
                        <a:pt x="800" y="111"/>
                      </a:lnTo>
                      <a:lnTo>
                        <a:pt x="801" y="111"/>
                      </a:lnTo>
                      <a:lnTo>
                        <a:pt x="801" y="111"/>
                      </a:lnTo>
                      <a:lnTo>
                        <a:pt x="801" y="112"/>
                      </a:lnTo>
                      <a:lnTo>
                        <a:pt x="801" y="113"/>
                      </a:lnTo>
                      <a:lnTo>
                        <a:pt x="802" y="114"/>
                      </a:lnTo>
                      <a:lnTo>
                        <a:pt x="802" y="114"/>
                      </a:lnTo>
                      <a:lnTo>
                        <a:pt x="803" y="114"/>
                      </a:lnTo>
                      <a:lnTo>
                        <a:pt x="803" y="114"/>
                      </a:lnTo>
                      <a:lnTo>
                        <a:pt x="803" y="114"/>
                      </a:lnTo>
                      <a:lnTo>
                        <a:pt x="804" y="114"/>
                      </a:lnTo>
                      <a:lnTo>
                        <a:pt x="804" y="114"/>
                      </a:lnTo>
                      <a:lnTo>
                        <a:pt x="805" y="114"/>
                      </a:lnTo>
                      <a:lnTo>
                        <a:pt x="805" y="114"/>
                      </a:lnTo>
                      <a:lnTo>
                        <a:pt x="805" y="113"/>
                      </a:lnTo>
                      <a:lnTo>
                        <a:pt x="806" y="113"/>
                      </a:lnTo>
                      <a:lnTo>
                        <a:pt x="806" y="114"/>
                      </a:lnTo>
                      <a:lnTo>
                        <a:pt x="806" y="114"/>
                      </a:lnTo>
                      <a:lnTo>
                        <a:pt x="807" y="114"/>
                      </a:lnTo>
                      <a:lnTo>
                        <a:pt x="807" y="114"/>
                      </a:lnTo>
                      <a:lnTo>
                        <a:pt x="808" y="114"/>
                      </a:lnTo>
                      <a:lnTo>
                        <a:pt x="808" y="115"/>
                      </a:lnTo>
                      <a:lnTo>
                        <a:pt x="808" y="116"/>
                      </a:lnTo>
                      <a:lnTo>
                        <a:pt x="808" y="116"/>
                      </a:lnTo>
                      <a:lnTo>
                        <a:pt x="809" y="116"/>
                      </a:lnTo>
                      <a:lnTo>
                        <a:pt x="810" y="116"/>
                      </a:lnTo>
                      <a:lnTo>
                        <a:pt x="810" y="116"/>
                      </a:lnTo>
                      <a:lnTo>
                        <a:pt x="811" y="116"/>
                      </a:lnTo>
                      <a:lnTo>
                        <a:pt x="812" y="116"/>
                      </a:lnTo>
                      <a:lnTo>
                        <a:pt x="812" y="116"/>
                      </a:lnTo>
                      <a:lnTo>
                        <a:pt x="813" y="116"/>
                      </a:lnTo>
                      <a:lnTo>
                        <a:pt x="813" y="117"/>
                      </a:lnTo>
                      <a:lnTo>
                        <a:pt x="813" y="118"/>
                      </a:lnTo>
                      <a:lnTo>
                        <a:pt x="813" y="118"/>
                      </a:lnTo>
                      <a:lnTo>
                        <a:pt x="813" y="119"/>
                      </a:lnTo>
                      <a:lnTo>
                        <a:pt x="813" y="120"/>
                      </a:lnTo>
                      <a:lnTo>
                        <a:pt x="814" y="120"/>
                      </a:lnTo>
                      <a:lnTo>
                        <a:pt x="814" y="120"/>
                      </a:lnTo>
                      <a:lnTo>
                        <a:pt x="814" y="120"/>
                      </a:lnTo>
                      <a:lnTo>
                        <a:pt x="814" y="121"/>
                      </a:lnTo>
                      <a:lnTo>
                        <a:pt x="814" y="122"/>
                      </a:lnTo>
                      <a:lnTo>
                        <a:pt x="815" y="122"/>
                      </a:lnTo>
                      <a:lnTo>
                        <a:pt x="815" y="122"/>
                      </a:lnTo>
                      <a:lnTo>
                        <a:pt x="816" y="122"/>
                      </a:lnTo>
                      <a:lnTo>
                        <a:pt x="816" y="123"/>
                      </a:lnTo>
                      <a:lnTo>
                        <a:pt x="816" y="124"/>
                      </a:lnTo>
                      <a:lnTo>
                        <a:pt x="816" y="124"/>
                      </a:lnTo>
                      <a:lnTo>
                        <a:pt x="816" y="124"/>
                      </a:lnTo>
                      <a:lnTo>
                        <a:pt x="816" y="125"/>
                      </a:lnTo>
                      <a:lnTo>
                        <a:pt x="816" y="126"/>
                      </a:lnTo>
                      <a:lnTo>
                        <a:pt x="817" y="126"/>
                      </a:lnTo>
                      <a:lnTo>
                        <a:pt x="817" y="126"/>
                      </a:lnTo>
                      <a:lnTo>
                        <a:pt x="818" y="126"/>
                      </a:lnTo>
                      <a:lnTo>
                        <a:pt x="818" y="127"/>
                      </a:lnTo>
                      <a:lnTo>
                        <a:pt x="818" y="126"/>
                      </a:lnTo>
                      <a:lnTo>
                        <a:pt x="819" y="126"/>
                      </a:lnTo>
                      <a:lnTo>
                        <a:pt x="819" y="126"/>
                      </a:lnTo>
                      <a:lnTo>
                        <a:pt x="819" y="126"/>
                      </a:lnTo>
                      <a:lnTo>
                        <a:pt x="820" y="126"/>
                      </a:lnTo>
                      <a:lnTo>
                        <a:pt x="819" y="126"/>
                      </a:lnTo>
                      <a:lnTo>
                        <a:pt x="819" y="127"/>
                      </a:lnTo>
                      <a:lnTo>
                        <a:pt x="819" y="128"/>
                      </a:lnTo>
                      <a:lnTo>
                        <a:pt x="819" y="128"/>
                      </a:lnTo>
                      <a:lnTo>
                        <a:pt x="820" y="128"/>
                      </a:lnTo>
                      <a:lnTo>
                        <a:pt x="820" y="128"/>
                      </a:lnTo>
                      <a:lnTo>
                        <a:pt x="820" y="129"/>
                      </a:lnTo>
                      <a:lnTo>
                        <a:pt x="820" y="130"/>
                      </a:lnTo>
                      <a:lnTo>
                        <a:pt x="820" y="130"/>
                      </a:lnTo>
                      <a:lnTo>
                        <a:pt x="820" y="131"/>
                      </a:lnTo>
                      <a:lnTo>
                        <a:pt x="820" y="132"/>
                      </a:lnTo>
                      <a:lnTo>
                        <a:pt x="820" y="132"/>
                      </a:lnTo>
                      <a:lnTo>
                        <a:pt x="820" y="132"/>
                      </a:lnTo>
                      <a:lnTo>
                        <a:pt x="820" y="133"/>
                      </a:lnTo>
                      <a:lnTo>
                        <a:pt x="820" y="134"/>
                      </a:lnTo>
                      <a:lnTo>
                        <a:pt x="821" y="134"/>
                      </a:lnTo>
                      <a:lnTo>
                        <a:pt x="821" y="135"/>
                      </a:lnTo>
                      <a:lnTo>
                        <a:pt x="822" y="135"/>
                      </a:lnTo>
                      <a:lnTo>
                        <a:pt x="822" y="136"/>
                      </a:lnTo>
                      <a:lnTo>
                        <a:pt x="822" y="136"/>
                      </a:lnTo>
                      <a:lnTo>
                        <a:pt x="822" y="137"/>
                      </a:lnTo>
                      <a:lnTo>
                        <a:pt x="823" y="137"/>
                      </a:lnTo>
                      <a:lnTo>
                        <a:pt x="823" y="137"/>
                      </a:lnTo>
                      <a:lnTo>
                        <a:pt x="823" y="138"/>
                      </a:lnTo>
                      <a:lnTo>
                        <a:pt x="823" y="139"/>
                      </a:lnTo>
                      <a:lnTo>
                        <a:pt x="823" y="139"/>
                      </a:lnTo>
                      <a:lnTo>
                        <a:pt x="824" y="139"/>
                      </a:lnTo>
                      <a:lnTo>
                        <a:pt x="825" y="139"/>
                      </a:lnTo>
                      <a:lnTo>
                        <a:pt x="825" y="140"/>
                      </a:lnTo>
                      <a:lnTo>
                        <a:pt x="825" y="141"/>
                      </a:lnTo>
                      <a:lnTo>
                        <a:pt x="825" y="141"/>
                      </a:lnTo>
                      <a:lnTo>
                        <a:pt x="826" y="141"/>
                      </a:lnTo>
                      <a:lnTo>
                        <a:pt x="827" y="142"/>
                      </a:lnTo>
                      <a:lnTo>
                        <a:pt x="827" y="142"/>
                      </a:lnTo>
                      <a:lnTo>
                        <a:pt x="827" y="143"/>
                      </a:lnTo>
                      <a:lnTo>
                        <a:pt x="827" y="143"/>
                      </a:lnTo>
                      <a:lnTo>
                        <a:pt x="828" y="143"/>
                      </a:lnTo>
                      <a:lnTo>
                        <a:pt x="829" y="143"/>
                      </a:lnTo>
                      <a:lnTo>
                        <a:pt x="829" y="144"/>
                      </a:lnTo>
                      <a:lnTo>
                        <a:pt x="829" y="144"/>
                      </a:lnTo>
                      <a:lnTo>
                        <a:pt x="829" y="145"/>
                      </a:lnTo>
                      <a:lnTo>
                        <a:pt x="829" y="145"/>
                      </a:lnTo>
                      <a:lnTo>
                        <a:pt x="830" y="145"/>
                      </a:lnTo>
                      <a:lnTo>
                        <a:pt x="831" y="145"/>
                      </a:lnTo>
                      <a:lnTo>
                        <a:pt x="831" y="146"/>
                      </a:lnTo>
                      <a:lnTo>
                        <a:pt x="832" y="146"/>
                      </a:lnTo>
                      <a:lnTo>
                        <a:pt x="833" y="145"/>
                      </a:lnTo>
                      <a:lnTo>
                        <a:pt x="833" y="145"/>
                      </a:lnTo>
                      <a:lnTo>
                        <a:pt x="833" y="145"/>
                      </a:lnTo>
                      <a:lnTo>
                        <a:pt x="833" y="144"/>
                      </a:lnTo>
                      <a:lnTo>
                        <a:pt x="834" y="144"/>
                      </a:lnTo>
                      <a:lnTo>
                        <a:pt x="835" y="144"/>
                      </a:lnTo>
                      <a:lnTo>
                        <a:pt x="835" y="145"/>
                      </a:lnTo>
                      <a:lnTo>
                        <a:pt x="836" y="145"/>
                      </a:lnTo>
                      <a:lnTo>
                        <a:pt x="837" y="145"/>
                      </a:lnTo>
                      <a:lnTo>
                        <a:pt x="837" y="145"/>
                      </a:lnTo>
                      <a:lnTo>
                        <a:pt x="837" y="145"/>
                      </a:lnTo>
                      <a:lnTo>
                        <a:pt x="838" y="145"/>
                      </a:lnTo>
                      <a:lnTo>
                        <a:pt x="839" y="145"/>
                      </a:lnTo>
                      <a:lnTo>
                        <a:pt x="839" y="146"/>
                      </a:lnTo>
                      <a:lnTo>
                        <a:pt x="839" y="146"/>
                      </a:lnTo>
                      <a:lnTo>
                        <a:pt x="839" y="147"/>
                      </a:lnTo>
                      <a:lnTo>
                        <a:pt x="840" y="147"/>
                      </a:lnTo>
                      <a:lnTo>
                        <a:pt x="841" y="147"/>
                      </a:lnTo>
                      <a:lnTo>
                        <a:pt x="841" y="148"/>
                      </a:lnTo>
                      <a:lnTo>
                        <a:pt x="841" y="148"/>
                      </a:lnTo>
                      <a:lnTo>
                        <a:pt x="842" y="149"/>
                      </a:lnTo>
                      <a:lnTo>
                        <a:pt x="843" y="149"/>
                      </a:lnTo>
                      <a:lnTo>
                        <a:pt x="843" y="149"/>
                      </a:lnTo>
                      <a:lnTo>
                        <a:pt x="844" y="149"/>
                      </a:lnTo>
                      <a:lnTo>
                        <a:pt x="844" y="150"/>
                      </a:lnTo>
                      <a:lnTo>
                        <a:pt x="844" y="151"/>
                      </a:lnTo>
                      <a:lnTo>
                        <a:pt x="845" y="151"/>
                      </a:lnTo>
                      <a:lnTo>
                        <a:pt x="845" y="151"/>
                      </a:lnTo>
                      <a:lnTo>
                        <a:pt x="846" y="151"/>
                      </a:lnTo>
                      <a:lnTo>
                        <a:pt x="846" y="152"/>
                      </a:lnTo>
                      <a:lnTo>
                        <a:pt x="846" y="152"/>
                      </a:lnTo>
                      <a:lnTo>
                        <a:pt x="846" y="153"/>
                      </a:lnTo>
                      <a:lnTo>
                        <a:pt x="847" y="153"/>
                      </a:lnTo>
                      <a:lnTo>
                        <a:pt x="848" y="153"/>
                      </a:lnTo>
                      <a:lnTo>
                        <a:pt x="848" y="154"/>
                      </a:lnTo>
                      <a:lnTo>
                        <a:pt x="848" y="154"/>
                      </a:lnTo>
                      <a:lnTo>
                        <a:pt x="848" y="154"/>
                      </a:lnTo>
                      <a:lnTo>
                        <a:pt x="849" y="154"/>
                      </a:lnTo>
                      <a:lnTo>
                        <a:pt x="850" y="154"/>
                      </a:lnTo>
                      <a:lnTo>
                        <a:pt x="850" y="155"/>
                      </a:lnTo>
                      <a:lnTo>
                        <a:pt x="850" y="155"/>
                      </a:lnTo>
                      <a:lnTo>
                        <a:pt x="851" y="156"/>
                      </a:lnTo>
                      <a:lnTo>
                        <a:pt x="852" y="156"/>
                      </a:lnTo>
                      <a:lnTo>
                        <a:pt x="852" y="156"/>
                      </a:lnTo>
                      <a:lnTo>
                        <a:pt x="852" y="157"/>
                      </a:lnTo>
                      <a:lnTo>
                        <a:pt x="852" y="158"/>
                      </a:lnTo>
                      <a:lnTo>
                        <a:pt x="853" y="158"/>
                      </a:lnTo>
                      <a:lnTo>
                        <a:pt x="853" y="158"/>
                      </a:lnTo>
                      <a:lnTo>
                        <a:pt x="853" y="159"/>
                      </a:lnTo>
                      <a:lnTo>
                        <a:pt x="852" y="159"/>
                      </a:lnTo>
                      <a:lnTo>
                        <a:pt x="852" y="160"/>
                      </a:lnTo>
                      <a:lnTo>
                        <a:pt x="852" y="160"/>
                      </a:lnTo>
                      <a:lnTo>
                        <a:pt x="852" y="161"/>
                      </a:lnTo>
                      <a:lnTo>
                        <a:pt x="852" y="162"/>
                      </a:lnTo>
                      <a:lnTo>
                        <a:pt x="852" y="162"/>
                      </a:lnTo>
                      <a:lnTo>
                        <a:pt x="852" y="163"/>
                      </a:lnTo>
                      <a:lnTo>
                        <a:pt x="851" y="163"/>
                      </a:lnTo>
                      <a:lnTo>
                        <a:pt x="850" y="164"/>
                      </a:lnTo>
                      <a:lnTo>
                        <a:pt x="850" y="164"/>
                      </a:lnTo>
                      <a:lnTo>
                        <a:pt x="849" y="164"/>
                      </a:lnTo>
                      <a:lnTo>
                        <a:pt x="849" y="163"/>
                      </a:lnTo>
                      <a:lnTo>
                        <a:pt x="848" y="164"/>
                      </a:lnTo>
                      <a:lnTo>
                        <a:pt x="848" y="163"/>
                      </a:lnTo>
                      <a:lnTo>
                        <a:pt x="848" y="162"/>
                      </a:lnTo>
                      <a:lnTo>
                        <a:pt x="847" y="162"/>
                      </a:lnTo>
                      <a:lnTo>
                        <a:pt x="846" y="162"/>
                      </a:lnTo>
                      <a:lnTo>
                        <a:pt x="846" y="162"/>
                      </a:lnTo>
                      <a:lnTo>
                        <a:pt x="845" y="162"/>
                      </a:lnTo>
                      <a:lnTo>
                        <a:pt x="844" y="162"/>
                      </a:lnTo>
                      <a:lnTo>
                        <a:pt x="844" y="161"/>
                      </a:lnTo>
                      <a:lnTo>
                        <a:pt x="844" y="161"/>
                      </a:lnTo>
                      <a:lnTo>
                        <a:pt x="844" y="160"/>
                      </a:lnTo>
                      <a:lnTo>
                        <a:pt x="843" y="160"/>
                      </a:lnTo>
                      <a:lnTo>
                        <a:pt x="843" y="160"/>
                      </a:lnTo>
                      <a:lnTo>
                        <a:pt x="842" y="160"/>
                      </a:lnTo>
                      <a:lnTo>
                        <a:pt x="841" y="160"/>
                      </a:lnTo>
                      <a:lnTo>
                        <a:pt x="841" y="160"/>
                      </a:lnTo>
                      <a:lnTo>
                        <a:pt x="840" y="161"/>
                      </a:lnTo>
                      <a:lnTo>
                        <a:pt x="839" y="161"/>
                      </a:lnTo>
                      <a:lnTo>
                        <a:pt x="839" y="160"/>
                      </a:lnTo>
                      <a:lnTo>
                        <a:pt x="839" y="160"/>
                      </a:lnTo>
                      <a:lnTo>
                        <a:pt x="838" y="160"/>
                      </a:lnTo>
                      <a:lnTo>
                        <a:pt x="838" y="159"/>
                      </a:lnTo>
                      <a:lnTo>
                        <a:pt x="837" y="159"/>
                      </a:lnTo>
                      <a:lnTo>
                        <a:pt x="837" y="160"/>
                      </a:lnTo>
                      <a:lnTo>
                        <a:pt x="837" y="160"/>
                      </a:lnTo>
                      <a:lnTo>
                        <a:pt x="837" y="159"/>
                      </a:lnTo>
                      <a:lnTo>
                        <a:pt x="836" y="159"/>
                      </a:lnTo>
                      <a:lnTo>
                        <a:pt x="835" y="158"/>
                      </a:lnTo>
                      <a:lnTo>
                        <a:pt x="835" y="158"/>
                      </a:lnTo>
                      <a:lnTo>
                        <a:pt x="834" y="158"/>
                      </a:lnTo>
                      <a:lnTo>
                        <a:pt x="834" y="158"/>
                      </a:lnTo>
                      <a:lnTo>
                        <a:pt x="833" y="158"/>
                      </a:lnTo>
                      <a:lnTo>
                        <a:pt x="833" y="157"/>
                      </a:lnTo>
                      <a:lnTo>
                        <a:pt x="833" y="157"/>
                      </a:lnTo>
                      <a:lnTo>
                        <a:pt x="832" y="157"/>
                      </a:lnTo>
                      <a:lnTo>
                        <a:pt x="831" y="157"/>
                      </a:lnTo>
                      <a:lnTo>
                        <a:pt x="831" y="157"/>
                      </a:lnTo>
                      <a:lnTo>
                        <a:pt x="831" y="156"/>
                      </a:lnTo>
                      <a:lnTo>
                        <a:pt x="830" y="156"/>
                      </a:lnTo>
                      <a:lnTo>
                        <a:pt x="829" y="156"/>
                      </a:lnTo>
                      <a:lnTo>
                        <a:pt x="829" y="155"/>
                      </a:lnTo>
                      <a:lnTo>
                        <a:pt x="829" y="155"/>
                      </a:lnTo>
                      <a:lnTo>
                        <a:pt x="828" y="156"/>
                      </a:lnTo>
                      <a:lnTo>
                        <a:pt x="827" y="156"/>
                      </a:lnTo>
                      <a:lnTo>
                        <a:pt x="827" y="156"/>
                      </a:lnTo>
                      <a:lnTo>
                        <a:pt x="827" y="157"/>
                      </a:lnTo>
                      <a:lnTo>
                        <a:pt x="826" y="157"/>
                      </a:lnTo>
                      <a:lnTo>
                        <a:pt x="825" y="157"/>
                      </a:lnTo>
                      <a:lnTo>
                        <a:pt x="825" y="156"/>
                      </a:lnTo>
                      <a:lnTo>
                        <a:pt x="824" y="156"/>
                      </a:lnTo>
                      <a:lnTo>
                        <a:pt x="824" y="155"/>
                      </a:lnTo>
                      <a:lnTo>
                        <a:pt x="824" y="154"/>
                      </a:lnTo>
                      <a:lnTo>
                        <a:pt x="823" y="154"/>
                      </a:lnTo>
                      <a:lnTo>
                        <a:pt x="822" y="154"/>
                      </a:lnTo>
                      <a:lnTo>
                        <a:pt x="822" y="154"/>
                      </a:lnTo>
                      <a:lnTo>
                        <a:pt x="822" y="154"/>
                      </a:lnTo>
                      <a:lnTo>
                        <a:pt x="822" y="154"/>
                      </a:lnTo>
                      <a:lnTo>
                        <a:pt x="821" y="154"/>
                      </a:lnTo>
                      <a:lnTo>
                        <a:pt x="820" y="154"/>
                      </a:lnTo>
                      <a:lnTo>
                        <a:pt x="820" y="154"/>
                      </a:lnTo>
                      <a:lnTo>
                        <a:pt x="819" y="154"/>
                      </a:lnTo>
                      <a:lnTo>
                        <a:pt x="818" y="154"/>
                      </a:lnTo>
                      <a:lnTo>
                        <a:pt x="818" y="154"/>
                      </a:lnTo>
                      <a:lnTo>
                        <a:pt x="817" y="154"/>
                      </a:lnTo>
                      <a:lnTo>
                        <a:pt x="816" y="154"/>
                      </a:lnTo>
                      <a:lnTo>
                        <a:pt x="816" y="154"/>
                      </a:lnTo>
                      <a:lnTo>
                        <a:pt x="816" y="153"/>
                      </a:lnTo>
                      <a:lnTo>
                        <a:pt x="815" y="153"/>
                      </a:lnTo>
                      <a:lnTo>
                        <a:pt x="815" y="152"/>
                      </a:lnTo>
                      <a:lnTo>
                        <a:pt x="814" y="152"/>
                      </a:lnTo>
                      <a:lnTo>
                        <a:pt x="814" y="152"/>
                      </a:lnTo>
                      <a:lnTo>
                        <a:pt x="814" y="151"/>
                      </a:lnTo>
                      <a:lnTo>
                        <a:pt x="813" y="151"/>
                      </a:lnTo>
                      <a:lnTo>
                        <a:pt x="813" y="151"/>
                      </a:lnTo>
                      <a:lnTo>
                        <a:pt x="812" y="151"/>
                      </a:lnTo>
                      <a:lnTo>
                        <a:pt x="812" y="151"/>
                      </a:lnTo>
                      <a:lnTo>
                        <a:pt x="811" y="151"/>
                      </a:lnTo>
                      <a:lnTo>
                        <a:pt x="810" y="151"/>
                      </a:lnTo>
                      <a:lnTo>
                        <a:pt x="810" y="152"/>
                      </a:lnTo>
                      <a:lnTo>
                        <a:pt x="810" y="153"/>
                      </a:lnTo>
                      <a:lnTo>
                        <a:pt x="809" y="153"/>
                      </a:lnTo>
                      <a:lnTo>
                        <a:pt x="808" y="153"/>
                      </a:lnTo>
                      <a:lnTo>
                        <a:pt x="808" y="153"/>
                      </a:lnTo>
                      <a:lnTo>
                        <a:pt x="807" y="153"/>
                      </a:lnTo>
                      <a:lnTo>
                        <a:pt x="807" y="152"/>
                      </a:lnTo>
                      <a:lnTo>
                        <a:pt x="806" y="152"/>
                      </a:lnTo>
                      <a:lnTo>
                        <a:pt x="806" y="152"/>
                      </a:lnTo>
                      <a:lnTo>
                        <a:pt x="805" y="152"/>
                      </a:lnTo>
                      <a:lnTo>
                        <a:pt x="805" y="153"/>
                      </a:lnTo>
                      <a:lnTo>
                        <a:pt x="805" y="154"/>
                      </a:lnTo>
                      <a:lnTo>
                        <a:pt x="805" y="154"/>
                      </a:lnTo>
                      <a:lnTo>
                        <a:pt x="804" y="155"/>
                      </a:lnTo>
                      <a:lnTo>
                        <a:pt x="803" y="155"/>
                      </a:lnTo>
                      <a:lnTo>
                        <a:pt x="803" y="155"/>
                      </a:lnTo>
                      <a:lnTo>
                        <a:pt x="803" y="156"/>
                      </a:lnTo>
                      <a:lnTo>
                        <a:pt x="802" y="156"/>
                      </a:lnTo>
                      <a:lnTo>
                        <a:pt x="802" y="155"/>
                      </a:lnTo>
                      <a:lnTo>
                        <a:pt x="801" y="155"/>
                      </a:lnTo>
                      <a:lnTo>
                        <a:pt x="801" y="155"/>
                      </a:lnTo>
                      <a:lnTo>
                        <a:pt x="800" y="155"/>
                      </a:lnTo>
                      <a:lnTo>
                        <a:pt x="799" y="154"/>
                      </a:lnTo>
                      <a:lnTo>
                        <a:pt x="799" y="154"/>
                      </a:lnTo>
                      <a:lnTo>
                        <a:pt x="799" y="153"/>
                      </a:lnTo>
                      <a:lnTo>
                        <a:pt x="798" y="153"/>
                      </a:lnTo>
                      <a:lnTo>
                        <a:pt x="797" y="152"/>
                      </a:lnTo>
                      <a:lnTo>
                        <a:pt x="797" y="152"/>
                      </a:lnTo>
                      <a:lnTo>
                        <a:pt x="796" y="152"/>
                      </a:lnTo>
                      <a:lnTo>
                        <a:pt x="795" y="151"/>
                      </a:lnTo>
                      <a:lnTo>
                        <a:pt x="795" y="151"/>
                      </a:lnTo>
                      <a:lnTo>
                        <a:pt x="794" y="151"/>
                      </a:lnTo>
                      <a:lnTo>
                        <a:pt x="794" y="150"/>
                      </a:lnTo>
                      <a:lnTo>
                        <a:pt x="793" y="149"/>
                      </a:lnTo>
                      <a:lnTo>
                        <a:pt x="793" y="149"/>
                      </a:lnTo>
                      <a:lnTo>
                        <a:pt x="791" y="148"/>
                      </a:lnTo>
                      <a:lnTo>
                        <a:pt x="791" y="148"/>
                      </a:lnTo>
                      <a:lnTo>
                        <a:pt x="789" y="148"/>
                      </a:lnTo>
                      <a:lnTo>
                        <a:pt x="788" y="148"/>
                      </a:lnTo>
                      <a:lnTo>
                        <a:pt x="787" y="148"/>
                      </a:lnTo>
                      <a:lnTo>
                        <a:pt x="784" y="148"/>
                      </a:lnTo>
                      <a:lnTo>
                        <a:pt x="783" y="148"/>
                      </a:lnTo>
                      <a:lnTo>
                        <a:pt x="782" y="148"/>
                      </a:lnTo>
                      <a:lnTo>
                        <a:pt x="782" y="148"/>
                      </a:lnTo>
                      <a:lnTo>
                        <a:pt x="781" y="148"/>
                      </a:lnTo>
                      <a:lnTo>
                        <a:pt x="780" y="148"/>
                      </a:lnTo>
                      <a:lnTo>
                        <a:pt x="780" y="148"/>
                      </a:lnTo>
                      <a:lnTo>
                        <a:pt x="780" y="147"/>
                      </a:lnTo>
                      <a:lnTo>
                        <a:pt x="779" y="147"/>
                      </a:lnTo>
                      <a:lnTo>
                        <a:pt x="778" y="147"/>
                      </a:lnTo>
                      <a:lnTo>
                        <a:pt x="777" y="146"/>
                      </a:lnTo>
                      <a:lnTo>
                        <a:pt x="776" y="146"/>
                      </a:lnTo>
                      <a:lnTo>
                        <a:pt x="775" y="146"/>
                      </a:lnTo>
                      <a:lnTo>
                        <a:pt x="774" y="146"/>
                      </a:lnTo>
                      <a:lnTo>
                        <a:pt x="774" y="146"/>
                      </a:lnTo>
                      <a:lnTo>
                        <a:pt x="773" y="145"/>
                      </a:lnTo>
                      <a:lnTo>
                        <a:pt x="772" y="145"/>
                      </a:lnTo>
                      <a:lnTo>
                        <a:pt x="772" y="145"/>
                      </a:lnTo>
                      <a:lnTo>
                        <a:pt x="772" y="144"/>
                      </a:lnTo>
                      <a:lnTo>
                        <a:pt x="771" y="143"/>
                      </a:lnTo>
                      <a:lnTo>
                        <a:pt x="771" y="142"/>
                      </a:lnTo>
                      <a:lnTo>
                        <a:pt x="770" y="141"/>
                      </a:lnTo>
                      <a:lnTo>
                        <a:pt x="770" y="141"/>
                      </a:lnTo>
                      <a:lnTo>
                        <a:pt x="769" y="141"/>
                      </a:lnTo>
                      <a:lnTo>
                        <a:pt x="768" y="141"/>
                      </a:lnTo>
                      <a:lnTo>
                        <a:pt x="767" y="142"/>
                      </a:lnTo>
                      <a:lnTo>
                        <a:pt x="766" y="142"/>
                      </a:lnTo>
                      <a:lnTo>
                        <a:pt x="765" y="142"/>
                      </a:lnTo>
                      <a:lnTo>
                        <a:pt x="765" y="143"/>
                      </a:lnTo>
                      <a:lnTo>
                        <a:pt x="765" y="143"/>
                      </a:lnTo>
                      <a:lnTo>
                        <a:pt x="765" y="144"/>
                      </a:lnTo>
                      <a:lnTo>
                        <a:pt x="765" y="144"/>
                      </a:lnTo>
                      <a:lnTo>
                        <a:pt x="765" y="145"/>
                      </a:lnTo>
                      <a:lnTo>
                        <a:pt x="765" y="145"/>
                      </a:lnTo>
                      <a:lnTo>
                        <a:pt x="765" y="145"/>
                      </a:lnTo>
                      <a:lnTo>
                        <a:pt x="764" y="146"/>
                      </a:lnTo>
                      <a:lnTo>
                        <a:pt x="765" y="146"/>
                      </a:lnTo>
                      <a:lnTo>
                        <a:pt x="765" y="147"/>
                      </a:lnTo>
                      <a:lnTo>
                        <a:pt x="765" y="147"/>
                      </a:lnTo>
                      <a:lnTo>
                        <a:pt x="765" y="148"/>
                      </a:lnTo>
                      <a:lnTo>
                        <a:pt x="766" y="149"/>
                      </a:lnTo>
                      <a:lnTo>
                        <a:pt x="767" y="149"/>
                      </a:lnTo>
                      <a:lnTo>
                        <a:pt x="767" y="150"/>
                      </a:lnTo>
                      <a:lnTo>
                        <a:pt x="768" y="151"/>
                      </a:lnTo>
                      <a:lnTo>
                        <a:pt x="768" y="151"/>
                      </a:lnTo>
                      <a:lnTo>
                        <a:pt x="768" y="152"/>
                      </a:lnTo>
                      <a:lnTo>
                        <a:pt x="768" y="153"/>
                      </a:lnTo>
                      <a:lnTo>
                        <a:pt x="768" y="154"/>
                      </a:lnTo>
                      <a:lnTo>
                        <a:pt x="768" y="154"/>
                      </a:lnTo>
                      <a:lnTo>
                        <a:pt x="768" y="155"/>
                      </a:lnTo>
                      <a:lnTo>
                        <a:pt x="768" y="156"/>
                      </a:lnTo>
                      <a:lnTo>
                        <a:pt x="768" y="156"/>
                      </a:lnTo>
                      <a:lnTo>
                        <a:pt x="768" y="157"/>
                      </a:lnTo>
                      <a:lnTo>
                        <a:pt x="768" y="158"/>
                      </a:lnTo>
                      <a:lnTo>
                        <a:pt x="768" y="158"/>
                      </a:lnTo>
                      <a:lnTo>
                        <a:pt x="768" y="159"/>
                      </a:lnTo>
                      <a:lnTo>
                        <a:pt x="768" y="160"/>
                      </a:lnTo>
                      <a:lnTo>
                        <a:pt x="768" y="160"/>
                      </a:lnTo>
                      <a:lnTo>
                        <a:pt x="768" y="161"/>
                      </a:lnTo>
                      <a:lnTo>
                        <a:pt x="769" y="161"/>
                      </a:lnTo>
                      <a:lnTo>
                        <a:pt x="769" y="162"/>
                      </a:lnTo>
                      <a:lnTo>
                        <a:pt x="769" y="162"/>
                      </a:lnTo>
                      <a:lnTo>
                        <a:pt x="770" y="162"/>
                      </a:lnTo>
                      <a:lnTo>
                        <a:pt x="770" y="163"/>
                      </a:lnTo>
                      <a:lnTo>
                        <a:pt x="770" y="164"/>
                      </a:lnTo>
                      <a:lnTo>
                        <a:pt x="771" y="164"/>
                      </a:lnTo>
                      <a:lnTo>
                        <a:pt x="771" y="164"/>
                      </a:lnTo>
                      <a:lnTo>
                        <a:pt x="772" y="164"/>
                      </a:lnTo>
                      <a:lnTo>
                        <a:pt x="772" y="165"/>
                      </a:lnTo>
                      <a:lnTo>
                        <a:pt x="774" y="166"/>
                      </a:lnTo>
                      <a:lnTo>
                        <a:pt x="774" y="166"/>
                      </a:lnTo>
                      <a:lnTo>
                        <a:pt x="775" y="167"/>
                      </a:lnTo>
                      <a:lnTo>
                        <a:pt x="776" y="167"/>
                      </a:lnTo>
                      <a:lnTo>
                        <a:pt x="776" y="167"/>
                      </a:lnTo>
                      <a:lnTo>
                        <a:pt x="777" y="167"/>
                      </a:lnTo>
                      <a:lnTo>
                        <a:pt x="778" y="167"/>
                      </a:lnTo>
                      <a:lnTo>
                        <a:pt x="778" y="167"/>
                      </a:lnTo>
                      <a:lnTo>
                        <a:pt x="779" y="168"/>
                      </a:lnTo>
                      <a:lnTo>
                        <a:pt x="780" y="169"/>
                      </a:lnTo>
                      <a:lnTo>
                        <a:pt x="781" y="170"/>
                      </a:lnTo>
                      <a:lnTo>
                        <a:pt x="782" y="170"/>
                      </a:lnTo>
                      <a:lnTo>
                        <a:pt x="782" y="171"/>
                      </a:lnTo>
                      <a:lnTo>
                        <a:pt x="783" y="171"/>
                      </a:lnTo>
                      <a:lnTo>
                        <a:pt x="783" y="172"/>
                      </a:lnTo>
                      <a:lnTo>
                        <a:pt x="783" y="172"/>
                      </a:lnTo>
                      <a:lnTo>
                        <a:pt x="783" y="173"/>
                      </a:lnTo>
                      <a:lnTo>
                        <a:pt x="783" y="174"/>
                      </a:lnTo>
                      <a:lnTo>
                        <a:pt x="783" y="175"/>
                      </a:lnTo>
                      <a:lnTo>
                        <a:pt x="784" y="175"/>
                      </a:lnTo>
                      <a:lnTo>
                        <a:pt x="784" y="176"/>
                      </a:lnTo>
                      <a:lnTo>
                        <a:pt x="784" y="177"/>
                      </a:lnTo>
                      <a:lnTo>
                        <a:pt x="784" y="177"/>
                      </a:lnTo>
                      <a:lnTo>
                        <a:pt x="784" y="179"/>
                      </a:lnTo>
                      <a:lnTo>
                        <a:pt x="784" y="179"/>
                      </a:lnTo>
                      <a:lnTo>
                        <a:pt x="783" y="179"/>
                      </a:lnTo>
                      <a:lnTo>
                        <a:pt x="783" y="180"/>
                      </a:lnTo>
                      <a:lnTo>
                        <a:pt x="783" y="181"/>
                      </a:lnTo>
                      <a:lnTo>
                        <a:pt x="783" y="181"/>
                      </a:lnTo>
                      <a:lnTo>
                        <a:pt x="784" y="181"/>
                      </a:lnTo>
                      <a:lnTo>
                        <a:pt x="784" y="181"/>
                      </a:lnTo>
                      <a:lnTo>
                        <a:pt x="785" y="181"/>
                      </a:lnTo>
                      <a:lnTo>
                        <a:pt x="785" y="181"/>
                      </a:lnTo>
                      <a:lnTo>
                        <a:pt x="786" y="181"/>
                      </a:lnTo>
                      <a:lnTo>
                        <a:pt x="787" y="181"/>
                      </a:lnTo>
                      <a:lnTo>
                        <a:pt x="787" y="181"/>
                      </a:lnTo>
                      <a:lnTo>
                        <a:pt x="789" y="181"/>
                      </a:lnTo>
                      <a:lnTo>
                        <a:pt x="789" y="181"/>
                      </a:lnTo>
                      <a:lnTo>
                        <a:pt x="790" y="181"/>
                      </a:lnTo>
                      <a:lnTo>
                        <a:pt x="791" y="181"/>
                      </a:lnTo>
                      <a:lnTo>
                        <a:pt x="791" y="181"/>
                      </a:lnTo>
                      <a:lnTo>
                        <a:pt x="792" y="181"/>
                      </a:lnTo>
                      <a:lnTo>
                        <a:pt x="793" y="181"/>
                      </a:lnTo>
                      <a:lnTo>
                        <a:pt x="793" y="181"/>
                      </a:lnTo>
                      <a:lnTo>
                        <a:pt x="794" y="181"/>
                      </a:lnTo>
                      <a:lnTo>
                        <a:pt x="795" y="181"/>
                      </a:lnTo>
                      <a:lnTo>
                        <a:pt x="795" y="181"/>
                      </a:lnTo>
                      <a:lnTo>
                        <a:pt x="796" y="182"/>
                      </a:lnTo>
                      <a:lnTo>
                        <a:pt x="797" y="183"/>
                      </a:lnTo>
                      <a:lnTo>
                        <a:pt x="797" y="183"/>
                      </a:lnTo>
                      <a:lnTo>
                        <a:pt x="798" y="184"/>
                      </a:lnTo>
                      <a:lnTo>
                        <a:pt x="799" y="185"/>
                      </a:lnTo>
                      <a:lnTo>
                        <a:pt x="800" y="185"/>
                      </a:lnTo>
                      <a:lnTo>
                        <a:pt x="801" y="185"/>
                      </a:lnTo>
                      <a:lnTo>
                        <a:pt x="801" y="185"/>
                      </a:lnTo>
                      <a:lnTo>
                        <a:pt x="801" y="185"/>
                      </a:lnTo>
                      <a:lnTo>
                        <a:pt x="802" y="185"/>
                      </a:lnTo>
                      <a:lnTo>
                        <a:pt x="802" y="186"/>
                      </a:lnTo>
                      <a:lnTo>
                        <a:pt x="803" y="186"/>
                      </a:lnTo>
                      <a:lnTo>
                        <a:pt x="803" y="186"/>
                      </a:lnTo>
                      <a:lnTo>
                        <a:pt x="803" y="187"/>
                      </a:lnTo>
                      <a:lnTo>
                        <a:pt x="804" y="187"/>
                      </a:lnTo>
                      <a:lnTo>
                        <a:pt x="805" y="187"/>
                      </a:lnTo>
                      <a:lnTo>
                        <a:pt x="805" y="187"/>
                      </a:lnTo>
                      <a:lnTo>
                        <a:pt x="806" y="187"/>
                      </a:lnTo>
                      <a:lnTo>
                        <a:pt x="806" y="188"/>
                      </a:lnTo>
                      <a:lnTo>
                        <a:pt x="806" y="188"/>
                      </a:lnTo>
                      <a:lnTo>
                        <a:pt x="807" y="188"/>
                      </a:lnTo>
                      <a:lnTo>
                        <a:pt x="808" y="188"/>
                      </a:lnTo>
                      <a:lnTo>
                        <a:pt x="808" y="188"/>
                      </a:lnTo>
                      <a:lnTo>
                        <a:pt x="808" y="189"/>
                      </a:lnTo>
                      <a:lnTo>
                        <a:pt x="809" y="189"/>
                      </a:lnTo>
                      <a:lnTo>
                        <a:pt x="810" y="189"/>
                      </a:lnTo>
                      <a:lnTo>
                        <a:pt x="810" y="190"/>
                      </a:lnTo>
                      <a:lnTo>
                        <a:pt x="810" y="190"/>
                      </a:lnTo>
                      <a:lnTo>
                        <a:pt x="810" y="191"/>
                      </a:lnTo>
                      <a:lnTo>
                        <a:pt x="810" y="191"/>
                      </a:lnTo>
                      <a:lnTo>
                        <a:pt x="811" y="191"/>
                      </a:lnTo>
                      <a:lnTo>
                        <a:pt x="811" y="192"/>
                      </a:lnTo>
                      <a:lnTo>
                        <a:pt x="811" y="193"/>
                      </a:lnTo>
                      <a:lnTo>
                        <a:pt x="811" y="194"/>
                      </a:lnTo>
                      <a:lnTo>
                        <a:pt x="812" y="194"/>
                      </a:lnTo>
                      <a:lnTo>
                        <a:pt x="812" y="194"/>
                      </a:lnTo>
                      <a:lnTo>
                        <a:pt x="812" y="193"/>
                      </a:lnTo>
                      <a:lnTo>
                        <a:pt x="813" y="193"/>
                      </a:lnTo>
                      <a:lnTo>
                        <a:pt x="813" y="192"/>
                      </a:lnTo>
                      <a:lnTo>
                        <a:pt x="814" y="192"/>
                      </a:lnTo>
                      <a:lnTo>
                        <a:pt x="814" y="192"/>
                      </a:lnTo>
                      <a:lnTo>
                        <a:pt x="814" y="191"/>
                      </a:lnTo>
                      <a:lnTo>
                        <a:pt x="815" y="191"/>
                      </a:lnTo>
                      <a:lnTo>
                        <a:pt x="815" y="191"/>
                      </a:lnTo>
                      <a:lnTo>
                        <a:pt x="816" y="190"/>
                      </a:lnTo>
                      <a:lnTo>
                        <a:pt x="816" y="191"/>
                      </a:lnTo>
                      <a:lnTo>
                        <a:pt x="816" y="191"/>
                      </a:lnTo>
                      <a:lnTo>
                        <a:pt x="816" y="191"/>
                      </a:lnTo>
                      <a:lnTo>
                        <a:pt x="816" y="191"/>
                      </a:lnTo>
                      <a:lnTo>
                        <a:pt x="816" y="192"/>
                      </a:lnTo>
                      <a:lnTo>
                        <a:pt x="816" y="193"/>
                      </a:lnTo>
                      <a:lnTo>
                        <a:pt x="816" y="194"/>
                      </a:lnTo>
                      <a:lnTo>
                        <a:pt x="816" y="194"/>
                      </a:lnTo>
                      <a:lnTo>
                        <a:pt x="815" y="194"/>
                      </a:lnTo>
                      <a:lnTo>
                        <a:pt x="815" y="195"/>
                      </a:lnTo>
                      <a:lnTo>
                        <a:pt x="815" y="196"/>
                      </a:lnTo>
                      <a:lnTo>
                        <a:pt x="814" y="196"/>
                      </a:lnTo>
                      <a:lnTo>
                        <a:pt x="815" y="196"/>
                      </a:lnTo>
                      <a:lnTo>
                        <a:pt x="814" y="196"/>
                      </a:lnTo>
                      <a:lnTo>
                        <a:pt x="814" y="196"/>
                      </a:lnTo>
                      <a:lnTo>
                        <a:pt x="814" y="197"/>
                      </a:lnTo>
                      <a:lnTo>
                        <a:pt x="814" y="198"/>
                      </a:lnTo>
                      <a:lnTo>
                        <a:pt x="814" y="198"/>
                      </a:lnTo>
                      <a:lnTo>
                        <a:pt x="815" y="198"/>
                      </a:lnTo>
                      <a:lnTo>
                        <a:pt x="815" y="198"/>
                      </a:lnTo>
                      <a:lnTo>
                        <a:pt x="816" y="199"/>
                      </a:lnTo>
                      <a:lnTo>
                        <a:pt x="816" y="199"/>
                      </a:lnTo>
                      <a:lnTo>
                        <a:pt x="816" y="200"/>
                      </a:lnTo>
                      <a:lnTo>
                        <a:pt x="816" y="200"/>
                      </a:lnTo>
                      <a:lnTo>
                        <a:pt x="816" y="201"/>
                      </a:lnTo>
                      <a:lnTo>
                        <a:pt x="816" y="201"/>
                      </a:lnTo>
                      <a:lnTo>
                        <a:pt x="816" y="202"/>
                      </a:lnTo>
                      <a:lnTo>
                        <a:pt x="817" y="202"/>
                      </a:lnTo>
                      <a:lnTo>
                        <a:pt x="817" y="202"/>
                      </a:lnTo>
                      <a:lnTo>
                        <a:pt x="818" y="202"/>
                      </a:lnTo>
                      <a:lnTo>
                        <a:pt x="818" y="203"/>
                      </a:lnTo>
                      <a:lnTo>
                        <a:pt x="818" y="204"/>
                      </a:lnTo>
                      <a:lnTo>
                        <a:pt x="818" y="204"/>
                      </a:lnTo>
                      <a:lnTo>
                        <a:pt x="818" y="204"/>
                      </a:lnTo>
                      <a:lnTo>
                        <a:pt x="818" y="204"/>
                      </a:lnTo>
                      <a:lnTo>
                        <a:pt x="818" y="205"/>
                      </a:lnTo>
                      <a:lnTo>
                        <a:pt x="819" y="205"/>
                      </a:lnTo>
                      <a:lnTo>
                        <a:pt x="820" y="205"/>
                      </a:lnTo>
                      <a:lnTo>
                        <a:pt x="820" y="205"/>
                      </a:lnTo>
                      <a:lnTo>
                        <a:pt x="821" y="205"/>
                      </a:lnTo>
                      <a:lnTo>
                        <a:pt x="821" y="206"/>
                      </a:lnTo>
                      <a:lnTo>
                        <a:pt x="821" y="206"/>
                      </a:lnTo>
                      <a:lnTo>
                        <a:pt x="822" y="206"/>
                      </a:lnTo>
                      <a:lnTo>
                        <a:pt x="822" y="206"/>
                      </a:lnTo>
                      <a:lnTo>
                        <a:pt x="823" y="206"/>
                      </a:lnTo>
                      <a:lnTo>
                        <a:pt x="823" y="207"/>
                      </a:lnTo>
                      <a:lnTo>
                        <a:pt x="824" y="207"/>
                      </a:lnTo>
                      <a:lnTo>
                        <a:pt x="824" y="208"/>
                      </a:lnTo>
                      <a:lnTo>
                        <a:pt x="825" y="208"/>
                      </a:lnTo>
                      <a:lnTo>
                        <a:pt x="825" y="208"/>
                      </a:lnTo>
                      <a:lnTo>
                        <a:pt x="825" y="209"/>
                      </a:lnTo>
                      <a:lnTo>
                        <a:pt x="825" y="208"/>
                      </a:lnTo>
                      <a:lnTo>
                        <a:pt x="825" y="208"/>
                      </a:lnTo>
                      <a:lnTo>
                        <a:pt x="826" y="208"/>
                      </a:lnTo>
                      <a:lnTo>
                        <a:pt x="827" y="209"/>
                      </a:lnTo>
                      <a:lnTo>
                        <a:pt x="827" y="208"/>
                      </a:lnTo>
                      <a:lnTo>
                        <a:pt x="827" y="209"/>
                      </a:lnTo>
                      <a:lnTo>
                        <a:pt x="828" y="209"/>
                      </a:lnTo>
                      <a:lnTo>
                        <a:pt x="829" y="209"/>
                      </a:lnTo>
                      <a:lnTo>
                        <a:pt x="829" y="210"/>
                      </a:lnTo>
                      <a:lnTo>
                        <a:pt x="829" y="210"/>
                      </a:lnTo>
                      <a:lnTo>
                        <a:pt x="830" y="210"/>
                      </a:lnTo>
                      <a:lnTo>
                        <a:pt x="831" y="210"/>
                      </a:lnTo>
                      <a:lnTo>
                        <a:pt x="831" y="211"/>
                      </a:lnTo>
                      <a:lnTo>
                        <a:pt x="831" y="211"/>
                      </a:lnTo>
                      <a:lnTo>
                        <a:pt x="831" y="210"/>
                      </a:lnTo>
                      <a:lnTo>
                        <a:pt x="831" y="210"/>
                      </a:lnTo>
                      <a:lnTo>
                        <a:pt x="831" y="209"/>
                      </a:lnTo>
                      <a:lnTo>
                        <a:pt x="831" y="208"/>
                      </a:lnTo>
                      <a:lnTo>
                        <a:pt x="832" y="208"/>
                      </a:lnTo>
                      <a:lnTo>
                        <a:pt x="833" y="208"/>
                      </a:lnTo>
                      <a:lnTo>
                        <a:pt x="833" y="208"/>
                      </a:lnTo>
                      <a:lnTo>
                        <a:pt x="833" y="208"/>
                      </a:lnTo>
                      <a:lnTo>
                        <a:pt x="834" y="208"/>
                      </a:lnTo>
                      <a:lnTo>
                        <a:pt x="835" y="208"/>
                      </a:lnTo>
                      <a:lnTo>
                        <a:pt x="835" y="209"/>
                      </a:lnTo>
                      <a:lnTo>
                        <a:pt x="836" y="209"/>
                      </a:lnTo>
                      <a:lnTo>
                        <a:pt x="836" y="210"/>
                      </a:lnTo>
                      <a:lnTo>
                        <a:pt x="837" y="210"/>
                      </a:lnTo>
                      <a:lnTo>
                        <a:pt x="837" y="210"/>
                      </a:lnTo>
                      <a:lnTo>
                        <a:pt x="837" y="210"/>
                      </a:lnTo>
                      <a:lnTo>
                        <a:pt x="838" y="210"/>
                      </a:lnTo>
                      <a:lnTo>
                        <a:pt x="839" y="210"/>
                      </a:lnTo>
                      <a:lnTo>
                        <a:pt x="839" y="211"/>
                      </a:lnTo>
                      <a:lnTo>
                        <a:pt x="839" y="211"/>
                      </a:lnTo>
                      <a:lnTo>
                        <a:pt x="839" y="212"/>
                      </a:lnTo>
                      <a:lnTo>
                        <a:pt x="840" y="212"/>
                      </a:lnTo>
                      <a:lnTo>
                        <a:pt x="840" y="213"/>
                      </a:lnTo>
                      <a:lnTo>
                        <a:pt x="841" y="213"/>
                      </a:lnTo>
                      <a:lnTo>
                        <a:pt x="841" y="213"/>
                      </a:lnTo>
                      <a:lnTo>
                        <a:pt x="841" y="214"/>
                      </a:lnTo>
                      <a:lnTo>
                        <a:pt x="842" y="215"/>
                      </a:lnTo>
                      <a:lnTo>
                        <a:pt x="842" y="215"/>
                      </a:lnTo>
                      <a:lnTo>
                        <a:pt x="843" y="215"/>
                      </a:lnTo>
                      <a:lnTo>
                        <a:pt x="843" y="216"/>
                      </a:lnTo>
                      <a:lnTo>
                        <a:pt x="843" y="217"/>
                      </a:lnTo>
                      <a:lnTo>
                        <a:pt x="844" y="217"/>
                      </a:lnTo>
                      <a:lnTo>
                        <a:pt x="844" y="217"/>
                      </a:lnTo>
                      <a:lnTo>
                        <a:pt x="844" y="217"/>
                      </a:lnTo>
                      <a:lnTo>
                        <a:pt x="845" y="217"/>
                      </a:lnTo>
                      <a:lnTo>
                        <a:pt x="845" y="218"/>
                      </a:lnTo>
                      <a:lnTo>
                        <a:pt x="844" y="218"/>
                      </a:lnTo>
                      <a:lnTo>
                        <a:pt x="844" y="219"/>
                      </a:lnTo>
                      <a:lnTo>
                        <a:pt x="844" y="219"/>
                      </a:lnTo>
                      <a:lnTo>
                        <a:pt x="844" y="219"/>
                      </a:lnTo>
                      <a:lnTo>
                        <a:pt x="844" y="220"/>
                      </a:lnTo>
                      <a:lnTo>
                        <a:pt x="844" y="221"/>
                      </a:lnTo>
                      <a:lnTo>
                        <a:pt x="843" y="221"/>
                      </a:lnTo>
                      <a:lnTo>
                        <a:pt x="843" y="221"/>
                      </a:lnTo>
                      <a:lnTo>
                        <a:pt x="842" y="221"/>
                      </a:lnTo>
                      <a:lnTo>
                        <a:pt x="842" y="222"/>
                      </a:lnTo>
                      <a:lnTo>
                        <a:pt x="841" y="222"/>
                      </a:lnTo>
                      <a:lnTo>
                        <a:pt x="841" y="221"/>
                      </a:lnTo>
                      <a:lnTo>
                        <a:pt x="841" y="221"/>
                      </a:lnTo>
                      <a:lnTo>
                        <a:pt x="840" y="221"/>
                      </a:lnTo>
                      <a:lnTo>
                        <a:pt x="839" y="221"/>
                      </a:lnTo>
                      <a:lnTo>
                        <a:pt x="839" y="222"/>
                      </a:lnTo>
                      <a:lnTo>
                        <a:pt x="839" y="221"/>
                      </a:lnTo>
                      <a:lnTo>
                        <a:pt x="838" y="221"/>
                      </a:lnTo>
                      <a:lnTo>
                        <a:pt x="837" y="221"/>
                      </a:lnTo>
                      <a:lnTo>
                        <a:pt x="837" y="221"/>
                      </a:lnTo>
                      <a:lnTo>
                        <a:pt x="837" y="222"/>
                      </a:lnTo>
                      <a:lnTo>
                        <a:pt x="837" y="222"/>
                      </a:lnTo>
                      <a:lnTo>
                        <a:pt x="837" y="223"/>
                      </a:lnTo>
                      <a:lnTo>
                        <a:pt x="837" y="223"/>
                      </a:lnTo>
                      <a:lnTo>
                        <a:pt x="836" y="223"/>
                      </a:lnTo>
                      <a:lnTo>
                        <a:pt x="835" y="223"/>
                      </a:lnTo>
                      <a:lnTo>
                        <a:pt x="835" y="224"/>
                      </a:lnTo>
                      <a:lnTo>
                        <a:pt x="836" y="224"/>
                      </a:lnTo>
                      <a:lnTo>
                        <a:pt x="836" y="225"/>
                      </a:lnTo>
                      <a:lnTo>
                        <a:pt x="836" y="225"/>
                      </a:lnTo>
                      <a:lnTo>
                        <a:pt x="835" y="225"/>
                      </a:lnTo>
                      <a:lnTo>
                        <a:pt x="836" y="225"/>
                      </a:lnTo>
                      <a:lnTo>
                        <a:pt x="836" y="226"/>
                      </a:lnTo>
                      <a:lnTo>
                        <a:pt x="836" y="227"/>
                      </a:lnTo>
                      <a:lnTo>
                        <a:pt x="836" y="227"/>
                      </a:lnTo>
                      <a:lnTo>
                        <a:pt x="836" y="228"/>
                      </a:lnTo>
                      <a:lnTo>
                        <a:pt x="837" y="228"/>
                      </a:lnTo>
                      <a:lnTo>
                        <a:pt x="837" y="229"/>
                      </a:lnTo>
                      <a:lnTo>
                        <a:pt x="837" y="229"/>
                      </a:lnTo>
                      <a:lnTo>
                        <a:pt x="837" y="230"/>
                      </a:lnTo>
                      <a:lnTo>
                        <a:pt x="837" y="231"/>
                      </a:lnTo>
                      <a:lnTo>
                        <a:pt x="837" y="231"/>
                      </a:lnTo>
                      <a:lnTo>
                        <a:pt x="837" y="231"/>
                      </a:lnTo>
                      <a:lnTo>
                        <a:pt x="837" y="232"/>
                      </a:lnTo>
                      <a:lnTo>
                        <a:pt x="838" y="232"/>
                      </a:lnTo>
                      <a:lnTo>
                        <a:pt x="838" y="233"/>
                      </a:lnTo>
                      <a:lnTo>
                        <a:pt x="839" y="233"/>
                      </a:lnTo>
                      <a:lnTo>
                        <a:pt x="839" y="234"/>
                      </a:lnTo>
                      <a:lnTo>
                        <a:pt x="839" y="234"/>
                      </a:lnTo>
                      <a:lnTo>
                        <a:pt x="840" y="234"/>
                      </a:lnTo>
                      <a:lnTo>
                        <a:pt x="840" y="234"/>
                      </a:lnTo>
                      <a:lnTo>
                        <a:pt x="840" y="235"/>
                      </a:lnTo>
                      <a:lnTo>
                        <a:pt x="839" y="235"/>
                      </a:lnTo>
                      <a:lnTo>
                        <a:pt x="840" y="235"/>
                      </a:lnTo>
                      <a:lnTo>
                        <a:pt x="839" y="235"/>
                      </a:lnTo>
                      <a:lnTo>
                        <a:pt x="839" y="236"/>
                      </a:lnTo>
                      <a:lnTo>
                        <a:pt x="839" y="236"/>
                      </a:lnTo>
                      <a:lnTo>
                        <a:pt x="839" y="236"/>
                      </a:lnTo>
                      <a:lnTo>
                        <a:pt x="838" y="236"/>
                      </a:lnTo>
                      <a:lnTo>
                        <a:pt x="838" y="237"/>
                      </a:lnTo>
                      <a:lnTo>
                        <a:pt x="837" y="237"/>
                      </a:lnTo>
                      <a:lnTo>
                        <a:pt x="838" y="237"/>
                      </a:lnTo>
                      <a:lnTo>
                        <a:pt x="837" y="237"/>
                      </a:lnTo>
                      <a:lnTo>
                        <a:pt x="838" y="237"/>
                      </a:lnTo>
                      <a:lnTo>
                        <a:pt x="838" y="238"/>
                      </a:lnTo>
                      <a:lnTo>
                        <a:pt x="838" y="238"/>
                      </a:lnTo>
                      <a:lnTo>
                        <a:pt x="837" y="238"/>
                      </a:lnTo>
                      <a:lnTo>
                        <a:pt x="837" y="238"/>
                      </a:lnTo>
                      <a:lnTo>
                        <a:pt x="837" y="238"/>
                      </a:lnTo>
                      <a:lnTo>
                        <a:pt x="837" y="238"/>
                      </a:lnTo>
                      <a:lnTo>
                        <a:pt x="837" y="239"/>
                      </a:lnTo>
                      <a:lnTo>
                        <a:pt x="837" y="240"/>
                      </a:lnTo>
                      <a:lnTo>
                        <a:pt x="837" y="240"/>
                      </a:lnTo>
                      <a:lnTo>
                        <a:pt x="836" y="240"/>
                      </a:lnTo>
                      <a:lnTo>
                        <a:pt x="836" y="241"/>
                      </a:lnTo>
                      <a:lnTo>
                        <a:pt x="836" y="242"/>
                      </a:lnTo>
                      <a:lnTo>
                        <a:pt x="836" y="242"/>
                      </a:lnTo>
                      <a:lnTo>
                        <a:pt x="836" y="243"/>
                      </a:lnTo>
                      <a:lnTo>
                        <a:pt x="835" y="243"/>
                      </a:lnTo>
                      <a:lnTo>
                        <a:pt x="835" y="243"/>
                      </a:lnTo>
                      <a:lnTo>
                        <a:pt x="835" y="244"/>
                      </a:lnTo>
                      <a:lnTo>
                        <a:pt x="834" y="244"/>
                      </a:lnTo>
                      <a:lnTo>
                        <a:pt x="834" y="244"/>
                      </a:lnTo>
                      <a:lnTo>
                        <a:pt x="835" y="244"/>
                      </a:lnTo>
                      <a:lnTo>
                        <a:pt x="834" y="244"/>
                      </a:lnTo>
                      <a:lnTo>
                        <a:pt x="834" y="245"/>
                      </a:lnTo>
                      <a:lnTo>
                        <a:pt x="834" y="246"/>
                      </a:lnTo>
                      <a:lnTo>
                        <a:pt x="833" y="246"/>
                      </a:lnTo>
                      <a:lnTo>
                        <a:pt x="833" y="246"/>
                      </a:lnTo>
                      <a:lnTo>
                        <a:pt x="834" y="247"/>
                      </a:lnTo>
                      <a:lnTo>
                        <a:pt x="833" y="247"/>
                      </a:lnTo>
                      <a:lnTo>
                        <a:pt x="833" y="248"/>
                      </a:lnTo>
                      <a:lnTo>
                        <a:pt x="834" y="248"/>
                      </a:lnTo>
                      <a:lnTo>
                        <a:pt x="834" y="248"/>
                      </a:lnTo>
                      <a:lnTo>
                        <a:pt x="835" y="248"/>
                      </a:lnTo>
                      <a:lnTo>
                        <a:pt x="835" y="249"/>
                      </a:lnTo>
                      <a:lnTo>
                        <a:pt x="835" y="250"/>
                      </a:lnTo>
                      <a:lnTo>
                        <a:pt x="835" y="250"/>
                      </a:lnTo>
                      <a:lnTo>
                        <a:pt x="835" y="250"/>
                      </a:lnTo>
                      <a:lnTo>
                        <a:pt x="836" y="250"/>
                      </a:lnTo>
                      <a:lnTo>
                        <a:pt x="836" y="251"/>
                      </a:lnTo>
                      <a:lnTo>
                        <a:pt x="837" y="251"/>
                      </a:lnTo>
                      <a:lnTo>
                        <a:pt x="837" y="251"/>
                      </a:lnTo>
                      <a:lnTo>
                        <a:pt x="837" y="252"/>
                      </a:lnTo>
                      <a:lnTo>
                        <a:pt x="838" y="252"/>
                      </a:lnTo>
                      <a:lnTo>
                        <a:pt x="838" y="253"/>
                      </a:lnTo>
                      <a:lnTo>
                        <a:pt x="839" y="253"/>
                      </a:lnTo>
                      <a:lnTo>
                        <a:pt x="839" y="253"/>
                      </a:lnTo>
                      <a:lnTo>
                        <a:pt x="839" y="253"/>
                      </a:lnTo>
                      <a:lnTo>
                        <a:pt x="839" y="253"/>
                      </a:lnTo>
                      <a:lnTo>
                        <a:pt x="840" y="253"/>
                      </a:lnTo>
                      <a:lnTo>
                        <a:pt x="840" y="252"/>
                      </a:lnTo>
                      <a:lnTo>
                        <a:pt x="840" y="253"/>
                      </a:lnTo>
                      <a:lnTo>
                        <a:pt x="841" y="253"/>
                      </a:lnTo>
                      <a:lnTo>
                        <a:pt x="841" y="253"/>
                      </a:lnTo>
                      <a:lnTo>
                        <a:pt x="841" y="253"/>
                      </a:lnTo>
                      <a:lnTo>
                        <a:pt x="841" y="254"/>
                      </a:lnTo>
                      <a:lnTo>
                        <a:pt x="842" y="254"/>
                      </a:lnTo>
                      <a:lnTo>
                        <a:pt x="843" y="254"/>
                      </a:lnTo>
                      <a:lnTo>
                        <a:pt x="843" y="253"/>
                      </a:lnTo>
                      <a:lnTo>
                        <a:pt x="844" y="253"/>
                      </a:lnTo>
                      <a:lnTo>
                        <a:pt x="844" y="253"/>
                      </a:lnTo>
                      <a:lnTo>
                        <a:pt x="844" y="253"/>
                      </a:lnTo>
                      <a:lnTo>
                        <a:pt x="845" y="253"/>
                      </a:lnTo>
                      <a:lnTo>
                        <a:pt x="846" y="253"/>
                      </a:lnTo>
                      <a:lnTo>
                        <a:pt x="846" y="253"/>
                      </a:lnTo>
                      <a:lnTo>
                        <a:pt x="847" y="253"/>
                      </a:lnTo>
                      <a:lnTo>
                        <a:pt x="848" y="253"/>
                      </a:lnTo>
                      <a:lnTo>
                        <a:pt x="848" y="253"/>
                      </a:lnTo>
                      <a:lnTo>
                        <a:pt x="848" y="253"/>
                      </a:lnTo>
                      <a:lnTo>
                        <a:pt x="848" y="253"/>
                      </a:lnTo>
                      <a:lnTo>
                        <a:pt x="849" y="253"/>
                      </a:lnTo>
                      <a:lnTo>
                        <a:pt x="850" y="253"/>
                      </a:lnTo>
                      <a:lnTo>
                        <a:pt x="850" y="253"/>
                      </a:lnTo>
                      <a:lnTo>
                        <a:pt x="850" y="254"/>
                      </a:lnTo>
                      <a:lnTo>
                        <a:pt x="850" y="255"/>
                      </a:lnTo>
                      <a:lnTo>
                        <a:pt x="851" y="255"/>
                      </a:lnTo>
                      <a:lnTo>
                        <a:pt x="851" y="255"/>
                      </a:lnTo>
                      <a:lnTo>
                        <a:pt x="851" y="256"/>
                      </a:lnTo>
                      <a:lnTo>
                        <a:pt x="852" y="256"/>
                      </a:lnTo>
                      <a:lnTo>
                        <a:pt x="852" y="257"/>
                      </a:lnTo>
                      <a:lnTo>
                        <a:pt x="851" y="257"/>
                      </a:lnTo>
                      <a:lnTo>
                        <a:pt x="851" y="257"/>
                      </a:lnTo>
                      <a:lnTo>
                        <a:pt x="850" y="257"/>
                      </a:lnTo>
                      <a:lnTo>
                        <a:pt x="850" y="257"/>
                      </a:lnTo>
                      <a:lnTo>
                        <a:pt x="850" y="257"/>
                      </a:lnTo>
                      <a:lnTo>
                        <a:pt x="850" y="257"/>
                      </a:lnTo>
                      <a:lnTo>
                        <a:pt x="849" y="257"/>
                      </a:lnTo>
                      <a:lnTo>
                        <a:pt x="849" y="257"/>
                      </a:lnTo>
                      <a:lnTo>
                        <a:pt x="849" y="256"/>
                      </a:lnTo>
                      <a:lnTo>
                        <a:pt x="848" y="256"/>
                      </a:lnTo>
                      <a:lnTo>
                        <a:pt x="849" y="255"/>
                      </a:lnTo>
                      <a:lnTo>
                        <a:pt x="849" y="255"/>
                      </a:lnTo>
                      <a:lnTo>
                        <a:pt x="848" y="255"/>
                      </a:lnTo>
                      <a:lnTo>
                        <a:pt x="848" y="255"/>
                      </a:lnTo>
                      <a:lnTo>
                        <a:pt x="848" y="255"/>
                      </a:lnTo>
                      <a:lnTo>
                        <a:pt x="847" y="255"/>
                      </a:lnTo>
                      <a:lnTo>
                        <a:pt x="847" y="256"/>
                      </a:lnTo>
                      <a:lnTo>
                        <a:pt x="847" y="255"/>
                      </a:lnTo>
                      <a:lnTo>
                        <a:pt x="846" y="256"/>
                      </a:lnTo>
                      <a:lnTo>
                        <a:pt x="846" y="256"/>
                      </a:lnTo>
                      <a:lnTo>
                        <a:pt x="846" y="255"/>
                      </a:lnTo>
                      <a:lnTo>
                        <a:pt x="846" y="256"/>
                      </a:lnTo>
                      <a:lnTo>
                        <a:pt x="845" y="256"/>
                      </a:lnTo>
                      <a:lnTo>
                        <a:pt x="845" y="257"/>
                      </a:lnTo>
                      <a:lnTo>
                        <a:pt x="845" y="256"/>
                      </a:lnTo>
                      <a:lnTo>
                        <a:pt x="845" y="257"/>
                      </a:lnTo>
                      <a:lnTo>
                        <a:pt x="844" y="257"/>
                      </a:lnTo>
                      <a:lnTo>
                        <a:pt x="844" y="257"/>
                      </a:lnTo>
                      <a:lnTo>
                        <a:pt x="844" y="258"/>
                      </a:lnTo>
                      <a:lnTo>
                        <a:pt x="844" y="259"/>
                      </a:lnTo>
                      <a:lnTo>
                        <a:pt x="844" y="259"/>
                      </a:lnTo>
                      <a:lnTo>
                        <a:pt x="843" y="259"/>
                      </a:lnTo>
                      <a:lnTo>
                        <a:pt x="843" y="258"/>
                      </a:lnTo>
                      <a:lnTo>
                        <a:pt x="842" y="257"/>
                      </a:lnTo>
                      <a:lnTo>
                        <a:pt x="841" y="257"/>
                      </a:lnTo>
                      <a:lnTo>
                        <a:pt x="841" y="256"/>
                      </a:lnTo>
                      <a:lnTo>
                        <a:pt x="841" y="255"/>
                      </a:lnTo>
                      <a:lnTo>
                        <a:pt x="840" y="255"/>
                      </a:lnTo>
                      <a:lnTo>
                        <a:pt x="840" y="254"/>
                      </a:lnTo>
                      <a:lnTo>
                        <a:pt x="839" y="254"/>
                      </a:lnTo>
                      <a:lnTo>
                        <a:pt x="839" y="253"/>
                      </a:lnTo>
                      <a:lnTo>
                        <a:pt x="839" y="253"/>
                      </a:lnTo>
                      <a:lnTo>
                        <a:pt x="838" y="253"/>
                      </a:lnTo>
                      <a:lnTo>
                        <a:pt x="838" y="254"/>
                      </a:lnTo>
                      <a:lnTo>
                        <a:pt x="837" y="254"/>
                      </a:lnTo>
                      <a:lnTo>
                        <a:pt x="837" y="255"/>
                      </a:lnTo>
                      <a:lnTo>
                        <a:pt x="837" y="255"/>
                      </a:lnTo>
                      <a:lnTo>
                        <a:pt x="836" y="255"/>
                      </a:lnTo>
                      <a:lnTo>
                        <a:pt x="836" y="255"/>
                      </a:lnTo>
                      <a:lnTo>
                        <a:pt x="836" y="256"/>
                      </a:lnTo>
                      <a:lnTo>
                        <a:pt x="836" y="257"/>
                      </a:lnTo>
                      <a:lnTo>
                        <a:pt x="835" y="257"/>
                      </a:lnTo>
                      <a:lnTo>
                        <a:pt x="835" y="257"/>
                      </a:lnTo>
                      <a:lnTo>
                        <a:pt x="835" y="257"/>
                      </a:lnTo>
                      <a:lnTo>
                        <a:pt x="835" y="258"/>
                      </a:lnTo>
                      <a:lnTo>
                        <a:pt x="834" y="258"/>
                      </a:lnTo>
                      <a:lnTo>
                        <a:pt x="834" y="259"/>
                      </a:lnTo>
                      <a:lnTo>
                        <a:pt x="834" y="259"/>
                      </a:lnTo>
                      <a:lnTo>
                        <a:pt x="834" y="260"/>
                      </a:lnTo>
                      <a:lnTo>
                        <a:pt x="834" y="261"/>
                      </a:lnTo>
                      <a:lnTo>
                        <a:pt x="833" y="261"/>
                      </a:lnTo>
                      <a:lnTo>
                        <a:pt x="833" y="261"/>
                      </a:lnTo>
                      <a:lnTo>
                        <a:pt x="833" y="261"/>
                      </a:lnTo>
                      <a:lnTo>
                        <a:pt x="833" y="262"/>
                      </a:lnTo>
                      <a:lnTo>
                        <a:pt x="833" y="262"/>
                      </a:lnTo>
                      <a:lnTo>
                        <a:pt x="833" y="263"/>
                      </a:lnTo>
                      <a:lnTo>
                        <a:pt x="832" y="263"/>
                      </a:lnTo>
                      <a:lnTo>
                        <a:pt x="831" y="263"/>
                      </a:lnTo>
                      <a:lnTo>
                        <a:pt x="831" y="263"/>
                      </a:lnTo>
                      <a:lnTo>
                        <a:pt x="831" y="264"/>
                      </a:lnTo>
                      <a:lnTo>
                        <a:pt x="831" y="265"/>
                      </a:lnTo>
                      <a:lnTo>
                        <a:pt x="832" y="265"/>
                      </a:lnTo>
                      <a:lnTo>
                        <a:pt x="831" y="265"/>
                      </a:lnTo>
                      <a:lnTo>
                        <a:pt x="831" y="265"/>
                      </a:lnTo>
                      <a:lnTo>
                        <a:pt x="832" y="265"/>
                      </a:lnTo>
                      <a:lnTo>
                        <a:pt x="832" y="266"/>
                      </a:lnTo>
                      <a:lnTo>
                        <a:pt x="832" y="267"/>
                      </a:lnTo>
                      <a:lnTo>
                        <a:pt x="831" y="267"/>
                      </a:lnTo>
                      <a:lnTo>
                        <a:pt x="831" y="267"/>
                      </a:lnTo>
                      <a:lnTo>
                        <a:pt x="831" y="268"/>
                      </a:lnTo>
                      <a:lnTo>
                        <a:pt x="830" y="268"/>
                      </a:lnTo>
                      <a:lnTo>
                        <a:pt x="830" y="269"/>
                      </a:lnTo>
                      <a:lnTo>
                        <a:pt x="830" y="269"/>
                      </a:lnTo>
                      <a:lnTo>
                        <a:pt x="831" y="269"/>
                      </a:lnTo>
                      <a:lnTo>
                        <a:pt x="831" y="269"/>
                      </a:lnTo>
                      <a:lnTo>
                        <a:pt x="832" y="269"/>
                      </a:lnTo>
                      <a:lnTo>
                        <a:pt x="833" y="269"/>
                      </a:lnTo>
                      <a:lnTo>
                        <a:pt x="833" y="269"/>
                      </a:lnTo>
                      <a:lnTo>
                        <a:pt x="833" y="270"/>
                      </a:lnTo>
                      <a:lnTo>
                        <a:pt x="834" y="270"/>
                      </a:lnTo>
                      <a:lnTo>
                        <a:pt x="833" y="270"/>
                      </a:lnTo>
                      <a:lnTo>
                        <a:pt x="834" y="270"/>
                      </a:lnTo>
                      <a:lnTo>
                        <a:pt x="834" y="271"/>
                      </a:lnTo>
                      <a:lnTo>
                        <a:pt x="834" y="272"/>
                      </a:lnTo>
                      <a:lnTo>
                        <a:pt x="834" y="272"/>
                      </a:lnTo>
                      <a:lnTo>
                        <a:pt x="835" y="272"/>
                      </a:lnTo>
                      <a:lnTo>
                        <a:pt x="835" y="273"/>
                      </a:lnTo>
                      <a:lnTo>
                        <a:pt x="835" y="274"/>
                      </a:lnTo>
                      <a:lnTo>
                        <a:pt x="835" y="274"/>
                      </a:lnTo>
                      <a:lnTo>
                        <a:pt x="835" y="274"/>
                      </a:lnTo>
                      <a:lnTo>
                        <a:pt x="835" y="274"/>
                      </a:lnTo>
                      <a:lnTo>
                        <a:pt x="835" y="274"/>
                      </a:lnTo>
                      <a:lnTo>
                        <a:pt x="835" y="275"/>
                      </a:lnTo>
                      <a:lnTo>
                        <a:pt x="836" y="275"/>
                      </a:lnTo>
                      <a:lnTo>
                        <a:pt x="835" y="275"/>
                      </a:lnTo>
                      <a:lnTo>
                        <a:pt x="836" y="275"/>
                      </a:lnTo>
                      <a:lnTo>
                        <a:pt x="836" y="276"/>
                      </a:lnTo>
                      <a:lnTo>
                        <a:pt x="836" y="276"/>
                      </a:lnTo>
                      <a:lnTo>
                        <a:pt x="837" y="276"/>
                      </a:lnTo>
                      <a:lnTo>
                        <a:pt x="837" y="277"/>
                      </a:lnTo>
                      <a:lnTo>
                        <a:pt x="837" y="278"/>
                      </a:lnTo>
                      <a:lnTo>
                        <a:pt x="837" y="278"/>
                      </a:lnTo>
                      <a:lnTo>
                        <a:pt x="837" y="279"/>
                      </a:lnTo>
                      <a:lnTo>
                        <a:pt x="836" y="279"/>
                      </a:lnTo>
                      <a:lnTo>
                        <a:pt x="836" y="280"/>
                      </a:lnTo>
                      <a:lnTo>
                        <a:pt x="836" y="280"/>
                      </a:lnTo>
                      <a:lnTo>
                        <a:pt x="835" y="280"/>
                      </a:lnTo>
                      <a:lnTo>
                        <a:pt x="835" y="281"/>
                      </a:lnTo>
                      <a:lnTo>
                        <a:pt x="835" y="281"/>
                      </a:lnTo>
                      <a:lnTo>
                        <a:pt x="835" y="281"/>
                      </a:lnTo>
                      <a:lnTo>
                        <a:pt x="836" y="281"/>
                      </a:lnTo>
                      <a:lnTo>
                        <a:pt x="836" y="282"/>
                      </a:lnTo>
                      <a:lnTo>
                        <a:pt x="837" y="282"/>
                      </a:lnTo>
                      <a:lnTo>
                        <a:pt x="837" y="282"/>
                      </a:lnTo>
                      <a:lnTo>
                        <a:pt x="837" y="282"/>
                      </a:lnTo>
                      <a:lnTo>
                        <a:pt x="837" y="283"/>
                      </a:lnTo>
                      <a:lnTo>
                        <a:pt x="838" y="283"/>
                      </a:lnTo>
                      <a:lnTo>
                        <a:pt x="838" y="282"/>
                      </a:lnTo>
                      <a:lnTo>
                        <a:pt x="838" y="283"/>
                      </a:lnTo>
                      <a:lnTo>
                        <a:pt x="838" y="284"/>
                      </a:lnTo>
                      <a:lnTo>
                        <a:pt x="839" y="284"/>
                      </a:lnTo>
                      <a:lnTo>
                        <a:pt x="839" y="284"/>
                      </a:lnTo>
                      <a:lnTo>
                        <a:pt x="839" y="285"/>
                      </a:lnTo>
                      <a:lnTo>
                        <a:pt x="839" y="286"/>
                      </a:lnTo>
                      <a:lnTo>
                        <a:pt x="839" y="286"/>
                      </a:lnTo>
                      <a:lnTo>
                        <a:pt x="839" y="286"/>
                      </a:lnTo>
                      <a:lnTo>
                        <a:pt x="840" y="286"/>
                      </a:lnTo>
                      <a:lnTo>
                        <a:pt x="840" y="287"/>
                      </a:lnTo>
                      <a:lnTo>
                        <a:pt x="841" y="287"/>
                      </a:lnTo>
                      <a:lnTo>
                        <a:pt x="841" y="288"/>
                      </a:lnTo>
                      <a:lnTo>
                        <a:pt x="841" y="288"/>
                      </a:lnTo>
                      <a:lnTo>
                        <a:pt x="841" y="289"/>
                      </a:lnTo>
                      <a:lnTo>
                        <a:pt x="841" y="290"/>
                      </a:lnTo>
                      <a:lnTo>
                        <a:pt x="841" y="290"/>
                      </a:lnTo>
                      <a:lnTo>
                        <a:pt x="841" y="290"/>
                      </a:lnTo>
                      <a:lnTo>
                        <a:pt x="841" y="291"/>
                      </a:lnTo>
                      <a:lnTo>
                        <a:pt x="841" y="292"/>
                      </a:lnTo>
                      <a:lnTo>
                        <a:pt x="841" y="292"/>
                      </a:lnTo>
                      <a:lnTo>
                        <a:pt x="841" y="293"/>
                      </a:lnTo>
                      <a:lnTo>
                        <a:pt x="840" y="293"/>
                      </a:lnTo>
                      <a:lnTo>
                        <a:pt x="840" y="293"/>
                      </a:lnTo>
                      <a:lnTo>
                        <a:pt x="840" y="294"/>
                      </a:lnTo>
                      <a:lnTo>
                        <a:pt x="840" y="295"/>
                      </a:lnTo>
                      <a:lnTo>
                        <a:pt x="840" y="295"/>
                      </a:lnTo>
                      <a:lnTo>
                        <a:pt x="840" y="296"/>
                      </a:lnTo>
                      <a:lnTo>
                        <a:pt x="839" y="297"/>
                      </a:lnTo>
                      <a:lnTo>
                        <a:pt x="839" y="297"/>
                      </a:lnTo>
                      <a:lnTo>
                        <a:pt x="839" y="298"/>
                      </a:lnTo>
                      <a:lnTo>
                        <a:pt x="838" y="299"/>
                      </a:lnTo>
                      <a:lnTo>
                        <a:pt x="837" y="299"/>
                      </a:lnTo>
                      <a:lnTo>
                        <a:pt x="837" y="298"/>
                      </a:lnTo>
                      <a:lnTo>
                        <a:pt x="837" y="297"/>
                      </a:lnTo>
                      <a:lnTo>
                        <a:pt x="837" y="297"/>
                      </a:lnTo>
                      <a:lnTo>
                        <a:pt x="836" y="296"/>
                      </a:lnTo>
                      <a:lnTo>
                        <a:pt x="836" y="295"/>
                      </a:lnTo>
                      <a:lnTo>
                        <a:pt x="836" y="295"/>
                      </a:lnTo>
                      <a:lnTo>
                        <a:pt x="835" y="295"/>
                      </a:lnTo>
                      <a:lnTo>
                        <a:pt x="835" y="295"/>
                      </a:lnTo>
                      <a:lnTo>
                        <a:pt x="835" y="295"/>
                      </a:lnTo>
                      <a:lnTo>
                        <a:pt x="835" y="295"/>
                      </a:lnTo>
                      <a:lnTo>
                        <a:pt x="835" y="294"/>
                      </a:lnTo>
                      <a:lnTo>
                        <a:pt x="834" y="294"/>
                      </a:lnTo>
                      <a:lnTo>
                        <a:pt x="834" y="295"/>
                      </a:lnTo>
                      <a:lnTo>
                        <a:pt x="834" y="294"/>
                      </a:lnTo>
                      <a:lnTo>
                        <a:pt x="833" y="294"/>
                      </a:lnTo>
                      <a:lnTo>
                        <a:pt x="833" y="293"/>
                      </a:lnTo>
                      <a:lnTo>
                        <a:pt x="832" y="292"/>
                      </a:lnTo>
                      <a:lnTo>
                        <a:pt x="831" y="291"/>
                      </a:lnTo>
                      <a:lnTo>
                        <a:pt x="830" y="291"/>
                      </a:lnTo>
                      <a:lnTo>
                        <a:pt x="830" y="292"/>
                      </a:lnTo>
                      <a:lnTo>
                        <a:pt x="829" y="292"/>
                      </a:lnTo>
                      <a:lnTo>
                        <a:pt x="829" y="292"/>
                      </a:lnTo>
                      <a:lnTo>
                        <a:pt x="828" y="293"/>
                      </a:lnTo>
                      <a:lnTo>
                        <a:pt x="828" y="293"/>
                      </a:lnTo>
                      <a:lnTo>
                        <a:pt x="828" y="294"/>
                      </a:lnTo>
                      <a:lnTo>
                        <a:pt x="827" y="294"/>
                      </a:lnTo>
                      <a:lnTo>
                        <a:pt x="827" y="295"/>
                      </a:lnTo>
                      <a:lnTo>
                        <a:pt x="826" y="295"/>
                      </a:lnTo>
                      <a:lnTo>
                        <a:pt x="825" y="295"/>
                      </a:lnTo>
                      <a:lnTo>
                        <a:pt x="825" y="294"/>
                      </a:lnTo>
                      <a:lnTo>
                        <a:pt x="825" y="293"/>
                      </a:lnTo>
                      <a:lnTo>
                        <a:pt x="825" y="293"/>
                      </a:lnTo>
                      <a:lnTo>
                        <a:pt x="825" y="293"/>
                      </a:lnTo>
                      <a:lnTo>
                        <a:pt x="824" y="293"/>
                      </a:lnTo>
                      <a:lnTo>
                        <a:pt x="824" y="293"/>
                      </a:lnTo>
                      <a:lnTo>
                        <a:pt x="824" y="293"/>
                      </a:lnTo>
                      <a:lnTo>
                        <a:pt x="823" y="293"/>
                      </a:lnTo>
                      <a:lnTo>
                        <a:pt x="823" y="293"/>
                      </a:lnTo>
                      <a:lnTo>
                        <a:pt x="822" y="293"/>
                      </a:lnTo>
                      <a:lnTo>
                        <a:pt x="822" y="293"/>
                      </a:lnTo>
                      <a:lnTo>
                        <a:pt x="821" y="293"/>
                      </a:lnTo>
                      <a:lnTo>
                        <a:pt x="821" y="294"/>
                      </a:lnTo>
                      <a:lnTo>
                        <a:pt x="820" y="294"/>
                      </a:lnTo>
                      <a:lnTo>
                        <a:pt x="820" y="294"/>
                      </a:lnTo>
                      <a:lnTo>
                        <a:pt x="820" y="295"/>
                      </a:lnTo>
                      <a:lnTo>
                        <a:pt x="820" y="295"/>
                      </a:lnTo>
                      <a:lnTo>
                        <a:pt x="819" y="295"/>
                      </a:lnTo>
                      <a:lnTo>
                        <a:pt x="818" y="295"/>
                      </a:lnTo>
                      <a:lnTo>
                        <a:pt x="819" y="295"/>
                      </a:lnTo>
                      <a:lnTo>
                        <a:pt x="818" y="295"/>
                      </a:lnTo>
                      <a:lnTo>
                        <a:pt x="818" y="296"/>
                      </a:lnTo>
                      <a:lnTo>
                        <a:pt x="818" y="296"/>
                      </a:lnTo>
                      <a:lnTo>
                        <a:pt x="817" y="296"/>
                      </a:lnTo>
                      <a:lnTo>
                        <a:pt x="817" y="297"/>
                      </a:lnTo>
                      <a:lnTo>
                        <a:pt x="816" y="297"/>
                      </a:lnTo>
                      <a:lnTo>
                        <a:pt x="816" y="297"/>
                      </a:lnTo>
                      <a:lnTo>
                        <a:pt x="816" y="297"/>
                      </a:lnTo>
                      <a:lnTo>
                        <a:pt x="815" y="297"/>
                      </a:lnTo>
                      <a:lnTo>
                        <a:pt x="815" y="298"/>
                      </a:lnTo>
                      <a:lnTo>
                        <a:pt x="814" y="298"/>
                      </a:lnTo>
                      <a:lnTo>
                        <a:pt x="816" y="298"/>
                      </a:lnTo>
                      <a:lnTo>
                        <a:pt x="815" y="299"/>
                      </a:lnTo>
                      <a:lnTo>
                        <a:pt x="814" y="299"/>
                      </a:lnTo>
                      <a:lnTo>
                        <a:pt x="814" y="299"/>
                      </a:lnTo>
                      <a:lnTo>
                        <a:pt x="814" y="299"/>
                      </a:lnTo>
                      <a:lnTo>
                        <a:pt x="814" y="300"/>
                      </a:lnTo>
                      <a:lnTo>
                        <a:pt x="813" y="300"/>
                      </a:lnTo>
                      <a:lnTo>
                        <a:pt x="812" y="300"/>
                      </a:lnTo>
                      <a:lnTo>
                        <a:pt x="812" y="301"/>
                      </a:lnTo>
                      <a:lnTo>
                        <a:pt x="812" y="301"/>
                      </a:lnTo>
                      <a:lnTo>
                        <a:pt x="811" y="301"/>
                      </a:lnTo>
                      <a:lnTo>
                        <a:pt x="811" y="301"/>
                      </a:lnTo>
                      <a:lnTo>
                        <a:pt x="810" y="301"/>
                      </a:lnTo>
                      <a:lnTo>
                        <a:pt x="810" y="302"/>
                      </a:lnTo>
                      <a:lnTo>
                        <a:pt x="810" y="303"/>
                      </a:lnTo>
                      <a:lnTo>
                        <a:pt x="810" y="304"/>
                      </a:lnTo>
                      <a:lnTo>
                        <a:pt x="810" y="305"/>
                      </a:lnTo>
                      <a:lnTo>
                        <a:pt x="809" y="305"/>
                      </a:lnTo>
                      <a:lnTo>
                        <a:pt x="809" y="306"/>
                      </a:lnTo>
                      <a:lnTo>
                        <a:pt x="808" y="306"/>
                      </a:lnTo>
                      <a:lnTo>
                        <a:pt x="808" y="307"/>
                      </a:lnTo>
                      <a:lnTo>
                        <a:pt x="808" y="307"/>
                      </a:lnTo>
                      <a:lnTo>
                        <a:pt x="807" y="307"/>
                      </a:lnTo>
                      <a:lnTo>
                        <a:pt x="806" y="307"/>
                      </a:lnTo>
                      <a:lnTo>
                        <a:pt x="806" y="308"/>
                      </a:lnTo>
                      <a:lnTo>
                        <a:pt x="806" y="308"/>
                      </a:lnTo>
                      <a:lnTo>
                        <a:pt x="805" y="309"/>
                      </a:lnTo>
                      <a:lnTo>
                        <a:pt x="804" y="309"/>
                      </a:lnTo>
                      <a:lnTo>
                        <a:pt x="804" y="309"/>
                      </a:lnTo>
                      <a:lnTo>
                        <a:pt x="803" y="309"/>
                      </a:lnTo>
                      <a:lnTo>
                        <a:pt x="803" y="310"/>
                      </a:lnTo>
                      <a:lnTo>
                        <a:pt x="803" y="310"/>
                      </a:lnTo>
                      <a:lnTo>
                        <a:pt x="803" y="309"/>
                      </a:lnTo>
                      <a:lnTo>
                        <a:pt x="803" y="310"/>
                      </a:lnTo>
                      <a:lnTo>
                        <a:pt x="802" y="310"/>
                      </a:lnTo>
                      <a:lnTo>
                        <a:pt x="801" y="310"/>
                      </a:lnTo>
                      <a:lnTo>
                        <a:pt x="801" y="310"/>
                      </a:lnTo>
                      <a:lnTo>
                        <a:pt x="800" y="310"/>
                      </a:lnTo>
                      <a:lnTo>
                        <a:pt x="800" y="311"/>
                      </a:lnTo>
                      <a:lnTo>
                        <a:pt x="799" y="311"/>
                      </a:lnTo>
                      <a:lnTo>
                        <a:pt x="799" y="311"/>
                      </a:lnTo>
                      <a:lnTo>
                        <a:pt x="799" y="312"/>
                      </a:lnTo>
                      <a:lnTo>
                        <a:pt x="798" y="312"/>
                      </a:lnTo>
                      <a:lnTo>
                        <a:pt x="797" y="312"/>
                      </a:lnTo>
                      <a:lnTo>
                        <a:pt x="797" y="312"/>
                      </a:lnTo>
                      <a:lnTo>
                        <a:pt x="797" y="312"/>
                      </a:lnTo>
                      <a:lnTo>
                        <a:pt x="796" y="312"/>
                      </a:lnTo>
                      <a:lnTo>
                        <a:pt x="795" y="312"/>
                      </a:lnTo>
                      <a:lnTo>
                        <a:pt x="795" y="313"/>
                      </a:lnTo>
                      <a:lnTo>
                        <a:pt x="795" y="313"/>
                      </a:lnTo>
                      <a:lnTo>
                        <a:pt x="794" y="313"/>
                      </a:lnTo>
                      <a:lnTo>
                        <a:pt x="795" y="313"/>
                      </a:lnTo>
                      <a:lnTo>
                        <a:pt x="795" y="314"/>
                      </a:lnTo>
                      <a:lnTo>
                        <a:pt x="795" y="314"/>
                      </a:lnTo>
                      <a:lnTo>
                        <a:pt x="795" y="315"/>
                      </a:lnTo>
                      <a:lnTo>
                        <a:pt x="795" y="315"/>
                      </a:lnTo>
                      <a:lnTo>
                        <a:pt x="795" y="316"/>
                      </a:lnTo>
                      <a:lnTo>
                        <a:pt x="797" y="316"/>
                      </a:lnTo>
                      <a:lnTo>
                        <a:pt x="797" y="317"/>
                      </a:lnTo>
                      <a:lnTo>
                        <a:pt x="797" y="317"/>
                      </a:lnTo>
                      <a:lnTo>
                        <a:pt x="797" y="318"/>
                      </a:lnTo>
                      <a:lnTo>
                        <a:pt x="798" y="318"/>
                      </a:lnTo>
                      <a:lnTo>
                        <a:pt x="798" y="318"/>
                      </a:lnTo>
                      <a:lnTo>
                        <a:pt x="799" y="319"/>
                      </a:lnTo>
                      <a:lnTo>
                        <a:pt x="799" y="320"/>
                      </a:lnTo>
                      <a:lnTo>
                        <a:pt x="799" y="320"/>
                      </a:lnTo>
                      <a:lnTo>
                        <a:pt x="799" y="320"/>
                      </a:lnTo>
                      <a:lnTo>
                        <a:pt x="799" y="321"/>
                      </a:lnTo>
                      <a:lnTo>
                        <a:pt x="799" y="322"/>
                      </a:lnTo>
                      <a:lnTo>
                        <a:pt x="799" y="322"/>
                      </a:lnTo>
                      <a:lnTo>
                        <a:pt x="800" y="323"/>
                      </a:lnTo>
                      <a:lnTo>
                        <a:pt x="801" y="324"/>
                      </a:lnTo>
                      <a:lnTo>
                        <a:pt x="801" y="325"/>
                      </a:lnTo>
                      <a:lnTo>
                        <a:pt x="801" y="325"/>
                      </a:lnTo>
                      <a:lnTo>
                        <a:pt x="801" y="326"/>
                      </a:lnTo>
                      <a:lnTo>
                        <a:pt x="801" y="326"/>
                      </a:lnTo>
                      <a:lnTo>
                        <a:pt x="802" y="327"/>
                      </a:lnTo>
                      <a:lnTo>
                        <a:pt x="801" y="328"/>
                      </a:lnTo>
                      <a:lnTo>
                        <a:pt x="802" y="328"/>
                      </a:lnTo>
                      <a:lnTo>
                        <a:pt x="802" y="329"/>
                      </a:lnTo>
                      <a:lnTo>
                        <a:pt x="802" y="330"/>
                      </a:lnTo>
                      <a:lnTo>
                        <a:pt x="801" y="330"/>
                      </a:lnTo>
                      <a:lnTo>
                        <a:pt x="802" y="330"/>
                      </a:lnTo>
                      <a:lnTo>
                        <a:pt x="803" y="330"/>
                      </a:lnTo>
                      <a:lnTo>
                        <a:pt x="803" y="330"/>
                      </a:lnTo>
                      <a:lnTo>
                        <a:pt x="803" y="331"/>
                      </a:lnTo>
                      <a:lnTo>
                        <a:pt x="803" y="332"/>
                      </a:lnTo>
                      <a:lnTo>
                        <a:pt x="804" y="332"/>
                      </a:lnTo>
                      <a:lnTo>
                        <a:pt x="804" y="333"/>
                      </a:lnTo>
                      <a:lnTo>
                        <a:pt x="804" y="333"/>
                      </a:lnTo>
                      <a:lnTo>
                        <a:pt x="805" y="333"/>
                      </a:lnTo>
                      <a:lnTo>
                        <a:pt x="805" y="334"/>
                      </a:lnTo>
                      <a:lnTo>
                        <a:pt x="805" y="335"/>
                      </a:lnTo>
                      <a:lnTo>
                        <a:pt x="805" y="335"/>
                      </a:lnTo>
                      <a:lnTo>
                        <a:pt x="806" y="335"/>
                      </a:lnTo>
                      <a:lnTo>
                        <a:pt x="806" y="335"/>
                      </a:lnTo>
                      <a:lnTo>
                        <a:pt x="806" y="336"/>
                      </a:lnTo>
                      <a:lnTo>
                        <a:pt x="807" y="336"/>
                      </a:lnTo>
                      <a:lnTo>
                        <a:pt x="808" y="337"/>
                      </a:lnTo>
                      <a:lnTo>
                        <a:pt x="808" y="336"/>
                      </a:lnTo>
                      <a:lnTo>
                        <a:pt x="808" y="336"/>
                      </a:lnTo>
                      <a:lnTo>
                        <a:pt x="809" y="336"/>
                      </a:lnTo>
                      <a:lnTo>
                        <a:pt x="810" y="336"/>
                      </a:lnTo>
                      <a:lnTo>
                        <a:pt x="810" y="337"/>
                      </a:lnTo>
                      <a:lnTo>
                        <a:pt x="811" y="337"/>
                      </a:lnTo>
                      <a:lnTo>
                        <a:pt x="811" y="338"/>
                      </a:lnTo>
                      <a:lnTo>
                        <a:pt x="812" y="338"/>
                      </a:lnTo>
                      <a:lnTo>
                        <a:pt x="812" y="339"/>
                      </a:lnTo>
                      <a:lnTo>
                        <a:pt x="812" y="339"/>
                      </a:lnTo>
                      <a:lnTo>
                        <a:pt x="812" y="338"/>
                      </a:lnTo>
                      <a:lnTo>
                        <a:pt x="813" y="338"/>
                      </a:lnTo>
                      <a:lnTo>
                        <a:pt x="814" y="337"/>
                      </a:lnTo>
                      <a:lnTo>
                        <a:pt x="814" y="337"/>
                      </a:lnTo>
                      <a:lnTo>
                        <a:pt x="815" y="337"/>
                      </a:lnTo>
                      <a:lnTo>
                        <a:pt x="815" y="337"/>
                      </a:lnTo>
                      <a:lnTo>
                        <a:pt x="816" y="337"/>
                      </a:lnTo>
                      <a:lnTo>
                        <a:pt x="816" y="337"/>
                      </a:lnTo>
                      <a:lnTo>
                        <a:pt x="817" y="337"/>
                      </a:lnTo>
                      <a:lnTo>
                        <a:pt x="818" y="337"/>
                      </a:lnTo>
                      <a:lnTo>
                        <a:pt x="818" y="337"/>
                      </a:lnTo>
                      <a:lnTo>
                        <a:pt x="818" y="338"/>
                      </a:lnTo>
                      <a:lnTo>
                        <a:pt x="819" y="338"/>
                      </a:lnTo>
                      <a:lnTo>
                        <a:pt x="819" y="339"/>
                      </a:lnTo>
                      <a:lnTo>
                        <a:pt x="820" y="339"/>
                      </a:lnTo>
                      <a:lnTo>
                        <a:pt x="820" y="339"/>
                      </a:lnTo>
                      <a:lnTo>
                        <a:pt x="820" y="340"/>
                      </a:lnTo>
                      <a:lnTo>
                        <a:pt x="820" y="341"/>
                      </a:lnTo>
                      <a:lnTo>
                        <a:pt x="821" y="341"/>
                      </a:lnTo>
                      <a:lnTo>
                        <a:pt x="822" y="341"/>
                      </a:lnTo>
                      <a:lnTo>
                        <a:pt x="822" y="342"/>
                      </a:lnTo>
                      <a:lnTo>
                        <a:pt x="822" y="342"/>
                      </a:lnTo>
                      <a:lnTo>
                        <a:pt x="822" y="343"/>
                      </a:lnTo>
                      <a:lnTo>
                        <a:pt x="822" y="343"/>
                      </a:lnTo>
                      <a:lnTo>
                        <a:pt x="823" y="343"/>
                      </a:lnTo>
                      <a:lnTo>
                        <a:pt x="823" y="344"/>
                      </a:lnTo>
                      <a:lnTo>
                        <a:pt x="823" y="345"/>
                      </a:lnTo>
                      <a:lnTo>
                        <a:pt x="824" y="345"/>
                      </a:lnTo>
                      <a:lnTo>
                        <a:pt x="824" y="345"/>
                      </a:lnTo>
                      <a:lnTo>
                        <a:pt x="825" y="345"/>
                      </a:lnTo>
                      <a:lnTo>
                        <a:pt x="825" y="346"/>
                      </a:lnTo>
                      <a:lnTo>
                        <a:pt x="826" y="346"/>
                      </a:lnTo>
                      <a:lnTo>
                        <a:pt x="827" y="346"/>
                      </a:lnTo>
                      <a:lnTo>
                        <a:pt x="827" y="346"/>
                      </a:lnTo>
                      <a:lnTo>
                        <a:pt x="828" y="346"/>
                      </a:lnTo>
                      <a:lnTo>
                        <a:pt x="829" y="346"/>
                      </a:lnTo>
                      <a:lnTo>
                        <a:pt x="829" y="347"/>
                      </a:lnTo>
                      <a:lnTo>
                        <a:pt x="829" y="347"/>
                      </a:lnTo>
                      <a:lnTo>
                        <a:pt x="829" y="347"/>
                      </a:lnTo>
                      <a:lnTo>
                        <a:pt x="829" y="348"/>
                      </a:lnTo>
                      <a:lnTo>
                        <a:pt x="830" y="348"/>
                      </a:lnTo>
                      <a:lnTo>
                        <a:pt x="831" y="349"/>
                      </a:lnTo>
                      <a:lnTo>
                        <a:pt x="831" y="349"/>
                      </a:lnTo>
                      <a:lnTo>
                        <a:pt x="832" y="349"/>
                      </a:lnTo>
                      <a:lnTo>
                        <a:pt x="832" y="349"/>
                      </a:lnTo>
                      <a:lnTo>
                        <a:pt x="833" y="349"/>
                      </a:lnTo>
                      <a:lnTo>
                        <a:pt x="833" y="349"/>
                      </a:lnTo>
                      <a:lnTo>
                        <a:pt x="833" y="349"/>
                      </a:lnTo>
                      <a:lnTo>
                        <a:pt x="834" y="349"/>
                      </a:lnTo>
                      <a:lnTo>
                        <a:pt x="835" y="349"/>
                      </a:lnTo>
                      <a:lnTo>
                        <a:pt x="835" y="349"/>
                      </a:lnTo>
                      <a:lnTo>
                        <a:pt x="836" y="349"/>
                      </a:lnTo>
                      <a:lnTo>
                        <a:pt x="837" y="349"/>
                      </a:lnTo>
                      <a:lnTo>
                        <a:pt x="837" y="350"/>
                      </a:lnTo>
                      <a:lnTo>
                        <a:pt x="837" y="350"/>
                      </a:lnTo>
                      <a:lnTo>
                        <a:pt x="838" y="350"/>
                      </a:lnTo>
                      <a:lnTo>
                        <a:pt x="839" y="350"/>
                      </a:lnTo>
                      <a:lnTo>
                        <a:pt x="839" y="350"/>
                      </a:lnTo>
                      <a:lnTo>
                        <a:pt x="840" y="351"/>
                      </a:lnTo>
                      <a:lnTo>
                        <a:pt x="841" y="351"/>
                      </a:lnTo>
                      <a:lnTo>
                        <a:pt x="841" y="352"/>
                      </a:lnTo>
                      <a:lnTo>
                        <a:pt x="840" y="352"/>
                      </a:lnTo>
                      <a:lnTo>
                        <a:pt x="841" y="352"/>
                      </a:lnTo>
                      <a:lnTo>
                        <a:pt x="841" y="352"/>
                      </a:lnTo>
                      <a:lnTo>
                        <a:pt x="841" y="353"/>
                      </a:lnTo>
                      <a:lnTo>
                        <a:pt x="841" y="353"/>
                      </a:lnTo>
                      <a:lnTo>
                        <a:pt x="841" y="354"/>
                      </a:lnTo>
                      <a:lnTo>
                        <a:pt x="841" y="354"/>
                      </a:lnTo>
                      <a:lnTo>
                        <a:pt x="841" y="355"/>
                      </a:lnTo>
                      <a:lnTo>
                        <a:pt x="842" y="356"/>
                      </a:lnTo>
                      <a:lnTo>
                        <a:pt x="842" y="356"/>
                      </a:lnTo>
                      <a:lnTo>
                        <a:pt x="843" y="356"/>
                      </a:lnTo>
                      <a:lnTo>
                        <a:pt x="843" y="357"/>
                      </a:lnTo>
                      <a:lnTo>
                        <a:pt x="843" y="358"/>
                      </a:lnTo>
                      <a:lnTo>
                        <a:pt x="844" y="358"/>
                      </a:lnTo>
                      <a:lnTo>
                        <a:pt x="844" y="358"/>
                      </a:lnTo>
                      <a:lnTo>
                        <a:pt x="844" y="358"/>
                      </a:lnTo>
                      <a:lnTo>
                        <a:pt x="844" y="359"/>
                      </a:lnTo>
                      <a:lnTo>
                        <a:pt x="845" y="359"/>
                      </a:lnTo>
                      <a:lnTo>
                        <a:pt x="845" y="360"/>
                      </a:lnTo>
                      <a:lnTo>
                        <a:pt x="845" y="360"/>
                      </a:lnTo>
                      <a:lnTo>
                        <a:pt x="845" y="361"/>
                      </a:lnTo>
                      <a:lnTo>
                        <a:pt x="845" y="362"/>
                      </a:lnTo>
                      <a:lnTo>
                        <a:pt x="845" y="362"/>
                      </a:lnTo>
                      <a:lnTo>
                        <a:pt x="845" y="363"/>
                      </a:lnTo>
                      <a:lnTo>
                        <a:pt x="845" y="364"/>
                      </a:lnTo>
                      <a:lnTo>
                        <a:pt x="845" y="364"/>
                      </a:lnTo>
                      <a:lnTo>
                        <a:pt x="845" y="365"/>
                      </a:lnTo>
                      <a:lnTo>
                        <a:pt x="844" y="365"/>
                      </a:lnTo>
                      <a:lnTo>
                        <a:pt x="844" y="366"/>
                      </a:lnTo>
                      <a:lnTo>
                        <a:pt x="844" y="366"/>
                      </a:lnTo>
                      <a:lnTo>
                        <a:pt x="844" y="367"/>
                      </a:lnTo>
                      <a:lnTo>
                        <a:pt x="844" y="368"/>
                      </a:lnTo>
                      <a:lnTo>
                        <a:pt x="845" y="368"/>
                      </a:lnTo>
                      <a:lnTo>
                        <a:pt x="845" y="368"/>
                      </a:lnTo>
                      <a:lnTo>
                        <a:pt x="845" y="369"/>
                      </a:lnTo>
                      <a:lnTo>
                        <a:pt x="846" y="369"/>
                      </a:lnTo>
                      <a:lnTo>
                        <a:pt x="846" y="370"/>
                      </a:lnTo>
                      <a:lnTo>
                        <a:pt x="846" y="370"/>
                      </a:lnTo>
                      <a:lnTo>
                        <a:pt x="846" y="371"/>
                      </a:lnTo>
                      <a:lnTo>
                        <a:pt x="846" y="371"/>
                      </a:lnTo>
                      <a:lnTo>
                        <a:pt x="846" y="372"/>
                      </a:lnTo>
                      <a:lnTo>
                        <a:pt x="846" y="373"/>
                      </a:lnTo>
                      <a:lnTo>
                        <a:pt x="847" y="373"/>
                      </a:lnTo>
                      <a:lnTo>
                        <a:pt x="847" y="373"/>
                      </a:lnTo>
                      <a:lnTo>
                        <a:pt x="848" y="374"/>
                      </a:lnTo>
                      <a:lnTo>
                        <a:pt x="848" y="375"/>
                      </a:lnTo>
                      <a:lnTo>
                        <a:pt x="848" y="375"/>
                      </a:lnTo>
                      <a:lnTo>
                        <a:pt x="848" y="375"/>
                      </a:lnTo>
                      <a:lnTo>
                        <a:pt x="849" y="375"/>
                      </a:lnTo>
                      <a:lnTo>
                        <a:pt x="849" y="376"/>
                      </a:lnTo>
                      <a:lnTo>
                        <a:pt x="850" y="377"/>
                      </a:lnTo>
                      <a:lnTo>
                        <a:pt x="850" y="377"/>
                      </a:lnTo>
                      <a:lnTo>
                        <a:pt x="849" y="378"/>
                      </a:lnTo>
                      <a:lnTo>
                        <a:pt x="850" y="378"/>
                      </a:lnTo>
                      <a:lnTo>
                        <a:pt x="850" y="379"/>
                      </a:lnTo>
                      <a:lnTo>
                        <a:pt x="850" y="379"/>
                      </a:lnTo>
                      <a:lnTo>
                        <a:pt x="850" y="380"/>
                      </a:lnTo>
                      <a:lnTo>
                        <a:pt x="850" y="381"/>
                      </a:lnTo>
                      <a:lnTo>
                        <a:pt x="851" y="381"/>
                      </a:lnTo>
                      <a:lnTo>
                        <a:pt x="852" y="381"/>
                      </a:lnTo>
                      <a:lnTo>
                        <a:pt x="852" y="382"/>
                      </a:lnTo>
                      <a:lnTo>
                        <a:pt x="852" y="382"/>
                      </a:lnTo>
                      <a:lnTo>
                        <a:pt x="852" y="383"/>
                      </a:lnTo>
                      <a:lnTo>
                        <a:pt x="853" y="383"/>
                      </a:lnTo>
                      <a:lnTo>
                        <a:pt x="853" y="382"/>
                      </a:lnTo>
                      <a:lnTo>
                        <a:pt x="854" y="383"/>
                      </a:lnTo>
                      <a:lnTo>
                        <a:pt x="854" y="383"/>
                      </a:lnTo>
                      <a:lnTo>
                        <a:pt x="855" y="383"/>
                      </a:lnTo>
                      <a:lnTo>
                        <a:pt x="856" y="383"/>
                      </a:lnTo>
                      <a:lnTo>
                        <a:pt x="856" y="383"/>
                      </a:lnTo>
                      <a:lnTo>
                        <a:pt x="856" y="383"/>
                      </a:lnTo>
                      <a:lnTo>
                        <a:pt x="857" y="383"/>
                      </a:lnTo>
                      <a:lnTo>
                        <a:pt x="858" y="384"/>
                      </a:lnTo>
                      <a:lnTo>
                        <a:pt x="858" y="385"/>
                      </a:lnTo>
                      <a:lnTo>
                        <a:pt x="858" y="385"/>
                      </a:lnTo>
                      <a:lnTo>
                        <a:pt x="858" y="384"/>
                      </a:lnTo>
                      <a:lnTo>
                        <a:pt x="859" y="384"/>
                      </a:lnTo>
                      <a:lnTo>
                        <a:pt x="860" y="384"/>
                      </a:lnTo>
                      <a:lnTo>
                        <a:pt x="860" y="385"/>
                      </a:lnTo>
                      <a:lnTo>
                        <a:pt x="860" y="385"/>
                      </a:lnTo>
                      <a:lnTo>
                        <a:pt x="860" y="385"/>
                      </a:lnTo>
                      <a:lnTo>
                        <a:pt x="861" y="386"/>
                      </a:lnTo>
                      <a:lnTo>
                        <a:pt x="861" y="387"/>
                      </a:lnTo>
                      <a:lnTo>
                        <a:pt x="862" y="387"/>
                      </a:lnTo>
                      <a:lnTo>
                        <a:pt x="862" y="388"/>
                      </a:lnTo>
                      <a:lnTo>
                        <a:pt x="863" y="389"/>
                      </a:lnTo>
                      <a:lnTo>
                        <a:pt x="863" y="390"/>
                      </a:lnTo>
                      <a:lnTo>
                        <a:pt x="863" y="390"/>
                      </a:lnTo>
                      <a:lnTo>
                        <a:pt x="863" y="391"/>
                      </a:lnTo>
                      <a:lnTo>
                        <a:pt x="863" y="392"/>
                      </a:lnTo>
                      <a:lnTo>
                        <a:pt x="863" y="392"/>
                      </a:lnTo>
                      <a:lnTo>
                        <a:pt x="864" y="392"/>
                      </a:lnTo>
                      <a:lnTo>
                        <a:pt x="864" y="393"/>
                      </a:lnTo>
                      <a:lnTo>
                        <a:pt x="865" y="393"/>
                      </a:lnTo>
                      <a:lnTo>
                        <a:pt x="865" y="394"/>
                      </a:lnTo>
                      <a:lnTo>
                        <a:pt x="865" y="394"/>
                      </a:lnTo>
                      <a:lnTo>
                        <a:pt x="866" y="394"/>
                      </a:lnTo>
                      <a:lnTo>
                        <a:pt x="867" y="394"/>
                      </a:lnTo>
                      <a:lnTo>
                        <a:pt x="867" y="394"/>
                      </a:lnTo>
                      <a:lnTo>
                        <a:pt x="868" y="394"/>
                      </a:lnTo>
                      <a:lnTo>
                        <a:pt x="869" y="394"/>
                      </a:lnTo>
                      <a:lnTo>
                        <a:pt x="869" y="394"/>
                      </a:lnTo>
                      <a:lnTo>
                        <a:pt x="870" y="394"/>
                      </a:lnTo>
                      <a:lnTo>
                        <a:pt x="871" y="394"/>
                      </a:lnTo>
                      <a:lnTo>
                        <a:pt x="871" y="394"/>
                      </a:lnTo>
                      <a:lnTo>
                        <a:pt x="872" y="394"/>
                      </a:lnTo>
                      <a:lnTo>
                        <a:pt x="873" y="394"/>
                      </a:lnTo>
                      <a:lnTo>
                        <a:pt x="873" y="395"/>
                      </a:lnTo>
                      <a:lnTo>
                        <a:pt x="873" y="395"/>
                      </a:lnTo>
                      <a:lnTo>
                        <a:pt x="874" y="395"/>
                      </a:lnTo>
                      <a:lnTo>
                        <a:pt x="875" y="396"/>
                      </a:lnTo>
                      <a:lnTo>
                        <a:pt x="875" y="396"/>
                      </a:lnTo>
                      <a:lnTo>
                        <a:pt x="876" y="396"/>
                      </a:lnTo>
                      <a:lnTo>
                        <a:pt x="877" y="396"/>
                      </a:lnTo>
                      <a:lnTo>
                        <a:pt x="877" y="396"/>
                      </a:lnTo>
                      <a:lnTo>
                        <a:pt x="878" y="396"/>
                      </a:lnTo>
                      <a:lnTo>
                        <a:pt x="879" y="396"/>
                      </a:lnTo>
                      <a:lnTo>
                        <a:pt x="879" y="396"/>
                      </a:lnTo>
                      <a:lnTo>
                        <a:pt x="880" y="396"/>
                      </a:lnTo>
                      <a:lnTo>
                        <a:pt x="881" y="396"/>
                      </a:lnTo>
                      <a:lnTo>
                        <a:pt x="881" y="397"/>
                      </a:lnTo>
                      <a:lnTo>
                        <a:pt x="882" y="397"/>
                      </a:lnTo>
                      <a:lnTo>
                        <a:pt x="882" y="396"/>
                      </a:lnTo>
                      <a:lnTo>
                        <a:pt x="882" y="397"/>
                      </a:lnTo>
                      <a:lnTo>
                        <a:pt x="883" y="397"/>
                      </a:lnTo>
                      <a:lnTo>
                        <a:pt x="884" y="397"/>
                      </a:lnTo>
                      <a:lnTo>
                        <a:pt x="884" y="397"/>
                      </a:lnTo>
                      <a:lnTo>
                        <a:pt x="885" y="397"/>
                      </a:lnTo>
                      <a:lnTo>
                        <a:pt x="886" y="398"/>
                      </a:lnTo>
                      <a:lnTo>
                        <a:pt x="886" y="398"/>
                      </a:lnTo>
                      <a:lnTo>
                        <a:pt x="887" y="398"/>
                      </a:lnTo>
                      <a:lnTo>
                        <a:pt x="887" y="399"/>
                      </a:lnTo>
                      <a:lnTo>
                        <a:pt x="888" y="400"/>
                      </a:lnTo>
                      <a:lnTo>
                        <a:pt x="888" y="400"/>
                      </a:lnTo>
                      <a:lnTo>
                        <a:pt x="888" y="401"/>
                      </a:lnTo>
                      <a:lnTo>
                        <a:pt x="888" y="402"/>
                      </a:lnTo>
                      <a:lnTo>
                        <a:pt x="888" y="402"/>
                      </a:lnTo>
                      <a:lnTo>
                        <a:pt x="889" y="403"/>
                      </a:lnTo>
                      <a:lnTo>
                        <a:pt x="890" y="404"/>
                      </a:lnTo>
                      <a:lnTo>
                        <a:pt x="890" y="404"/>
                      </a:lnTo>
                      <a:lnTo>
                        <a:pt x="891" y="404"/>
                      </a:lnTo>
                      <a:lnTo>
                        <a:pt x="892" y="404"/>
                      </a:lnTo>
                      <a:lnTo>
                        <a:pt x="892" y="404"/>
                      </a:lnTo>
                      <a:lnTo>
                        <a:pt x="893" y="404"/>
                      </a:lnTo>
                      <a:lnTo>
                        <a:pt x="893" y="405"/>
                      </a:lnTo>
                      <a:lnTo>
                        <a:pt x="894" y="406"/>
                      </a:lnTo>
                      <a:lnTo>
                        <a:pt x="894" y="406"/>
                      </a:lnTo>
                      <a:lnTo>
                        <a:pt x="895" y="406"/>
                      </a:lnTo>
                      <a:lnTo>
                        <a:pt x="895" y="406"/>
                      </a:lnTo>
                      <a:lnTo>
                        <a:pt x="896" y="406"/>
                      </a:lnTo>
                      <a:lnTo>
                        <a:pt x="896" y="406"/>
                      </a:lnTo>
                      <a:lnTo>
                        <a:pt x="897" y="406"/>
                      </a:lnTo>
                      <a:lnTo>
                        <a:pt x="898" y="406"/>
                      </a:lnTo>
                      <a:lnTo>
                        <a:pt x="898" y="406"/>
                      </a:lnTo>
                      <a:lnTo>
                        <a:pt x="899" y="406"/>
                      </a:lnTo>
                      <a:lnTo>
                        <a:pt x="900" y="406"/>
                      </a:lnTo>
                      <a:lnTo>
                        <a:pt x="900" y="407"/>
                      </a:lnTo>
                      <a:lnTo>
                        <a:pt x="901" y="407"/>
                      </a:lnTo>
                      <a:lnTo>
                        <a:pt x="901" y="408"/>
                      </a:lnTo>
                      <a:lnTo>
                        <a:pt x="901" y="408"/>
                      </a:lnTo>
                      <a:lnTo>
                        <a:pt x="901" y="408"/>
                      </a:lnTo>
                      <a:lnTo>
                        <a:pt x="902" y="408"/>
                      </a:lnTo>
                      <a:lnTo>
                        <a:pt x="902" y="409"/>
                      </a:lnTo>
                      <a:lnTo>
                        <a:pt x="902" y="410"/>
                      </a:lnTo>
                      <a:lnTo>
                        <a:pt x="903" y="410"/>
                      </a:lnTo>
                      <a:lnTo>
                        <a:pt x="903" y="410"/>
                      </a:lnTo>
                      <a:lnTo>
                        <a:pt x="904" y="411"/>
                      </a:lnTo>
                      <a:lnTo>
                        <a:pt x="905" y="411"/>
                      </a:lnTo>
                      <a:lnTo>
                        <a:pt x="905" y="411"/>
                      </a:lnTo>
                      <a:lnTo>
                        <a:pt x="905" y="412"/>
                      </a:lnTo>
                      <a:lnTo>
                        <a:pt x="905" y="412"/>
                      </a:lnTo>
                      <a:lnTo>
                        <a:pt x="905" y="411"/>
                      </a:lnTo>
                      <a:lnTo>
                        <a:pt x="906" y="411"/>
                      </a:lnTo>
                      <a:lnTo>
                        <a:pt x="907" y="412"/>
                      </a:lnTo>
                      <a:lnTo>
                        <a:pt x="907" y="412"/>
                      </a:lnTo>
                      <a:lnTo>
                        <a:pt x="908" y="412"/>
                      </a:lnTo>
                      <a:lnTo>
                        <a:pt x="909" y="412"/>
                      </a:lnTo>
                      <a:lnTo>
                        <a:pt x="909" y="412"/>
                      </a:lnTo>
                      <a:lnTo>
                        <a:pt x="909" y="411"/>
                      </a:lnTo>
                      <a:lnTo>
                        <a:pt x="910" y="411"/>
                      </a:lnTo>
                      <a:lnTo>
                        <a:pt x="911" y="411"/>
                      </a:lnTo>
                      <a:lnTo>
                        <a:pt x="911" y="411"/>
                      </a:lnTo>
                      <a:lnTo>
                        <a:pt x="912" y="411"/>
                      </a:lnTo>
                      <a:lnTo>
                        <a:pt x="913" y="411"/>
                      </a:lnTo>
                      <a:lnTo>
                        <a:pt x="913" y="411"/>
                      </a:lnTo>
                      <a:lnTo>
                        <a:pt x="914" y="411"/>
                      </a:lnTo>
                      <a:lnTo>
                        <a:pt x="915" y="411"/>
                      </a:lnTo>
                      <a:lnTo>
                        <a:pt x="915" y="411"/>
                      </a:lnTo>
                      <a:lnTo>
                        <a:pt x="915" y="411"/>
                      </a:lnTo>
                      <a:lnTo>
                        <a:pt x="916" y="411"/>
                      </a:lnTo>
                      <a:lnTo>
                        <a:pt x="917" y="411"/>
                      </a:lnTo>
                      <a:lnTo>
                        <a:pt x="917" y="411"/>
                      </a:lnTo>
                      <a:lnTo>
                        <a:pt x="918" y="411"/>
                      </a:lnTo>
                      <a:lnTo>
                        <a:pt x="918" y="410"/>
                      </a:lnTo>
                      <a:lnTo>
                        <a:pt x="919" y="410"/>
                      </a:lnTo>
                      <a:lnTo>
                        <a:pt x="920" y="410"/>
                      </a:lnTo>
                      <a:lnTo>
                        <a:pt x="920" y="409"/>
                      </a:lnTo>
                      <a:lnTo>
                        <a:pt x="921" y="409"/>
                      </a:lnTo>
                      <a:lnTo>
                        <a:pt x="922" y="409"/>
                      </a:lnTo>
                      <a:lnTo>
                        <a:pt x="922" y="409"/>
                      </a:lnTo>
                      <a:lnTo>
                        <a:pt x="922" y="410"/>
                      </a:lnTo>
                      <a:lnTo>
                        <a:pt x="923" y="410"/>
                      </a:lnTo>
                      <a:lnTo>
                        <a:pt x="923" y="411"/>
                      </a:lnTo>
                      <a:lnTo>
                        <a:pt x="923" y="411"/>
                      </a:lnTo>
                      <a:lnTo>
                        <a:pt x="924" y="411"/>
                      </a:lnTo>
                      <a:lnTo>
                        <a:pt x="924" y="412"/>
                      </a:lnTo>
                      <a:lnTo>
                        <a:pt x="924" y="412"/>
                      </a:lnTo>
                      <a:lnTo>
                        <a:pt x="925" y="412"/>
                      </a:lnTo>
                      <a:lnTo>
                        <a:pt x="926" y="412"/>
                      </a:lnTo>
                      <a:lnTo>
                        <a:pt x="926" y="413"/>
                      </a:lnTo>
                      <a:lnTo>
                        <a:pt x="926" y="413"/>
                      </a:lnTo>
                      <a:lnTo>
                        <a:pt x="926" y="413"/>
                      </a:lnTo>
                      <a:lnTo>
                        <a:pt x="927" y="413"/>
                      </a:lnTo>
                      <a:lnTo>
                        <a:pt x="928" y="413"/>
                      </a:lnTo>
                      <a:lnTo>
                        <a:pt x="928" y="414"/>
                      </a:lnTo>
                      <a:lnTo>
                        <a:pt x="929" y="414"/>
                      </a:lnTo>
                      <a:lnTo>
                        <a:pt x="930" y="414"/>
                      </a:lnTo>
                      <a:lnTo>
                        <a:pt x="930" y="414"/>
                      </a:lnTo>
                      <a:lnTo>
                        <a:pt x="931" y="413"/>
                      </a:lnTo>
                      <a:lnTo>
                        <a:pt x="932" y="413"/>
                      </a:lnTo>
                      <a:lnTo>
                        <a:pt x="932" y="413"/>
                      </a:lnTo>
                      <a:lnTo>
                        <a:pt x="932" y="413"/>
                      </a:lnTo>
                      <a:lnTo>
                        <a:pt x="932" y="412"/>
                      </a:lnTo>
                      <a:lnTo>
                        <a:pt x="932" y="411"/>
                      </a:lnTo>
                      <a:lnTo>
                        <a:pt x="933" y="411"/>
                      </a:lnTo>
                      <a:lnTo>
                        <a:pt x="934" y="411"/>
                      </a:lnTo>
                      <a:lnTo>
                        <a:pt x="934" y="411"/>
                      </a:lnTo>
                      <a:lnTo>
                        <a:pt x="934" y="410"/>
                      </a:lnTo>
                      <a:lnTo>
                        <a:pt x="934" y="410"/>
                      </a:lnTo>
                      <a:lnTo>
                        <a:pt x="934" y="409"/>
                      </a:lnTo>
                      <a:lnTo>
                        <a:pt x="935" y="409"/>
                      </a:lnTo>
                      <a:lnTo>
                        <a:pt x="936" y="409"/>
                      </a:lnTo>
                      <a:lnTo>
                        <a:pt x="937" y="409"/>
                      </a:lnTo>
                      <a:lnTo>
                        <a:pt x="937" y="409"/>
                      </a:lnTo>
                      <a:lnTo>
                        <a:pt x="937" y="408"/>
                      </a:lnTo>
                      <a:lnTo>
                        <a:pt x="938" y="408"/>
                      </a:lnTo>
                      <a:lnTo>
                        <a:pt x="939" y="407"/>
                      </a:lnTo>
                      <a:lnTo>
                        <a:pt x="939" y="406"/>
                      </a:lnTo>
                      <a:lnTo>
                        <a:pt x="939" y="406"/>
                      </a:lnTo>
                      <a:lnTo>
                        <a:pt x="940" y="406"/>
                      </a:lnTo>
                      <a:lnTo>
                        <a:pt x="941" y="405"/>
                      </a:lnTo>
                      <a:lnTo>
                        <a:pt x="941" y="405"/>
                      </a:lnTo>
                      <a:lnTo>
                        <a:pt x="943" y="405"/>
                      </a:lnTo>
                      <a:lnTo>
                        <a:pt x="943" y="404"/>
                      </a:lnTo>
                      <a:lnTo>
                        <a:pt x="944" y="405"/>
                      </a:lnTo>
                      <a:lnTo>
                        <a:pt x="945" y="405"/>
                      </a:lnTo>
                      <a:lnTo>
                        <a:pt x="945" y="405"/>
                      </a:lnTo>
                      <a:lnTo>
                        <a:pt x="946" y="405"/>
                      </a:lnTo>
                      <a:lnTo>
                        <a:pt x="947" y="405"/>
                      </a:lnTo>
                      <a:lnTo>
                        <a:pt x="947" y="404"/>
                      </a:lnTo>
                      <a:lnTo>
                        <a:pt x="948" y="404"/>
                      </a:lnTo>
                      <a:lnTo>
                        <a:pt x="949" y="404"/>
                      </a:lnTo>
                      <a:lnTo>
                        <a:pt x="950" y="403"/>
                      </a:lnTo>
                      <a:lnTo>
                        <a:pt x="951" y="403"/>
                      </a:lnTo>
                      <a:lnTo>
                        <a:pt x="951" y="404"/>
                      </a:lnTo>
                      <a:lnTo>
                        <a:pt x="952" y="404"/>
                      </a:lnTo>
                      <a:lnTo>
                        <a:pt x="953" y="404"/>
                      </a:lnTo>
                      <a:lnTo>
                        <a:pt x="953" y="405"/>
                      </a:lnTo>
                      <a:lnTo>
                        <a:pt x="953" y="405"/>
                      </a:lnTo>
                      <a:lnTo>
                        <a:pt x="953" y="406"/>
                      </a:lnTo>
                      <a:lnTo>
                        <a:pt x="954" y="406"/>
                      </a:lnTo>
                      <a:lnTo>
                        <a:pt x="955" y="406"/>
                      </a:lnTo>
                      <a:lnTo>
                        <a:pt x="956" y="406"/>
                      </a:lnTo>
                      <a:lnTo>
                        <a:pt x="956" y="406"/>
                      </a:lnTo>
                      <a:lnTo>
                        <a:pt x="957" y="406"/>
                      </a:lnTo>
                      <a:lnTo>
                        <a:pt x="958" y="406"/>
                      </a:lnTo>
                      <a:lnTo>
                        <a:pt x="958" y="406"/>
                      </a:lnTo>
                      <a:lnTo>
                        <a:pt x="959" y="406"/>
                      </a:lnTo>
                      <a:lnTo>
                        <a:pt x="960" y="407"/>
                      </a:lnTo>
                      <a:lnTo>
                        <a:pt x="960" y="407"/>
                      </a:lnTo>
                      <a:lnTo>
                        <a:pt x="961" y="407"/>
                      </a:lnTo>
                      <a:lnTo>
                        <a:pt x="962" y="407"/>
                      </a:lnTo>
                      <a:lnTo>
                        <a:pt x="962" y="407"/>
                      </a:lnTo>
                      <a:lnTo>
                        <a:pt x="963" y="407"/>
                      </a:lnTo>
                      <a:lnTo>
                        <a:pt x="964" y="406"/>
                      </a:lnTo>
                      <a:lnTo>
                        <a:pt x="964" y="406"/>
                      </a:lnTo>
                      <a:lnTo>
                        <a:pt x="964" y="406"/>
                      </a:lnTo>
                      <a:lnTo>
                        <a:pt x="964" y="405"/>
                      </a:lnTo>
                      <a:lnTo>
                        <a:pt x="965" y="405"/>
                      </a:lnTo>
                      <a:lnTo>
                        <a:pt x="966" y="405"/>
                      </a:lnTo>
                      <a:lnTo>
                        <a:pt x="966" y="406"/>
                      </a:lnTo>
                      <a:lnTo>
                        <a:pt x="966" y="406"/>
                      </a:lnTo>
                      <a:lnTo>
                        <a:pt x="966" y="407"/>
                      </a:lnTo>
                      <a:lnTo>
                        <a:pt x="966" y="408"/>
                      </a:lnTo>
                      <a:lnTo>
                        <a:pt x="966" y="408"/>
                      </a:lnTo>
                      <a:lnTo>
                        <a:pt x="966" y="409"/>
                      </a:lnTo>
                      <a:lnTo>
                        <a:pt x="966" y="409"/>
                      </a:lnTo>
                      <a:lnTo>
                        <a:pt x="966" y="410"/>
                      </a:lnTo>
                      <a:lnTo>
                        <a:pt x="967" y="410"/>
                      </a:lnTo>
                      <a:lnTo>
                        <a:pt x="968" y="410"/>
                      </a:lnTo>
                      <a:lnTo>
                        <a:pt x="968" y="411"/>
                      </a:lnTo>
                      <a:lnTo>
                        <a:pt x="969" y="411"/>
                      </a:lnTo>
                      <a:lnTo>
                        <a:pt x="969" y="411"/>
                      </a:lnTo>
                      <a:lnTo>
                        <a:pt x="970" y="411"/>
                      </a:lnTo>
                      <a:lnTo>
                        <a:pt x="970" y="412"/>
                      </a:lnTo>
                      <a:lnTo>
                        <a:pt x="970" y="412"/>
                      </a:lnTo>
                      <a:lnTo>
                        <a:pt x="970" y="413"/>
                      </a:lnTo>
                      <a:lnTo>
                        <a:pt x="970" y="413"/>
                      </a:lnTo>
                      <a:lnTo>
                        <a:pt x="970" y="414"/>
                      </a:lnTo>
                      <a:lnTo>
                        <a:pt x="970" y="415"/>
                      </a:lnTo>
                      <a:lnTo>
                        <a:pt x="969" y="415"/>
                      </a:lnTo>
                      <a:lnTo>
                        <a:pt x="969" y="415"/>
                      </a:lnTo>
                      <a:lnTo>
                        <a:pt x="969" y="416"/>
                      </a:lnTo>
                      <a:lnTo>
                        <a:pt x="970" y="416"/>
                      </a:lnTo>
                      <a:lnTo>
                        <a:pt x="970" y="417"/>
                      </a:lnTo>
                      <a:lnTo>
                        <a:pt x="970" y="417"/>
                      </a:lnTo>
                      <a:lnTo>
                        <a:pt x="970" y="417"/>
                      </a:lnTo>
                      <a:lnTo>
                        <a:pt x="971" y="417"/>
                      </a:lnTo>
                      <a:lnTo>
                        <a:pt x="971" y="418"/>
                      </a:lnTo>
                      <a:lnTo>
                        <a:pt x="972" y="418"/>
                      </a:lnTo>
                      <a:lnTo>
                        <a:pt x="972" y="417"/>
                      </a:lnTo>
                      <a:lnTo>
                        <a:pt x="972" y="417"/>
                      </a:lnTo>
                      <a:lnTo>
                        <a:pt x="972" y="417"/>
                      </a:lnTo>
                      <a:lnTo>
                        <a:pt x="973" y="417"/>
                      </a:lnTo>
                      <a:lnTo>
                        <a:pt x="974" y="417"/>
                      </a:lnTo>
                      <a:lnTo>
                        <a:pt x="975" y="417"/>
                      </a:lnTo>
                      <a:lnTo>
                        <a:pt x="975" y="417"/>
                      </a:lnTo>
                      <a:lnTo>
                        <a:pt x="976" y="418"/>
                      </a:lnTo>
                      <a:lnTo>
                        <a:pt x="977" y="418"/>
                      </a:lnTo>
                      <a:lnTo>
                        <a:pt x="977" y="419"/>
                      </a:lnTo>
                      <a:lnTo>
                        <a:pt x="978" y="419"/>
                      </a:lnTo>
                      <a:lnTo>
                        <a:pt x="979" y="419"/>
                      </a:lnTo>
                      <a:lnTo>
                        <a:pt x="979" y="419"/>
                      </a:lnTo>
                      <a:lnTo>
                        <a:pt x="980" y="419"/>
                      </a:lnTo>
                      <a:lnTo>
                        <a:pt x="981" y="420"/>
                      </a:lnTo>
                      <a:lnTo>
                        <a:pt x="981" y="421"/>
                      </a:lnTo>
                      <a:lnTo>
                        <a:pt x="981" y="421"/>
                      </a:lnTo>
                      <a:lnTo>
                        <a:pt x="980" y="422"/>
                      </a:lnTo>
                      <a:lnTo>
                        <a:pt x="980" y="423"/>
                      </a:lnTo>
                      <a:lnTo>
                        <a:pt x="981" y="423"/>
                      </a:lnTo>
                      <a:lnTo>
                        <a:pt x="981" y="423"/>
                      </a:lnTo>
                      <a:lnTo>
                        <a:pt x="981" y="423"/>
                      </a:lnTo>
                      <a:lnTo>
                        <a:pt x="981" y="424"/>
                      </a:lnTo>
                      <a:lnTo>
                        <a:pt x="981" y="424"/>
                      </a:lnTo>
                      <a:lnTo>
                        <a:pt x="981" y="425"/>
                      </a:lnTo>
                      <a:lnTo>
                        <a:pt x="981" y="425"/>
                      </a:lnTo>
                      <a:lnTo>
                        <a:pt x="981" y="425"/>
                      </a:lnTo>
                      <a:lnTo>
                        <a:pt x="981" y="426"/>
                      </a:lnTo>
                      <a:lnTo>
                        <a:pt x="982" y="426"/>
                      </a:lnTo>
                      <a:lnTo>
                        <a:pt x="982" y="427"/>
                      </a:lnTo>
                      <a:lnTo>
                        <a:pt x="982" y="427"/>
                      </a:lnTo>
                      <a:lnTo>
                        <a:pt x="982" y="428"/>
                      </a:lnTo>
                      <a:lnTo>
                        <a:pt x="982" y="429"/>
                      </a:lnTo>
                      <a:lnTo>
                        <a:pt x="983" y="430"/>
                      </a:lnTo>
                      <a:lnTo>
                        <a:pt x="983" y="430"/>
                      </a:lnTo>
                      <a:lnTo>
                        <a:pt x="983" y="431"/>
                      </a:lnTo>
                      <a:lnTo>
                        <a:pt x="983" y="432"/>
                      </a:lnTo>
                      <a:lnTo>
                        <a:pt x="984" y="432"/>
                      </a:lnTo>
                      <a:lnTo>
                        <a:pt x="984" y="432"/>
                      </a:lnTo>
                      <a:lnTo>
                        <a:pt x="983" y="432"/>
                      </a:lnTo>
                      <a:lnTo>
                        <a:pt x="983" y="433"/>
                      </a:lnTo>
                      <a:lnTo>
                        <a:pt x="984" y="434"/>
                      </a:lnTo>
                      <a:lnTo>
                        <a:pt x="984" y="434"/>
                      </a:lnTo>
                      <a:lnTo>
                        <a:pt x="984" y="435"/>
                      </a:lnTo>
                      <a:lnTo>
                        <a:pt x="985" y="436"/>
                      </a:lnTo>
                      <a:lnTo>
                        <a:pt x="985" y="436"/>
                      </a:lnTo>
                      <a:lnTo>
                        <a:pt x="985" y="437"/>
                      </a:lnTo>
                      <a:lnTo>
                        <a:pt x="986" y="437"/>
                      </a:lnTo>
                      <a:lnTo>
                        <a:pt x="987" y="437"/>
                      </a:lnTo>
                      <a:lnTo>
                        <a:pt x="987" y="438"/>
                      </a:lnTo>
                      <a:lnTo>
                        <a:pt x="987" y="438"/>
                      </a:lnTo>
                      <a:lnTo>
                        <a:pt x="988" y="438"/>
                      </a:lnTo>
                      <a:lnTo>
                        <a:pt x="988" y="439"/>
                      </a:lnTo>
                      <a:lnTo>
                        <a:pt x="988" y="440"/>
                      </a:lnTo>
                      <a:lnTo>
                        <a:pt x="988" y="440"/>
                      </a:lnTo>
                      <a:lnTo>
                        <a:pt x="988" y="441"/>
                      </a:lnTo>
                      <a:lnTo>
                        <a:pt x="989" y="442"/>
                      </a:lnTo>
                      <a:lnTo>
                        <a:pt x="989" y="442"/>
                      </a:lnTo>
                      <a:lnTo>
                        <a:pt x="989" y="442"/>
                      </a:lnTo>
                      <a:lnTo>
                        <a:pt x="989" y="443"/>
                      </a:lnTo>
                      <a:lnTo>
                        <a:pt x="989" y="444"/>
                      </a:lnTo>
                      <a:lnTo>
                        <a:pt x="989" y="444"/>
                      </a:lnTo>
                      <a:lnTo>
                        <a:pt x="989" y="444"/>
                      </a:lnTo>
                      <a:lnTo>
                        <a:pt x="988" y="445"/>
                      </a:lnTo>
                      <a:lnTo>
                        <a:pt x="988" y="446"/>
                      </a:lnTo>
                      <a:lnTo>
                        <a:pt x="988" y="446"/>
                      </a:lnTo>
                      <a:lnTo>
                        <a:pt x="988" y="447"/>
                      </a:lnTo>
                      <a:lnTo>
                        <a:pt x="988" y="448"/>
                      </a:lnTo>
                      <a:lnTo>
                        <a:pt x="988" y="449"/>
                      </a:lnTo>
                      <a:lnTo>
                        <a:pt x="987" y="450"/>
                      </a:lnTo>
                      <a:lnTo>
                        <a:pt x="987" y="451"/>
                      </a:lnTo>
                      <a:lnTo>
                        <a:pt x="987" y="451"/>
                      </a:lnTo>
                      <a:lnTo>
                        <a:pt x="987" y="453"/>
                      </a:lnTo>
                      <a:lnTo>
                        <a:pt x="987" y="454"/>
                      </a:lnTo>
                      <a:lnTo>
                        <a:pt x="986" y="455"/>
                      </a:lnTo>
                      <a:lnTo>
                        <a:pt x="986" y="456"/>
                      </a:lnTo>
                      <a:lnTo>
                        <a:pt x="986" y="457"/>
                      </a:lnTo>
                      <a:lnTo>
                        <a:pt x="986" y="457"/>
                      </a:lnTo>
                      <a:lnTo>
                        <a:pt x="986" y="458"/>
                      </a:lnTo>
                      <a:lnTo>
                        <a:pt x="986" y="459"/>
                      </a:lnTo>
                      <a:lnTo>
                        <a:pt x="986" y="459"/>
                      </a:lnTo>
                      <a:lnTo>
                        <a:pt x="986" y="460"/>
                      </a:lnTo>
                      <a:lnTo>
                        <a:pt x="986" y="461"/>
                      </a:lnTo>
                      <a:lnTo>
                        <a:pt x="985" y="461"/>
                      </a:lnTo>
                      <a:lnTo>
                        <a:pt x="985" y="461"/>
                      </a:lnTo>
                      <a:lnTo>
                        <a:pt x="985" y="462"/>
                      </a:lnTo>
                      <a:lnTo>
                        <a:pt x="985" y="463"/>
                      </a:lnTo>
                      <a:lnTo>
                        <a:pt x="984" y="463"/>
                      </a:lnTo>
                      <a:lnTo>
                        <a:pt x="984" y="464"/>
                      </a:lnTo>
                      <a:lnTo>
                        <a:pt x="984" y="465"/>
                      </a:lnTo>
                      <a:lnTo>
                        <a:pt x="983" y="466"/>
                      </a:lnTo>
                      <a:lnTo>
                        <a:pt x="983" y="467"/>
                      </a:lnTo>
                      <a:lnTo>
                        <a:pt x="983" y="467"/>
                      </a:lnTo>
                      <a:lnTo>
                        <a:pt x="984" y="467"/>
                      </a:lnTo>
                      <a:lnTo>
                        <a:pt x="985" y="468"/>
                      </a:lnTo>
                      <a:lnTo>
                        <a:pt x="985" y="469"/>
                      </a:lnTo>
                      <a:lnTo>
                        <a:pt x="986" y="470"/>
                      </a:lnTo>
                      <a:lnTo>
                        <a:pt x="986" y="470"/>
                      </a:lnTo>
                      <a:lnTo>
                        <a:pt x="987" y="471"/>
                      </a:lnTo>
                      <a:lnTo>
                        <a:pt x="987" y="472"/>
                      </a:lnTo>
                      <a:lnTo>
                        <a:pt x="987" y="473"/>
                      </a:lnTo>
                      <a:lnTo>
                        <a:pt x="987" y="472"/>
                      </a:lnTo>
                      <a:lnTo>
                        <a:pt x="988" y="472"/>
                      </a:lnTo>
                      <a:lnTo>
                        <a:pt x="989" y="472"/>
                      </a:lnTo>
                      <a:lnTo>
                        <a:pt x="989" y="472"/>
                      </a:lnTo>
                      <a:lnTo>
                        <a:pt x="990" y="472"/>
                      </a:lnTo>
                      <a:lnTo>
                        <a:pt x="990" y="473"/>
                      </a:lnTo>
                      <a:lnTo>
                        <a:pt x="990" y="474"/>
                      </a:lnTo>
                      <a:lnTo>
                        <a:pt x="990" y="474"/>
                      </a:lnTo>
                      <a:lnTo>
                        <a:pt x="991" y="474"/>
                      </a:lnTo>
                      <a:lnTo>
                        <a:pt x="991" y="475"/>
                      </a:lnTo>
                      <a:lnTo>
                        <a:pt x="991" y="476"/>
                      </a:lnTo>
                      <a:lnTo>
                        <a:pt x="991" y="476"/>
                      </a:lnTo>
                      <a:lnTo>
                        <a:pt x="991" y="476"/>
                      </a:lnTo>
                      <a:lnTo>
                        <a:pt x="992" y="477"/>
                      </a:lnTo>
                      <a:lnTo>
                        <a:pt x="993" y="477"/>
                      </a:lnTo>
                      <a:lnTo>
                        <a:pt x="994" y="477"/>
                      </a:lnTo>
                      <a:lnTo>
                        <a:pt x="994" y="478"/>
                      </a:lnTo>
                      <a:lnTo>
                        <a:pt x="995" y="478"/>
                      </a:lnTo>
                      <a:lnTo>
                        <a:pt x="996" y="478"/>
                      </a:lnTo>
                      <a:lnTo>
                        <a:pt x="996" y="478"/>
                      </a:lnTo>
                      <a:lnTo>
                        <a:pt x="997" y="478"/>
                      </a:lnTo>
                      <a:lnTo>
                        <a:pt x="998" y="478"/>
                      </a:lnTo>
                      <a:lnTo>
                        <a:pt x="998" y="479"/>
                      </a:lnTo>
                      <a:lnTo>
                        <a:pt x="998" y="480"/>
                      </a:lnTo>
                      <a:lnTo>
                        <a:pt x="997" y="480"/>
                      </a:lnTo>
                      <a:lnTo>
                        <a:pt x="997" y="481"/>
                      </a:lnTo>
                      <a:lnTo>
                        <a:pt x="998" y="481"/>
                      </a:lnTo>
                      <a:lnTo>
                        <a:pt x="998" y="482"/>
                      </a:lnTo>
                      <a:lnTo>
                        <a:pt x="998" y="482"/>
                      </a:lnTo>
                      <a:lnTo>
                        <a:pt x="998" y="483"/>
                      </a:lnTo>
                      <a:lnTo>
                        <a:pt x="998" y="484"/>
                      </a:lnTo>
                      <a:lnTo>
                        <a:pt x="998" y="484"/>
                      </a:lnTo>
                      <a:lnTo>
                        <a:pt x="998" y="484"/>
                      </a:lnTo>
                      <a:lnTo>
                        <a:pt x="998" y="485"/>
                      </a:lnTo>
                      <a:lnTo>
                        <a:pt x="999" y="485"/>
                      </a:lnTo>
                      <a:lnTo>
                        <a:pt x="999" y="486"/>
                      </a:lnTo>
                      <a:lnTo>
                        <a:pt x="1000" y="486"/>
                      </a:lnTo>
                      <a:lnTo>
                        <a:pt x="1000" y="486"/>
                      </a:lnTo>
                      <a:lnTo>
                        <a:pt x="1000" y="487"/>
                      </a:lnTo>
                      <a:lnTo>
                        <a:pt x="1000" y="488"/>
                      </a:lnTo>
                      <a:lnTo>
                        <a:pt x="1001" y="488"/>
                      </a:lnTo>
                      <a:lnTo>
                        <a:pt x="1001" y="489"/>
                      </a:lnTo>
                      <a:lnTo>
                        <a:pt x="1002" y="490"/>
                      </a:lnTo>
                      <a:lnTo>
                        <a:pt x="1002" y="491"/>
                      </a:lnTo>
                      <a:lnTo>
                        <a:pt x="1002" y="491"/>
                      </a:lnTo>
                      <a:lnTo>
                        <a:pt x="1003" y="492"/>
                      </a:lnTo>
                      <a:lnTo>
                        <a:pt x="1004" y="492"/>
                      </a:lnTo>
                      <a:lnTo>
                        <a:pt x="1004" y="493"/>
                      </a:lnTo>
                      <a:lnTo>
                        <a:pt x="1004" y="493"/>
                      </a:lnTo>
                      <a:lnTo>
                        <a:pt x="1004" y="493"/>
                      </a:lnTo>
                      <a:lnTo>
                        <a:pt x="1005" y="494"/>
                      </a:lnTo>
                      <a:lnTo>
                        <a:pt x="1005" y="495"/>
                      </a:lnTo>
                      <a:lnTo>
                        <a:pt x="1006" y="495"/>
                      </a:lnTo>
                      <a:lnTo>
                        <a:pt x="1006" y="496"/>
                      </a:lnTo>
                      <a:lnTo>
                        <a:pt x="1006" y="496"/>
                      </a:lnTo>
                      <a:lnTo>
                        <a:pt x="1006" y="497"/>
                      </a:lnTo>
                      <a:lnTo>
                        <a:pt x="1007" y="497"/>
                      </a:lnTo>
                      <a:lnTo>
                        <a:pt x="1008" y="497"/>
                      </a:lnTo>
                      <a:lnTo>
                        <a:pt x="1008" y="497"/>
                      </a:lnTo>
                      <a:lnTo>
                        <a:pt x="1009" y="498"/>
                      </a:lnTo>
                      <a:lnTo>
                        <a:pt x="1009" y="499"/>
                      </a:lnTo>
                      <a:lnTo>
                        <a:pt x="1009" y="499"/>
                      </a:lnTo>
                      <a:lnTo>
                        <a:pt x="1009" y="500"/>
                      </a:lnTo>
                      <a:lnTo>
                        <a:pt x="1009" y="501"/>
                      </a:lnTo>
                      <a:lnTo>
                        <a:pt x="1010" y="501"/>
                      </a:lnTo>
                      <a:lnTo>
                        <a:pt x="1010" y="501"/>
                      </a:lnTo>
                      <a:lnTo>
                        <a:pt x="1010" y="502"/>
                      </a:lnTo>
                      <a:lnTo>
                        <a:pt x="1010" y="503"/>
                      </a:lnTo>
                      <a:lnTo>
                        <a:pt x="1011" y="503"/>
                      </a:lnTo>
                      <a:lnTo>
                        <a:pt x="1011" y="504"/>
                      </a:lnTo>
                      <a:lnTo>
                        <a:pt x="1011" y="505"/>
                      </a:lnTo>
                      <a:lnTo>
                        <a:pt x="1011" y="505"/>
                      </a:lnTo>
                      <a:lnTo>
                        <a:pt x="1011" y="506"/>
                      </a:lnTo>
                      <a:lnTo>
                        <a:pt x="1011" y="507"/>
                      </a:lnTo>
                      <a:lnTo>
                        <a:pt x="1012" y="507"/>
                      </a:lnTo>
                      <a:lnTo>
                        <a:pt x="1012" y="507"/>
                      </a:lnTo>
                      <a:lnTo>
                        <a:pt x="1013" y="507"/>
                      </a:lnTo>
                      <a:lnTo>
                        <a:pt x="1013" y="508"/>
                      </a:lnTo>
                      <a:lnTo>
                        <a:pt x="1013" y="508"/>
                      </a:lnTo>
                      <a:lnTo>
                        <a:pt x="1013" y="509"/>
                      </a:lnTo>
                      <a:lnTo>
                        <a:pt x="1013" y="510"/>
                      </a:lnTo>
                      <a:lnTo>
                        <a:pt x="1013" y="510"/>
                      </a:lnTo>
                      <a:lnTo>
                        <a:pt x="1013" y="511"/>
                      </a:lnTo>
                      <a:lnTo>
                        <a:pt x="1013" y="512"/>
                      </a:lnTo>
                      <a:lnTo>
                        <a:pt x="1013" y="512"/>
                      </a:lnTo>
                      <a:lnTo>
                        <a:pt x="1013" y="512"/>
                      </a:lnTo>
                      <a:lnTo>
                        <a:pt x="1013" y="513"/>
                      </a:lnTo>
                      <a:lnTo>
                        <a:pt x="1013" y="514"/>
                      </a:lnTo>
                      <a:lnTo>
                        <a:pt x="1014" y="514"/>
                      </a:lnTo>
                      <a:lnTo>
                        <a:pt x="1014" y="515"/>
                      </a:lnTo>
                      <a:lnTo>
                        <a:pt x="1014" y="516"/>
                      </a:lnTo>
                      <a:lnTo>
                        <a:pt x="1015" y="516"/>
                      </a:lnTo>
                      <a:lnTo>
                        <a:pt x="1015" y="516"/>
                      </a:lnTo>
                      <a:lnTo>
                        <a:pt x="1015" y="516"/>
                      </a:lnTo>
                      <a:lnTo>
                        <a:pt x="1016" y="516"/>
                      </a:lnTo>
                      <a:lnTo>
                        <a:pt x="1016" y="517"/>
                      </a:lnTo>
                      <a:lnTo>
                        <a:pt x="1017" y="517"/>
                      </a:lnTo>
                      <a:lnTo>
                        <a:pt x="1016" y="518"/>
                      </a:lnTo>
                      <a:lnTo>
                        <a:pt x="1015" y="518"/>
                      </a:lnTo>
                      <a:lnTo>
                        <a:pt x="1015" y="518"/>
                      </a:lnTo>
                      <a:lnTo>
                        <a:pt x="1015" y="519"/>
                      </a:lnTo>
                      <a:lnTo>
                        <a:pt x="1014" y="519"/>
                      </a:lnTo>
                      <a:lnTo>
                        <a:pt x="1014" y="520"/>
                      </a:lnTo>
                      <a:lnTo>
                        <a:pt x="1013" y="520"/>
                      </a:lnTo>
                      <a:lnTo>
                        <a:pt x="1013" y="520"/>
                      </a:lnTo>
                      <a:lnTo>
                        <a:pt x="1012" y="520"/>
                      </a:lnTo>
                      <a:lnTo>
                        <a:pt x="1011" y="520"/>
                      </a:lnTo>
                      <a:lnTo>
                        <a:pt x="1010" y="520"/>
                      </a:lnTo>
                      <a:lnTo>
                        <a:pt x="1010" y="520"/>
                      </a:lnTo>
                      <a:lnTo>
                        <a:pt x="1010" y="520"/>
                      </a:lnTo>
                      <a:lnTo>
                        <a:pt x="1010" y="521"/>
                      </a:lnTo>
                      <a:lnTo>
                        <a:pt x="1009" y="521"/>
                      </a:lnTo>
                      <a:lnTo>
                        <a:pt x="1009" y="522"/>
                      </a:lnTo>
                      <a:lnTo>
                        <a:pt x="1008" y="522"/>
                      </a:lnTo>
                      <a:lnTo>
                        <a:pt x="1008" y="523"/>
                      </a:lnTo>
                      <a:lnTo>
                        <a:pt x="1008" y="523"/>
                      </a:lnTo>
                      <a:lnTo>
                        <a:pt x="1008" y="524"/>
                      </a:lnTo>
                      <a:lnTo>
                        <a:pt x="1007" y="524"/>
                      </a:lnTo>
                      <a:lnTo>
                        <a:pt x="1007" y="525"/>
                      </a:lnTo>
                      <a:lnTo>
                        <a:pt x="1006" y="525"/>
                      </a:lnTo>
                      <a:lnTo>
                        <a:pt x="1006" y="526"/>
                      </a:lnTo>
                      <a:lnTo>
                        <a:pt x="1006" y="526"/>
                      </a:lnTo>
                      <a:lnTo>
                        <a:pt x="1006" y="527"/>
                      </a:lnTo>
                      <a:lnTo>
                        <a:pt x="1005" y="527"/>
                      </a:lnTo>
                      <a:lnTo>
                        <a:pt x="1005" y="528"/>
                      </a:lnTo>
                      <a:lnTo>
                        <a:pt x="1004" y="528"/>
                      </a:lnTo>
                      <a:lnTo>
                        <a:pt x="1004" y="529"/>
                      </a:lnTo>
                      <a:lnTo>
                        <a:pt x="1004" y="529"/>
                      </a:lnTo>
                      <a:lnTo>
                        <a:pt x="1004" y="530"/>
                      </a:lnTo>
                      <a:lnTo>
                        <a:pt x="1003" y="530"/>
                      </a:lnTo>
                      <a:lnTo>
                        <a:pt x="1003" y="531"/>
                      </a:lnTo>
                      <a:lnTo>
                        <a:pt x="1002" y="531"/>
                      </a:lnTo>
                      <a:lnTo>
                        <a:pt x="1002" y="532"/>
                      </a:lnTo>
                      <a:lnTo>
                        <a:pt x="1002" y="532"/>
                      </a:lnTo>
                      <a:lnTo>
                        <a:pt x="1002" y="533"/>
                      </a:lnTo>
                      <a:lnTo>
                        <a:pt x="1001" y="533"/>
                      </a:lnTo>
                      <a:lnTo>
                        <a:pt x="1001" y="534"/>
                      </a:lnTo>
                      <a:lnTo>
                        <a:pt x="1000" y="535"/>
                      </a:lnTo>
                      <a:lnTo>
                        <a:pt x="1000" y="535"/>
                      </a:lnTo>
                      <a:lnTo>
                        <a:pt x="1000" y="536"/>
                      </a:lnTo>
                      <a:lnTo>
                        <a:pt x="1000" y="536"/>
                      </a:lnTo>
                      <a:lnTo>
                        <a:pt x="1000" y="537"/>
                      </a:lnTo>
                      <a:lnTo>
                        <a:pt x="999" y="537"/>
                      </a:lnTo>
                      <a:lnTo>
                        <a:pt x="999" y="537"/>
                      </a:lnTo>
                      <a:lnTo>
                        <a:pt x="999" y="538"/>
                      </a:lnTo>
                      <a:lnTo>
                        <a:pt x="999" y="539"/>
                      </a:lnTo>
                      <a:lnTo>
                        <a:pt x="999" y="539"/>
                      </a:lnTo>
                      <a:lnTo>
                        <a:pt x="998" y="540"/>
                      </a:lnTo>
                      <a:lnTo>
                        <a:pt x="998" y="541"/>
                      </a:lnTo>
                      <a:lnTo>
                        <a:pt x="998" y="541"/>
                      </a:lnTo>
                      <a:lnTo>
                        <a:pt x="998" y="541"/>
                      </a:lnTo>
                      <a:lnTo>
                        <a:pt x="998" y="542"/>
                      </a:lnTo>
                      <a:lnTo>
                        <a:pt x="998" y="542"/>
                      </a:lnTo>
                      <a:lnTo>
                        <a:pt x="998" y="543"/>
                      </a:lnTo>
                      <a:lnTo>
                        <a:pt x="998" y="543"/>
                      </a:lnTo>
                      <a:lnTo>
                        <a:pt x="998" y="544"/>
                      </a:lnTo>
                      <a:lnTo>
                        <a:pt x="998" y="545"/>
                      </a:lnTo>
                      <a:lnTo>
                        <a:pt x="998" y="545"/>
                      </a:lnTo>
                      <a:lnTo>
                        <a:pt x="997" y="546"/>
                      </a:lnTo>
                      <a:lnTo>
                        <a:pt x="997" y="547"/>
                      </a:lnTo>
                      <a:lnTo>
                        <a:pt x="997" y="547"/>
                      </a:lnTo>
                      <a:lnTo>
                        <a:pt x="997" y="548"/>
                      </a:lnTo>
                      <a:lnTo>
                        <a:pt x="997" y="549"/>
                      </a:lnTo>
                      <a:lnTo>
                        <a:pt x="997" y="550"/>
                      </a:lnTo>
                      <a:lnTo>
                        <a:pt x="996" y="550"/>
                      </a:lnTo>
                      <a:lnTo>
                        <a:pt x="996" y="550"/>
                      </a:lnTo>
                      <a:lnTo>
                        <a:pt x="996" y="551"/>
                      </a:lnTo>
                      <a:lnTo>
                        <a:pt x="995" y="551"/>
                      </a:lnTo>
                      <a:lnTo>
                        <a:pt x="995" y="552"/>
                      </a:lnTo>
                      <a:lnTo>
                        <a:pt x="994" y="552"/>
                      </a:lnTo>
                      <a:lnTo>
                        <a:pt x="994" y="552"/>
                      </a:lnTo>
                      <a:lnTo>
                        <a:pt x="994" y="552"/>
                      </a:lnTo>
                      <a:lnTo>
                        <a:pt x="994" y="553"/>
                      </a:lnTo>
                      <a:lnTo>
                        <a:pt x="994" y="554"/>
                      </a:lnTo>
                      <a:lnTo>
                        <a:pt x="994" y="554"/>
                      </a:lnTo>
                      <a:lnTo>
                        <a:pt x="994" y="555"/>
                      </a:lnTo>
                      <a:lnTo>
                        <a:pt x="993" y="555"/>
                      </a:lnTo>
                      <a:lnTo>
                        <a:pt x="993" y="556"/>
                      </a:lnTo>
                      <a:lnTo>
                        <a:pt x="992" y="556"/>
                      </a:lnTo>
                      <a:lnTo>
                        <a:pt x="991" y="556"/>
                      </a:lnTo>
                      <a:lnTo>
                        <a:pt x="991" y="557"/>
                      </a:lnTo>
                      <a:lnTo>
                        <a:pt x="991" y="557"/>
                      </a:lnTo>
                      <a:lnTo>
                        <a:pt x="991" y="558"/>
                      </a:lnTo>
                      <a:lnTo>
                        <a:pt x="991" y="557"/>
                      </a:lnTo>
                      <a:lnTo>
                        <a:pt x="990" y="557"/>
                      </a:lnTo>
                      <a:lnTo>
                        <a:pt x="990" y="558"/>
                      </a:lnTo>
                      <a:lnTo>
                        <a:pt x="989" y="558"/>
                      </a:lnTo>
                      <a:lnTo>
                        <a:pt x="989" y="558"/>
                      </a:lnTo>
                      <a:lnTo>
                        <a:pt x="988" y="558"/>
                      </a:lnTo>
                      <a:lnTo>
                        <a:pt x="988" y="558"/>
                      </a:lnTo>
                      <a:lnTo>
                        <a:pt x="988" y="559"/>
                      </a:lnTo>
                      <a:lnTo>
                        <a:pt x="987" y="559"/>
                      </a:lnTo>
                      <a:lnTo>
                        <a:pt x="987" y="560"/>
                      </a:lnTo>
                      <a:lnTo>
                        <a:pt x="987" y="560"/>
                      </a:lnTo>
                      <a:lnTo>
                        <a:pt x="987" y="560"/>
                      </a:lnTo>
                      <a:lnTo>
                        <a:pt x="987" y="561"/>
                      </a:lnTo>
                      <a:lnTo>
                        <a:pt x="986" y="561"/>
                      </a:lnTo>
                      <a:lnTo>
                        <a:pt x="986" y="562"/>
                      </a:lnTo>
                      <a:lnTo>
                        <a:pt x="986" y="562"/>
                      </a:lnTo>
                      <a:lnTo>
                        <a:pt x="986" y="563"/>
                      </a:lnTo>
                      <a:lnTo>
                        <a:pt x="985" y="563"/>
                      </a:lnTo>
                      <a:lnTo>
                        <a:pt x="985" y="564"/>
                      </a:lnTo>
                      <a:lnTo>
                        <a:pt x="986" y="564"/>
                      </a:lnTo>
                      <a:lnTo>
                        <a:pt x="985" y="564"/>
                      </a:lnTo>
                      <a:lnTo>
                        <a:pt x="985" y="565"/>
                      </a:lnTo>
                      <a:lnTo>
                        <a:pt x="985" y="565"/>
                      </a:lnTo>
                      <a:lnTo>
                        <a:pt x="985" y="566"/>
                      </a:lnTo>
                      <a:lnTo>
                        <a:pt x="985" y="566"/>
                      </a:lnTo>
                      <a:lnTo>
                        <a:pt x="985" y="567"/>
                      </a:lnTo>
                      <a:lnTo>
                        <a:pt x="984" y="567"/>
                      </a:lnTo>
                      <a:lnTo>
                        <a:pt x="984" y="568"/>
                      </a:lnTo>
                      <a:lnTo>
                        <a:pt x="984" y="569"/>
                      </a:lnTo>
                      <a:lnTo>
                        <a:pt x="983" y="569"/>
                      </a:lnTo>
                      <a:lnTo>
                        <a:pt x="984" y="569"/>
                      </a:lnTo>
                      <a:lnTo>
                        <a:pt x="983" y="569"/>
                      </a:lnTo>
                      <a:lnTo>
                        <a:pt x="983" y="569"/>
                      </a:lnTo>
                      <a:lnTo>
                        <a:pt x="984" y="569"/>
                      </a:lnTo>
                      <a:lnTo>
                        <a:pt x="983" y="569"/>
                      </a:lnTo>
                      <a:lnTo>
                        <a:pt x="983" y="570"/>
                      </a:lnTo>
                      <a:lnTo>
                        <a:pt x="983" y="571"/>
                      </a:lnTo>
                      <a:lnTo>
                        <a:pt x="983" y="571"/>
                      </a:lnTo>
                      <a:lnTo>
                        <a:pt x="982" y="570"/>
                      </a:lnTo>
                      <a:lnTo>
                        <a:pt x="981" y="569"/>
                      </a:lnTo>
                      <a:lnTo>
                        <a:pt x="981" y="570"/>
                      </a:lnTo>
                      <a:lnTo>
                        <a:pt x="980" y="570"/>
                      </a:lnTo>
                      <a:lnTo>
                        <a:pt x="980" y="571"/>
                      </a:lnTo>
                      <a:lnTo>
                        <a:pt x="979" y="571"/>
                      </a:lnTo>
                      <a:lnTo>
                        <a:pt x="979" y="570"/>
                      </a:lnTo>
                      <a:lnTo>
                        <a:pt x="979" y="570"/>
                      </a:lnTo>
                      <a:lnTo>
                        <a:pt x="979" y="571"/>
                      </a:lnTo>
                      <a:lnTo>
                        <a:pt x="978" y="571"/>
                      </a:lnTo>
                      <a:lnTo>
                        <a:pt x="978" y="571"/>
                      </a:lnTo>
                      <a:lnTo>
                        <a:pt x="977" y="571"/>
                      </a:lnTo>
                      <a:lnTo>
                        <a:pt x="977" y="571"/>
                      </a:lnTo>
                      <a:lnTo>
                        <a:pt x="977" y="570"/>
                      </a:lnTo>
                      <a:lnTo>
                        <a:pt x="977" y="569"/>
                      </a:lnTo>
                      <a:lnTo>
                        <a:pt x="977" y="569"/>
                      </a:lnTo>
                      <a:lnTo>
                        <a:pt x="976" y="569"/>
                      </a:lnTo>
                      <a:lnTo>
                        <a:pt x="975" y="569"/>
                      </a:lnTo>
                      <a:lnTo>
                        <a:pt x="975" y="568"/>
                      </a:lnTo>
                      <a:lnTo>
                        <a:pt x="975" y="568"/>
                      </a:lnTo>
                      <a:lnTo>
                        <a:pt x="975" y="567"/>
                      </a:lnTo>
                      <a:lnTo>
                        <a:pt x="974" y="567"/>
                      </a:lnTo>
                      <a:lnTo>
                        <a:pt x="973" y="567"/>
                      </a:lnTo>
                      <a:lnTo>
                        <a:pt x="973" y="566"/>
                      </a:lnTo>
                      <a:lnTo>
                        <a:pt x="972" y="566"/>
                      </a:lnTo>
                      <a:lnTo>
                        <a:pt x="972" y="566"/>
                      </a:lnTo>
                      <a:lnTo>
                        <a:pt x="973" y="566"/>
                      </a:lnTo>
                      <a:lnTo>
                        <a:pt x="973" y="565"/>
                      </a:lnTo>
                      <a:lnTo>
                        <a:pt x="972" y="565"/>
                      </a:lnTo>
                      <a:lnTo>
                        <a:pt x="972" y="564"/>
                      </a:lnTo>
                      <a:lnTo>
                        <a:pt x="972" y="564"/>
                      </a:lnTo>
                      <a:lnTo>
                        <a:pt x="972" y="564"/>
                      </a:lnTo>
                      <a:lnTo>
                        <a:pt x="972" y="564"/>
                      </a:lnTo>
                      <a:lnTo>
                        <a:pt x="972" y="564"/>
                      </a:lnTo>
                      <a:lnTo>
                        <a:pt x="972" y="563"/>
                      </a:lnTo>
                      <a:lnTo>
                        <a:pt x="972" y="562"/>
                      </a:lnTo>
                      <a:lnTo>
                        <a:pt x="972" y="562"/>
                      </a:lnTo>
                      <a:lnTo>
                        <a:pt x="971" y="562"/>
                      </a:lnTo>
                      <a:lnTo>
                        <a:pt x="971" y="561"/>
                      </a:lnTo>
                      <a:lnTo>
                        <a:pt x="971" y="560"/>
                      </a:lnTo>
                      <a:lnTo>
                        <a:pt x="971" y="560"/>
                      </a:lnTo>
                      <a:lnTo>
                        <a:pt x="971" y="559"/>
                      </a:lnTo>
                      <a:lnTo>
                        <a:pt x="971" y="558"/>
                      </a:lnTo>
                      <a:lnTo>
                        <a:pt x="971" y="558"/>
                      </a:lnTo>
                      <a:lnTo>
                        <a:pt x="972" y="557"/>
                      </a:lnTo>
                      <a:lnTo>
                        <a:pt x="971" y="557"/>
                      </a:lnTo>
                      <a:lnTo>
                        <a:pt x="972" y="557"/>
                      </a:lnTo>
                      <a:lnTo>
                        <a:pt x="972" y="556"/>
                      </a:lnTo>
                      <a:lnTo>
                        <a:pt x="972" y="556"/>
                      </a:lnTo>
                      <a:lnTo>
                        <a:pt x="972" y="555"/>
                      </a:lnTo>
                      <a:lnTo>
                        <a:pt x="971" y="555"/>
                      </a:lnTo>
                      <a:lnTo>
                        <a:pt x="971" y="554"/>
                      </a:lnTo>
                      <a:lnTo>
                        <a:pt x="971" y="554"/>
                      </a:lnTo>
                      <a:lnTo>
                        <a:pt x="972" y="554"/>
                      </a:lnTo>
                      <a:lnTo>
                        <a:pt x="971" y="553"/>
                      </a:lnTo>
                      <a:lnTo>
                        <a:pt x="971" y="552"/>
                      </a:lnTo>
                      <a:lnTo>
                        <a:pt x="971" y="552"/>
                      </a:lnTo>
                      <a:lnTo>
                        <a:pt x="970" y="552"/>
                      </a:lnTo>
                      <a:lnTo>
                        <a:pt x="970" y="551"/>
                      </a:lnTo>
                      <a:lnTo>
                        <a:pt x="970" y="551"/>
                      </a:lnTo>
                      <a:lnTo>
                        <a:pt x="970" y="550"/>
                      </a:lnTo>
                      <a:lnTo>
                        <a:pt x="969" y="550"/>
                      </a:lnTo>
                      <a:lnTo>
                        <a:pt x="969" y="549"/>
                      </a:lnTo>
                      <a:lnTo>
                        <a:pt x="968" y="549"/>
                      </a:lnTo>
                      <a:lnTo>
                        <a:pt x="968" y="548"/>
                      </a:lnTo>
                      <a:lnTo>
                        <a:pt x="968" y="547"/>
                      </a:lnTo>
                      <a:lnTo>
                        <a:pt x="968" y="547"/>
                      </a:lnTo>
                      <a:lnTo>
                        <a:pt x="968" y="546"/>
                      </a:lnTo>
                      <a:lnTo>
                        <a:pt x="968" y="545"/>
                      </a:lnTo>
                      <a:lnTo>
                        <a:pt x="967" y="545"/>
                      </a:lnTo>
                      <a:lnTo>
                        <a:pt x="967" y="545"/>
                      </a:lnTo>
                      <a:lnTo>
                        <a:pt x="967" y="544"/>
                      </a:lnTo>
                      <a:lnTo>
                        <a:pt x="966" y="544"/>
                      </a:lnTo>
                      <a:lnTo>
                        <a:pt x="966" y="543"/>
                      </a:lnTo>
                      <a:lnTo>
                        <a:pt x="966" y="543"/>
                      </a:lnTo>
                      <a:lnTo>
                        <a:pt x="966" y="543"/>
                      </a:lnTo>
                      <a:lnTo>
                        <a:pt x="966" y="542"/>
                      </a:lnTo>
                      <a:lnTo>
                        <a:pt x="966" y="541"/>
                      </a:lnTo>
                      <a:lnTo>
                        <a:pt x="966" y="541"/>
                      </a:lnTo>
                      <a:lnTo>
                        <a:pt x="965" y="540"/>
                      </a:lnTo>
                      <a:lnTo>
                        <a:pt x="965" y="539"/>
                      </a:lnTo>
                      <a:lnTo>
                        <a:pt x="965" y="539"/>
                      </a:lnTo>
                      <a:lnTo>
                        <a:pt x="966" y="539"/>
                      </a:lnTo>
                      <a:lnTo>
                        <a:pt x="966" y="538"/>
                      </a:lnTo>
                      <a:lnTo>
                        <a:pt x="966" y="538"/>
                      </a:lnTo>
                      <a:lnTo>
                        <a:pt x="966" y="537"/>
                      </a:lnTo>
                      <a:lnTo>
                        <a:pt x="966" y="537"/>
                      </a:lnTo>
                      <a:lnTo>
                        <a:pt x="966" y="537"/>
                      </a:lnTo>
                      <a:lnTo>
                        <a:pt x="966" y="536"/>
                      </a:lnTo>
                      <a:lnTo>
                        <a:pt x="966" y="535"/>
                      </a:lnTo>
                      <a:lnTo>
                        <a:pt x="966" y="535"/>
                      </a:lnTo>
                      <a:lnTo>
                        <a:pt x="966" y="534"/>
                      </a:lnTo>
                      <a:lnTo>
                        <a:pt x="966" y="535"/>
                      </a:lnTo>
                      <a:lnTo>
                        <a:pt x="966" y="535"/>
                      </a:lnTo>
                      <a:lnTo>
                        <a:pt x="966" y="534"/>
                      </a:lnTo>
                      <a:lnTo>
                        <a:pt x="966" y="535"/>
                      </a:lnTo>
                      <a:lnTo>
                        <a:pt x="965" y="535"/>
                      </a:lnTo>
                      <a:lnTo>
                        <a:pt x="965" y="534"/>
                      </a:lnTo>
                      <a:lnTo>
                        <a:pt x="965" y="535"/>
                      </a:lnTo>
                      <a:lnTo>
                        <a:pt x="964" y="535"/>
                      </a:lnTo>
                      <a:lnTo>
                        <a:pt x="963" y="535"/>
                      </a:lnTo>
                      <a:lnTo>
                        <a:pt x="962" y="535"/>
                      </a:lnTo>
                      <a:lnTo>
                        <a:pt x="962" y="537"/>
                      </a:lnTo>
                      <a:lnTo>
                        <a:pt x="962" y="537"/>
                      </a:lnTo>
                      <a:lnTo>
                        <a:pt x="962" y="538"/>
                      </a:lnTo>
                      <a:lnTo>
                        <a:pt x="962" y="539"/>
                      </a:lnTo>
                      <a:lnTo>
                        <a:pt x="962" y="539"/>
                      </a:lnTo>
                      <a:lnTo>
                        <a:pt x="960" y="541"/>
                      </a:lnTo>
                      <a:lnTo>
                        <a:pt x="960" y="543"/>
                      </a:lnTo>
                      <a:lnTo>
                        <a:pt x="955" y="541"/>
                      </a:lnTo>
                      <a:lnTo>
                        <a:pt x="951" y="538"/>
                      </a:lnTo>
                      <a:lnTo>
                        <a:pt x="950" y="538"/>
                      </a:lnTo>
                      <a:lnTo>
                        <a:pt x="950" y="537"/>
                      </a:lnTo>
                      <a:lnTo>
                        <a:pt x="949" y="537"/>
                      </a:lnTo>
                      <a:lnTo>
                        <a:pt x="949" y="538"/>
                      </a:lnTo>
                      <a:lnTo>
                        <a:pt x="949" y="537"/>
                      </a:lnTo>
                      <a:lnTo>
                        <a:pt x="949" y="537"/>
                      </a:lnTo>
                      <a:lnTo>
                        <a:pt x="949" y="538"/>
                      </a:lnTo>
                      <a:lnTo>
                        <a:pt x="949" y="537"/>
                      </a:lnTo>
                      <a:lnTo>
                        <a:pt x="948" y="537"/>
                      </a:lnTo>
                      <a:lnTo>
                        <a:pt x="948" y="538"/>
                      </a:lnTo>
                      <a:lnTo>
                        <a:pt x="948" y="537"/>
                      </a:lnTo>
                      <a:lnTo>
                        <a:pt x="947" y="537"/>
                      </a:lnTo>
                      <a:lnTo>
                        <a:pt x="947" y="538"/>
                      </a:lnTo>
                      <a:lnTo>
                        <a:pt x="947" y="537"/>
                      </a:lnTo>
                      <a:lnTo>
                        <a:pt x="947" y="537"/>
                      </a:lnTo>
                      <a:lnTo>
                        <a:pt x="947" y="537"/>
                      </a:lnTo>
                      <a:lnTo>
                        <a:pt x="947" y="537"/>
                      </a:lnTo>
                      <a:lnTo>
                        <a:pt x="947" y="536"/>
                      </a:lnTo>
                      <a:lnTo>
                        <a:pt x="947" y="535"/>
                      </a:lnTo>
                      <a:lnTo>
                        <a:pt x="947" y="535"/>
                      </a:lnTo>
                      <a:lnTo>
                        <a:pt x="947" y="535"/>
                      </a:lnTo>
                      <a:lnTo>
                        <a:pt x="947" y="535"/>
                      </a:lnTo>
                      <a:lnTo>
                        <a:pt x="947" y="535"/>
                      </a:lnTo>
                      <a:lnTo>
                        <a:pt x="947" y="535"/>
                      </a:lnTo>
                      <a:lnTo>
                        <a:pt x="947" y="535"/>
                      </a:lnTo>
                      <a:lnTo>
                        <a:pt x="947" y="535"/>
                      </a:lnTo>
                      <a:lnTo>
                        <a:pt x="947" y="535"/>
                      </a:lnTo>
                      <a:lnTo>
                        <a:pt x="947" y="535"/>
                      </a:lnTo>
                      <a:lnTo>
                        <a:pt x="947" y="534"/>
                      </a:lnTo>
                      <a:lnTo>
                        <a:pt x="947" y="534"/>
                      </a:lnTo>
                      <a:lnTo>
                        <a:pt x="947" y="534"/>
                      </a:lnTo>
                      <a:lnTo>
                        <a:pt x="947" y="534"/>
                      </a:lnTo>
                      <a:lnTo>
                        <a:pt x="947" y="533"/>
                      </a:lnTo>
                      <a:lnTo>
                        <a:pt x="947" y="534"/>
                      </a:lnTo>
                      <a:lnTo>
                        <a:pt x="947" y="533"/>
                      </a:lnTo>
                      <a:lnTo>
                        <a:pt x="947" y="533"/>
                      </a:lnTo>
                      <a:lnTo>
                        <a:pt x="946" y="533"/>
                      </a:lnTo>
                      <a:lnTo>
                        <a:pt x="947" y="533"/>
                      </a:lnTo>
                      <a:lnTo>
                        <a:pt x="946" y="533"/>
                      </a:lnTo>
                      <a:lnTo>
                        <a:pt x="946" y="532"/>
                      </a:lnTo>
                      <a:lnTo>
                        <a:pt x="946" y="531"/>
                      </a:lnTo>
                      <a:lnTo>
                        <a:pt x="945" y="531"/>
                      </a:lnTo>
                      <a:lnTo>
                        <a:pt x="945" y="531"/>
                      </a:lnTo>
                      <a:lnTo>
                        <a:pt x="945" y="531"/>
                      </a:lnTo>
                      <a:lnTo>
                        <a:pt x="945" y="531"/>
                      </a:lnTo>
                      <a:lnTo>
                        <a:pt x="945" y="531"/>
                      </a:lnTo>
                      <a:lnTo>
                        <a:pt x="945" y="531"/>
                      </a:lnTo>
                      <a:lnTo>
                        <a:pt x="945" y="531"/>
                      </a:lnTo>
                      <a:lnTo>
                        <a:pt x="945" y="531"/>
                      </a:lnTo>
                      <a:lnTo>
                        <a:pt x="945" y="531"/>
                      </a:lnTo>
                      <a:lnTo>
                        <a:pt x="945" y="531"/>
                      </a:lnTo>
                      <a:lnTo>
                        <a:pt x="944" y="531"/>
                      </a:lnTo>
                      <a:lnTo>
                        <a:pt x="944" y="531"/>
                      </a:lnTo>
                      <a:lnTo>
                        <a:pt x="943" y="531"/>
                      </a:lnTo>
                      <a:lnTo>
                        <a:pt x="943" y="530"/>
                      </a:lnTo>
                      <a:lnTo>
                        <a:pt x="943" y="529"/>
                      </a:lnTo>
                      <a:lnTo>
                        <a:pt x="943" y="529"/>
                      </a:lnTo>
                      <a:lnTo>
                        <a:pt x="943" y="528"/>
                      </a:lnTo>
                      <a:lnTo>
                        <a:pt x="943" y="528"/>
                      </a:lnTo>
                      <a:lnTo>
                        <a:pt x="943" y="527"/>
                      </a:lnTo>
                      <a:lnTo>
                        <a:pt x="942" y="527"/>
                      </a:lnTo>
                      <a:lnTo>
                        <a:pt x="942" y="526"/>
                      </a:lnTo>
                      <a:lnTo>
                        <a:pt x="941" y="526"/>
                      </a:lnTo>
                      <a:lnTo>
                        <a:pt x="941" y="526"/>
                      </a:lnTo>
                      <a:lnTo>
                        <a:pt x="941" y="526"/>
                      </a:lnTo>
                      <a:lnTo>
                        <a:pt x="941" y="525"/>
                      </a:lnTo>
                      <a:lnTo>
                        <a:pt x="940" y="525"/>
                      </a:lnTo>
                      <a:lnTo>
                        <a:pt x="940" y="524"/>
                      </a:lnTo>
                      <a:lnTo>
                        <a:pt x="939" y="524"/>
                      </a:lnTo>
                      <a:lnTo>
                        <a:pt x="939" y="524"/>
                      </a:lnTo>
                      <a:lnTo>
                        <a:pt x="939" y="524"/>
                      </a:lnTo>
                      <a:lnTo>
                        <a:pt x="939" y="524"/>
                      </a:lnTo>
                      <a:lnTo>
                        <a:pt x="938" y="524"/>
                      </a:lnTo>
                      <a:lnTo>
                        <a:pt x="938" y="524"/>
                      </a:lnTo>
                      <a:lnTo>
                        <a:pt x="938" y="523"/>
                      </a:lnTo>
                      <a:lnTo>
                        <a:pt x="938" y="522"/>
                      </a:lnTo>
                      <a:lnTo>
                        <a:pt x="937" y="522"/>
                      </a:lnTo>
                      <a:lnTo>
                        <a:pt x="937" y="522"/>
                      </a:lnTo>
                      <a:lnTo>
                        <a:pt x="937" y="522"/>
                      </a:lnTo>
                      <a:lnTo>
                        <a:pt x="936" y="522"/>
                      </a:lnTo>
                      <a:lnTo>
                        <a:pt x="936" y="522"/>
                      </a:lnTo>
                      <a:lnTo>
                        <a:pt x="936" y="522"/>
                      </a:lnTo>
                      <a:lnTo>
                        <a:pt x="936" y="522"/>
                      </a:lnTo>
                      <a:lnTo>
                        <a:pt x="935" y="522"/>
                      </a:lnTo>
                      <a:lnTo>
                        <a:pt x="934" y="522"/>
                      </a:lnTo>
                      <a:lnTo>
                        <a:pt x="930" y="522"/>
                      </a:lnTo>
                      <a:lnTo>
                        <a:pt x="932" y="525"/>
                      </a:lnTo>
                      <a:lnTo>
                        <a:pt x="932" y="528"/>
                      </a:lnTo>
                      <a:lnTo>
                        <a:pt x="931" y="529"/>
                      </a:lnTo>
                      <a:lnTo>
                        <a:pt x="932" y="529"/>
                      </a:lnTo>
                      <a:lnTo>
                        <a:pt x="931" y="530"/>
                      </a:lnTo>
                      <a:lnTo>
                        <a:pt x="930" y="531"/>
                      </a:lnTo>
                      <a:lnTo>
                        <a:pt x="931" y="531"/>
                      </a:lnTo>
                      <a:lnTo>
                        <a:pt x="930" y="532"/>
                      </a:lnTo>
                      <a:lnTo>
                        <a:pt x="931" y="533"/>
                      </a:lnTo>
                      <a:lnTo>
                        <a:pt x="930" y="533"/>
                      </a:lnTo>
                      <a:lnTo>
                        <a:pt x="930" y="534"/>
                      </a:lnTo>
                      <a:lnTo>
                        <a:pt x="930" y="535"/>
                      </a:lnTo>
                      <a:lnTo>
                        <a:pt x="930" y="535"/>
                      </a:lnTo>
                      <a:lnTo>
                        <a:pt x="930" y="536"/>
                      </a:lnTo>
                      <a:lnTo>
                        <a:pt x="930" y="537"/>
                      </a:lnTo>
                      <a:lnTo>
                        <a:pt x="930" y="540"/>
                      </a:lnTo>
                      <a:lnTo>
                        <a:pt x="929" y="541"/>
                      </a:lnTo>
                      <a:lnTo>
                        <a:pt x="929" y="541"/>
                      </a:lnTo>
                      <a:lnTo>
                        <a:pt x="928" y="541"/>
                      </a:lnTo>
                      <a:lnTo>
                        <a:pt x="929" y="542"/>
                      </a:lnTo>
                      <a:lnTo>
                        <a:pt x="928" y="542"/>
                      </a:lnTo>
                      <a:lnTo>
                        <a:pt x="928" y="543"/>
                      </a:lnTo>
                      <a:lnTo>
                        <a:pt x="928" y="543"/>
                      </a:lnTo>
                      <a:lnTo>
                        <a:pt x="928" y="543"/>
                      </a:lnTo>
                      <a:lnTo>
                        <a:pt x="928" y="544"/>
                      </a:lnTo>
                      <a:lnTo>
                        <a:pt x="928" y="545"/>
                      </a:lnTo>
                      <a:lnTo>
                        <a:pt x="928" y="545"/>
                      </a:lnTo>
                      <a:lnTo>
                        <a:pt x="927" y="545"/>
                      </a:lnTo>
                      <a:lnTo>
                        <a:pt x="927" y="546"/>
                      </a:lnTo>
                      <a:lnTo>
                        <a:pt x="927" y="547"/>
                      </a:lnTo>
                      <a:lnTo>
                        <a:pt x="927" y="547"/>
                      </a:lnTo>
                      <a:lnTo>
                        <a:pt x="927" y="548"/>
                      </a:lnTo>
                      <a:lnTo>
                        <a:pt x="926" y="548"/>
                      </a:lnTo>
                      <a:lnTo>
                        <a:pt x="926" y="549"/>
                      </a:lnTo>
                      <a:lnTo>
                        <a:pt x="926" y="550"/>
                      </a:lnTo>
                      <a:lnTo>
                        <a:pt x="926" y="550"/>
                      </a:lnTo>
                      <a:lnTo>
                        <a:pt x="926" y="551"/>
                      </a:lnTo>
                      <a:lnTo>
                        <a:pt x="926" y="552"/>
                      </a:lnTo>
                      <a:lnTo>
                        <a:pt x="926" y="552"/>
                      </a:lnTo>
                      <a:lnTo>
                        <a:pt x="926" y="553"/>
                      </a:lnTo>
                      <a:lnTo>
                        <a:pt x="926" y="554"/>
                      </a:lnTo>
                      <a:lnTo>
                        <a:pt x="926" y="554"/>
                      </a:lnTo>
                      <a:lnTo>
                        <a:pt x="926" y="555"/>
                      </a:lnTo>
                      <a:lnTo>
                        <a:pt x="926" y="556"/>
                      </a:lnTo>
                      <a:lnTo>
                        <a:pt x="926" y="556"/>
                      </a:lnTo>
                      <a:lnTo>
                        <a:pt x="925" y="556"/>
                      </a:lnTo>
                      <a:lnTo>
                        <a:pt x="925" y="557"/>
                      </a:lnTo>
                      <a:lnTo>
                        <a:pt x="925" y="558"/>
                      </a:lnTo>
                      <a:lnTo>
                        <a:pt x="924" y="558"/>
                      </a:lnTo>
                      <a:lnTo>
                        <a:pt x="924" y="558"/>
                      </a:lnTo>
                      <a:lnTo>
                        <a:pt x="924" y="559"/>
                      </a:lnTo>
                      <a:lnTo>
                        <a:pt x="925" y="559"/>
                      </a:lnTo>
                      <a:lnTo>
                        <a:pt x="925" y="560"/>
                      </a:lnTo>
                      <a:lnTo>
                        <a:pt x="926" y="560"/>
                      </a:lnTo>
                      <a:lnTo>
                        <a:pt x="926" y="560"/>
                      </a:lnTo>
                      <a:lnTo>
                        <a:pt x="926" y="560"/>
                      </a:lnTo>
                      <a:lnTo>
                        <a:pt x="927" y="560"/>
                      </a:lnTo>
                      <a:lnTo>
                        <a:pt x="928" y="560"/>
                      </a:lnTo>
                      <a:lnTo>
                        <a:pt x="928" y="561"/>
                      </a:lnTo>
                      <a:lnTo>
                        <a:pt x="928" y="562"/>
                      </a:lnTo>
                      <a:lnTo>
                        <a:pt x="929" y="562"/>
                      </a:lnTo>
                      <a:lnTo>
                        <a:pt x="929" y="562"/>
                      </a:lnTo>
                      <a:lnTo>
                        <a:pt x="930" y="562"/>
                      </a:lnTo>
                      <a:lnTo>
                        <a:pt x="929" y="563"/>
                      </a:lnTo>
                      <a:lnTo>
                        <a:pt x="930" y="563"/>
                      </a:lnTo>
                      <a:lnTo>
                        <a:pt x="930" y="563"/>
                      </a:lnTo>
                      <a:lnTo>
                        <a:pt x="930" y="564"/>
                      </a:lnTo>
                      <a:lnTo>
                        <a:pt x="930" y="564"/>
                      </a:lnTo>
                      <a:lnTo>
                        <a:pt x="930" y="564"/>
                      </a:lnTo>
                      <a:lnTo>
                        <a:pt x="930" y="565"/>
                      </a:lnTo>
                      <a:lnTo>
                        <a:pt x="929" y="565"/>
                      </a:lnTo>
                      <a:lnTo>
                        <a:pt x="929" y="566"/>
                      </a:lnTo>
                      <a:lnTo>
                        <a:pt x="929" y="566"/>
                      </a:lnTo>
                      <a:lnTo>
                        <a:pt x="929" y="567"/>
                      </a:lnTo>
                      <a:lnTo>
                        <a:pt x="928" y="567"/>
                      </a:lnTo>
                      <a:lnTo>
                        <a:pt x="928" y="567"/>
                      </a:lnTo>
                      <a:lnTo>
                        <a:pt x="928" y="568"/>
                      </a:lnTo>
                      <a:lnTo>
                        <a:pt x="928" y="569"/>
                      </a:lnTo>
                      <a:lnTo>
                        <a:pt x="927" y="569"/>
                      </a:lnTo>
                      <a:lnTo>
                        <a:pt x="927" y="569"/>
                      </a:lnTo>
                      <a:lnTo>
                        <a:pt x="926" y="569"/>
                      </a:lnTo>
                      <a:lnTo>
                        <a:pt x="926" y="570"/>
                      </a:lnTo>
                      <a:lnTo>
                        <a:pt x="926" y="571"/>
                      </a:lnTo>
                      <a:lnTo>
                        <a:pt x="926" y="571"/>
                      </a:lnTo>
                      <a:lnTo>
                        <a:pt x="926" y="571"/>
                      </a:lnTo>
                      <a:lnTo>
                        <a:pt x="926" y="572"/>
                      </a:lnTo>
                      <a:lnTo>
                        <a:pt x="926" y="573"/>
                      </a:lnTo>
                      <a:lnTo>
                        <a:pt x="926" y="573"/>
                      </a:lnTo>
                      <a:lnTo>
                        <a:pt x="926" y="573"/>
                      </a:lnTo>
                      <a:lnTo>
                        <a:pt x="926" y="574"/>
                      </a:lnTo>
                      <a:lnTo>
                        <a:pt x="925" y="575"/>
                      </a:lnTo>
                      <a:lnTo>
                        <a:pt x="924" y="575"/>
                      </a:lnTo>
                      <a:lnTo>
                        <a:pt x="924" y="575"/>
                      </a:lnTo>
                      <a:lnTo>
                        <a:pt x="923" y="579"/>
                      </a:lnTo>
                      <a:lnTo>
                        <a:pt x="922" y="579"/>
                      </a:lnTo>
                      <a:lnTo>
                        <a:pt x="922" y="579"/>
                      </a:lnTo>
                      <a:lnTo>
                        <a:pt x="921" y="579"/>
                      </a:lnTo>
                      <a:lnTo>
                        <a:pt x="921" y="580"/>
                      </a:lnTo>
                      <a:lnTo>
                        <a:pt x="920" y="580"/>
                      </a:lnTo>
                      <a:lnTo>
                        <a:pt x="920" y="581"/>
                      </a:lnTo>
                      <a:lnTo>
                        <a:pt x="920" y="581"/>
                      </a:lnTo>
                      <a:lnTo>
                        <a:pt x="919" y="581"/>
                      </a:lnTo>
                      <a:lnTo>
                        <a:pt x="913" y="581"/>
                      </a:lnTo>
                      <a:lnTo>
                        <a:pt x="909" y="579"/>
                      </a:lnTo>
                      <a:lnTo>
                        <a:pt x="907" y="580"/>
                      </a:lnTo>
                      <a:lnTo>
                        <a:pt x="907" y="579"/>
                      </a:lnTo>
                      <a:lnTo>
                        <a:pt x="905" y="578"/>
                      </a:lnTo>
                      <a:lnTo>
                        <a:pt x="903" y="576"/>
                      </a:lnTo>
                      <a:lnTo>
                        <a:pt x="897" y="566"/>
                      </a:lnTo>
                      <a:lnTo>
                        <a:pt x="895" y="562"/>
                      </a:lnTo>
                      <a:lnTo>
                        <a:pt x="894" y="560"/>
                      </a:lnTo>
                      <a:lnTo>
                        <a:pt x="893" y="561"/>
                      </a:lnTo>
                      <a:lnTo>
                        <a:pt x="892" y="561"/>
                      </a:lnTo>
                      <a:lnTo>
                        <a:pt x="890" y="560"/>
                      </a:lnTo>
                      <a:lnTo>
                        <a:pt x="890" y="560"/>
                      </a:lnTo>
                      <a:lnTo>
                        <a:pt x="890" y="561"/>
                      </a:lnTo>
                      <a:lnTo>
                        <a:pt x="889" y="561"/>
                      </a:lnTo>
                      <a:lnTo>
                        <a:pt x="890" y="561"/>
                      </a:lnTo>
                      <a:lnTo>
                        <a:pt x="889" y="562"/>
                      </a:lnTo>
                      <a:lnTo>
                        <a:pt x="889" y="562"/>
                      </a:lnTo>
                      <a:lnTo>
                        <a:pt x="888" y="562"/>
                      </a:lnTo>
                      <a:lnTo>
                        <a:pt x="888" y="563"/>
                      </a:lnTo>
                      <a:lnTo>
                        <a:pt x="888" y="563"/>
                      </a:lnTo>
                      <a:lnTo>
                        <a:pt x="888" y="564"/>
                      </a:lnTo>
                      <a:lnTo>
                        <a:pt x="887" y="564"/>
                      </a:lnTo>
                      <a:lnTo>
                        <a:pt x="887" y="564"/>
                      </a:lnTo>
                      <a:lnTo>
                        <a:pt x="887" y="565"/>
                      </a:lnTo>
                      <a:lnTo>
                        <a:pt x="886" y="566"/>
                      </a:lnTo>
                      <a:lnTo>
                        <a:pt x="886" y="566"/>
                      </a:lnTo>
                      <a:lnTo>
                        <a:pt x="886" y="566"/>
                      </a:lnTo>
                      <a:lnTo>
                        <a:pt x="885" y="567"/>
                      </a:lnTo>
                      <a:lnTo>
                        <a:pt x="885" y="568"/>
                      </a:lnTo>
                      <a:lnTo>
                        <a:pt x="884" y="568"/>
                      </a:lnTo>
                      <a:lnTo>
                        <a:pt x="884" y="569"/>
                      </a:lnTo>
                      <a:lnTo>
                        <a:pt x="884" y="569"/>
                      </a:lnTo>
                      <a:lnTo>
                        <a:pt x="884" y="570"/>
                      </a:lnTo>
                      <a:lnTo>
                        <a:pt x="883" y="570"/>
                      </a:lnTo>
                      <a:lnTo>
                        <a:pt x="883" y="571"/>
                      </a:lnTo>
                      <a:lnTo>
                        <a:pt x="882" y="571"/>
                      </a:lnTo>
                      <a:lnTo>
                        <a:pt x="882" y="571"/>
                      </a:lnTo>
                      <a:lnTo>
                        <a:pt x="880" y="573"/>
                      </a:lnTo>
                      <a:lnTo>
                        <a:pt x="879" y="573"/>
                      </a:lnTo>
                      <a:lnTo>
                        <a:pt x="879" y="574"/>
                      </a:lnTo>
                      <a:lnTo>
                        <a:pt x="878" y="575"/>
                      </a:lnTo>
                      <a:lnTo>
                        <a:pt x="878" y="575"/>
                      </a:lnTo>
                      <a:lnTo>
                        <a:pt x="877" y="575"/>
                      </a:lnTo>
                      <a:lnTo>
                        <a:pt x="877" y="576"/>
                      </a:lnTo>
                      <a:lnTo>
                        <a:pt x="877" y="577"/>
                      </a:lnTo>
                      <a:lnTo>
                        <a:pt x="877" y="578"/>
                      </a:lnTo>
                      <a:lnTo>
                        <a:pt x="877" y="579"/>
                      </a:lnTo>
                      <a:lnTo>
                        <a:pt x="876" y="579"/>
                      </a:lnTo>
                      <a:lnTo>
                        <a:pt x="875" y="579"/>
                      </a:lnTo>
                      <a:lnTo>
                        <a:pt x="875" y="579"/>
                      </a:lnTo>
                      <a:lnTo>
                        <a:pt x="875" y="578"/>
                      </a:lnTo>
                      <a:lnTo>
                        <a:pt x="874" y="578"/>
                      </a:lnTo>
                      <a:lnTo>
                        <a:pt x="873" y="578"/>
                      </a:lnTo>
                      <a:lnTo>
                        <a:pt x="873" y="579"/>
                      </a:lnTo>
                      <a:lnTo>
                        <a:pt x="873" y="579"/>
                      </a:lnTo>
                      <a:lnTo>
                        <a:pt x="872" y="579"/>
                      </a:lnTo>
                      <a:lnTo>
                        <a:pt x="872" y="579"/>
                      </a:lnTo>
                      <a:lnTo>
                        <a:pt x="871" y="579"/>
                      </a:lnTo>
                      <a:lnTo>
                        <a:pt x="871" y="580"/>
                      </a:lnTo>
                      <a:lnTo>
                        <a:pt x="870" y="580"/>
                      </a:lnTo>
                      <a:lnTo>
                        <a:pt x="869" y="579"/>
                      </a:lnTo>
                      <a:lnTo>
                        <a:pt x="869" y="580"/>
                      </a:lnTo>
                      <a:lnTo>
                        <a:pt x="869" y="583"/>
                      </a:lnTo>
                      <a:lnTo>
                        <a:pt x="869" y="583"/>
                      </a:lnTo>
                      <a:lnTo>
                        <a:pt x="869" y="584"/>
                      </a:lnTo>
                      <a:lnTo>
                        <a:pt x="870" y="586"/>
                      </a:lnTo>
                      <a:lnTo>
                        <a:pt x="871" y="587"/>
                      </a:lnTo>
                      <a:lnTo>
                        <a:pt x="871" y="589"/>
                      </a:lnTo>
                      <a:lnTo>
                        <a:pt x="872" y="590"/>
                      </a:lnTo>
                      <a:lnTo>
                        <a:pt x="873" y="592"/>
                      </a:lnTo>
                      <a:lnTo>
                        <a:pt x="875" y="591"/>
                      </a:lnTo>
                      <a:lnTo>
                        <a:pt x="875" y="592"/>
                      </a:lnTo>
                      <a:lnTo>
                        <a:pt x="875" y="592"/>
                      </a:lnTo>
                      <a:lnTo>
                        <a:pt x="875" y="593"/>
                      </a:lnTo>
                      <a:lnTo>
                        <a:pt x="875" y="594"/>
                      </a:lnTo>
                      <a:lnTo>
                        <a:pt x="875" y="596"/>
                      </a:lnTo>
                      <a:lnTo>
                        <a:pt x="877" y="597"/>
                      </a:lnTo>
                      <a:lnTo>
                        <a:pt x="877" y="598"/>
                      </a:lnTo>
                      <a:lnTo>
                        <a:pt x="877" y="598"/>
                      </a:lnTo>
                      <a:lnTo>
                        <a:pt x="877" y="598"/>
                      </a:lnTo>
                      <a:lnTo>
                        <a:pt x="877" y="599"/>
                      </a:lnTo>
                      <a:lnTo>
                        <a:pt x="877" y="600"/>
                      </a:lnTo>
                      <a:lnTo>
                        <a:pt x="878" y="600"/>
                      </a:lnTo>
                      <a:lnTo>
                        <a:pt x="878" y="600"/>
                      </a:lnTo>
                      <a:lnTo>
                        <a:pt x="878" y="601"/>
                      </a:lnTo>
                      <a:lnTo>
                        <a:pt x="878" y="602"/>
                      </a:lnTo>
                      <a:lnTo>
                        <a:pt x="879" y="602"/>
                      </a:lnTo>
                      <a:lnTo>
                        <a:pt x="880" y="603"/>
                      </a:lnTo>
                      <a:lnTo>
                        <a:pt x="881" y="603"/>
                      </a:lnTo>
                      <a:lnTo>
                        <a:pt x="881" y="604"/>
                      </a:lnTo>
                      <a:lnTo>
                        <a:pt x="882" y="604"/>
                      </a:lnTo>
                      <a:lnTo>
                        <a:pt x="884" y="604"/>
                      </a:lnTo>
                      <a:lnTo>
                        <a:pt x="884" y="605"/>
                      </a:lnTo>
                      <a:lnTo>
                        <a:pt x="884" y="606"/>
                      </a:lnTo>
                      <a:lnTo>
                        <a:pt x="884" y="606"/>
                      </a:lnTo>
                      <a:lnTo>
                        <a:pt x="885" y="607"/>
                      </a:lnTo>
                      <a:lnTo>
                        <a:pt x="886" y="607"/>
                      </a:lnTo>
                      <a:lnTo>
                        <a:pt x="886" y="608"/>
                      </a:lnTo>
                      <a:lnTo>
                        <a:pt x="886" y="609"/>
                      </a:lnTo>
                      <a:lnTo>
                        <a:pt x="886" y="609"/>
                      </a:lnTo>
                      <a:lnTo>
                        <a:pt x="886" y="610"/>
                      </a:lnTo>
                      <a:lnTo>
                        <a:pt x="888" y="612"/>
                      </a:lnTo>
                      <a:lnTo>
                        <a:pt x="888" y="614"/>
                      </a:lnTo>
                      <a:lnTo>
                        <a:pt x="888" y="615"/>
                      </a:lnTo>
                      <a:lnTo>
                        <a:pt x="887" y="615"/>
                      </a:lnTo>
                      <a:lnTo>
                        <a:pt x="887" y="616"/>
                      </a:lnTo>
                      <a:lnTo>
                        <a:pt x="883" y="619"/>
                      </a:lnTo>
                      <a:lnTo>
                        <a:pt x="882" y="619"/>
                      </a:lnTo>
                      <a:lnTo>
                        <a:pt x="879" y="619"/>
                      </a:lnTo>
                      <a:lnTo>
                        <a:pt x="879" y="618"/>
                      </a:lnTo>
                      <a:lnTo>
                        <a:pt x="878" y="617"/>
                      </a:lnTo>
                      <a:lnTo>
                        <a:pt x="876" y="620"/>
                      </a:lnTo>
                      <a:lnTo>
                        <a:pt x="876" y="621"/>
                      </a:lnTo>
                      <a:lnTo>
                        <a:pt x="875" y="621"/>
                      </a:lnTo>
                      <a:lnTo>
                        <a:pt x="875" y="621"/>
                      </a:lnTo>
                      <a:lnTo>
                        <a:pt x="875" y="621"/>
                      </a:lnTo>
                      <a:lnTo>
                        <a:pt x="875" y="622"/>
                      </a:lnTo>
                      <a:lnTo>
                        <a:pt x="874" y="622"/>
                      </a:lnTo>
                      <a:lnTo>
                        <a:pt x="873" y="622"/>
                      </a:lnTo>
                      <a:lnTo>
                        <a:pt x="873" y="623"/>
                      </a:lnTo>
                      <a:lnTo>
                        <a:pt x="872" y="623"/>
                      </a:lnTo>
                      <a:lnTo>
                        <a:pt x="871" y="624"/>
                      </a:lnTo>
                      <a:lnTo>
                        <a:pt x="869" y="627"/>
                      </a:lnTo>
                      <a:lnTo>
                        <a:pt x="867" y="628"/>
                      </a:lnTo>
                      <a:lnTo>
                        <a:pt x="867" y="629"/>
                      </a:lnTo>
                      <a:lnTo>
                        <a:pt x="867" y="630"/>
                      </a:lnTo>
                      <a:lnTo>
                        <a:pt x="867" y="631"/>
                      </a:lnTo>
                      <a:lnTo>
                        <a:pt x="867" y="632"/>
                      </a:lnTo>
                      <a:lnTo>
                        <a:pt x="868" y="632"/>
                      </a:lnTo>
                      <a:lnTo>
                        <a:pt x="868" y="632"/>
                      </a:lnTo>
                      <a:lnTo>
                        <a:pt x="867" y="634"/>
                      </a:lnTo>
                      <a:lnTo>
                        <a:pt x="867" y="637"/>
                      </a:lnTo>
                      <a:lnTo>
                        <a:pt x="868" y="638"/>
                      </a:lnTo>
                      <a:lnTo>
                        <a:pt x="870" y="638"/>
                      </a:lnTo>
                      <a:lnTo>
                        <a:pt x="873" y="638"/>
                      </a:lnTo>
                      <a:lnTo>
                        <a:pt x="875" y="638"/>
                      </a:lnTo>
                      <a:lnTo>
                        <a:pt x="875" y="638"/>
                      </a:lnTo>
                      <a:lnTo>
                        <a:pt x="875" y="639"/>
                      </a:lnTo>
                      <a:lnTo>
                        <a:pt x="875" y="640"/>
                      </a:lnTo>
                      <a:lnTo>
                        <a:pt x="876" y="640"/>
                      </a:lnTo>
                      <a:lnTo>
                        <a:pt x="876" y="640"/>
                      </a:lnTo>
                      <a:lnTo>
                        <a:pt x="876" y="641"/>
                      </a:lnTo>
                      <a:lnTo>
                        <a:pt x="877" y="641"/>
                      </a:lnTo>
                      <a:lnTo>
                        <a:pt x="877" y="642"/>
                      </a:lnTo>
                      <a:lnTo>
                        <a:pt x="877" y="642"/>
                      </a:lnTo>
                      <a:lnTo>
                        <a:pt x="877" y="643"/>
                      </a:lnTo>
                      <a:lnTo>
                        <a:pt x="878" y="643"/>
                      </a:lnTo>
                      <a:lnTo>
                        <a:pt x="878" y="644"/>
                      </a:lnTo>
                      <a:lnTo>
                        <a:pt x="879" y="644"/>
                      </a:lnTo>
                      <a:lnTo>
                        <a:pt x="879" y="644"/>
                      </a:lnTo>
                      <a:lnTo>
                        <a:pt x="879" y="645"/>
                      </a:lnTo>
                      <a:lnTo>
                        <a:pt x="880" y="645"/>
                      </a:lnTo>
                      <a:lnTo>
                        <a:pt x="885" y="650"/>
                      </a:lnTo>
                      <a:lnTo>
                        <a:pt x="887" y="653"/>
                      </a:lnTo>
                      <a:lnTo>
                        <a:pt x="891" y="660"/>
                      </a:lnTo>
                      <a:lnTo>
                        <a:pt x="891" y="661"/>
                      </a:lnTo>
                      <a:lnTo>
                        <a:pt x="891" y="661"/>
                      </a:lnTo>
                      <a:lnTo>
                        <a:pt x="891" y="662"/>
                      </a:lnTo>
                      <a:lnTo>
                        <a:pt x="890" y="663"/>
                      </a:lnTo>
                      <a:lnTo>
                        <a:pt x="890" y="663"/>
                      </a:lnTo>
                      <a:lnTo>
                        <a:pt x="890" y="663"/>
                      </a:lnTo>
                      <a:lnTo>
                        <a:pt x="890" y="664"/>
                      </a:lnTo>
                      <a:lnTo>
                        <a:pt x="889" y="664"/>
                      </a:lnTo>
                      <a:lnTo>
                        <a:pt x="889" y="665"/>
                      </a:lnTo>
                      <a:lnTo>
                        <a:pt x="888" y="665"/>
                      </a:lnTo>
                      <a:lnTo>
                        <a:pt x="888" y="665"/>
                      </a:lnTo>
                      <a:lnTo>
                        <a:pt x="889" y="665"/>
                      </a:lnTo>
                      <a:lnTo>
                        <a:pt x="889" y="666"/>
                      </a:lnTo>
                      <a:lnTo>
                        <a:pt x="888" y="666"/>
                      </a:lnTo>
                      <a:lnTo>
                        <a:pt x="888" y="667"/>
                      </a:lnTo>
                      <a:lnTo>
                        <a:pt x="888" y="668"/>
                      </a:lnTo>
                      <a:lnTo>
                        <a:pt x="888" y="668"/>
                      </a:lnTo>
                      <a:lnTo>
                        <a:pt x="888" y="669"/>
                      </a:lnTo>
                      <a:lnTo>
                        <a:pt x="889" y="669"/>
                      </a:lnTo>
                      <a:lnTo>
                        <a:pt x="889" y="670"/>
                      </a:lnTo>
                      <a:lnTo>
                        <a:pt x="889" y="670"/>
                      </a:lnTo>
                      <a:lnTo>
                        <a:pt x="890" y="670"/>
                      </a:lnTo>
                      <a:lnTo>
                        <a:pt x="889" y="670"/>
                      </a:lnTo>
                      <a:lnTo>
                        <a:pt x="889" y="671"/>
                      </a:lnTo>
                      <a:lnTo>
                        <a:pt x="888" y="671"/>
                      </a:lnTo>
                      <a:lnTo>
                        <a:pt x="888" y="672"/>
                      </a:lnTo>
                      <a:lnTo>
                        <a:pt x="887" y="672"/>
                      </a:lnTo>
                      <a:lnTo>
                        <a:pt x="887" y="672"/>
                      </a:lnTo>
                      <a:lnTo>
                        <a:pt x="887" y="673"/>
                      </a:lnTo>
                      <a:lnTo>
                        <a:pt x="886" y="673"/>
                      </a:lnTo>
                      <a:lnTo>
                        <a:pt x="886" y="674"/>
                      </a:lnTo>
                      <a:lnTo>
                        <a:pt x="887" y="674"/>
                      </a:lnTo>
                      <a:lnTo>
                        <a:pt x="886" y="674"/>
                      </a:lnTo>
                      <a:lnTo>
                        <a:pt x="886" y="674"/>
                      </a:lnTo>
                      <a:lnTo>
                        <a:pt x="886" y="675"/>
                      </a:lnTo>
                      <a:lnTo>
                        <a:pt x="885" y="675"/>
                      </a:lnTo>
                      <a:lnTo>
                        <a:pt x="885" y="676"/>
                      </a:lnTo>
                      <a:lnTo>
                        <a:pt x="885" y="676"/>
                      </a:lnTo>
                      <a:lnTo>
                        <a:pt x="885" y="677"/>
                      </a:lnTo>
                      <a:lnTo>
                        <a:pt x="884" y="677"/>
                      </a:lnTo>
                      <a:lnTo>
                        <a:pt x="884" y="678"/>
                      </a:lnTo>
                      <a:lnTo>
                        <a:pt x="884" y="678"/>
                      </a:lnTo>
                      <a:lnTo>
                        <a:pt x="884" y="678"/>
                      </a:lnTo>
                      <a:lnTo>
                        <a:pt x="884" y="678"/>
                      </a:lnTo>
                      <a:lnTo>
                        <a:pt x="884" y="679"/>
                      </a:lnTo>
                      <a:lnTo>
                        <a:pt x="884" y="679"/>
                      </a:lnTo>
                      <a:lnTo>
                        <a:pt x="884" y="680"/>
                      </a:lnTo>
                      <a:lnTo>
                        <a:pt x="884" y="680"/>
                      </a:lnTo>
                      <a:lnTo>
                        <a:pt x="884" y="680"/>
                      </a:lnTo>
                      <a:lnTo>
                        <a:pt x="884" y="681"/>
                      </a:lnTo>
                      <a:lnTo>
                        <a:pt x="884" y="682"/>
                      </a:lnTo>
                      <a:lnTo>
                        <a:pt x="885" y="682"/>
                      </a:lnTo>
                      <a:lnTo>
                        <a:pt x="885" y="682"/>
                      </a:lnTo>
                      <a:lnTo>
                        <a:pt x="885" y="683"/>
                      </a:lnTo>
                      <a:lnTo>
                        <a:pt x="885" y="684"/>
                      </a:lnTo>
                      <a:lnTo>
                        <a:pt x="885" y="684"/>
                      </a:lnTo>
                      <a:lnTo>
                        <a:pt x="886" y="685"/>
                      </a:lnTo>
                      <a:lnTo>
                        <a:pt x="885" y="685"/>
                      </a:lnTo>
                      <a:lnTo>
                        <a:pt x="885" y="686"/>
                      </a:lnTo>
                      <a:lnTo>
                        <a:pt x="886" y="686"/>
                      </a:lnTo>
                      <a:lnTo>
                        <a:pt x="886" y="687"/>
                      </a:lnTo>
                      <a:lnTo>
                        <a:pt x="886" y="687"/>
                      </a:lnTo>
                      <a:lnTo>
                        <a:pt x="886" y="688"/>
                      </a:lnTo>
                      <a:lnTo>
                        <a:pt x="885" y="688"/>
                      </a:lnTo>
                      <a:lnTo>
                        <a:pt x="884" y="688"/>
                      </a:lnTo>
                      <a:lnTo>
                        <a:pt x="884" y="689"/>
                      </a:lnTo>
                      <a:lnTo>
                        <a:pt x="884" y="689"/>
                      </a:lnTo>
                      <a:lnTo>
                        <a:pt x="883" y="689"/>
                      </a:lnTo>
                      <a:lnTo>
                        <a:pt x="882" y="689"/>
                      </a:lnTo>
                      <a:lnTo>
                        <a:pt x="882" y="689"/>
                      </a:lnTo>
                      <a:lnTo>
                        <a:pt x="881" y="689"/>
                      </a:lnTo>
                      <a:lnTo>
                        <a:pt x="881" y="690"/>
                      </a:lnTo>
                      <a:lnTo>
                        <a:pt x="881" y="691"/>
                      </a:lnTo>
                      <a:lnTo>
                        <a:pt x="881" y="691"/>
                      </a:lnTo>
                      <a:lnTo>
                        <a:pt x="882" y="691"/>
                      </a:lnTo>
                      <a:lnTo>
                        <a:pt x="882" y="692"/>
                      </a:lnTo>
                      <a:lnTo>
                        <a:pt x="882" y="693"/>
                      </a:lnTo>
                      <a:lnTo>
                        <a:pt x="882" y="693"/>
                      </a:lnTo>
                      <a:lnTo>
                        <a:pt x="882" y="694"/>
                      </a:lnTo>
                      <a:lnTo>
                        <a:pt x="883" y="694"/>
                      </a:lnTo>
                      <a:lnTo>
                        <a:pt x="883" y="695"/>
                      </a:lnTo>
                      <a:lnTo>
                        <a:pt x="882" y="695"/>
                      </a:lnTo>
                      <a:lnTo>
                        <a:pt x="882" y="695"/>
                      </a:lnTo>
                      <a:lnTo>
                        <a:pt x="883" y="695"/>
                      </a:lnTo>
                      <a:lnTo>
                        <a:pt x="882" y="695"/>
                      </a:lnTo>
                      <a:lnTo>
                        <a:pt x="882" y="696"/>
                      </a:lnTo>
                      <a:lnTo>
                        <a:pt x="882" y="697"/>
                      </a:lnTo>
                      <a:lnTo>
                        <a:pt x="882" y="696"/>
                      </a:lnTo>
                      <a:lnTo>
                        <a:pt x="882" y="696"/>
                      </a:lnTo>
                      <a:lnTo>
                        <a:pt x="882" y="697"/>
                      </a:lnTo>
                      <a:lnTo>
                        <a:pt x="881" y="697"/>
                      </a:lnTo>
                      <a:lnTo>
                        <a:pt x="880" y="697"/>
                      </a:lnTo>
                      <a:lnTo>
                        <a:pt x="880" y="697"/>
                      </a:lnTo>
                      <a:lnTo>
                        <a:pt x="879" y="697"/>
                      </a:lnTo>
                      <a:lnTo>
                        <a:pt x="879" y="698"/>
                      </a:lnTo>
                      <a:lnTo>
                        <a:pt x="879" y="698"/>
                      </a:lnTo>
                      <a:lnTo>
                        <a:pt x="879" y="699"/>
                      </a:lnTo>
                      <a:lnTo>
                        <a:pt x="879" y="699"/>
                      </a:lnTo>
                      <a:lnTo>
                        <a:pt x="879" y="699"/>
                      </a:lnTo>
                      <a:lnTo>
                        <a:pt x="879" y="700"/>
                      </a:lnTo>
                      <a:lnTo>
                        <a:pt x="879" y="701"/>
                      </a:lnTo>
                      <a:lnTo>
                        <a:pt x="879" y="701"/>
                      </a:lnTo>
                      <a:lnTo>
                        <a:pt x="879" y="702"/>
                      </a:lnTo>
                      <a:lnTo>
                        <a:pt x="879" y="703"/>
                      </a:lnTo>
                      <a:lnTo>
                        <a:pt x="879" y="703"/>
                      </a:lnTo>
                      <a:lnTo>
                        <a:pt x="880" y="704"/>
                      </a:lnTo>
                      <a:lnTo>
                        <a:pt x="879" y="707"/>
                      </a:lnTo>
                      <a:lnTo>
                        <a:pt x="880" y="708"/>
                      </a:lnTo>
                      <a:lnTo>
                        <a:pt x="880" y="708"/>
                      </a:lnTo>
                      <a:lnTo>
                        <a:pt x="880" y="709"/>
                      </a:lnTo>
                      <a:lnTo>
                        <a:pt x="880" y="710"/>
                      </a:lnTo>
                      <a:lnTo>
                        <a:pt x="880" y="711"/>
                      </a:lnTo>
                      <a:lnTo>
                        <a:pt x="865" y="713"/>
                      </a:lnTo>
                      <a:lnTo>
                        <a:pt x="860" y="722"/>
                      </a:lnTo>
                      <a:lnTo>
                        <a:pt x="855" y="724"/>
                      </a:lnTo>
                      <a:lnTo>
                        <a:pt x="852" y="725"/>
                      </a:lnTo>
                      <a:lnTo>
                        <a:pt x="850" y="725"/>
                      </a:lnTo>
                      <a:lnTo>
                        <a:pt x="852" y="729"/>
                      </a:lnTo>
                      <a:lnTo>
                        <a:pt x="852" y="729"/>
                      </a:lnTo>
                      <a:lnTo>
                        <a:pt x="852" y="730"/>
                      </a:lnTo>
                      <a:lnTo>
                        <a:pt x="852" y="731"/>
                      </a:lnTo>
                      <a:lnTo>
                        <a:pt x="852" y="731"/>
                      </a:lnTo>
                      <a:lnTo>
                        <a:pt x="852" y="732"/>
                      </a:lnTo>
                      <a:lnTo>
                        <a:pt x="853" y="733"/>
                      </a:lnTo>
                      <a:lnTo>
                        <a:pt x="854" y="733"/>
                      </a:lnTo>
                      <a:lnTo>
                        <a:pt x="854" y="734"/>
                      </a:lnTo>
                      <a:lnTo>
                        <a:pt x="855" y="735"/>
                      </a:lnTo>
                      <a:lnTo>
                        <a:pt x="856" y="736"/>
                      </a:lnTo>
                      <a:lnTo>
                        <a:pt x="856" y="736"/>
                      </a:lnTo>
                      <a:lnTo>
                        <a:pt x="857" y="736"/>
                      </a:lnTo>
                      <a:lnTo>
                        <a:pt x="858" y="736"/>
                      </a:lnTo>
                      <a:lnTo>
                        <a:pt x="858" y="737"/>
                      </a:lnTo>
                      <a:lnTo>
                        <a:pt x="859" y="737"/>
                      </a:lnTo>
                      <a:lnTo>
                        <a:pt x="859" y="737"/>
                      </a:lnTo>
                      <a:lnTo>
                        <a:pt x="858" y="737"/>
                      </a:lnTo>
                      <a:lnTo>
                        <a:pt x="858" y="738"/>
                      </a:lnTo>
                      <a:lnTo>
                        <a:pt x="859" y="738"/>
                      </a:lnTo>
                      <a:lnTo>
                        <a:pt x="859" y="739"/>
                      </a:lnTo>
                      <a:lnTo>
                        <a:pt x="859" y="739"/>
                      </a:lnTo>
                      <a:lnTo>
                        <a:pt x="860" y="739"/>
                      </a:lnTo>
                      <a:lnTo>
                        <a:pt x="860" y="740"/>
                      </a:lnTo>
                      <a:lnTo>
                        <a:pt x="860" y="741"/>
                      </a:lnTo>
                      <a:lnTo>
                        <a:pt x="860" y="741"/>
                      </a:lnTo>
                      <a:lnTo>
                        <a:pt x="860" y="741"/>
                      </a:lnTo>
                      <a:lnTo>
                        <a:pt x="860" y="742"/>
                      </a:lnTo>
                      <a:lnTo>
                        <a:pt x="860" y="743"/>
                      </a:lnTo>
                      <a:lnTo>
                        <a:pt x="860" y="743"/>
                      </a:lnTo>
                      <a:lnTo>
                        <a:pt x="860" y="744"/>
                      </a:lnTo>
                      <a:lnTo>
                        <a:pt x="860" y="745"/>
                      </a:lnTo>
                      <a:lnTo>
                        <a:pt x="859" y="745"/>
                      </a:lnTo>
                      <a:lnTo>
                        <a:pt x="859" y="746"/>
                      </a:lnTo>
                      <a:lnTo>
                        <a:pt x="859" y="746"/>
                      </a:lnTo>
                      <a:lnTo>
                        <a:pt x="858" y="747"/>
                      </a:lnTo>
                      <a:lnTo>
                        <a:pt x="858" y="748"/>
                      </a:lnTo>
                      <a:lnTo>
                        <a:pt x="858" y="748"/>
                      </a:lnTo>
                      <a:lnTo>
                        <a:pt x="858" y="749"/>
                      </a:lnTo>
                      <a:lnTo>
                        <a:pt x="858" y="750"/>
                      </a:lnTo>
                      <a:lnTo>
                        <a:pt x="858" y="750"/>
                      </a:lnTo>
                      <a:lnTo>
                        <a:pt x="858" y="751"/>
                      </a:lnTo>
                      <a:lnTo>
                        <a:pt x="858" y="752"/>
                      </a:lnTo>
                      <a:lnTo>
                        <a:pt x="858" y="752"/>
                      </a:lnTo>
                      <a:lnTo>
                        <a:pt x="858" y="753"/>
                      </a:lnTo>
                      <a:lnTo>
                        <a:pt x="858" y="754"/>
                      </a:lnTo>
                      <a:lnTo>
                        <a:pt x="858" y="754"/>
                      </a:lnTo>
                      <a:lnTo>
                        <a:pt x="858" y="754"/>
                      </a:lnTo>
                      <a:lnTo>
                        <a:pt x="857" y="754"/>
                      </a:lnTo>
                      <a:lnTo>
                        <a:pt x="857" y="755"/>
                      </a:lnTo>
                      <a:lnTo>
                        <a:pt x="857" y="756"/>
                      </a:lnTo>
                      <a:lnTo>
                        <a:pt x="857" y="756"/>
                      </a:lnTo>
                      <a:lnTo>
                        <a:pt x="856" y="757"/>
                      </a:lnTo>
                      <a:lnTo>
                        <a:pt x="857" y="757"/>
                      </a:lnTo>
                      <a:lnTo>
                        <a:pt x="857" y="758"/>
                      </a:lnTo>
                      <a:lnTo>
                        <a:pt x="856" y="758"/>
                      </a:lnTo>
                      <a:lnTo>
                        <a:pt x="857" y="758"/>
                      </a:lnTo>
                      <a:lnTo>
                        <a:pt x="857" y="758"/>
                      </a:lnTo>
                      <a:lnTo>
                        <a:pt x="857" y="759"/>
                      </a:lnTo>
                      <a:lnTo>
                        <a:pt x="856" y="759"/>
                      </a:lnTo>
                      <a:lnTo>
                        <a:pt x="856" y="760"/>
                      </a:lnTo>
                      <a:lnTo>
                        <a:pt x="857" y="760"/>
                      </a:lnTo>
                      <a:lnTo>
                        <a:pt x="857" y="760"/>
                      </a:lnTo>
                      <a:lnTo>
                        <a:pt x="857" y="761"/>
                      </a:lnTo>
                      <a:lnTo>
                        <a:pt x="857" y="762"/>
                      </a:lnTo>
                      <a:lnTo>
                        <a:pt x="857" y="762"/>
                      </a:lnTo>
                      <a:lnTo>
                        <a:pt x="857" y="763"/>
                      </a:lnTo>
                      <a:lnTo>
                        <a:pt x="857" y="764"/>
                      </a:lnTo>
                      <a:lnTo>
                        <a:pt x="857" y="764"/>
                      </a:lnTo>
                      <a:lnTo>
                        <a:pt x="857" y="765"/>
                      </a:lnTo>
                      <a:lnTo>
                        <a:pt x="857" y="766"/>
                      </a:lnTo>
                      <a:lnTo>
                        <a:pt x="858" y="766"/>
                      </a:lnTo>
                      <a:lnTo>
                        <a:pt x="858" y="767"/>
                      </a:lnTo>
                      <a:lnTo>
                        <a:pt x="858" y="767"/>
                      </a:lnTo>
                      <a:lnTo>
                        <a:pt x="858" y="767"/>
                      </a:lnTo>
                      <a:lnTo>
                        <a:pt x="858" y="768"/>
                      </a:lnTo>
                      <a:lnTo>
                        <a:pt x="858" y="769"/>
                      </a:lnTo>
                      <a:lnTo>
                        <a:pt x="858" y="769"/>
                      </a:lnTo>
                      <a:lnTo>
                        <a:pt x="858" y="770"/>
                      </a:lnTo>
                      <a:lnTo>
                        <a:pt x="858" y="771"/>
                      </a:lnTo>
                      <a:lnTo>
                        <a:pt x="858" y="771"/>
                      </a:lnTo>
                      <a:lnTo>
                        <a:pt x="858" y="771"/>
                      </a:lnTo>
                      <a:lnTo>
                        <a:pt x="857" y="771"/>
                      </a:lnTo>
                      <a:lnTo>
                        <a:pt x="857" y="772"/>
                      </a:lnTo>
                      <a:lnTo>
                        <a:pt x="856" y="772"/>
                      </a:lnTo>
                      <a:lnTo>
                        <a:pt x="856" y="773"/>
                      </a:lnTo>
                      <a:lnTo>
                        <a:pt x="856" y="773"/>
                      </a:lnTo>
                      <a:lnTo>
                        <a:pt x="856" y="773"/>
                      </a:lnTo>
                      <a:lnTo>
                        <a:pt x="855" y="774"/>
                      </a:lnTo>
                      <a:lnTo>
                        <a:pt x="855" y="775"/>
                      </a:lnTo>
                      <a:lnTo>
                        <a:pt x="854" y="775"/>
                      </a:lnTo>
                      <a:lnTo>
                        <a:pt x="854" y="775"/>
                      </a:lnTo>
                      <a:lnTo>
                        <a:pt x="854" y="776"/>
                      </a:lnTo>
                      <a:lnTo>
                        <a:pt x="854" y="776"/>
                      </a:lnTo>
                      <a:lnTo>
                        <a:pt x="854" y="777"/>
                      </a:lnTo>
                      <a:lnTo>
                        <a:pt x="854" y="777"/>
                      </a:lnTo>
                      <a:lnTo>
                        <a:pt x="855" y="777"/>
                      </a:lnTo>
                      <a:lnTo>
                        <a:pt x="855" y="777"/>
                      </a:lnTo>
                      <a:lnTo>
                        <a:pt x="855" y="778"/>
                      </a:lnTo>
                      <a:lnTo>
                        <a:pt x="855" y="779"/>
                      </a:lnTo>
                      <a:lnTo>
                        <a:pt x="855" y="779"/>
                      </a:lnTo>
                      <a:lnTo>
                        <a:pt x="856" y="779"/>
                      </a:lnTo>
                      <a:lnTo>
                        <a:pt x="856" y="780"/>
                      </a:lnTo>
                      <a:lnTo>
                        <a:pt x="856" y="781"/>
                      </a:lnTo>
                      <a:lnTo>
                        <a:pt x="856" y="781"/>
                      </a:lnTo>
                      <a:lnTo>
                        <a:pt x="855" y="781"/>
                      </a:lnTo>
                      <a:lnTo>
                        <a:pt x="855" y="782"/>
                      </a:lnTo>
                      <a:lnTo>
                        <a:pt x="856" y="782"/>
                      </a:lnTo>
                      <a:lnTo>
                        <a:pt x="856" y="783"/>
                      </a:lnTo>
                      <a:lnTo>
                        <a:pt x="856" y="783"/>
                      </a:lnTo>
                      <a:lnTo>
                        <a:pt x="856" y="783"/>
                      </a:lnTo>
                      <a:lnTo>
                        <a:pt x="856" y="784"/>
                      </a:lnTo>
                      <a:lnTo>
                        <a:pt x="856" y="785"/>
                      </a:lnTo>
                      <a:lnTo>
                        <a:pt x="856" y="786"/>
                      </a:lnTo>
                      <a:lnTo>
                        <a:pt x="857" y="786"/>
                      </a:lnTo>
                      <a:lnTo>
                        <a:pt x="857" y="786"/>
                      </a:lnTo>
                      <a:lnTo>
                        <a:pt x="857" y="787"/>
                      </a:lnTo>
                      <a:lnTo>
                        <a:pt x="857" y="788"/>
                      </a:lnTo>
                      <a:lnTo>
                        <a:pt x="858" y="788"/>
                      </a:lnTo>
                      <a:lnTo>
                        <a:pt x="858" y="788"/>
                      </a:lnTo>
                      <a:lnTo>
                        <a:pt x="858" y="789"/>
                      </a:lnTo>
                      <a:lnTo>
                        <a:pt x="858" y="789"/>
                      </a:lnTo>
                      <a:lnTo>
                        <a:pt x="859" y="790"/>
                      </a:lnTo>
                      <a:lnTo>
                        <a:pt x="859" y="790"/>
                      </a:lnTo>
                      <a:lnTo>
                        <a:pt x="858" y="790"/>
                      </a:lnTo>
                      <a:lnTo>
                        <a:pt x="858" y="791"/>
                      </a:lnTo>
                      <a:lnTo>
                        <a:pt x="859" y="791"/>
                      </a:lnTo>
                      <a:lnTo>
                        <a:pt x="859" y="792"/>
                      </a:lnTo>
                      <a:lnTo>
                        <a:pt x="860" y="792"/>
                      </a:lnTo>
                      <a:lnTo>
                        <a:pt x="860" y="792"/>
                      </a:lnTo>
                      <a:lnTo>
                        <a:pt x="860" y="792"/>
                      </a:lnTo>
                      <a:lnTo>
                        <a:pt x="860" y="793"/>
                      </a:lnTo>
                      <a:lnTo>
                        <a:pt x="860" y="793"/>
                      </a:lnTo>
                      <a:lnTo>
                        <a:pt x="860" y="793"/>
                      </a:lnTo>
                      <a:lnTo>
                        <a:pt x="860" y="794"/>
                      </a:lnTo>
                      <a:lnTo>
                        <a:pt x="860" y="794"/>
                      </a:lnTo>
                      <a:lnTo>
                        <a:pt x="861" y="794"/>
                      </a:lnTo>
                      <a:lnTo>
                        <a:pt x="861" y="795"/>
                      </a:lnTo>
                      <a:lnTo>
                        <a:pt x="861" y="796"/>
                      </a:lnTo>
                      <a:lnTo>
                        <a:pt x="861" y="796"/>
                      </a:lnTo>
                      <a:lnTo>
                        <a:pt x="861" y="797"/>
                      </a:lnTo>
                      <a:lnTo>
                        <a:pt x="862" y="797"/>
                      </a:lnTo>
                      <a:lnTo>
                        <a:pt x="862" y="798"/>
                      </a:lnTo>
                      <a:lnTo>
                        <a:pt x="861" y="798"/>
                      </a:lnTo>
                      <a:lnTo>
                        <a:pt x="861" y="798"/>
                      </a:lnTo>
                      <a:lnTo>
                        <a:pt x="861" y="799"/>
                      </a:lnTo>
                      <a:lnTo>
                        <a:pt x="861" y="800"/>
                      </a:lnTo>
                      <a:lnTo>
                        <a:pt x="861" y="800"/>
                      </a:lnTo>
                      <a:lnTo>
                        <a:pt x="860" y="800"/>
                      </a:lnTo>
                      <a:lnTo>
                        <a:pt x="860" y="801"/>
                      </a:lnTo>
                      <a:lnTo>
                        <a:pt x="861" y="801"/>
                      </a:lnTo>
                      <a:lnTo>
                        <a:pt x="860" y="801"/>
                      </a:lnTo>
                      <a:lnTo>
                        <a:pt x="860" y="802"/>
                      </a:lnTo>
                      <a:lnTo>
                        <a:pt x="861" y="802"/>
                      </a:lnTo>
                      <a:lnTo>
                        <a:pt x="861" y="802"/>
                      </a:lnTo>
                      <a:lnTo>
                        <a:pt x="861" y="803"/>
                      </a:lnTo>
                      <a:lnTo>
                        <a:pt x="860" y="803"/>
                      </a:lnTo>
                      <a:lnTo>
                        <a:pt x="861" y="803"/>
                      </a:lnTo>
                      <a:lnTo>
                        <a:pt x="861" y="804"/>
                      </a:lnTo>
                      <a:lnTo>
                        <a:pt x="862" y="804"/>
                      </a:lnTo>
                      <a:lnTo>
                        <a:pt x="861" y="804"/>
                      </a:lnTo>
                      <a:lnTo>
                        <a:pt x="861" y="804"/>
                      </a:lnTo>
                      <a:lnTo>
                        <a:pt x="862" y="804"/>
                      </a:lnTo>
                      <a:lnTo>
                        <a:pt x="862" y="805"/>
                      </a:lnTo>
                      <a:lnTo>
                        <a:pt x="862" y="806"/>
                      </a:lnTo>
                      <a:lnTo>
                        <a:pt x="862" y="807"/>
                      </a:lnTo>
                      <a:lnTo>
                        <a:pt x="861" y="807"/>
                      </a:lnTo>
                      <a:lnTo>
                        <a:pt x="860" y="807"/>
                      </a:lnTo>
                      <a:lnTo>
                        <a:pt x="860" y="807"/>
                      </a:lnTo>
                      <a:lnTo>
                        <a:pt x="860" y="808"/>
                      </a:lnTo>
                      <a:lnTo>
                        <a:pt x="860" y="809"/>
                      </a:lnTo>
                      <a:lnTo>
                        <a:pt x="860" y="809"/>
                      </a:lnTo>
                      <a:lnTo>
                        <a:pt x="859" y="809"/>
                      </a:lnTo>
                      <a:lnTo>
                        <a:pt x="858" y="809"/>
                      </a:lnTo>
                      <a:lnTo>
                        <a:pt x="858" y="808"/>
                      </a:lnTo>
                      <a:lnTo>
                        <a:pt x="858" y="809"/>
                      </a:lnTo>
                      <a:lnTo>
                        <a:pt x="858" y="809"/>
                      </a:lnTo>
                      <a:lnTo>
                        <a:pt x="858" y="808"/>
                      </a:lnTo>
                      <a:lnTo>
                        <a:pt x="857" y="808"/>
                      </a:lnTo>
                      <a:lnTo>
                        <a:pt x="856" y="807"/>
                      </a:lnTo>
                      <a:lnTo>
                        <a:pt x="856" y="807"/>
                      </a:lnTo>
                      <a:lnTo>
                        <a:pt x="856" y="808"/>
                      </a:lnTo>
                      <a:lnTo>
                        <a:pt x="856" y="807"/>
                      </a:lnTo>
                      <a:lnTo>
                        <a:pt x="855" y="807"/>
                      </a:lnTo>
                      <a:lnTo>
                        <a:pt x="854" y="808"/>
                      </a:lnTo>
                      <a:lnTo>
                        <a:pt x="854" y="809"/>
                      </a:lnTo>
                      <a:lnTo>
                        <a:pt x="854" y="809"/>
                      </a:lnTo>
                      <a:lnTo>
                        <a:pt x="854" y="809"/>
                      </a:lnTo>
                      <a:lnTo>
                        <a:pt x="854" y="810"/>
                      </a:lnTo>
                      <a:lnTo>
                        <a:pt x="854" y="811"/>
                      </a:lnTo>
                      <a:lnTo>
                        <a:pt x="853" y="811"/>
                      </a:lnTo>
                      <a:lnTo>
                        <a:pt x="853" y="811"/>
                      </a:lnTo>
                      <a:lnTo>
                        <a:pt x="852" y="811"/>
                      </a:lnTo>
                      <a:lnTo>
                        <a:pt x="852" y="812"/>
                      </a:lnTo>
                      <a:lnTo>
                        <a:pt x="852" y="812"/>
                      </a:lnTo>
                      <a:lnTo>
                        <a:pt x="852" y="813"/>
                      </a:lnTo>
                      <a:lnTo>
                        <a:pt x="851" y="813"/>
                      </a:lnTo>
                      <a:lnTo>
                        <a:pt x="851" y="813"/>
                      </a:lnTo>
                      <a:lnTo>
                        <a:pt x="850" y="813"/>
                      </a:lnTo>
                      <a:lnTo>
                        <a:pt x="850" y="814"/>
                      </a:lnTo>
                      <a:lnTo>
                        <a:pt x="850" y="814"/>
                      </a:lnTo>
                      <a:lnTo>
                        <a:pt x="851" y="815"/>
                      </a:lnTo>
                      <a:lnTo>
                        <a:pt x="848" y="828"/>
                      </a:lnTo>
                      <a:lnTo>
                        <a:pt x="850" y="834"/>
                      </a:lnTo>
                      <a:lnTo>
                        <a:pt x="849" y="845"/>
                      </a:lnTo>
                      <a:lnTo>
                        <a:pt x="847" y="849"/>
                      </a:lnTo>
                      <a:lnTo>
                        <a:pt x="844" y="859"/>
                      </a:lnTo>
                      <a:lnTo>
                        <a:pt x="845" y="863"/>
                      </a:lnTo>
                      <a:lnTo>
                        <a:pt x="845" y="868"/>
                      </a:lnTo>
                      <a:lnTo>
                        <a:pt x="848" y="875"/>
                      </a:lnTo>
                      <a:lnTo>
                        <a:pt x="848" y="880"/>
                      </a:lnTo>
                      <a:lnTo>
                        <a:pt x="849" y="885"/>
                      </a:lnTo>
                      <a:lnTo>
                        <a:pt x="849" y="885"/>
                      </a:lnTo>
                      <a:lnTo>
                        <a:pt x="849" y="886"/>
                      </a:lnTo>
                      <a:lnTo>
                        <a:pt x="848" y="886"/>
                      </a:lnTo>
                      <a:lnTo>
                        <a:pt x="848" y="887"/>
                      </a:lnTo>
                      <a:lnTo>
                        <a:pt x="848" y="887"/>
                      </a:lnTo>
                      <a:lnTo>
                        <a:pt x="848" y="887"/>
                      </a:lnTo>
                      <a:lnTo>
                        <a:pt x="848" y="888"/>
                      </a:lnTo>
                      <a:lnTo>
                        <a:pt x="847" y="888"/>
                      </a:lnTo>
                      <a:lnTo>
                        <a:pt x="846" y="888"/>
                      </a:lnTo>
                      <a:lnTo>
                        <a:pt x="846" y="887"/>
                      </a:lnTo>
                      <a:lnTo>
                        <a:pt x="846" y="887"/>
                      </a:lnTo>
                      <a:lnTo>
                        <a:pt x="846" y="888"/>
                      </a:lnTo>
                      <a:lnTo>
                        <a:pt x="845" y="888"/>
                      </a:lnTo>
                      <a:lnTo>
                        <a:pt x="844" y="889"/>
                      </a:lnTo>
                      <a:lnTo>
                        <a:pt x="844" y="889"/>
                      </a:lnTo>
                      <a:lnTo>
                        <a:pt x="843" y="889"/>
                      </a:lnTo>
                      <a:lnTo>
                        <a:pt x="842" y="889"/>
                      </a:lnTo>
                      <a:lnTo>
                        <a:pt x="841" y="889"/>
                      </a:lnTo>
                      <a:lnTo>
                        <a:pt x="841" y="890"/>
                      </a:lnTo>
                      <a:lnTo>
                        <a:pt x="841" y="891"/>
                      </a:lnTo>
                      <a:lnTo>
                        <a:pt x="840" y="891"/>
                      </a:lnTo>
                      <a:lnTo>
                        <a:pt x="839" y="891"/>
                      </a:lnTo>
                      <a:lnTo>
                        <a:pt x="839" y="892"/>
                      </a:lnTo>
                      <a:lnTo>
                        <a:pt x="839" y="893"/>
                      </a:lnTo>
                      <a:lnTo>
                        <a:pt x="839" y="893"/>
                      </a:lnTo>
                      <a:lnTo>
                        <a:pt x="839" y="894"/>
                      </a:lnTo>
                      <a:lnTo>
                        <a:pt x="839" y="895"/>
                      </a:lnTo>
                      <a:lnTo>
                        <a:pt x="840" y="895"/>
                      </a:lnTo>
                      <a:lnTo>
                        <a:pt x="840" y="895"/>
                      </a:lnTo>
                      <a:lnTo>
                        <a:pt x="839" y="895"/>
                      </a:lnTo>
                      <a:lnTo>
                        <a:pt x="839" y="896"/>
                      </a:lnTo>
                      <a:lnTo>
                        <a:pt x="839" y="897"/>
                      </a:lnTo>
                      <a:lnTo>
                        <a:pt x="840" y="897"/>
                      </a:lnTo>
                      <a:lnTo>
                        <a:pt x="840" y="897"/>
                      </a:lnTo>
                      <a:lnTo>
                        <a:pt x="839" y="897"/>
                      </a:lnTo>
                      <a:lnTo>
                        <a:pt x="839" y="898"/>
                      </a:lnTo>
                      <a:lnTo>
                        <a:pt x="839" y="899"/>
                      </a:lnTo>
                      <a:lnTo>
                        <a:pt x="841" y="911"/>
                      </a:lnTo>
                      <a:lnTo>
                        <a:pt x="841" y="913"/>
                      </a:lnTo>
                      <a:lnTo>
                        <a:pt x="841" y="914"/>
                      </a:lnTo>
                      <a:lnTo>
                        <a:pt x="841" y="914"/>
                      </a:lnTo>
                      <a:lnTo>
                        <a:pt x="841" y="915"/>
                      </a:lnTo>
                      <a:lnTo>
                        <a:pt x="841" y="916"/>
                      </a:lnTo>
                      <a:lnTo>
                        <a:pt x="841" y="916"/>
                      </a:lnTo>
                      <a:lnTo>
                        <a:pt x="841" y="916"/>
                      </a:lnTo>
                      <a:lnTo>
                        <a:pt x="841" y="916"/>
                      </a:lnTo>
                      <a:lnTo>
                        <a:pt x="841" y="917"/>
                      </a:lnTo>
                      <a:lnTo>
                        <a:pt x="841" y="918"/>
                      </a:lnTo>
                      <a:lnTo>
                        <a:pt x="842" y="918"/>
                      </a:lnTo>
                      <a:lnTo>
                        <a:pt x="842" y="918"/>
                      </a:lnTo>
                      <a:lnTo>
                        <a:pt x="842" y="919"/>
                      </a:lnTo>
                      <a:lnTo>
                        <a:pt x="842" y="920"/>
                      </a:lnTo>
                      <a:lnTo>
                        <a:pt x="842" y="920"/>
                      </a:lnTo>
                      <a:lnTo>
                        <a:pt x="842" y="921"/>
                      </a:lnTo>
                      <a:lnTo>
                        <a:pt x="842" y="922"/>
                      </a:lnTo>
                      <a:lnTo>
                        <a:pt x="842" y="922"/>
                      </a:lnTo>
                      <a:lnTo>
                        <a:pt x="842" y="923"/>
                      </a:lnTo>
                      <a:lnTo>
                        <a:pt x="842" y="924"/>
                      </a:lnTo>
                      <a:lnTo>
                        <a:pt x="843" y="924"/>
                      </a:lnTo>
                      <a:lnTo>
                        <a:pt x="843" y="925"/>
                      </a:lnTo>
                      <a:lnTo>
                        <a:pt x="843" y="925"/>
                      </a:lnTo>
                      <a:lnTo>
                        <a:pt x="843" y="926"/>
                      </a:lnTo>
                      <a:lnTo>
                        <a:pt x="843" y="927"/>
                      </a:lnTo>
                      <a:lnTo>
                        <a:pt x="843" y="927"/>
                      </a:lnTo>
                      <a:lnTo>
                        <a:pt x="843" y="928"/>
                      </a:lnTo>
                      <a:lnTo>
                        <a:pt x="842" y="928"/>
                      </a:lnTo>
                      <a:lnTo>
                        <a:pt x="842" y="929"/>
                      </a:lnTo>
                      <a:lnTo>
                        <a:pt x="842" y="929"/>
                      </a:lnTo>
                      <a:lnTo>
                        <a:pt x="842" y="930"/>
                      </a:lnTo>
                      <a:lnTo>
                        <a:pt x="842" y="931"/>
                      </a:lnTo>
                      <a:lnTo>
                        <a:pt x="842" y="931"/>
                      </a:lnTo>
                      <a:lnTo>
                        <a:pt x="842" y="932"/>
                      </a:lnTo>
                      <a:lnTo>
                        <a:pt x="841" y="932"/>
                      </a:lnTo>
                      <a:lnTo>
                        <a:pt x="841" y="933"/>
                      </a:lnTo>
                      <a:lnTo>
                        <a:pt x="841" y="933"/>
                      </a:lnTo>
                      <a:lnTo>
                        <a:pt x="841" y="935"/>
                      </a:lnTo>
                      <a:lnTo>
                        <a:pt x="841" y="935"/>
                      </a:lnTo>
                      <a:lnTo>
                        <a:pt x="841" y="936"/>
                      </a:lnTo>
                      <a:lnTo>
                        <a:pt x="842" y="936"/>
                      </a:lnTo>
                      <a:lnTo>
                        <a:pt x="842" y="937"/>
                      </a:lnTo>
                      <a:lnTo>
                        <a:pt x="843" y="937"/>
                      </a:lnTo>
                      <a:lnTo>
                        <a:pt x="843" y="937"/>
                      </a:lnTo>
                      <a:lnTo>
                        <a:pt x="842" y="937"/>
                      </a:lnTo>
                      <a:lnTo>
                        <a:pt x="843" y="937"/>
                      </a:lnTo>
                      <a:lnTo>
                        <a:pt x="843" y="938"/>
                      </a:lnTo>
                      <a:lnTo>
                        <a:pt x="844" y="938"/>
                      </a:lnTo>
                      <a:lnTo>
                        <a:pt x="843" y="938"/>
                      </a:lnTo>
                      <a:lnTo>
                        <a:pt x="843" y="939"/>
                      </a:lnTo>
                      <a:lnTo>
                        <a:pt x="843" y="939"/>
                      </a:lnTo>
                      <a:lnTo>
                        <a:pt x="843" y="940"/>
                      </a:lnTo>
                      <a:lnTo>
                        <a:pt x="842" y="940"/>
                      </a:lnTo>
                      <a:lnTo>
                        <a:pt x="842" y="941"/>
                      </a:lnTo>
                      <a:lnTo>
                        <a:pt x="842" y="942"/>
                      </a:lnTo>
                      <a:lnTo>
                        <a:pt x="842" y="943"/>
                      </a:lnTo>
                      <a:lnTo>
                        <a:pt x="842" y="944"/>
                      </a:lnTo>
                      <a:lnTo>
                        <a:pt x="842" y="944"/>
                      </a:lnTo>
                      <a:lnTo>
                        <a:pt x="842" y="945"/>
                      </a:lnTo>
                      <a:lnTo>
                        <a:pt x="842" y="946"/>
                      </a:lnTo>
                      <a:lnTo>
                        <a:pt x="841" y="946"/>
                      </a:lnTo>
                      <a:lnTo>
                        <a:pt x="841" y="947"/>
                      </a:lnTo>
                      <a:lnTo>
                        <a:pt x="841" y="948"/>
                      </a:lnTo>
                      <a:lnTo>
                        <a:pt x="842" y="948"/>
                      </a:lnTo>
                      <a:lnTo>
                        <a:pt x="842" y="948"/>
                      </a:lnTo>
                      <a:lnTo>
                        <a:pt x="842" y="949"/>
                      </a:lnTo>
                      <a:lnTo>
                        <a:pt x="842" y="950"/>
                      </a:lnTo>
                      <a:lnTo>
                        <a:pt x="842" y="950"/>
                      </a:lnTo>
                      <a:lnTo>
                        <a:pt x="842" y="951"/>
                      </a:lnTo>
                      <a:lnTo>
                        <a:pt x="841" y="951"/>
                      </a:lnTo>
                      <a:lnTo>
                        <a:pt x="842" y="952"/>
                      </a:lnTo>
                      <a:lnTo>
                        <a:pt x="842" y="952"/>
                      </a:lnTo>
                      <a:lnTo>
                        <a:pt x="842" y="953"/>
                      </a:lnTo>
                      <a:lnTo>
                        <a:pt x="842" y="954"/>
                      </a:lnTo>
                      <a:lnTo>
                        <a:pt x="841" y="954"/>
                      </a:lnTo>
                      <a:lnTo>
                        <a:pt x="841" y="954"/>
                      </a:lnTo>
                      <a:lnTo>
                        <a:pt x="841" y="955"/>
                      </a:lnTo>
                      <a:lnTo>
                        <a:pt x="841" y="956"/>
                      </a:lnTo>
                      <a:lnTo>
                        <a:pt x="847" y="956"/>
                      </a:lnTo>
                      <a:lnTo>
                        <a:pt x="849" y="957"/>
                      </a:lnTo>
                      <a:lnTo>
                        <a:pt x="848" y="958"/>
                      </a:lnTo>
                      <a:lnTo>
                        <a:pt x="848" y="958"/>
                      </a:lnTo>
                      <a:lnTo>
                        <a:pt x="849" y="958"/>
                      </a:lnTo>
                      <a:lnTo>
                        <a:pt x="849" y="959"/>
                      </a:lnTo>
                      <a:lnTo>
                        <a:pt x="849" y="960"/>
                      </a:lnTo>
                      <a:lnTo>
                        <a:pt x="850" y="960"/>
                      </a:lnTo>
                      <a:lnTo>
                        <a:pt x="850" y="961"/>
                      </a:lnTo>
                      <a:lnTo>
                        <a:pt x="850" y="962"/>
                      </a:lnTo>
                      <a:lnTo>
                        <a:pt x="850" y="962"/>
                      </a:lnTo>
                      <a:lnTo>
                        <a:pt x="851" y="962"/>
                      </a:lnTo>
                      <a:lnTo>
                        <a:pt x="851" y="963"/>
                      </a:lnTo>
                      <a:lnTo>
                        <a:pt x="851" y="964"/>
                      </a:lnTo>
                      <a:lnTo>
                        <a:pt x="851" y="965"/>
                      </a:lnTo>
                      <a:lnTo>
                        <a:pt x="851" y="965"/>
                      </a:lnTo>
                      <a:lnTo>
                        <a:pt x="851" y="966"/>
                      </a:lnTo>
                      <a:lnTo>
                        <a:pt x="851" y="968"/>
                      </a:lnTo>
                      <a:lnTo>
                        <a:pt x="851" y="969"/>
                      </a:lnTo>
                      <a:lnTo>
                        <a:pt x="852" y="969"/>
                      </a:lnTo>
                      <a:lnTo>
                        <a:pt x="851" y="970"/>
                      </a:lnTo>
                      <a:lnTo>
                        <a:pt x="851" y="971"/>
                      </a:lnTo>
                      <a:lnTo>
                        <a:pt x="850" y="971"/>
                      </a:lnTo>
                      <a:lnTo>
                        <a:pt x="850" y="971"/>
                      </a:lnTo>
                      <a:lnTo>
                        <a:pt x="851" y="972"/>
                      </a:lnTo>
                      <a:lnTo>
                        <a:pt x="851" y="973"/>
                      </a:lnTo>
                      <a:lnTo>
                        <a:pt x="850" y="974"/>
                      </a:lnTo>
                      <a:lnTo>
                        <a:pt x="850" y="975"/>
                      </a:lnTo>
                      <a:lnTo>
                        <a:pt x="851" y="976"/>
                      </a:lnTo>
                      <a:lnTo>
                        <a:pt x="852" y="977"/>
                      </a:lnTo>
                      <a:lnTo>
                        <a:pt x="853" y="978"/>
                      </a:lnTo>
                      <a:lnTo>
                        <a:pt x="854" y="979"/>
                      </a:lnTo>
                      <a:lnTo>
                        <a:pt x="854" y="979"/>
                      </a:lnTo>
                      <a:lnTo>
                        <a:pt x="863" y="975"/>
                      </a:lnTo>
                      <a:lnTo>
                        <a:pt x="869" y="977"/>
                      </a:lnTo>
                      <a:lnTo>
                        <a:pt x="871" y="979"/>
                      </a:lnTo>
                      <a:lnTo>
                        <a:pt x="873" y="973"/>
                      </a:lnTo>
                      <a:lnTo>
                        <a:pt x="872" y="973"/>
                      </a:lnTo>
                      <a:lnTo>
                        <a:pt x="873" y="973"/>
                      </a:lnTo>
                      <a:lnTo>
                        <a:pt x="873" y="972"/>
                      </a:lnTo>
                      <a:lnTo>
                        <a:pt x="873" y="971"/>
                      </a:lnTo>
                      <a:lnTo>
                        <a:pt x="873" y="971"/>
                      </a:lnTo>
                      <a:lnTo>
                        <a:pt x="873" y="971"/>
                      </a:lnTo>
                      <a:lnTo>
                        <a:pt x="874" y="970"/>
                      </a:lnTo>
                      <a:lnTo>
                        <a:pt x="875" y="970"/>
                      </a:lnTo>
                      <a:lnTo>
                        <a:pt x="875" y="971"/>
                      </a:lnTo>
                      <a:lnTo>
                        <a:pt x="875" y="971"/>
                      </a:lnTo>
                      <a:lnTo>
                        <a:pt x="876" y="971"/>
                      </a:lnTo>
                      <a:lnTo>
                        <a:pt x="876" y="971"/>
                      </a:lnTo>
                      <a:lnTo>
                        <a:pt x="877" y="971"/>
                      </a:lnTo>
                      <a:lnTo>
                        <a:pt x="877" y="972"/>
                      </a:lnTo>
                      <a:lnTo>
                        <a:pt x="877" y="971"/>
                      </a:lnTo>
                      <a:lnTo>
                        <a:pt x="877" y="971"/>
                      </a:lnTo>
                      <a:lnTo>
                        <a:pt x="877" y="972"/>
                      </a:lnTo>
                      <a:lnTo>
                        <a:pt x="878" y="972"/>
                      </a:lnTo>
                      <a:lnTo>
                        <a:pt x="879" y="972"/>
                      </a:lnTo>
                      <a:lnTo>
                        <a:pt x="879" y="973"/>
                      </a:lnTo>
                      <a:lnTo>
                        <a:pt x="879" y="972"/>
                      </a:lnTo>
                      <a:lnTo>
                        <a:pt x="879" y="973"/>
                      </a:lnTo>
                      <a:lnTo>
                        <a:pt x="879" y="973"/>
                      </a:lnTo>
                      <a:lnTo>
                        <a:pt x="880" y="973"/>
                      </a:lnTo>
                      <a:lnTo>
                        <a:pt x="880" y="972"/>
                      </a:lnTo>
                      <a:lnTo>
                        <a:pt x="881" y="972"/>
                      </a:lnTo>
                      <a:lnTo>
                        <a:pt x="882" y="972"/>
                      </a:lnTo>
                      <a:lnTo>
                        <a:pt x="882" y="973"/>
                      </a:lnTo>
                      <a:lnTo>
                        <a:pt x="882" y="973"/>
                      </a:lnTo>
                      <a:lnTo>
                        <a:pt x="882" y="972"/>
                      </a:lnTo>
                      <a:lnTo>
                        <a:pt x="883" y="972"/>
                      </a:lnTo>
                      <a:lnTo>
                        <a:pt x="883" y="971"/>
                      </a:lnTo>
                      <a:lnTo>
                        <a:pt x="884" y="971"/>
                      </a:lnTo>
                      <a:lnTo>
                        <a:pt x="884" y="971"/>
                      </a:lnTo>
                      <a:lnTo>
                        <a:pt x="885" y="971"/>
                      </a:lnTo>
                      <a:lnTo>
                        <a:pt x="885" y="971"/>
                      </a:lnTo>
                      <a:lnTo>
                        <a:pt x="885" y="970"/>
                      </a:lnTo>
                      <a:lnTo>
                        <a:pt x="886" y="970"/>
                      </a:lnTo>
                      <a:lnTo>
                        <a:pt x="886" y="969"/>
                      </a:lnTo>
                      <a:lnTo>
                        <a:pt x="886" y="969"/>
                      </a:lnTo>
                      <a:lnTo>
                        <a:pt x="887" y="969"/>
                      </a:lnTo>
                      <a:lnTo>
                        <a:pt x="888" y="969"/>
                      </a:lnTo>
                      <a:lnTo>
                        <a:pt x="888" y="969"/>
                      </a:lnTo>
                      <a:lnTo>
                        <a:pt x="888" y="970"/>
                      </a:lnTo>
                      <a:lnTo>
                        <a:pt x="888" y="971"/>
                      </a:lnTo>
                      <a:lnTo>
                        <a:pt x="889" y="971"/>
                      </a:lnTo>
                      <a:lnTo>
                        <a:pt x="889" y="971"/>
                      </a:lnTo>
                      <a:lnTo>
                        <a:pt x="889" y="972"/>
                      </a:lnTo>
                      <a:lnTo>
                        <a:pt x="889" y="973"/>
                      </a:lnTo>
                      <a:lnTo>
                        <a:pt x="889" y="973"/>
                      </a:lnTo>
                      <a:lnTo>
                        <a:pt x="890" y="973"/>
                      </a:lnTo>
                      <a:lnTo>
                        <a:pt x="890" y="974"/>
                      </a:lnTo>
                      <a:lnTo>
                        <a:pt x="890" y="975"/>
                      </a:lnTo>
                      <a:lnTo>
                        <a:pt x="890" y="975"/>
                      </a:lnTo>
                      <a:lnTo>
                        <a:pt x="890" y="976"/>
                      </a:lnTo>
                      <a:lnTo>
                        <a:pt x="889" y="976"/>
                      </a:lnTo>
                      <a:lnTo>
                        <a:pt x="889" y="977"/>
                      </a:lnTo>
                      <a:lnTo>
                        <a:pt x="888" y="977"/>
                      </a:lnTo>
                      <a:lnTo>
                        <a:pt x="888" y="977"/>
                      </a:lnTo>
                      <a:lnTo>
                        <a:pt x="888" y="978"/>
                      </a:lnTo>
                      <a:lnTo>
                        <a:pt x="888" y="979"/>
                      </a:lnTo>
                      <a:lnTo>
                        <a:pt x="888" y="979"/>
                      </a:lnTo>
                      <a:lnTo>
                        <a:pt x="888" y="979"/>
                      </a:lnTo>
                      <a:lnTo>
                        <a:pt x="889" y="980"/>
                      </a:lnTo>
                      <a:lnTo>
                        <a:pt x="890" y="980"/>
                      </a:lnTo>
                      <a:lnTo>
                        <a:pt x="890" y="981"/>
                      </a:lnTo>
                      <a:lnTo>
                        <a:pt x="890" y="981"/>
                      </a:lnTo>
                      <a:lnTo>
                        <a:pt x="889" y="981"/>
                      </a:lnTo>
                      <a:lnTo>
                        <a:pt x="889" y="982"/>
                      </a:lnTo>
                      <a:lnTo>
                        <a:pt x="890" y="982"/>
                      </a:lnTo>
                      <a:lnTo>
                        <a:pt x="890" y="983"/>
                      </a:lnTo>
                      <a:lnTo>
                        <a:pt x="889" y="983"/>
                      </a:lnTo>
                      <a:lnTo>
                        <a:pt x="889" y="984"/>
                      </a:lnTo>
                      <a:lnTo>
                        <a:pt x="889" y="984"/>
                      </a:lnTo>
                      <a:lnTo>
                        <a:pt x="890" y="984"/>
                      </a:lnTo>
                      <a:lnTo>
                        <a:pt x="890" y="985"/>
                      </a:lnTo>
                      <a:lnTo>
                        <a:pt x="890" y="986"/>
                      </a:lnTo>
                      <a:lnTo>
                        <a:pt x="889" y="986"/>
                      </a:lnTo>
                      <a:lnTo>
                        <a:pt x="888" y="986"/>
                      </a:lnTo>
                      <a:lnTo>
                        <a:pt x="888" y="986"/>
                      </a:lnTo>
                      <a:lnTo>
                        <a:pt x="888" y="987"/>
                      </a:lnTo>
                      <a:lnTo>
                        <a:pt x="889" y="987"/>
                      </a:lnTo>
                      <a:lnTo>
                        <a:pt x="889" y="988"/>
                      </a:lnTo>
                      <a:lnTo>
                        <a:pt x="890" y="988"/>
                      </a:lnTo>
                      <a:lnTo>
                        <a:pt x="890" y="989"/>
                      </a:lnTo>
                      <a:lnTo>
                        <a:pt x="890" y="990"/>
                      </a:lnTo>
                      <a:lnTo>
                        <a:pt x="889" y="990"/>
                      </a:lnTo>
                      <a:lnTo>
                        <a:pt x="890" y="990"/>
                      </a:lnTo>
                      <a:lnTo>
                        <a:pt x="890" y="991"/>
                      </a:lnTo>
                      <a:lnTo>
                        <a:pt x="890" y="992"/>
                      </a:lnTo>
                      <a:lnTo>
                        <a:pt x="890" y="992"/>
                      </a:lnTo>
                      <a:lnTo>
                        <a:pt x="890" y="993"/>
                      </a:lnTo>
                      <a:lnTo>
                        <a:pt x="889" y="993"/>
                      </a:lnTo>
                      <a:lnTo>
                        <a:pt x="889" y="994"/>
                      </a:lnTo>
                      <a:lnTo>
                        <a:pt x="888" y="994"/>
                      </a:lnTo>
                      <a:lnTo>
                        <a:pt x="888" y="994"/>
                      </a:lnTo>
                      <a:lnTo>
                        <a:pt x="888" y="995"/>
                      </a:lnTo>
                      <a:lnTo>
                        <a:pt x="888" y="995"/>
                      </a:lnTo>
                      <a:lnTo>
                        <a:pt x="888" y="996"/>
                      </a:lnTo>
                      <a:lnTo>
                        <a:pt x="888" y="996"/>
                      </a:lnTo>
                      <a:lnTo>
                        <a:pt x="888" y="996"/>
                      </a:lnTo>
                      <a:lnTo>
                        <a:pt x="888" y="997"/>
                      </a:lnTo>
                      <a:lnTo>
                        <a:pt x="888" y="998"/>
                      </a:lnTo>
                      <a:lnTo>
                        <a:pt x="888" y="998"/>
                      </a:lnTo>
                      <a:lnTo>
                        <a:pt x="888" y="998"/>
                      </a:lnTo>
                      <a:lnTo>
                        <a:pt x="888" y="999"/>
                      </a:lnTo>
                      <a:lnTo>
                        <a:pt x="888" y="1000"/>
                      </a:lnTo>
                      <a:lnTo>
                        <a:pt x="888" y="1000"/>
                      </a:lnTo>
                      <a:lnTo>
                        <a:pt x="888" y="1001"/>
                      </a:lnTo>
                      <a:lnTo>
                        <a:pt x="887" y="1001"/>
                      </a:lnTo>
                      <a:lnTo>
                        <a:pt x="886" y="1001"/>
                      </a:lnTo>
                      <a:lnTo>
                        <a:pt x="886" y="1002"/>
                      </a:lnTo>
                      <a:lnTo>
                        <a:pt x="886" y="1003"/>
                      </a:lnTo>
                      <a:lnTo>
                        <a:pt x="886" y="1003"/>
                      </a:lnTo>
                      <a:lnTo>
                        <a:pt x="885" y="1003"/>
                      </a:lnTo>
                      <a:lnTo>
                        <a:pt x="885" y="1004"/>
                      </a:lnTo>
                      <a:lnTo>
                        <a:pt x="886" y="1004"/>
                      </a:lnTo>
                      <a:lnTo>
                        <a:pt x="886" y="1005"/>
                      </a:lnTo>
                      <a:lnTo>
                        <a:pt x="885" y="1005"/>
                      </a:lnTo>
                      <a:lnTo>
                        <a:pt x="885" y="1006"/>
                      </a:lnTo>
                      <a:lnTo>
                        <a:pt x="885" y="1007"/>
                      </a:lnTo>
                      <a:lnTo>
                        <a:pt x="885" y="1007"/>
                      </a:lnTo>
                      <a:lnTo>
                        <a:pt x="885" y="1008"/>
                      </a:lnTo>
                      <a:lnTo>
                        <a:pt x="886" y="1008"/>
                      </a:lnTo>
                      <a:lnTo>
                        <a:pt x="886" y="1009"/>
                      </a:lnTo>
                      <a:lnTo>
                        <a:pt x="886" y="1009"/>
                      </a:lnTo>
                      <a:lnTo>
                        <a:pt x="886" y="1010"/>
                      </a:lnTo>
                      <a:lnTo>
                        <a:pt x="886" y="1011"/>
                      </a:lnTo>
                      <a:lnTo>
                        <a:pt x="885" y="1011"/>
                      </a:lnTo>
                      <a:lnTo>
                        <a:pt x="885" y="1011"/>
                      </a:lnTo>
                      <a:lnTo>
                        <a:pt x="884" y="1011"/>
                      </a:lnTo>
                      <a:lnTo>
                        <a:pt x="884" y="1012"/>
                      </a:lnTo>
                      <a:lnTo>
                        <a:pt x="884" y="1013"/>
                      </a:lnTo>
                      <a:lnTo>
                        <a:pt x="884" y="1013"/>
                      </a:lnTo>
                      <a:lnTo>
                        <a:pt x="883" y="1013"/>
                      </a:lnTo>
                      <a:lnTo>
                        <a:pt x="882" y="1013"/>
                      </a:lnTo>
                      <a:lnTo>
                        <a:pt x="882" y="1013"/>
                      </a:lnTo>
                      <a:lnTo>
                        <a:pt x="882" y="1013"/>
                      </a:lnTo>
                      <a:lnTo>
                        <a:pt x="882" y="1014"/>
                      </a:lnTo>
                      <a:lnTo>
                        <a:pt x="882" y="1014"/>
                      </a:lnTo>
                      <a:lnTo>
                        <a:pt x="883" y="1014"/>
                      </a:lnTo>
                      <a:lnTo>
                        <a:pt x="883" y="1015"/>
                      </a:lnTo>
                      <a:lnTo>
                        <a:pt x="884" y="1015"/>
                      </a:lnTo>
                      <a:lnTo>
                        <a:pt x="884" y="1015"/>
                      </a:lnTo>
                      <a:lnTo>
                        <a:pt x="883" y="1015"/>
                      </a:lnTo>
                      <a:lnTo>
                        <a:pt x="882" y="1015"/>
                      </a:lnTo>
                      <a:lnTo>
                        <a:pt x="882" y="1016"/>
                      </a:lnTo>
                      <a:lnTo>
                        <a:pt x="882" y="1017"/>
                      </a:lnTo>
                      <a:lnTo>
                        <a:pt x="882" y="1017"/>
                      </a:lnTo>
                      <a:lnTo>
                        <a:pt x="882" y="1018"/>
                      </a:lnTo>
                      <a:lnTo>
                        <a:pt x="882" y="1018"/>
                      </a:lnTo>
                      <a:lnTo>
                        <a:pt x="881" y="1018"/>
                      </a:lnTo>
                      <a:lnTo>
                        <a:pt x="880" y="1018"/>
                      </a:lnTo>
                      <a:lnTo>
                        <a:pt x="880" y="1019"/>
                      </a:lnTo>
                      <a:lnTo>
                        <a:pt x="880" y="1019"/>
                      </a:lnTo>
                      <a:lnTo>
                        <a:pt x="879" y="1019"/>
                      </a:lnTo>
                      <a:lnTo>
                        <a:pt x="879" y="1019"/>
                      </a:lnTo>
                      <a:lnTo>
                        <a:pt x="879" y="1020"/>
                      </a:lnTo>
                      <a:lnTo>
                        <a:pt x="878" y="1020"/>
                      </a:lnTo>
                      <a:lnTo>
                        <a:pt x="878" y="1021"/>
                      </a:lnTo>
                      <a:lnTo>
                        <a:pt x="877" y="1021"/>
                      </a:lnTo>
                      <a:lnTo>
                        <a:pt x="877" y="1021"/>
                      </a:lnTo>
                      <a:lnTo>
                        <a:pt x="877" y="1022"/>
                      </a:lnTo>
                      <a:lnTo>
                        <a:pt x="877" y="1023"/>
                      </a:lnTo>
                      <a:lnTo>
                        <a:pt x="877" y="1024"/>
                      </a:lnTo>
                      <a:lnTo>
                        <a:pt x="876" y="1024"/>
                      </a:lnTo>
                      <a:lnTo>
                        <a:pt x="876" y="1024"/>
                      </a:lnTo>
                      <a:lnTo>
                        <a:pt x="875" y="1024"/>
                      </a:lnTo>
                      <a:lnTo>
                        <a:pt x="875" y="1025"/>
                      </a:lnTo>
                      <a:lnTo>
                        <a:pt x="876" y="1026"/>
                      </a:lnTo>
                      <a:lnTo>
                        <a:pt x="876" y="1026"/>
                      </a:lnTo>
                      <a:lnTo>
                        <a:pt x="876" y="1027"/>
                      </a:lnTo>
                      <a:lnTo>
                        <a:pt x="876" y="1028"/>
                      </a:lnTo>
                      <a:lnTo>
                        <a:pt x="875" y="1028"/>
                      </a:lnTo>
                      <a:lnTo>
                        <a:pt x="875" y="1028"/>
                      </a:lnTo>
                      <a:lnTo>
                        <a:pt x="875" y="1028"/>
                      </a:lnTo>
                      <a:lnTo>
                        <a:pt x="875" y="1029"/>
                      </a:lnTo>
                      <a:lnTo>
                        <a:pt x="875" y="1030"/>
                      </a:lnTo>
                      <a:lnTo>
                        <a:pt x="875" y="1030"/>
                      </a:lnTo>
                      <a:lnTo>
                        <a:pt x="876" y="1030"/>
                      </a:lnTo>
                      <a:lnTo>
                        <a:pt x="876" y="1030"/>
                      </a:lnTo>
                      <a:lnTo>
                        <a:pt x="877" y="1031"/>
                      </a:lnTo>
                      <a:lnTo>
                        <a:pt x="877" y="1032"/>
                      </a:lnTo>
                      <a:lnTo>
                        <a:pt x="876" y="1032"/>
                      </a:lnTo>
                      <a:lnTo>
                        <a:pt x="877" y="1032"/>
                      </a:lnTo>
                      <a:lnTo>
                        <a:pt x="877" y="1033"/>
                      </a:lnTo>
                      <a:lnTo>
                        <a:pt x="877" y="1033"/>
                      </a:lnTo>
                      <a:lnTo>
                        <a:pt x="878" y="1033"/>
                      </a:lnTo>
                      <a:lnTo>
                        <a:pt x="878" y="1034"/>
                      </a:lnTo>
                      <a:lnTo>
                        <a:pt x="879" y="1034"/>
                      </a:lnTo>
                      <a:lnTo>
                        <a:pt x="879" y="1035"/>
                      </a:lnTo>
                      <a:lnTo>
                        <a:pt x="879" y="1036"/>
                      </a:lnTo>
                      <a:lnTo>
                        <a:pt x="878" y="1036"/>
                      </a:lnTo>
                      <a:lnTo>
                        <a:pt x="877" y="1036"/>
                      </a:lnTo>
                      <a:lnTo>
                        <a:pt x="877" y="1036"/>
                      </a:lnTo>
                      <a:lnTo>
                        <a:pt x="877" y="1036"/>
                      </a:lnTo>
                      <a:lnTo>
                        <a:pt x="876" y="1036"/>
                      </a:lnTo>
                      <a:lnTo>
                        <a:pt x="875" y="1036"/>
                      </a:lnTo>
                      <a:lnTo>
                        <a:pt x="875" y="1036"/>
                      </a:lnTo>
                      <a:lnTo>
                        <a:pt x="874" y="1036"/>
                      </a:lnTo>
                      <a:lnTo>
                        <a:pt x="873" y="1036"/>
                      </a:lnTo>
                      <a:lnTo>
                        <a:pt x="873" y="1036"/>
                      </a:lnTo>
                      <a:lnTo>
                        <a:pt x="873" y="1037"/>
                      </a:lnTo>
                      <a:lnTo>
                        <a:pt x="873" y="1038"/>
                      </a:lnTo>
                      <a:lnTo>
                        <a:pt x="873" y="1038"/>
                      </a:lnTo>
                      <a:lnTo>
                        <a:pt x="873" y="1038"/>
                      </a:lnTo>
                      <a:lnTo>
                        <a:pt x="873" y="1039"/>
                      </a:lnTo>
                      <a:lnTo>
                        <a:pt x="873" y="1040"/>
                      </a:lnTo>
                      <a:lnTo>
                        <a:pt x="873" y="1040"/>
                      </a:lnTo>
                      <a:lnTo>
                        <a:pt x="872" y="1040"/>
                      </a:lnTo>
                      <a:lnTo>
                        <a:pt x="872" y="1041"/>
                      </a:lnTo>
                      <a:lnTo>
                        <a:pt x="872" y="1042"/>
                      </a:lnTo>
                      <a:lnTo>
                        <a:pt x="871" y="1042"/>
                      </a:lnTo>
                      <a:lnTo>
                        <a:pt x="871" y="1043"/>
                      </a:lnTo>
                      <a:lnTo>
                        <a:pt x="871" y="1043"/>
                      </a:lnTo>
                      <a:lnTo>
                        <a:pt x="871" y="1043"/>
                      </a:lnTo>
                      <a:lnTo>
                        <a:pt x="871" y="1044"/>
                      </a:lnTo>
                      <a:lnTo>
                        <a:pt x="872" y="1044"/>
                      </a:lnTo>
                      <a:lnTo>
                        <a:pt x="872" y="1045"/>
                      </a:lnTo>
                      <a:lnTo>
                        <a:pt x="872" y="1045"/>
                      </a:lnTo>
                      <a:lnTo>
                        <a:pt x="871" y="1045"/>
                      </a:lnTo>
                      <a:lnTo>
                        <a:pt x="871" y="1046"/>
                      </a:lnTo>
                      <a:lnTo>
                        <a:pt x="871" y="1046"/>
                      </a:lnTo>
                      <a:lnTo>
                        <a:pt x="871" y="1047"/>
                      </a:lnTo>
                      <a:lnTo>
                        <a:pt x="870" y="1047"/>
                      </a:lnTo>
                      <a:lnTo>
                        <a:pt x="870" y="1047"/>
                      </a:lnTo>
                      <a:lnTo>
                        <a:pt x="870" y="1048"/>
                      </a:lnTo>
                      <a:lnTo>
                        <a:pt x="869" y="1048"/>
                      </a:lnTo>
                      <a:lnTo>
                        <a:pt x="869" y="1049"/>
                      </a:lnTo>
                      <a:lnTo>
                        <a:pt x="870" y="1049"/>
                      </a:lnTo>
                      <a:lnTo>
                        <a:pt x="870" y="1049"/>
                      </a:lnTo>
                      <a:lnTo>
                        <a:pt x="870" y="1050"/>
                      </a:lnTo>
                      <a:lnTo>
                        <a:pt x="870" y="1051"/>
                      </a:lnTo>
                      <a:lnTo>
                        <a:pt x="869" y="1051"/>
                      </a:lnTo>
                      <a:lnTo>
                        <a:pt x="869" y="1051"/>
                      </a:lnTo>
                      <a:lnTo>
                        <a:pt x="869" y="1051"/>
                      </a:lnTo>
                      <a:lnTo>
                        <a:pt x="869" y="1052"/>
                      </a:lnTo>
                      <a:lnTo>
                        <a:pt x="869" y="1053"/>
                      </a:lnTo>
                      <a:lnTo>
                        <a:pt x="869" y="1053"/>
                      </a:lnTo>
                      <a:lnTo>
                        <a:pt x="869" y="1054"/>
                      </a:lnTo>
                      <a:lnTo>
                        <a:pt x="868" y="1054"/>
                      </a:lnTo>
                      <a:lnTo>
                        <a:pt x="868" y="1055"/>
                      </a:lnTo>
                      <a:lnTo>
                        <a:pt x="869" y="1055"/>
                      </a:lnTo>
                      <a:lnTo>
                        <a:pt x="868" y="1055"/>
                      </a:lnTo>
                      <a:lnTo>
                        <a:pt x="868" y="1056"/>
                      </a:lnTo>
                      <a:lnTo>
                        <a:pt x="867" y="1056"/>
                      </a:lnTo>
                      <a:lnTo>
                        <a:pt x="867" y="1057"/>
                      </a:lnTo>
                      <a:lnTo>
                        <a:pt x="866" y="1057"/>
                      </a:lnTo>
                      <a:lnTo>
                        <a:pt x="865" y="1057"/>
                      </a:lnTo>
                      <a:lnTo>
                        <a:pt x="865" y="1057"/>
                      </a:lnTo>
                      <a:lnTo>
                        <a:pt x="865" y="1058"/>
                      </a:lnTo>
                      <a:lnTo>
                        <a:pt x="865" y="1059"/>
                      </a:lnTo>
                      <a:lnTo>
                        <a:pt x="865" y="1059"/>
                      </a:lnTo>
                      <a:lnTo>
                        <a:pt x="865" y="1060"/>
                      </a:lnTo>
                      <a:lnTo>
                        <a:pt x="865" y="1061"/>
                      </a:lnTo>
                      <a:lnTo>
                        <a:pt x="865" y="1062"/>
                      </a:lnTo>
                      <a:lnTo>
                        <a:pt x="865" y="1062"/>
                      </a:lnTo>
                      <a:lnTo>
                        <a:pt x="864" y="1062"/>
                      </a:lnTo>
                      <a:lnTo>
                        <a:pt x="864" y="1063"/>
                      </a:lnTo>
                      <a:lnTo>
                        <a:pt x="864" y="1064"/>
                      </a:lnTo>
                      <a:lnTo>
                        <a:pt x="864" y="1064"/>
                      </a:lnTo>
                      <a:lnTo>
                        <a:pt x="863" y="1064"/>
                      </a:lnTo>
                      <a:lnTo>
                        <a:pt x="863" y="1064"/>
                      </a:lnTo>
                      <a:lnTo>
                        <a:pt x="862" y="1064"/>
                      </a:lnTo>
                      <a:lnTo>
                        <a:pt x="861" y="1064"/>
                      </a:lnTo>
                      <a:lnTo>
                        <a:pt x="861" y="1065"/>
                      </a:lnTo>
                      <a:lnTo>
                        <a:pt x="860" y="1065"/>
                      </a:lnTo>
                      <a:lnTo>
                        <a:pt x="860" y="1065"/>
                      </a:lnTo>
                      <a:lnTo>
                        <a:pt x="859" y="1065"/>
                      </a:lnTo>
                      <a:lnTo>
                        <a:pt x="859" y="1064"/>
                      </a:lnTo>
                      <a:lnTo>
                        <a:pt x="858" y="1064"/>
                      </a:lnTo>
                      <a:lnTo>
                        <a:pt x="858" y="1064"/>
                      </a:lnTo>
                      <a:lnTo>
                        <a:pt x="857" y="1064"/>
                      </a:lnTo>
                      <a:lnTo>
                        <a:pt x="857" y="1064"/>
                      </a:lnTo>
                      <a:lnTo>
                        <a:pt x="856" y="1065"/>
                      </a:lnTo>
                      <a:lnTo>
                        <a:pt x="856" y="1066"/>
                      </a:lnTo>
                      <a:lnTo>
                        <a:pt x="856" y="1066"/>
                      </a:lnTo>
                      <a:lnTo>
                        <a:pt x="856" y="1065"/>
                      </a:lnTo>
                      <a:lnTo>
                        <a:pt x="855" y="1065"/>
                      </a:lnTo>
                      <a:lnTo>
                        <a:pt x="855" y="1066"/>
                      </a:lnTo>
                      <a:lnTo>
                        <a:pt x="855" y="1066"/>
                      </a:lnTo>
                      <a:lnTo>
                        <a:pt x="855" y="1067"/>
                      </a:lnTo>
                      <a:lnTo>
                        <a:pt x="854" y="1067"/>
                      </a:lnTo>
                      <a:lnTo>
                        <a:pt x="855" y="1068"/>
                      </a:lnTo>
                      <a:lnTo>
                        <a:pt x="855" y="1068"/>
                      </a:lnTo>
                      <a:lnTo>
                        <a:pt x="855" y="1069"/>
                      </a:lnTo>
                      <a:lnTo>
                        <a:pt x="855" y="1070"/>
                      </a:lnTo>
                      <a:lnTo>
                        <a:pt x="855" y="1070"/>
                      </a:lnTo>
                      <a:lnTo>
                        <a:pt x="855" y="1071"/>
                      </a:lnTo>
                      <a:lnTo>
                        <a:pt x="854" y="1071"/>
                      </a:lnTo>
                      <a:lnTo>
                        <a:pt x="854" y="1072"/>
                      </a:lnTo>
                      <a:lnTo>
                        <a:pt x="854" y="1072"/>
                      </a:lnTo>
                      <a:lnTo>
                        <a:pt x="854" y="1073"/>
                      </a:lnTo>
                      <a:lnTo>
                        <a:pt x="854" y="1073"/>
                      </a:lnTo>
                      <a:lnTo>
                        <a:pt x="854" y="1074"/>
                      </a:lnTo>
                      <a:lnTo>
                        <a:pt x="853" y="1074"/>
                      </a:lnTo>
                      <a:lnTo>
                        <a:pt x="853" y="1074"/>
                      </a:lnTo>
                      <a:lnTo>
                        <a:pt x="854" y="1074"/>
                      </a:lnTo>
                      <a:lnTo>
                        <a:pt x="854" y="1075"/>
                      </a:lnTo>
                      <a:lnTo>
                        <a:pt x="853" y="1075"/>
                      </a:lnTo>
                      <a:lnTo>
                        <a:pt x="853" y="1076"/>
                      </a:lnTo>
                      <a:lnTo>
                        <a:pt x="852" y="1076"/>
                      </a:lnTo>
                      <a:lnTo>
                        <a:pt x="852" y="1076"/>
                      </a:lnTo>
                      <a:lnTo>
                        <a:pt x="851" y="1076"/>
                      </a:lnTo>
                      <a:lnTo>
                        <a:pt x="850" y="1076"/>
                      </a:lnTo>
                      <a:lnTo>
                        <a:pt x="850" y="1076"/>
                      </a:lnTo>
                      <a:lnTo>
                        <a:pt x="850" y="1076"/>
                      </a:lnTo>
                      <a:lnTo>
                        <a:pt x="850" y="1076"/>
                      </a:lnTo>
                      <a:lnTo>
                        <a:pt x="849" y="1076"/>
                      </a:lnTo>
                      <a:lnTo>
                        <a:pt x="848" y="1076"/>
                      </a:lnTo>
                      <a:lnTo>
                        <a:pt x="848" y="1076"/>
                      </a:lnTo>
                      <a:lnTo>
                        <a:pt x="849" y="1076"/>
                      </a:lnTo>
                      <a:lnTo>
                        <a:pt x="849" y="1077"/>
                      </a:lnTo>
                      <a:lnTo>
                        <a:pt x="849" y="1078"/>
                      </a:lnTo>
                      <a:lnTo>
                        <a:pt x="849" y="1078"/>
                      </a:lnTo>
                      <a:lnTo>
                        <a:pt x="848" y="1078"/>
                      </a:lnTo>
                      <a:lnTo>
                        <a:pt x="848" y="1079"/>
                      </a:lnTo>
                      <a:lnTo>
                        <a:pt x="848" y="1079"/>
                      </a:lnTo>
                      <a:lnTo>
                        <a:pt x="848" y="1080"/>
                      </a:lnTo>
                      <a:lnTo>
                        <a:pt x="848" y="1080"/>
                      </a:lnTo>
                      <a:lnTo>
                        <a:pt x="849" y="1080"/>
                      </a:lnTo>
                      <a:lnTo>
                        <a:pt x="849" y="1081"/>
                      </a:lnTo>
                      <a:lnTo>
                        <a:pt x="850" y="1081"/>
                      </a:lnTo>
                      <a:lnTo>
                        <a:pt x="850" y="1082"/>
                      </a:lnTo>
                      <a:lnTo>
                        <a:pt x="850" y="1083"/>
                      </a:lnTo>
                      <a:lnTo>
                        <a:pt x="850" y="1083"/>
                      </a:lnTo>
                      <a:lnTo>
                        <a:pt x="850" y="1083"/>
                      </a:lnTo>
                      <a:lnTo>
                        <a:pt x="850" y="1084"/>
                      </a:lnTo>
                      <a:lnTo>
                        <a:pt x="850" y="1085"/>
                      </a:lnTo>
                      <a:lnTo>
                        <a:pt x="851" y="1085"/>
                      </a:lnTo>
                      <a:lnTo>
                        <a:pt x="851" y="1085"/>
                      </a:lnTo>
                      <a:lnTo>
                        <a:pt x="852" y="1085"/>
                      </a:lnTo>
                      <a:lnTo>
                        <a:pt x="852" y="1086"/>
                      </a:lnTo>
                      <a:lnTo>
                        <a:pt x="852" y="1086"/>
                      </a:lnTo>
                      <a:lnTo>
                        <a:pt x="852" y="1087"/>
                      </a:lnTo>
                      <a:lnTo>
                        <a:pt x="853" y="1087"/>
                      </a:lnTo>
                      <a:lnTo>
                        <a:pt x="854" y="1087"/>
                      </a:lnTo>
                      <a:lnTo>
                        <a:pt x="854" y="1087"/>
                      </a:lnTo>
                      <a:lnTo>
                        <a:pt x="854" y="1088"/>
                      </a:lnTo>
                      <a:lnTo>
                        <a:pt x="854" y="1088"/>
                      </a:lnTo>
                      <a:lnTo>
                        <a:pt x="854" y="1089"/>
                      </a:lnTo>
                      <a:lnTo>
                        <a:pt x="855" y="1089"/>
                      </a:lnTo>
                      <a:lnTo>
                        <a:pt x="856" y="1089"/>
                      </a:lnTo>
                      <a:lnTo>
                        <a:pt x="856" y="1089"/>
                      </a:lnTo>
                      <a:lnTo>
                        <a:pt x="856" y="1089"/>
                      </a:lnTo>
                      <a:lnTo>
                        <a:pt x="857" y="1089"/>
                      </a:lnTo>
                      <a:lnTo>
                        <a:pt x="858" y="1089"/>
                      </a:lnTo>
                      <a:lnTo>
                        <a:pt x="858" y="1090"/>
                      </a:lnTo>
                      <a:lnTo>
                        <a:pt x="858" y="1090"/>
                      </a:lnTo>
                      <a:lnTo>
                        <a:pt x="858" y="1091"/>
                      </a:lnTo>
                      <a:lnTo>
                        <a:pt x="859" y="1091"/>
                      </a:lnTo>
                      <a:lnTo>
                        <a:pt x="859" y="1091"/>
                      </a:lnTo>
                      <a:lnTo>
                        <a:pt x="860" y="1091"/>
                      </a:lnTo>
                      <a:lnTo>
                        <a:pt x="860" y="1092"/>
                      </a:lnTo>
                      <a:lnTo>
                        <a:pt x="860" y="1092"/>
                      </a:lnTo>
                      <a:lnTo>
                        <a:pt x="861" y="1092"/>
                      </a:lnTo>
                      <a:lnTo>
                        <a:pt x="862" y="1092"/>
                      </a:lnTo>
                      <a:lnTo>
                        <a:pt x="862" y="1093"/>
                      </a:lnTo>
                      <a:lnTo>
                        <a:pt x="863" y="1093"/>
                      </a:lnTo>
                      <a:lnTo>
                        <a:pt x="863" y="1093"/>
                      </a:lnTo>
                      <a:lnTo>
                        <a:pt x="864" y="1093"/>
                      </a:lnTo>
                      <a:lnTo>
                        <a:pt x="864" y="1094"/>
                      </a:lnTo>
                      <a:lnTo>
                        <a:pt x="865" y="1094"/>
                      </a:lnTo>
                      <a:lnTo>
                        <a:pt x="865" y="1095"/>
                      </a:lnTo>
                      <a:lnTo>
                        <a:pt x="865" y="1095"/>
                      </a:lnTo>
                      <a:lnTo>
                        <a:pt x="865" y="1095"/>
                      </a:lnTo>
                      <a:lnTo>
                        <a:pt x="866" y="1095"/>
                      </a:lnTo>
                      <a:lnTo>
                        <a:pt x="866" y="1096"/>
                      </a:lnTo>
                      <a:lnTo>
                        <a:pt x="867" y="1096"/>
                      </a:lnTo>
                      <a:lnTo>
                        <a:pt x="867" y="1096"/>
                      </a:lnTo>
                      <a:lnTo>
                        <a:pt x="867" y="1097"/>
                      </a:lnTo>
                      <a:lnTo>
                        <a:pt x="868" y="1097"/>
                      </a:lnTo>
                      <a:lnTo>
                        <a:pt x="868" y="1097"/>
                      </a:lnTo>
                      <a:lnTo>
                        <a:pt x="869" y="1097"/>
                      </a:lnTo>
                      <a:lnTo>
                        <a:pt x="869" y="1097"/>
                      </a:lnTo>
                      <a:lnTo>
                        <a:pt x="869" y="1098"/>
                      </a:lnTo>
                      <a:lnTo>
                        <a:pt x="870" y="1098"/>
                      </a:lnTo>
                      <a:lnTo>
                        <a:pt x="871" y="1098"/>
                      </a:lnTo>
                      <a:lnTo>
                        <a:pt x="871" y="1098"/>
                      </a:lnTo>
                      <a:lnTo>
                        <a:pt x="871" y="1099"/>
                      </a:lnTo>
                      <a:lnTo>
                        <a:pt x="872" y="1099"/>
                      </a:lnTo>
                      <a:lnTo>
                        <a:pt x="873" y="1099"/>
                      </a:lnTo>
                      <a:lnTo>
                        <a:pt x="873" y="1099"/>
                      </a:lnTo>
                      <a:lnTo>
                        <a:pt x="873" y="1099"/>
                      </a:lnTo>
                      <a:lnTo>
                        <a:pt x="874" y="1099"/>
                      </a:lnTo>
                      <a:lnTo>
                        <a:pt x="874" y="1100"/>
                      </a:lnTo>
                      <a:lnTo>
                        <a:pt x="875" y="1100"/>
                      </a:lnTo>
                      <a:lnTo>
                        <a:pt x="875" y="1100"/>
                      </a:lnTo>
                      <a:lnTo>
                        <a:pt x="875" y="1101"/>
                      </a:lnTo>
                      <a:lnTo>
                        <a:pt x="876" y="1101"/>
                      </a:lnTo>
                      <a:lnTo>
                        <a:pt x="877" y="1101"/>
                      </a:lnTo>
                      <a:lnTo>
                        <a:pt x="877" y="1101"/>
                      </a:lnTo>
                      <a:lnTo>
                        <a:pt x="878" y="1101"/>
                      </a:lnTo>
                      <a:lnTo>
                        <a:pt x="879" y="1101"/>
                      </a:lnTo>
                      <a:lnTo>
                        <a:pt x="879" y="1101"/>
                      </a:lnTo>
                      <a:lnTo>
                        <a:pt x="879" y="1100"/>
                      </a:lnTo>
                      <a:lnTo>
                        <a:pt x="880" y="1100"/>
                      </a:lnTo>
                      <a:lnTo>
                        <a:pt x="881" y="1100"/>
                      </a:lnTo>
                      <a:lnTo>
                        <a:pt x="882" y="1100"/>
                      </a:lnTo>
                      <a:lnTo>
                        <a:pt x="882" y="1099"/>
                      </a:lnTo>
                      <a:lnTo>
                        <a:pt x="882" y="1099"/>
                      </a:lnTo>
                      <a:lnTo>
                        <a:pt x="883" y="1099"/>
                      </a:lnTo>
                      <a:lnTo>
                        <a:pt x="884" y="1099"/>
                      </a:lnTo>
                      <a:lnTo>
                        <a:pt x="884" y="1099"/>
                      </a:lnTo>
                      <a:lnTo>
                        <a:pt x="884" y="1099"/>
                      </a:lnTo>
                      <a:lnTo>
                        <a:pt x="885" y="1099"/>
                      </a:lnTo>
                      <a:lnTo>
                        <a:pt x="886" y="1099"/>
                      </a:lnTo>
                      <a:lnTo>
                        <a:pt x="886" y="1099"/>
                      </a:lnTo>
                      <a:lnTo>
                        <a:pt x="887" y="1099"/>
                      </a:lnTo>
                      <a:lnTo>
                        <a:pt x="888" y="1099"/>
                      </a:lnTo>
                      <a:lnTo>
                        <a:pt x="888" y="1099"/>
                      </a:lnTo>
                      <a:lnTo>
                        <a:pt x="889" y="1100"/>
                      </a:lnTo>
                      <a:lnTo>
                        <a:pt x="890" y="1100"/>
                      </a:lnTo>
                      <a:lnTo>
                        <a:pt x="890" y="1100"/>
                      </a:lnTo>
                      <a:lnTo>
                        <a:pt x="890" y="1101"/>
                      </a:lnTo>
                      <a:lnTo>
                        <a:pt x="891" y="1101"/>
                      </a:lnTo>
                      <a:lnTo>
                        <a:pt x="891" y="1102"/>
                      </a:lnTo>
                      <a:lnTo>
                        <a:pt x="892" y="1102"/>
                      </a:lnTo>
                      <a:lnTo>
                        <a:pt x="892" y="1102"/>
                      </a:lnTo>
                      <a:lnTo>
                        <a:pt x="892" y="1103"/>
                      </a:lnTo>
                      <a:lnTo>
                        <a:pt x="892" y="1103"/>
                      </a:lnTo>
                      <a:lnTo>
                        <a:pt x="893" y="1103"/>
                      </a:lnTo>
                      <a:lnTo>
                        <a:pt x="893" y="1104"/>
                      </a:lnTo>
                      <a:lnTo>
                        <a:pt x="894" y="1104"/>
                      </a:lnTo>
                      <a:lnTo>
                        <a:pt x="894" y="1104"/>
                      </a:lnTo>
                      <a:lnTo>
                        <a:pt x="894" y="1104"/>
                      </a:lnTo>
                      <a:lnTo>
                        <a:pt x="895" y="1104"/>
                      </a:lnTo>
                      <a:lnTo>
                        <a:pt x="895" y="1105"/>
                      </a:lnTo>
                      <a:lnTo>
                        <a:pt x="896" y="1105"/>
                      </a:lnTo>
                      <a:lnTo>
                        <a:pt x="896" y="1105"/>
                      </a:lnTo>
                      <a:lnTo>
                        <a:pt x="897" y="1105"/>
                      </a:lnTo>
                      <a:lnTo>
                        <a:pt x="898" y="1105"/>
                      </a:lnTo>
                      <a:lnTo>
                        <a:pt x="898" y="1106"/>
                      </a:lnTo>
                      <a:lnTo>
                        <a:pt x="898" y="1106"/>
                      </a:lnTo>
                      <a:lnTo>
                        <a:pt x="899" y="1106"/>
                      </a:lnTo>
                      <a:lnTo>
                        <a:pt x="899" y="1106"/>
                      </a:lnTo>
                      <a:lnTo>
                        <a:pt x="900" y="1106"/>
                      </a:lnTo>
                      <a:lnTo>
                        <a:pt x="900" y="1107"/>
                      </a:lnTo>
                      <a:lnTo>
                        <a:pt x="901" y="1107"/>
                      </a:lnTo>
                      <a:lnTo>
                        <a:pt x="901" y="1108"/>
                      </a:lnTo>
                      <a:lnTo>
                        <a:pt x="901" y="1108"/>
                      </a:lnTo>
                      <a:lnTo>
                        <a:pt x="901" y="1108"/>
                      </a:lnTo>
                      <a:lnTo>
                        <a:pt x="902" y="1108"/>
                      </a:lnTo>
                      <a:lnTo>
                        <a:pt x="902" y="1109"/>
                      </a:lnTo>
                      <a:lnTo>
                        <a:pt x="903" y="1110"/>
                      </a:lnTo>
                      <a:lnTo>
                        <a:pt x="903" y="1110"/>
                      </a:lnTo>
                      <a:lnTo>
                        <a:pt x="904" y="1110"/>
                      </a:lnTo>
                      <a:lnTo>
                        <a:pt x="905" y="1110"/>
                      </a:lnTo>
                      <a:lnTo>
                        <a:pt x="905" y="1110"/>
                      </a:lnTo>
                      <a:lnTo>
                        <a:pt x="906" y="1110"/>
                      </a:lnTo>
                      <a:lnTo>
                        <a:pt x="907" y="1110"/>
                      </a:lnTo>
                      <a:lnTo>
                        <a:pt x="907" y="1110"/>
                      </a:lnTo>
                      <a:lnTo>
                        <a:pt x="907" y="1111"/>
                      </a:lnTo>
                      <a:lnTo>
                        <a:pt x="907" y="1112"/>
                      </a:lnTo>
                      <a:lnTo>
                        <a:pt x="907" y="1113"/>
                      </a:lnTo>
                      <a:lnTo>
                        <a:pt x="906" y="1120"/>
                      </a:lnTo>
                      <a:lnTo>
                        <a:pt x="905" y="1127"/>
                      </a:lnTo>
                      <a:lnTo>
                        <a:pt x="906" y="1129"/>
                      </a:lnTo>
                      <a:lnTo>
                        <a:pt x="865" y="1130"/>
                      </a:lnTo>
                      <a:lnTo>
                        <a:pt x="853" y="1131"/>
                      </a:lnTo>
                      <a:lnTo>
                        <a:pt x="850" y="1131"/>
                      </a:lnTo>
                      <a:lnTo>
                        <a:pt x="848" y="1131"/>
                      </a:lnTo>
                      <a:lnTo>
                        <a:pt x="847" y="1131"/>
                      </a:lnTo>
                      <a:lnTo>
                        <a:pt x="846" y="1131"/>
                      </a:lnTo>
                      <a:lnTo>
                        <a:pt x="846" y="1131"/>
                      </a:lnTo>
                      <a:lnTo>
                        <a:pt x="844" y="1131"/>
                      </a:lnTo>
                      <a:lnTo>
                        <a:pt x="843" y="1131"/>
                      </a:lnTo>
                      <a:lnTo>
                        <a:pt x="842" y="1131"/>
                      </a:lnTo>
                      <a:lnTo>
                        <a:pt x="841" y="1131"/>
                      </a:lnTo>
                      <a:lnTo>
                        <a:pt x="840" y="1131"/>
                      </a:lnTo>
                      <a:lnTo>
                        <a:pt x="839" y="1131"/>
                      </a:lnTo>
                      <a:lnTo>
                        <a:pt x="839" y="1131"/>
                      </a:lnTo>
                      <a:lnTo>
                        <a:pt x="838" y="1131"/>
                      </a:lnTo>
                      <a:lnTo>
                        <a:pt x="837" y="1131"/>
                      </a:lnTo>
                      <a:lnTo>
                        <a:pt x="836" y="1131"/>
                      </a:lnTo>
                      <a:lnTo>
                        <a:pt x="836" y="1131"/>
                      </a:lnTo>
                      <a:lnTo>
                        <a:pt x="835" y="1131"/>
                      </a:lnTo>
                      <a:lnTo>
                        <a:pt x="835" y="1131"/>
                      </a:lnTo>
                      <a:lnTo>
                        <a:pt x="835" y="1131"/>
                      </a:lnTo>
                      <a:lnTo>
                        <a:pt x="835" y="1132"/>
                      </a:lnTo>
                      <a:lnTo>
                        <a:pt x="834" y="1132"/>
                      </a:lnTo>
                      <a:lnTo>
                        <a:pt x="834" y="1133"/>
                      </a:lnTo>
                      <a:lnTo>
                        <a:pt x="833" y="1133"/>
                      </a:lnTo>
                      <a:lnTo>
                        <a:pt x="833" y="1133"/>
                      </a:lnTo>
                      <a:lnTo>
                        <a:pt x="832" y="1133"/>
                      </a:lnTo>
                      <a:lnTo>
                        <a:pt x="831" y="1133"/>
                      </a:lnTo>
                      <a:lnTo>
                        <a:pt x="831" y="1132"/>
                      </a:lnTo>
                      <a:lnTo>
                        <a:pt x="830" y="1132"/>
                      </a:lnTo>
                      <a:lnTo>
                        <a:pt x="829" y="1132"/>
                      </a:lnTo>
                      <a:lnTo>
                        <a:pt x="829" y="1132"/>
                      </a:lnTo>
                      <a:lnTo>
                        <a:pt x="828" y="1132"/>
                      </a:lnTo>
                      <a:lnTo>
                        <a:pt x="827" y="1131"/>
                      </a:lnTo>
                      <a:lnTo>
                        <a:pt x="827" y="1131"/>
                      </a:lnTo>
                      <a:lnTo>
                        <a:pt x="826" y="1131"/>
                      </a:lnTo>
                      <a:lnTo>
                        <a:pt x="825" y="1131"/>
                      </a:lnTo>
                      <a:lnTo>
                        <a:pt x="825" y="1131"/>
                      </a:lnTo>
                      <a:lnTo>
                        <a:pt x="823" y="1131"/>
                      </a:lnTo>
                      <a:lnTo>
                        <a:pt x="822" y="1131"/>
                      </a:lnTo>
                      <a:lnTo>
                        <a:pt x="822" y="1131"/>
                      </a:lnTo>
                      <a:lnTo>
                        <a:pt x="821" y="1131"/>
                      </a:lnTo>
                      <a:lnTo>
                        <a:pt x="820" y="1130"/>
                      </a:lnTo>
                      <a:lnTo>
                        <a:pt x="820" y="1130"/>
                      </a:lnTo>
                      <a:lnTo>
                        <a:pt x="818" y="1130"/>
                      </a:lnTo>
                      <a:lnTo>
                        <a:pt x="818" y="1129"/>
                      </a:lnTo>
                      <a:lnTo>
                        <a:pt x="817" y="1129"/>
                      </a:lnTo>
                      <a:lnTo>
                        <a:pt x="816" y="1129"/>
                      </a:lnTo>
                      <a:lnTo>
                        <a:pt x="815" y="1129"/>
                      </a:lnTo>
                      <a:lnTo>
                        <a:pt x="814" y="1129"/>
                      </a:lnTo>
                      <a:lnTo>
                        <a:pt x="814" y="1129"/>
                      </a:lnTo>
                      <a:lnTo>
                        <a:pt x="813" y="1129"/>
                      </a:lnTo>
                      <a:lnTo>
                        <a:pt x="812" y="1128"/>
                      </a:lnTo>
                      <a:lnTo>
                        <a:pt x="811" y="1128"/>
                      </a:lnTo>
                      <a:lnTo>
                        <a:pt x="810" y="1128"/>
                      </a:lnTo>
                      <a:lnTo>
                        <a:pt x="810" y="1128"/>
                      </a:lnTo>
                      <a:lnTo>
                        <a:pt x="810" y="1129"/>
                      </a:lnTo>
                      <a:lnTo>
                        <a:pt x="809" y="1129"/>
                      </a:lnTo>
                      <a:lnTo>
                        <a:pt x="809" y="1129"/>
                      </a:lnTo>
                      <a:lnTo>
                        <a:pt x="809" y="1130"/>
                      </a:lnTo>
                      <a:lnTo>
                        <a:pt x="809" y="1131"/>
                      </a:lnTo>
                      <a:lnTo>
                        <a:pt x="808" y="1131"/>
                      </a:lnTo>
                      <a:lnTo>
                        <a:pt x="808" y="1130"/>
                      </a:lnTo>
                      <a:lnTo>
                        <a:pt x="808" y="1131"/>
                      </a:lnTo>
                      <a:lnTo>
                        <a:pt x="808" y="1131"/>
                      </a:lnTo>
                      <a:lnTo>
                        <a:pt x="809" y="1131"/>
                      </a:lnTo>
                      <a:lnTo>
                        <a:pt x="808" y="1131"/>
                      </a:lnTo>
                      <a:lnTo>
                        <a:pt x="808" y="1131"/>
                      </a:lnTo>
                      <a:lnTo>
                        <a:pt x="808" y="1132"/>
                      </a:lnTo>
                      <a:lnTo>
                        <a:pt x="808" y="1132"/>
                      </a:lnTo>
                      <a:lnTo>
                        <a:pt x="808" y="1133"/>
                      </a:lnTo>
                      <a:lnTo>
                        <a:pt x="808" y="1133"/>
                      </a:lnTo>
                      <a:lnTo>
                        <a:pt x="808" y="1133"/>
                      </a:lnTo>
                      <a:lnTo>
                        <a:pt x="808" y="1133"/>
                      </a:lnTo>
                      <a:lnTo>
                        <a:pt x="808" y="1133"/>
                      </a:lnTo>
                      <a:lnTo>
                        <a:pt x="808" y="1133"/>
                      </a:lnTo>
                      <a:lnTo>
                        <a:pt x="808" y="1133"/>
                      </a:lnTo>
                      <a:lnTo>
                        <a:pt x="808" y="1134"/>
                      </a:lnTo>
                      <a:lnTo>
                        <a:pt x="807" y="1134"/>
                      </a:lnTo>
                      <a:lnTo>
                        <a:pt x="807" y="1133"/>
                      </a:lnTo>
                      <a:lnTo>
                        <a:pt x="807" y="1134"/>
                      </a:lnTo>
                      <a:lnTo>
                        <a:pt x="806" y="1134"/>
                      </a:lnTo>
                      <a:lnTo>
                        <a:pt x="806" y="1133"/>
                      </a:lnTo>
                      <a:lnTo>
                        <a:pt x="806" y="1134"/>
                      </a:lnTo>
                      <a:lnTo>
                        <a:pt x="806" y="1133"/>
                      </a:lnTo>
                      <a:lnTo>
                        <a:pt x="806" y="1133"/>
                      </a:lnTo>
                      <a:lnTo>
                        <a:pt x="805" y="1133"/>
                      </a:lnTo>
                      <a:lnTo>
                        <a:pt x="804" y="1133"/>
                      </a:lnTo>
                      <a:lnTo>
                        <a:pt x="803" y="1133"/>
                      </a:lnTo>
                      <a:lnTo>
                        <a:pt x="803" y="1134"/>
                      </a:lnTo>
                      <a:lnTo>
                        <a:pt x="803" y="1133"/>
                      </a:lnTo>
                      <a:lnTo>
                        <a:pt x="803" y="1133"/>
                      </a:lnTo>
                      <a:lnTo>
                        <a:pt x="803" y="1133"/>
                      </a:lnTo>
                      <a:lnTo>
                        <a:pt x="802" y="1133"/>
                      </a:lnTo>
                      <a:lnTo>
                        <a:pt x="802" y="1133"/>
                      </a:lnTo>
                      <a:lnTo>
                        <a:pt x="801" y="1133"/>
                      </a:lnTo>
                      <a:lnTo>
                        <a:pt x="801" y="1133"/>
                      </a:lnTo>
                      <a:lnTo>
                        <a:pt x="801" y="1134"/>
                      </a:lnTo>
                      <a:lnTo>
                        <a:pt x="800" y="1134"/>
                      </a:lnTo>
                      <a:lnTo>
                        <a:pt x="800" y="1133"/>
                      </a:lnTo>
                      <a:lnTo>
                        <a:pt x="799" y="1133"/>
                      </a:lnTo>
                      <a:lnTo>
                        <a:pt x="799" y="1134"/>
                      </a:lnTo>
                      <a:lnTo>
                        <a:pt x="799" y="1134"/>
                      </a:lnTo>
                      <a:lnTo>
                        <a:pt x="799" y="1135"/>
                      </a:lnTo>
                      <a:lnTo>
                        <a:pt x="798" y="1135"/>
                      </a:lnTo>
                      <a:lnTo>
                        <a:pt x="798" y="1135"/>
                      </a:lnTo>
                      <a:lnTo>
                        <a:pt x="797" y="1135"/>
                      </a:lnTo>
                      <a:lnTo>
                        <a:pt x="797" y="1135"/>
                      </a:lnTo>
                      <a:lnTo>
                        <a:pt x="796" y="1135"/>
                      </a:lnTo>
                      <a:lnTo>
                        <a:pt x="795" y="1135"/>
                      </a:lnTo>
                      <a:lnTo>
                        <a:pt x="795" y="1136"/>
                      </a:lnTo>
                      <a:lnTo>
                        <a:pt x="795" y="1136"/>
                      </a:lnTo>
                      <a:lnTo>
                        <a:pt x="795" y="1137"/>
                      </a:lnTo>
                      <a:lnTo>
                        <a:pt x="794" y="1136"/>
                      </a:lnTo>
                      <a:lnTo>
                        <a:pt x="793" y="1136"/>
                      </a:lnTo>
                      <a:lnTo>
                        <a:pt x="793" y="1136"/>
                      </a:lnTo>
                      <a:lnTo>
                        <a:pt x="792" y="1136"/>
                      </a:lnTo>
                      <a:lnTo>
                        <a:pt x="791" y="1136"/>
                      </a:lnTo>
                      <a:lnTo>
                        <a:pt x="791" y="1137"/>
                      </a:lnTo>
                      <a:lnTo>
                        <a:pt x="791" y="1137"/>
                      </a:lnTo>
                      <a:lnTo>
                        <a:pt x="790" y="1137"/>
                      </a:lnTo>
                      <a:lnTo>
                        <a:pt x="789" y="1137"/>
                      </a:lnTo>
                      <a:lnTo>
                        <a:pt x="789" y="1137"/>
                      </a:lnTo>
                      <a:lnTo>
                        <a:pt x="788" y="1137"/>
                      </a:lnTo>
                      <a:lnTo>
                        <a:pt x="787" y="1137"/>
                      </a:lnTo>
                      <a:lnTo>
                        <a:pt x="787" y="1137"/>
                      </a:lnTo>
                      <a:lnTo>
                        <a:pt x="786" y="1138"/>
                      </a:lnTo>
                      <a:lnTo>
                        <a:pt x="785" y="1138"/>
                      </a:lnTo>
                      <a:lnTo>
                        <a:pt x="785" y="1137"/>
                      </a:lnTo>
                      <a:lnTo>
                        <a:pt x="784" y="1137"/>
                      </a:lnTo>
                      <a:lnTo>
                        <a:pt x="784" y="1137"/>
                      </a:lnTo>
                      <a:lnTo>
                        <a:pt x="783" y="1137"/>
                      </a:lnTo>
                      <a:lnTo>
                        <a:pt x="782" y="1137"/>
                      </a:lnTo>
                      <a:lnTo>
                        <a:pt x="782" y="1137"/>
                      </a:lnTo>
                      <a:lnTo>
                        <a:pt x="782" y="1137"/>
                      </a:lnTo>
                      <a:lnTo>
                        <a:pt x="782" y="1136"/>
                      </a:lnTo>
                      <a:lnTo>
                        <a:pt x="781" y="1135"/>
                      </a:lnTo>
                      <a:lnTo>
                        <a:pt x="780" y="1135"/>
                      </a:lnTo>
                      <a:lnTo>
                        <a:pt x="780" y="1135"/>
                      </a:lnTo>
                      <a:lnTo>
                        <a:pt x="779" y="1135"/>
                      </a:lnTo>
                      <a:lnTo>
                        <a:pt x="778" y="1135"/>
                      </a:lnTo>
                      <a:lnTo>
                        <a:pt x="778" y="1135"/>
                      </a:lnTo>
                      <a:lnTo>
                        <a:pt x="777" y="1135"/>
                      </a:lnTo>
                      <a:lnTo>
                        <a:pt x="776" y="1135"/>
                      </a:lnTo>
                      <a:lnTo>
                        <a:pt x="776" y="1134"/>
                      </a:lnTo>
                      <a:lnTo>
                        <a:pt x="776" y="1134"/>
                      </a:lnTo>
                      <a:lnTo>
                        <a:pt x="775" y="1135"/>
                      </a:lnTo>
                      <a:lnTo>
                        <a:pt x="775" y="1135"/>
                      </a:lnTo>
                      <a:lnTo>
                        <a:pt x="774" y="1135"/>
                      </a:lnTo>
                      <a:lnTo>
                        <a:pt x="774" y="1136"/>
                      </a:lnTo>
                      <a:lnTo>
                        <a:pt x="774" y="1136"/>
                      </a:lnTo>
                      <a:lnTo>
                        <a:pt x="774" y="1137"/>
                      </a:lnTo>
                      <a:lnTo>
                        <a:pt x="773" y="1137"/>
                      </a:lnTo>
                      <a:lnTo>
                        <a:pt x="772" y="1137"/>
                      </a:lnTo>
                      <a:lnTo>
                        <a:pt x="772" y="1137"/>
                      </a:lnTo>
                      <a:lnTo>
                        <a:pt x="772" y="1137"/>
                      </a:lnTo>
                      <a:lnTo>
                        <a:pt x="771" y="1137"/>
                      </a:lnTo>
                      <a:lnTo>
                        <a:pt x="770" y="1137"/>
                      </a:lnTo>
                      <a:lnTo>
                        <a:pt x="770" y="1137"/>
                      </a:lnTo>
                      <a:lnTo>
                        <a:pt x="769" y="1137"/>
                      </a:lnTo>
                      <a:lnTo>
                        <a:pt x="768" y="1137"/>
                      </a:lnTo>
                      <a:lnTo>
                        <a:pt x="768" y="1137"/>
                      </a:lnTo>
                      <a:lnTo>
                        <a:pt x="768" y="1137"/>
                      </a:lnTo>
                      <a:lnTo>
                        <a:pt x="767" y="1137"/>
                      </a:lnTo>
                      <a:lnTo>
                        <a:pt x="766" y="1137"/>
                      </a:lnTo>
                      <a:lnTo>
                        <a:pt x="766" y="1136"/>
                      </a:lnTo>
                      <a:lnTo>
                        <a:pt x="765" y="1136"/>
                      </a:lnTo>
                      <a:lnTo>
                        <a:pt x="765" y="1135"/>
                      </a:lnTo>
                      <a:lnTo>
                        <a:pt x="765" y="1135"/>
                      </a:lnTo>
                      <a:lnTo>
                        <a:pt x="764" y="1135"/>
                      </a:lnTo>
                      <a:lnTo>
                        <a:pt x="763" y="1135"/>
                      </a:lnTo>
                      <a:lnTo>
                        <a:pt x="763" y="1135"/>
                      </a:lnTo>
                      <a:lnTo>
                        <a:pt x="763" y="1135"/>
                      </a:lnTo>
                      <a:lnTo>
                        <a:pt x="762" y="1135"/>
                      </a:lnTo>
                      <a:lnTo>
                        <a:pt x="762" y="1134"/>
                      </a:lnTo>
                      <a:lnTo>
                        <a:pt x="761" y="1134"/>
                      </a:lnTo>
                      <a:lnTo>
                        <a:pt x="761" y="1133"/>
                      </a:lnTo>
                      <a:lnTo>
                        <a:pt x="761" y="1133"/>
                      </a:lnTo>
                      <a:lnTo>
                        <a:pt x="760" y="1133"/>
                      </a:lnTo>
                      <a:lnTo>
                        <a:pt x="760" y="1133"/>
                      </a:lnTo>
                      <a:lnTo>
                        <a:pt x="760" y="1132"/>
                      </a:lnTo>
                      <a:lnTo>
                        <a:pt x="759" y="1132"/>
                      </a:lnTo>
                      <a:lnTo>
                        <a:pt x="759" y="1132"/>
                      </a:lnTo>
                      <a:lnTo>
                        <a:pt x="759" y="1131"/>
                      </a:lnTo>
                      <a:lnTo>
                        <a:pt x="759" y="1131"/>
                      </a:lnTo>
                      <a:lnTo>
                        <a:pt x="758" y="1131"/>
                      </a:lnTo>
                      <a:lnTo>
                        <a:pt x="758" y="1130"/>
                      </a:lnTo>
                      <a:lnTo>
                        <a:pt x="758" y="1131"/>
                      </a:lnTo>
                      <a:lnTo>
                        <a:pt x="757" y="1131"/>
                      </a:lnTo>
                      <a:lnTo>
                        <a:pt x="757" y="1130"/>
                      </a:lnTo>
                      <a:lnTo>
                        <a:pt x="757" y="1130"/>
                      </a:lnTo>
                      <a:lnTo>
                        <a:pt x="757" y="1129"/>
                      </a:lnTo>
                      <a:lnTo>
                        <a:pt x="756" y="1129"/>
                      </a:lnTo>
                      <a:lnTo>
                        <a:pt x="755" y="1129"/>
                      </a:lnTo>
                      <a:lnTo>
                        <a:pt x="755" y="1129"/>
                      </a:lnTo>
                      <a:lnTo>
                        <a:pt x="754" y="1129"/>
                      </a:lnTo>
                      <a:lnTo>
                        <a:pt x="753" y="1129"/>
                      </a:lnTo>
                      <a:lnTo>
                        <a:pt x="752" y="1127"/>
                      </a:lnTo>
                      <a:lnTo>
                        <a:pt x="751" y="1125"/>
                      </a:lnTo>
                      <a:lnTo>
                        <a:pt x="750" y="1124"/>
                      </a:lnTo>
                      <a:lnTo>
                        <a:pt x="749" y="1123"/>
                      </a:lnTo>
                      <a:lnTo>
                        <a:pt x="747" y="1121"/>
                      </a:lnTo>
                      <a:lnTo>
                        <a:pt x="746" y="1119"/>
                      </a:lnTo>
                      <a:lnTo>
                        <a:pt x="745" y="1118"/>
                      </a:lnTo>
                      <a:lnTo>
                        <a:pt x="744" y="1117"/>
                      </a:lnTo>
                      <a:lnTo>
                        <a:pt x="742" y="1115"/>
                      </a:lnTo>
                      <a:lnTo>
                        <a:pt x="741" y="1114"/>
                      </a:lnTo>
                      <a:lnTo>
                        <a:pt x="740" y="1112"/>
                      </a:lnTo>
                      <a:lnTo>
                        <a:pt x="739" y="1111"/>
                      </a:lnTo>
                      <a:lnTo>
                        <a:pt x="737" y="1108"/>
                      </a:lnTo>
                      <a:lnTo>
                        <a:pt x="736" y="1107"/>
                      </a:lnTo>
                      <a:lnTo>
                        <a:pt x="735" y="1106"/>
                      </a:lnTo>
                      <a:lnTo>
                        <a:pt x="733" y="1104"/>
                      </a:lnTo>
                      <a:lnTo>
                        <a:pt x="731" y="1102"/>
                      </a:lnTo>
                      <a:lnTo>
                        <a:pt x="730" y="1099"/>
                      </a:lnTo>
                      <a:lnTo>
                        <a:pt x="723" y="1092"/>
                      </a:lnTo>
                      <a:lnTo>
                        <a:pt x="717" y="1091"/>
                      </a:lnTo>
                      <a:lnTo>
                        <a:pt x="711" y="1091"/>
                      </a:lnTo>
                      <a:lnTo>
                        <a:pt x="707" y="1090"/>
                      </a:lnTo>
                      <a:lnTo>
                        <a:pt x="696" y="1089"/>
                      </a:lnTo>
                      <a:lnTo>
                        <a:pt x="692" y="1089"/>
                      </a:lnTo>
                      <a:lnTo>
                        <a:pt x="693" y="1081"/>
                      </a:lnTo>
                      <a:lnTo>
                        <a:pt x="694" y="1076"/>
                      </a:lnTo>
                      <a:lnTo>
                        <a:pt x="685" y="1066"/>
                      </a:lnTo>
                      <a:lnTo>
                        <a:pt x="673" y="1062"/>
                      </a:lnTo>
                      <a:lnTo>
                        <a:pt x="661" y="1058"/>
                      </a:lnTo>
                      <a:lnTo>
                        <a:pt x="656" y="1057"/>
                      </a:lnTo>
                      <a:lnTo>
                        <a:pt x="649" y="1053"/>
                      </a:lnTo>
                      <a:lnTo>
                        <a:pt x="649" y="1053"/>
                      </a:lnTo>
                      <a:lnTo>
                        <a:pt x="649" y="1053"/>
                      </a:lnTo>
                      <a:lnTo>
                        <a:pt x="648" y="1054"/>
                      </a:lnTo>
                      <a:lnTo>
                        <a:pt x="648" y="1055"/>
                      </a:lnTo>
                      <a:lnTo>
                        <a:pt x="647" y="1055"/>
                      </a:lnTo>
                      <a:lnTo>
                        <a:pt x="647" y="1055"/>
                      </a:lnTo>
                      <a:lnTo>
                        <a:pt x="646" y="1055"/>
                      </a:lnTo>
                      <a:lnTo>
                        <a:pt x="645" y="1055"/>
                      </a:lnTo>
                      <a:lnTo>
                        <a:pt x="645" y="1055"/>
                      </a:lnTo>
                      <a:lnTo>
                        <a:pt x="644" y="1055"/>
                      </a:lnTo>
                      <a:lnTo>
                        <a:pt x="644" y="1055"/>
                      </a:lnTo>
                      <a:lnTo>
                        <a:pt x="644" y="1056"/>
                      </a:lnTo>
                      <a:lnTo>
                        <a:pt x="643" y="1056"/>
                      </a:lnTo>
                      <a:lnTo>
                        <a:pt x="644" y="1057"/>
                      </a:lnTo>
                      <a:lnTo>
                        <a:pt x="644" y="1057"/>
                      </a:lnTo>
                      <a:lnTo>
                        <a:pt x="644" y="1058"/>
                      </a:lnTo>
                      <a:lnTo>
                        <a:pt x="644" y="1059"/>
                      </a:lnTo>
                      <a:lnTo>
                        <a:pt x="645" y="1059"/>
                      </a:lnTo>
                      <a:lnTo>
                        <a:pt x="645" y="1059"/>
                      </a:lnTo>
                      <a:lnTo>
                        <a:pt x="645" y="1060"/>
                      </a:lnTo>
                      <a:lnTo>
                        <a:pt x="645" y="1061"/>
                      </a:lnTo>
                      <a:lnTo>
                        <a:pt x="645" y="1061"/>
                      </a:lnTo>
                      <a:lnTo>
                        <a:pt x="645" y="1062"/>
                      </a:lnTo>
                      <a:lnTo>
                        <a:pt x="645" y="1062"/>
                      </a:lnTo>
                      <a:lnTo>
                        <a:pt x="645" y="1062"/>
                      </a:lnTo>
                      <a:lnTo>
                        <a:pt x="645" y="1063"/>
                      </a:lnTo>
                      <a:lnTo>
                        <a:pt x="645" y="1063"/>
                      </a:lnTo>
                      <a:lnTo>
                        <a:pt x="645" y="1064"/>
                      </a:lnTo>
                      <a:lnTo>
                        <a:pt x="645" y="1064"/>
                      </a:lnTo>
                      <a:lnTo>
                        <a:pt x="645" y="1065"/>
                      </a:lnTo>
                      <a:lnTo>
                        <a:pt x="645" y="1066"/>
                      </a:lnTo>
                      <a:lnTo>
                        <a:pt x="644" y="1066"/>
                      </a:lnTo>
                      <a:lnTo>
                        <a:pt x="644" y="1066"/>
                      </a:lnTo>
                      <a:lnTo>
                        <a:pt x="644" y="1067"/>
                      </a:lnTo>
                      <a:lnTo>
                        <a:pt x="645" y="1067"/>
                      </a:lnTo>
                      <a:lnTo>
                        <a:pt x="645" y="1068"/>
                      </a:lnTo>
                      <a:lnTo>
                        <a:pt x="645" y="1068"/>
                      </a:lnTo>
                      <a:lnTo>
                        <a:pt x="645" y="1069"/>
                      </a:lnTo>
                      <a:lnTo>
                        <a:pt x="645" y="1070"/>
                      </a:lnTo>
                      <a:lnTo>
                        <a:pt x="645" y="1070"/>
                      </a:lnTo>
                      <a:lnTo>
                        <a:pt x="645" y="1070"/>
                      </a:lnTo>
                      <a:lnTo>
                        <a:pt x="645" y="1071"/>
                      </a:lnTo>
                      <a:lnTo>
                        <a:pt x="646" y="1071"/>
                      </a:lnTo>
                      <a:lnTo>
                        <a:pt x="646" y="1072"/>
                      </a:lnTo>
                      <a:lnTo>
                        <a:pt x="645" y="1072"/>
                      </a:lnTo>
                      <a:lnTo>
                        <a:pt x="645" y="1072"/>
                      </a:lnTo>
                      <a:lnTo>
                        <a:pt x="645" y="1073"/>
                      </a:lnTo>
                      <a:lnTo>
                        <a:pt x="645" y="1074"/>
                      </a:lnTo>
                      <a:lnTo>
                        <a:pt x="645" y="1074"/>
                      </a:lnTo>
                      <a:lnTo>
                        <a:pt x="644" y="1074"/>
                      </a:lnTo>
                      <a:lnTo>
                        <a:pt x="645" y="1075"/>
                      </a:lnTo>
                      <a:lnTo>
                        <a:pt x="645" y="1076"/>
                      </a:lnTo>
                      <a:lnTo>
                        <a:pt x="644" y="1076"/>
                      </a:lnTo>
                      <a:lnTo>
                        <a:pt x="644" y="1076"/>
                      </a:lnTo>
                      <a:lnTo>
                        <a:pt x="644" y="1077"/>
                      </a:lnTo>
                      <a:lnTo>
                        <a:pt x="644" y="1078"/>
                      </a:lnTo>
                      <a:lnTo>
                        <a:pt x="643" y="1078"/>
                      </a:lnTo>
                      <a:lnTo>
                        <a:pt x="643" y="1078"/>
                      </a:lnTo>
                      <a:lnTo>
                        <a:pt x="643" y="1079"/>
                      </a:lnTo>
                      <a:lnTo>
                        <a:pt x="643" y="1080"/>
                      </a:lnTo>
                      <a:lnTo>
                        <a:pt x="643" y="1080"/>
                      </a:lnTo>
                      <a:lnTo>
                        <a:pt x="643" y="1080"/>
                      </a:lnTo>
                      <a:lnTo>
                        <a:pt x="643" y="1081"/>
                      </a:lnTo>
                      <a:lnTo>
                        <a:pt x="643" y="1081"/>
                      </a:lnTo>
                      <a:lnTo>
                        <a:pt x="643" y="1082"/>
                      </a:lnTo>
                      <a:lnTo>
                        <a:pt x="642" y="1082"/>
                      </a:lnTo>
                      <a:lnTo>
                        <a:pt x="642" y="1083"/>
                      </a:lnTo>
                      <a:lnTo>
                        <a:pt x="643" y="1083"/>
                      </a:lnTo>
                      <a:lnTo>
                        <a:pt x="643" y="1083"/>
                      </a:lnTo>
                      <a:lnTo>
                        <a:pt x="643" y="1084"/>
                      </a:lnTo>
                      <a:lnTo>
                        <a:pt x="642" y="1084"/>
                      </a:lnTo>
                      <a:lnTo>
                        <a:pt x="642" y="1085"/>
                      </a:lnTo>
                      <a:lnTo>
                        <a:pt x="642" y="1085"/>
                      </a:lnTo>
                      <a:lnTo>
                        <a:pt x="641" y="1085"/>
                      </a:lnTo>
                      <a:lnTo>
                        <a:pt x="641" y="1085"/>
                      </a:lnTo>
                      <a:lnTo>
                        <a:pt x="640" y="1086"/>
                      </a:lnTo>
                      <a:lnTo>
                        <a:pt x="640" y="1087"/>
                      </a:lnTo>
                      <a:lnTo>
                        <a:pt x="640" y="1087"/>
                      </a:lnTo>
                      <a:lnTo>
                        <a:pt x="640" y="1088"/>
                      </a:lnTo>
                      <a:lnTo>
                        <a:pt x="641" y="1088"/>
                      </a:lnTo>
                      <a:lnTo>
                        <a:pt x="641" y="1089"/>
                      </a:lnTo>
                      <a:lnTo>
                        <a:pt x="641" y="1089"/>
                      </a:lnTo>
                      <a:lnTo>
                        <a:pt x="640" y="1089"/>
                      </a:lnTo>
                      <a:lnTo>
                        <a:pt x="640" y="1090"/>
                      </a:lnTo>
                      <a:lnTo>
                        <a:pt x="640" y="1091"/>
                      </a:lnTo>
                      <a:lnTo>
                        <a:pt x="640" y="1091"/>
                      </a:lnTo>
                      <a:lnTo>
                        <a:pt x="639" y="1091"/>
                      </a:lnTo>
                      <a:lnTo>
                        <a:pt x="639" y="1092"/>
                      </a:lnTo>
                      <a:lnTo>
                        <a:pt x="639" y="1093"/>
                      </a:lnTo>
                      <a:lnTo>
                        <a:pt x="640" y="1093"/>
                      </a:lnTo>
                      <a:lnTo>
                        <a:pt x="640" y="1094"/>
                      </a:lnTo>
                      <a:lnTo>
                        <a:pt x="639" y="1094"/>
                      </a:lnTo>
                      <a:lnTo>
                        <a:pt x="639" y="1094"/>
                      </a:lnTo>
                      <a:lnTo>
                        <a:pt x="639" y="1095"/>
                      </a:lnTo>
                      <a:lnTo>
                        <a:pt x="638" y="1095"/>
                      </a:lnTo>
                      <a:lnTo>
                        <a:pt x="638" y="1095"/>
                      </a:lnTo>
                      <a:lnTo>
                        <a:pt x="638" y="1096"/>
                      </a:lnTo>
                      <a:lnTo>
                        <a:pt x="637" y="1096"/>
                      </a:lnTo>
                      <a:lnTo>
                        <a:pt x="637" y="1096"/>
                      </a:lnTo>
                      <a:lnTo>
                        <a:pt x="637" y="1097"/>
                      </a:lnTo>
                      <a:lnTo>
                        <a:pt x="637" y="1097"/>
                      </a:lnTo>
                      <a:lnTo>
                        <a:pt x="637" y="1097"/>
                      </a:lnTo>
                      <a:lnTo>
                        <a:pt x="637" y="1097"/>
                      </a:lnTo>
                      <a:lnTo>
                        <a:pt x="637" y="1098"/>
                      </a:lnTo>
                      <a:lnTo>
                        <a:pt x="637" y="1099"/>
                      </a:lnTo>
                      <a:lnTo>
                        <a:pt x="637" y="1099"/>
                      </a:lnTo>
                      <a:lnTo>
                        <a:pt x="637" y="1099"/>
                      </a:lnTo>
                      <a:lnTo>
                        <a:pt x="637" y="1100"/>
                      </a:lnTo>
                      <a:lnTo>
                        <a:pt x="637" y="1101"/>
                      </a:lnTo>
                      <a:lnTo>
                        <a:pt x="637" y="1102"/>
                      </a:lnTo>
                      <a:lnTo>
                        <a:pt x="637" y="1102"/>
                      </a:lnTo>
                      <a:lnTo>
                        <a:pt x="637" y="1102"/>
                      </a:lnTo>
                      <a:lnTo>
                        <a:pt x="637" y="1103"/>
                      </a:lnTo>
                      <a:lnTo>
                        <a:pt x="636" y="1104"/>
                      </a:lnTo>
                      <a:lnTo>
                        <a:pt x="636" y="1104"/>
                      </a:lnTo>
                      <a:lnTo>
                        <a:pt x="637" y="1105"/>
                      </a:lnTo>
                      <a:lnTo>
                        <a:pt x="637" y="1106"/>
                      </a:lnTo>
                      <a:lnTo>
                        <a:pt x="636" y="1106"/>
                      </a:lnTo>
                      <a:lnTo>
                        <a:pt x="635" y="1106"/>
                      </a:lnTo>
                      <a:lnTo>
                        <a:pt x="634" y="1106"/>
                      </a:lnTo>
                      <a:lnTo>
                        <a:pt x="634" y="1107"/>
                      </a:lnTo>
                      <a:lnTo>
                        <a:pt x="634" y="1108"/>
                      </a:lnTo>
                      <a:lnTo>
                        <a:pt x="634" y="1108"/>
                      </a:lnTo>
                      <a:lnTo>
                        <a:pt x="635" y="1108"/>
                      </a:lnTo>
                      <a:lnTo>
                        <a:pt x="635" y="1109"/>
                      </a:lnTo>
                      <a:lnTo>
                        <a:pt x="636" y="1109"/>
                      </a:lnTo>
                      <a:lnTo>
                        <a:pt x="636" y="1110"/>
                      </a:lnTo>
                      <a:lnTo>
                        <a:pt x="636" y="1110"/>
                      </a:lnTo>
                      <a:lnTo>
                        <a:pt x="636" y="1111"/>
                      </a:lnTo>
                      <a:lnTo>
                        <a:pt x="636" y="1112"/>
                      </a:lnTo>
                      <a:lnTo>
                        <a:pt x="636" y="1112"/>
                      </a:lnTo>
                      <a:lnTo>
                        <a:pt x="636" y="1113"/>
                      </a:lnTo>
                      <a:lnTo>
                        <a:pt x="636" y="1114"/>
                      </a:lnTo>
                      <a:lnTo>
                        <a:pt x="636" y="1114"/>
                      </a:lnTo>
                      <a:lnTo>
                        <a:pt x="635" y="1114"/>
                      </a:lnTo>
                      <a:lnTo>
                        <a:pt x="635" y="1115"/>
                      </a:lnTo>
                      <a:lnTo>
                        <a:pt x="635" y="1116"/>
                      </a:lnTo>
                      <a:lnTo>
                        <a:pt x="636" y="1116"/>
                      </a:lnTo>
                      <a:lnTo>
                        <a:pt x="636" y="1116"/>
                      </a:lnTo>
                      <a:lnTo>
                        <a:pt x="637" y="1116"/>
                      </a:lnTo>
                      <a:lnTo>
                        <a:pt x="637" y="1117"/>
                      </a:lnTo>
                      <a:lnTo>
                        <a:pt x="636" y="1118"/>
                      </a:lnTo>
                      <a:lnTo>
                        <a:pt x="635" y="1118"/>
                      </a:lnTo>
                      <a:lnTo>
                        <a:pt x="635" y="1118"/>
                      </a:lnTo>
                      <a:lnTo>
                        <a:pt x="634" y="1118"/>
                      </a:lnTo>
                      <a:lnTo>
                        <a:pt x="635" y="1119"/>
                      </a:lnTo>
                      <a:lnTo>
                        <a:pt x="634" y="1119"/>
                      </a:lnTo>
                      <a:lnTo>
                        <a:pt x="634" y="1119"/>
                      </a:lnTo>
                      <a:lnTo>
                        <a:pt x="633" y="1119"/>
                      </a:lnTo>
                      <a:lnTo>
                        <a:pt x="633" y="1120"/>
                      </a:lnTo>
                      <a:lnTo>
                        <a:pt x="633" y="1120"/>
                      </a:lnTo>
                      <a:lnTo>
                        <a:pt x="633" y="1121"/>
                      </a:lnTo>
                      <a:lnTo>
                        <a:pt x="634" y="1122"/>
                      </a:lnTo>
                      <a:lnTo>
                        <a:pt x="634" y="1122"/>
                      </a:lnTo>
                      <a:lnTo>
                        <a:pt x="634" y="1123"/>
                      </a:lnTo>
                      <a:lnTo>
                        <a:pt x="634" y="1123"/>
                      </a:lnTo>
                      <a:lnTo>
                        <a:pt x="633" y="1124"/>
                      </a:lnTo>
                      <a:lnTo>
                        <a:pt x="633" y="1125"/>
                      </a:lnTo>
                      <a:lnTo>
                        <a:pt x="633" y="1125"/>
                      </a:lnTo>
                      <a:lnTo>
                        <a:pt x="634" y="1125"/>
                      </a:lnTo>
                      <a:lnTo>
                        <a:pt x="634" y="1124"/>
                      </a:lnTo>
                      <a:lnTo>
                        <a:pt x="634" y="1124"/>
                      </a:lnTo>
                      <a:lnTo>
                        <a:pt x="635" y="1124"/>
                      </a:lnTo>
                      <a:lnTo>
                        <a:pt x="635" y="1125"/>
                      </a:lnTo>
                      <a:lnTo>
                        <a:pt x="634" y="1125"/>
                      </a:lnTo>
                      <a:lnTo>
                        <a:pt x="634" y="1125"/>
                      </a:lnTo>
                      <a:lnTo>
                        <a:pt x="634" y="1126"/>
                      </a:lnTo>
                      <a:lnTo>
                        <a:pt x="634" y="1126"/>
                      </a:lnTo>
                      <a:lnTo>
                        <a:pt x="634" y="1127"/>
                      </a:lnTo>
                      <a:lnTo>
                        <a:pt x="633" y="1127"/>
                      </a:lnTo>
                      <a:lnTo>
                        <a:pt x="633" y="1127"/>
                      </a:lnTo>
                      <a:lnTo>
                        <a:pt x="632" y="1127"/>
                      </a:lnTo>
                      <a:lnTo>
                        <a:pt x="632" y="1128"/>
                      </a:lnTo>
                      <a:lnTo>
                        <a:pt x="633" y="1128"/>
                      </a:lnTo>
                      <a:lnTo>
                        <a:pt x="633" y="1129"/>
                      </a:lnTo>
                      <a:lnTo>
                        <a:pt x="634" y="1129"/>
                      </a:lnTo>
                      <a:lnTo>
                        <a:pt x="634" y="1129"/>
                      </a:lnTo>
                      <a:lnTo>
                        <a:pt x="634" y="1129"/>
                      </a:lnTo>
                      <a:lnTo>
                        <a:pt x="634" y="1129"/>
                      </a:lnTo>
                      <a:lnTo>
                        <a:pt x="635" y="1129"/>
                      </a:lnTo>
                      <a:lnTo>
                        <a:pt x="634" y="1129"/>
                      </a:lnTo>
                      <a:lnTo>
                        <a:pt x="634" y="1130"/>
                      </a:lnTo>
                      <a:lnTo>
                        <a:pt x="634" y="1130"/>
                      </a:lnTo>
                      <a:lnTo>
                        <a:pt x="634" y="1131"/>
                      </a:lnTo>
                      <a:lnTo>
                        <a:pt x="633" y="1131"/>
                      </a:lnTo>
                      <a:lnTo>
                        <a:pt x="633" y="1131"/>
                      </a:lnTo>
                      <a:lnTo>
                        <a:pt x="634" y="1131"/>
                      </a:lnTo>
                      <a:lnTo>
                        <a:pt x="634" y="1132"/>
                      </a:lnTo>
                      <a:lnTo>
                        <a:pt x="634" y="1133"/>
                      </a:lnTo>
                      <a:lnTo>
                        <a:pt x="634" y="1133"/>
                      </a:lnTo>
                      <a:lnTo>
                        <a:pt x="634" y="1134"/>
                      </a:lnTo>
                      <a:lnTo>
                        <a:pt x="634" y="1135"/>
                      </a:lnTo>
                      <a:lnTo>
                        <a:pt x="633" y="1135"/>
                      </a:lnTo>
                      <a:lnTo>
                        <a:pt x="632" y="1135"/>
                      </a:lnTo>
                      <a:lnTo>
                        <a:pt x="632" y="1135"/>
                      </a:lnTo>
                      <a:lnTo>
                        <a:pt x="631" y="1135"/>
                      </a:lnTo>
                      <a:lnTo>
                        <a:pt x="630" y="1135"/>
                      </a:lnTo>
                      <a:lnTo>
                        <a:pt x="630" y="1135"/>
                      </a:lnTo>
                      <a:lnTo>
                        <a:pt x="630" y="1136"/>
                      </a:lnTo>
                      <a:lnTo>
                        <a:pt x="629" y="1136"/>
                      </a:lnTo>
                      <a:lnTo>
                        <a:pt x="629" y="1135"/>
                      </a:lnTo>
                      <a:lnTo>
                        <a:pt x="628" y="1135"/>
                      </a:lnTo>
                      <a:lnTo>
                        <a:pt x="628" y="1135"/>
                      </a:lnTo>
                      <a:lnTo>
                        <a:pt x="628" y="1135"/>
                      </a:lnTo>
                      <a:lnTo>
                        <a:pt x="627" y="1135"/>
                      </a:lnTo>
                      <a:lnTo>
                        <a:pt x="627" y="1134"/>
                      </a:lnTo>
                      <a:lnTo>
                        <a:pt x="627" y="1133"/>
                      </a:lnTo>
                      <a:lnTo>
                        <a:pt x="626" y="1133"/>
                      </a:lnTo>
                      <a:lnTo>
                        <a:pt x="626" y="1134"/>
                      </a:lnTo>
                      <a:lnTo>
                        <a:pt x="626" y="1134"/>
                      </a:lnTo>
                      <a:lnTo>
                        <a:pt x="625" y="1135"/>
                      </a:lnTo>
                      <a:lnTo>
                        <a:pt x="625" y="1135"/>
                      </a:lnTo>
                      <a:lnTo>
                        <a:pt x="626" y="1135"/>
                      </a:lnTo>
                      <a:lnTo>
                        <a:pt x="626" y="1136"/>
                      </a:lnTo>
                      <a:lnTo>
                        <a:pt x="625" y="1136"/>
                      </a:lnTo>
                      <a:lnTo>
                        <a:pt x="626" y="1137"/>
                      </a:lnTo>
                      <a:lnTo>
                        <a:pt x="625" y="1137"/>
                      </a:lnTo>
                      <a:lnTo>
                        <a:pt x="625" y="1137"/>
                      </a:lnTo>
                      <a:lnTo>
                        <a:pt x="625" y="1138"/>
                      </a:lnTo>
                      <a:lnTo>
                        <a:pt x="624" y="1139"/>
                      </a:lnTo>
                      <a:lnTo>
                        <a:pt x="624" y="1139"/>
                      </a:lnTo>
                      <a:lnTo>
                        <a:pt x="624" y="1140"/>
                      </a:lnTo>
                      <a:lnTo>
                        <a:pt x="624" y="1141"/>
                      </a:lnTo>
                      <a:lnTo>
                        <a:pt x="624" y="1141"/>
                      </a:lnTo>
                      <a:lnTo>
                        <a:pt x="624" y="1142"/>
                      </a:lnTo>
                      <a:lnTo>
                        <a:pt x="624" y="1142"/>
                      </a:lnTo>
                      <a:lnTo>
                        <a:pt x="624" y="1143"/>
                      </a:lnTo>
                      <a:lnTo>
                        <a:pt x="623" y="1143"/>
                      </a:lnTo>
                      <a:lnTo>
                        <a:pt x="622" y="1144"/>
                      </a:lnTo>
                      <a:lnTo>
                        <a:pt x="622" y="1143"/>
                      </a:lnTo>
                      <a:lnTo>
                        <a:pt x="622" y="1143"/>
                      </a:lnTo>
                      <a:lnTo>
                        <a:pt x="622" y="1142"/>
                      </a:lnTo>
                      <a:lnTo>
                        <a:pt x="621" y="1142"/>
                      </a:lnTo>
                      <a:lnTo>
                        <a:pt x="621" y="1143"/>
                      </a:lnTo>
                      <a:lnTo>
                        <a:pt x="620" y="1144"/>
                      </a:lnTo>
                      <a:lnTo>
                        <a:pt x="620" y="1143"/>
                      </a:lnTo>
                      <a:lnTo>
                        <a:pt x="620" y="1144"/>
                      </a:lnTo>
                      <a:lnTo>
                        <a:pt x="619" y="1144"/>
                      </a:lnTo>
                      <a:lnTo>
                        <a:pt x="619" y="1144"/>
                      </a:lnTo>
                      <a:lnTo>
                        <a:pt x="620" y="1146"/>
                      </a:lnTo>
                      <a:lnTo>
                        <a:pt x="618" y="1147"/>
                      </a:lnTo>
                      <a:lnTo>
                        <a:pt x="603" y="1150"/>
                      </a:lnTo>
                      <a:lnTo>
                        <a:pt x="594" y="1153"/>
                      </a:lnTo>
                      <a:lnTo>
                        <a:pt x="588" y="1154"/>
                      </a:lnTo>
                      <a:lnTo>
                        <a:pt x="552" y="1165"/>
                      </a:lnTo>
                      <a:lnTo>
                        <a:pt x="548" y="1173"/>
                      </a:lnTo>
                      <a:lnTo>
                        <a:pt x="545" y="1171"/>
                      </a:lnTo>
                      <a:lnTo>
                        <a:pt x="537" y="1169"/>
                      </a:lnTo>
                      <a:lnTo>
                        <a:pt x="524" y="1177"/>
                      </a:lnTo>
                      <a:lnTo>
                        <a:pt x="520" y="1192"/>
                      </a:lnTo>
                      <a:lnTo>
                        <a:pt x="519" y="1200"/>
                      </a:lnTo>
                      <a:lnTo>
                        <a:pt x="518" y="1206"/>
                      </a:lnTo>
                      <a:lnTo>
                        <a:pt x="514" y="1221"/>
                      </a:lnTo>
                      <a:lnTo>
                        <a:pt x="514" y="1222"/>
                      </a:lnTo>
                      <a:lnTo>
                        <a:pt x="514" y="1225"/>
                      </a:lnTo>
                      <a:lnTo>
                        <a:pt x="514" y="1226"/>
                      </a:lnTo>
                      <a:lnTo>
                        <a:pt x="514" y="1229"/>
                      </a:lnTo>
                      <a:lnTo>
                        <a:pt x="514" y="1230"/>
                      </a:lnTo>
                      <a:lnTo>
                        <a:pt x="510" y="1232"/>
                      </a:lnTo>
                      <a:lnTo>
                        <a:pt x="493" y="1240"/>
                      </a:lnTo>
                      <a:lnTo>
                        <a:pt x="478" y="1245"/>
                      </a:lnTo>
                      <a:lnTo>
                        <a:pt x="468" y="1259"/>
                      </a:lnTo>
                      <a:lnTo>
                        <a:pt x="455" y="1259"/>
                      </a:lnTo>
                      <a:lnTo>
                        <a:pt x="457" y="1274"/>
                      </a:lnTo>
                      <a:lnTo>
                        <a:pt x="459" y="1289"/>
                      </a:lnTo>
                      <a:lnTo>
                        <a:pt x="431" y="1308"/>
                      </a:lnTo>
                      <a:lnTo>
                        <a:pt x="419" y="1333"/>
                      </a:lnTo>
                      <a:lnTo>
                        <a:pt x="402" y="1337"/>
                      </a:lnTo>
                      <a:lnTo>
                        <a:pt x="394" y="1340"/>
                      </a:lnTo>
                      <a:lnTo>
                        <a:pt x="388" y="1341"/>
                      </a:lnTo>
                      <a:lnTo>
                        <a:pt x="375" y="1344"/>
                      </a:lnTo>
                      <a:lnTo>
                        <a:pt x="356" y="1349"/>
                      </a:lnTo>
                      <a:lnTo>
                        <a:pt x="326" y="1358"/>
                      </a:lnTo>
                      <a:lnTo>
                        <a:pt x="320" y="1360"/>
                      </a:lnTo>
                      <a:lnTo>
                        <a:pt x="314" y="1359"/>
                      </a:lnTo>
                      <a:lnTo>
                        <a:pt x="279" y="1355"/>
                      </a:lnTo>
                      <a:lnTo>
                        <a:pt x="276" y="1355"/>
                      </a:lnTo>
                      <a:lnTo>
                        <a:pt x="267" y="1355"/>
                      </a:lnTo>
                      <a:lnTo>
                        <a:pt x="259" y="1347"/>
                      </a:lnTo>
                      <a:lnTo>
                        <a:pt x="257" y="1346"/>
                      </a:lnTo>
                      <a:lnTo>
                        <a:pt x="246" y="1343"/>
                      </a:lnTo>
                      <a:lnTo>
                        <a:pt x="247" y="1334"/>
                      </a:lnTo>
                      <a:lnTo>
                        <a:pt x="243" y="1312"/>
                      </a:lnTo>
                      <a:lnTo>
                        <a:pt x="244" y="1308"/>
                      </a:lnTo>
                      <a:lnTo>
                        <a:pt x="244" y="1305"/>
                      </a:lnTo>
                      <a:lnTo>
                        <a:pt x="248" y="1305"/>
                      </a:lnTo>
                      <a:lnTo>
                        <a:pt x="248" y="1302"/>
                      </a:lnTo>
                      <a:lnTo>
                        <a:pt x="248" y="1300"/>
                      </a:lnTo>
                      <a:lnTo>
                        <a:pt x="246" y="1298"/>
                      </a:lnTo>
                      <a:lnTo>
                        <a:pt x="251" y="1270"/>
                      </a:lnTo>
                      <a:lnTo>
                        <a:pt x="244" y="1258"/>
                      </a:lnTo>
                      <a:lnTo>
                        <a:pt x="242" y="1257"/>
                      </a:lnTo>
                      <a:lnTo>
                        <a:pt x="241" y="1254"/>
                      </a:lnTo>
                      <a:lnTo>
                        <a:pt x="241" y="1250"/>
                      </a:lnTo>
                      <a:lnTo>
                        <a:pt x="239" y="1234"/>
                      </a:lnTo>
                      <a:lnTo>
                        <a:pt x="233" y="1226"/>
                      </a:lnTo>
                      <a:lnTo>
                        <a:pt x="225" y="1210"/>
                      </a:lnTo>
                      <a:lnTo>
                        <a:pt x="228" y="1205"/>
                      </a:lnTo>
                      <a:lnTo>
                        <a:pt x="228" y="1201"/>
                      </a:lnTo>
                      <a:lnTo>
                        <a:pt x="231" y="1195"/>
                      </a:lnTo>
                      <a:lnTo>
                        <a:pt x="231" y="1189"/>
                      </a:lnTo>
                      <a:lnTo>
                        <a:pt x="231" y="1186"/>
                      </a:lnTo>
                      <a:lnTo>
                        <a:pt x="228" y="1177"/>
                      </a:lnTo>
                      <a:lnTo>
                        <a:pt x="225" y="1171"/>
                      </a:lnTo>
                      <a:lnTo>
                        <a:pt x="223" y="1169"/>
                      </a:lnTo>
                      <a:lnTo>
                        <a:pt x="222" y="1163"/>
                      </a:lnTo>
                      <a:lnTo>
                        <a:pt x="223" y="1162"/>
                      </a:lnTo>
                      <a:lnTo>
                        <a:pt x="226" y="1153"/>
                      </a:lnTo>
                      <a:lnTo>
                        <a:pt x="226" y="1151"/>
                      </a:lnTo>
                      <a:lnTo>
                        <a:pt x="222" y="1146"/>
                      </a:lnTo>
                      <a:lnTo>
                        <a:pt x="220" y="1144"/>
                      </a:lnTo>
                      <a:lnTo>
                        <a:pt x="219" y="1142"/>
                      </a:lnTo>
                      <a:lnTo>
                        <a:pt x="219" y="1137"/>
                      </a:lnTo>
                      <a:lnTo>
                        <a:pt x="214" y="1135"/>
                      </a:lnTo>
                      <a:lnTo>
                        <a:pt x="210" y="1133"/>
                      </a:lnTo>
                      <a:lnTo>
                        <a:pt x="208" y="1133"/>
                      </a:lnTo>
                      <a:lnTo>
                        <a:pt x="208" y="1131"/>
                      </a:lnTo>
                      <a:lnTo>
                        <a:pt x="206" y="1129"/>
                      </a:lnTo>
                      <a:lnTo>
                        <a:pt x="202" y="1126"/>
                      </a:lnTo>
                      <a:lnTo>
                        <a:pt x="199" y="1124"/>
                      </a:lnTo>
                      <a:lnTo>
                        <a:pt x="192" y="1118"/>
                      </a:lnTo>
                      <a:lnTo>
                        <a:pt x="192" y="1113"/>
                      </a:lnTo>
                      <a:lnTo>
                        <a:pt x="193" y="1084"/>
                      </a:lnTo>
                      <a:lnTo>
                        <a:pt x="193" y="1064"/>
                      </a:lnTo>
                      <a:lnTo>
                        <a:pt x="183" y="1049"/>
                      </a:lnTo>
                      <a:lnTo>
                        <a:pt x="178" y="1038"/>
                      </a:lnTo>
                      <a:lnTo>
                        <a:pt x="176" y="1036"/>
                      </a:lnTo>
                      <a:lnTo>
                        <a:pt x="174" y="1034"/>
                      </a:lnTo>
                      <a:lnTo>
                        <a:pt x="173" y="1033"/>
                      </a:lnTo>
                      <a:lnTo>
                        <a:pt x="161" y="1019"/>
                      </a:lnTo>
                      <a:lnTo>
                        <a:pt x="161" y="1004"/>
                      </a:lnTo>
                      <a:lnTo>
                        <a:pt x="160" y="959"/>
                      </a:lnTo>
                      <a:lnTo>
                        <a:pt x="159" y="942"/>
                      </a:lnTo>
                      <a:lnTo>
                        <a:pt x="159" y="939"/>
                      </a:lnTo>
                      <a:lnTo>
                        <a:pt x="146" y="916"/>
                      </a:lnTo>
                      <a:lnTo>
                        <a:pt x="146" y="915"/>
                      </a:lnTo>
                      <a:lnTo>
                        <a:pt x="137" y="899"/>
                      </a:lnTo>
                      <a:lnTo>
                        <a:pt x="129" y="886"/>
                      </a:lnTo>
                      <a:lnTo>
                        <a:pt x="121" y="876"/>
                      </a:lnTo>
                      <a:lnTo>
                        <a:pt x="115" y="868"/>
                      </a:lnTo>
                      <a:lnTo>
                        <a:pt x="111" y="861"/>
                      </a:lnTo>
                      <a:lnTo>
                        <a:pt x="97" y="845"/>
                      </a:lnTo>
                      <a:lnTo>
                        <a:pt x="96" y="845"/>
                      </a:lnTo>
                      <a:lnTo>
                        <a:pt x="94" y="846"/>
                      </a:lnTo>
                      <a:lnTo>
                        <a:pt x="92" y="847"/>
                      </a:lnTo>
                      <a:lnTo>
                        <a:pt x="92" y="847"/>
                      </a:lnTo>
                      <a:lnTo>
                        <a:pt x="90" y="847"/>
                      </a:lnTo>
                      <a:lnTo>
                        <a:pt x="87" y="847"/>
                      </a:lnTo>
                      <a:lnTo>
                        <a:pt x="85" y="847"/>
                      </a:lnTo>
                      <a:lnTo>
                        <a:pt x="85" y="847"/>
                      </a:lnTo>
                      <a:lnTo>
                        <a:pt x="81" y="846"/>
                      </a:lnTo>
                      <a:lnTo>
                        <a:pt x="80" y="847"/>
                      </a:lnTo>
                      <a:lnTo>
                        <a:pt x="75" y="847"/>
                      </a:lnTo>
                      <a:lnTo>
                        <a:pt x="68" y="839"/>
                      </a:lnTo>
                      <a:lnTo>
                        <a:pt x="65" y="836"/>
                      </a:lnTo>
                      <a:lnTo>
                        <a:pt x="58" y="834"/>
                      </a:lnTo>
                      <a:lnTo>
                        <a:pt x="62" y="826"/>
                      </a:lnTo>
                      <a:lnTo>
                        <a:pt x="63" y="822"/>
                      </a:lnTo>
                      <a:lnTo>
                        <a:pt x="63" y="819"/>
                      </a:lnTo>
                      <a:lnTo>
                        <a:pt x="63" y="816"/>
                      </a:lnTo>
                      <a:lnTo>
                        <a:pt x="64" y="814"/>
                      </a:lnTo>
                      <a:lnTo>
                        <a:pt x="64" y="809"/>
                      </a:lnTo>
                      <a:lnTo>
                        <a:pt x="64" y="801"/>
                      </a:lnTo>
                      <a:lnTo>
                        <a:pt x="61" y="795"/>
                      </a:lnTo>
                      <a:lnTo>
                        <a:pt x="60" y="792"/>
                      </a:lnTo>
                      <a:lnTo>
                        <a:pt x="61" y="791"/>
                      </a:lnTo>
                      <a:lnTo>
                        <a:pt x="62" y="790"/>
                      </a:lnTo>
                      <a:lnTo>
                        <a:pt x="63" y="789"/>
                      </a:lnTo>
                      <a:lnTo>
                        <a:pt x="66" y="788"/>
                      </a:lnTo>
                      <a:lnTo>
                        <a:pt x="67" y="786"/>
                      </a:lnTo>
                      <a:lnTo>
                        <a:pt x="67" y="781"/>
                      </a:lnTo>
                      <a:lnTo>
                        <a:pt x="71" y="778"/>
                      </a:lnTo>
                      <a:lnTo>
                        <a:pt x="73" y="775"/>
                      </a:lnTo>
                      <a:lnTo>
                        <a:pt x="73" y="773"/>
                      </a:lnTo>
                      <a:lnTo>
                        <a:pt x="78" y="773"/>
                      </a:lnTo>
                      <a:lnTo>
                        <a:pt x="82" y="771"/>
                      </a:lnTo>
                      <a:lnTo>
                        <a:pt x="86" y="767"/>
                      </a:lnTo>
                      <a:lnTo>
                        <a:pt x="89" y="767"/>
                      </a:lnTo>
                      <a:lnTo>
                        <a:pt x="89" y="766"/>
                      </a:lnTo>
                      <a:lnTo>
                        <a:pt x="86" y="761"/>
                      </a:lnTo>
                      <a:lnTo>
                        <a:pt x="77" y="756"/>
                      </a:lnTo>
                      <a:lnTo>
                        <a:pt x="68" y="752"/>
                      </a:lnTo>
                      <a:lnTo>
                        <a:pt x="55" y="750"/>
                      </a:lnTo>
                      <a:lnTo>
                        <a:pt x="52" y="745"/>
                      </a:lnTo>
                      <a:lnTo>
                        <a:pt x="49" y="742"/>
                      </a:lnTo>
                      <a:lnTo>
                        <a:pt x="45" y="741"/>
                      </a:lnTo>
                      <a:lnTo>
                        <a:pt x="30" y="735"/>
                      </a:lnTo>
                      <a:lnTo>
                        <a:pt x="12" y="719"/>
                      </a:lnTo>
                      <a:lnTo>
                        <a:pt x="10" y="696"/>
                      </a:lnTo>
                      <a:lnTo>
                        <a:pt x="18" y="695"/>
                      </a:lnTo>
                      <a:lnTo>
                        <a:pt x="30" y="687"/>
                      </a:lnTo>
                      <a:lnTo>
                        <a:pt x="30" y="683"/>
                      </a:lnTo>
                      <a:lnTo>
                        <a:pt x="29" y="678"/>
                      </a:lnTo>
                      <a:lnTo>
                        <a:pt x="22" y="676"/>
                      </a:lnTo>
                      <a:lnTo>
                        <a:pt x="22" y="672"/>
                      </a:lnTo>
                      <a:lnTo>
                        <a:pt x="16" y="663"/>
                      </a:lnTo>
                      <a:lnTo>
                        <a:pt x="16" y="650"/>
                      </a:lnTo>
                      <a:lnTo>
                        <a:pt x="21" y="644"/>
                      </a:lnTo>
                      <a:lnTo>
                        <a:pt x="18" y="640"/>
                      </a:lnTo>
                      <a:lnTo>
                        <a:pt x="18" y="636"/>
                      </a:lnTo>
                      <a:lnTo>
                        <a:pt x="13" y="634"/>
                      </a:lnTo>
                      <a:lnTo>
                        <a:pt x="8" y="632"/>
                      </a:lnTo>
                      <a:lnTo>
                        <a:pt x="3" y="634"/>
                      </a:lnTo>
                      <a:lnTo>
                        <a:pt x="0" y="633"/>
                      </a:lnTo>
                      <a:lnTo>
                        <a:pt x="1" y="628"/>
                      </a:lnTo>
                      <a:lnTo>
                        <a:pt x="1" y="625"/>
                      </a:lnTo>
                      <a:lnTo>
                        <a:pt x="2" y="619"/>
                      </a:lnTo>
                      <a:lnTo>
                        <a:pt x="15" y="617"/>
                      </a:lnTo>
                      <a:lnTo>
                        <a:pt x="20" y="616"/>
                      </a:lnTo>
                      <a:lnTo>
                        <a:pt x="33" y="610"/>
                      </a:lnTo>
                      <a:lnTo>
                        <a:pt x="47" y="610"/>
                      </a:lnTo>
                      <a:lnTo>
                        <a:pt x="52" y="610"/>
                      </a:lnTo>
                      <a:lnTo>
                        <a:pt x="55" y="602"/>
                      </a:lnTo>
                      <a:lnTo>
                        <a:pt x="56" y="597"/>
                      </a:lnTo>
                      <a:lnTo>
                        <a:pt x="60" y="583"/>
                      </a:lnTo>
                      <a:lnTo>
                        <a:pt x="62" y="576"/>
                      </a:lnTo>
                      <a:lnTo>
                        <a:pt x="58" y="571"/>
                      </a:lnTo>
                      <a:lnTo>
                        <a:pt x="56" y="567"/>
                      </a:lnTo>
                      <a:lnTo>
                        <a:pt x="58" y="560"/>
                      </a:lnTo>
                      <a:lnTo>
                        <a:pt x="60" y="555"/>
                      </a:lnTo>
                      <a:lnTo>
                        <a:pt x="43" y="552"/>
                      </a:lnTo>
                      <a:lnTo>
                        <a:pt x="41" y="551"/>
                      </a:lnTo>
                      <a:lnTo>
                        <a:pt x="35" y="541"/>
                      </a:lnTo>
                      <a:lnTo>
                        <a:pt x="28" y="537"/>
                      </a:lnTo>
                      <a:lnTo>
                        <a:pt x="24" y="531"/>
                      </a:lnTo>
                      <a:lnTo>
                        <a:pt x="18" y="531"/>
                      </a:lnTo>
                      <a:lnTo>
                        <a:pt x="19" y="523"/>
                      </a:lnTo>
                      <a:lnTo>
                        <a:pt x="25" y="520"/>
                      </a:lnTo>
                      <a:lnTo>
                        <a:pt x="34" y="518"/>
                      </a:lnTo>
                      <a:lnTo>
                        <a:pt x="39" y="508"/>
                      </a:lnTo>
                      <a:lnTo>
                        <a:pt x="40" y="501"/>
                      </a:lnTo>
                      <a:lnTo>
                        <a:pt x="46" y="492"/>
                      </a:lnTo>
                      <a:lnTo>
                        <a:pt x="50" y="489"/>
                      </a:lnTo>
                      <a:lnTo>
                        <a:pt x="63" y="470"/>
                      </a:lnTo>
                      <a:lnTo>
                        <a:pt x="74" y="453"/>
                      </a:lnTo>
                      <a:lnTo>
                        <a:pt x="78" y="447"/>
                      </a:lnTo>
                      <a:lnTo>
                        <a:pt x="81" y="446"/>
                      </a:lnTo>
                      <a:lnTo>
                        <a:pt x="81" y="446"/>
                      </a:lnTo>
                      <a:lnTo>
                        <a:pt x="82" y="446"/>
                      </a:lnTo>
                      <a:lnTo>
                        <a:pt x="83" y="446"/>
                      </a:lnTo>
                      <a:lnTo>
                        <a:pt x="83" y="446"/>
                      </a:lnTo>
                      <a:lnTo>
                        <a:pt x="84" y="446"/>
                      </a:lnTo>
                      <a:lnTo>
                        <a:pt x="84" y="446"/>
                      </a:lnTo>
                      <a:lnTo>
                        <a:pt x="85" y="446"/>
                      </a:lnTo>
                      <a:lnTo>
                        <a:pt x="85" y="446"/>
                      </a:lnTo>
                      <a:lnTo>
                        <a:pt x="85" y="447"/>
                      </a:lnTo>
                      <a:lnTo>
                        <a:pt x="85" y="447"/>
                      </a:lnTo>
                      <a:lnTo>
                        <a:pt x="85" y="448"/>
                      </a:lnTo>
                      <a:lnTo>
                        <a:pt x="85" y="448"/>
                      </a:lnTo>
                      <a:lnTo>
                        <a:pt x="85" y="449"/>
                      </a:lnTo>
                      <a:lnTo>
                        <a:pt x="85" y="450"/>
                      </a:lnTo>
                      <a:lnTo>
                        <a:pt x="85" y="450"/>
                      </a:lnTo>
                      <a:lnTo>
                        <a:pt x="85" y="451"/>
                      </a:lnTo>
                      <a:lnTo>
                        <a:pt x="86" y="451"/>
                      </a:lnTo>
                      <a:lnTo>
                        <a:pt x="86" y="452"/>
                      </a:lnTo>
                      <a:lnTo>
                        <a:pt x="87" y="452"/>
                      </a:lnTo>
                      <a:lnTo>
                        <a:pt x="87" y="453"/>
                      </a:lnTo>
                      <a:lnTo>
                        <a:pt x="87" y="453"/>
                      </a:lnTo>
                      <a:lnTo>
                        <a:pt x="87" y="453"/>
                      </a:lnTo>
                      <a:lnTo>
                        <a:pt x="87" y="454"/>
                      </a:lnTo>
                      <a:lnTo>
                        <a:pt x="87" y="455"/>
                      </a:lnTo>
                      <a:lnTo>
                        <a:pt x="87" y="455"/>
                      </a:lnTo>
                      <a:lnTo>
                        <a:pt x="88" y="455"/>
                      </a:lnTo>
                      <a:lnTo>
                        <a:pt x="89" y="455"/>
                      </a:lnTo>
                      <a:lnTo>
                        <a:pt x="89" y="456"/>
                      </a:lnTo>
                      <a:lnTo>
                        <a:pt x="89" y="457"/>
                      </a:lnTo>
                      <a:lnTo>
                        <a:pt x="90" y="457"/>
                      </a:lnTo>
                      <a:lnTo>
                        <a:pt x="90" y="458"/>
                      </a:lnTo>
                      <a:lnTo>
                        <a:pt x="91" y="459"/>
                      </a:lnTo>
                      <a:lnTo>
                        <a:pt x="92" y="459"/>
                      </a:lnTo>
                      <a:lnTo>
                        <a:pt x="92" y="459"/>
                      </a:lnTo>
                      <a:lnTo>
                        <a:pt x="92" y="460"/>
                      </a:lnTo>
                      <a:lnTo>
                        <a:pt x="93" y="461"/>
                      </a:lnTo>
                      <a:lnTo>
                        <a:pt x="94" y="461"/>
                      </a:lnTo>
                      <a:lnTo>
                        <a:pt x="94" y="462"/>
                      </a:lnTo>
                      <a:lnTo>
                        <a:pt x="95" y="463"/>
                      </a:lnTo>
                      <a:lnTo>
                        <a:pt x="96" y="463"/>
                      </a:lnTo>
                      <a:lnTo>
                        <a:pt x="96" y="463"/>
                      </a:lnTo>
                      <a:lnTo>
                        <a:pt x="97" y="463"/>
                      </a:lnTo>
                      <a:lnTo>
                        <a:pt x="97" y="464"/>
                      </a:lnTo>
                      <a:lnTo>
                        <a:pt x="98" y="464"/>
                      </a:lnTo>
                      <a:lnTo>
                        <a:pt x="98" y="465"/>
                      </a:lnTo>
                      <a:lnTo>
                        <a:pt x="98" y="465"/>
                      </a:lnTo>
                      <a:lnTo>
                        <a:pt x="99" y="465"/>
                      </a:lnTo>
                      <a:lnTo>
                        <a:pt x="100" y="466"/>
                      </a:lnTo>
                      <a:lnTo>
                        <a:pt x="100" y="467"/>
                      </a:lnTo>
                      <a:lnTo>
                        <a:pt x="101" y="467"/>
                      </a:lnTo>
                      <a:lnTo>
                        <a:pt x="102" y="467"/>
                      </a:lnTo>
                      <a:lnTo>
                        <a:pt x="102" y="467"/>
                      </a:lnTo>
                      <a:lnTo>
                        <a:pt x="102" y="467"/>
                      </a:lnTo>
                      <a:lnTo>
                        <a:pt x="102" y="467"/>
                      </a:lnTo>
                      <a:lnTo>
                        <a:pt x="103" y="467"/>
                      </a:lnTo>
                      <a:lnTo>
                        <a:pt x="104" y="467"/>
                      </a:lnTo>
                      <a:lnTo>
                        <a:pt x="104" y="466"/>
                      </a:lnTo>
                      <a:lnTo>
                        <a:pt x="104" y="466"/>
                      </a:lnTo>
                      <a:lnTo>
                        <a:pt x="105" y="466"/>
                      </a:lnTo>
                      <a:lnTo>
                        <a:pt x="106" y="466"/>
                      </a:lnTo>
                      <a:lnTo>
                        <a:pt x="106" y="466"/>
                      </a:lnTo>
                      <a:lnTo>
                        <a:pt x="107" y="467"/>
                      </a:lnTo>
                      <a:lnTo>
                        <a:pt x="108" y="467"/>
                      </a:lnTo>
                      <a:lnTo>
                        <a:pt x="109" y="467"/>
                      </a:lnTo>
                      <a:lnTo>
                        <a:pt x="109" y="467"/>
                      </a:lnTo>
                      <a:lnTo>
                        <a:pt x="109" y="467"/>
                      </a:lnTo>
                      <a:lnTo>
                        <a:pt x="110" y="467"/>
                      </a:lnTo>
                      <a:lnTo>
                        <a:pt x="111" y="468"/>
                      </a:lnTo>
                      <a:lnTo>
                        <a:pt x="111" y="468"/>
                      </a:lnTo>
                      <a:lnTo>
                        <a:pt x="112" y="468"/>
                      </a:lnTo>
                      <a:lnTo>
                        <a:pt x="113" y="468"/>
                      </a:lnTo>
                      <a:lnTo>
                        <a:pt x="113" y="469"/>
                      </a:lnTo>
                      <a:lnTo>
                        <a:pt x="113" y="468"/>
                      </a:lnTo>
                      <a:lnTo>
                        <a:pt x="114" y="468"/>
                      </a:lnTo>
                      <a:lnTo>
                        <a:pt x="114" y="469"/>
                      </a:lnTo>
                      <a:lnTo>
                        <a:pt x="115" y="469"/>
                      </a:lnTo>
                      <a:lnTo>
                        <a:pt x="115" y="468"/>
                      </a:lnTo>
                      <a:lnTo>
                        <a:pt x="115" y="469"/>
                      </a:lnTo>
                      <a:lnTo>
                        <a:pt x="116" y="468"/>
                      </a:lnTo>
                      <a:lnTo>
                        <a:pt x="117" y="468"/>
                      </a:lnTo>
                      <a:lnTo>
                        <a:pt x="116" y="468"/>
                      </a:lnTo>
                      <a:lnTo>
                        <a:pt x="116" y="469"/>
                      </a:lnTo>
                      <a:lnTo>
                        <a:pt x="117" y="469"/>
                      </a:lnTo>
                      <a:lnTo>
                        <a:pt x="117" y="470"/>
                      </a:lnTo>
                      <a:lnTo>
                        <a:pt x="117" y="470"/>
                      </a:lnTo>
                      <a:lnTo>
                        <a:pt x="117" y="470"/>
                      </a:lnTo>
                      <a:lnTo>
                        <a:pt x="117" y="471"/>
                      </a:lnTo>
                      <a:lnTo>
                        <a:pt x="117" y="472"/>
                      </a:lnTo>
                      <a:lnTo>
                        <a:pt x="116" y="472"/>
                      </a:lnTo>
                      <a:lnTo>
                        <a:pt x="116" y="472"/>
                      </a:lnTo>
                      <a:lnTo>
                        <a:pt x="115" y="472"/>
                      </a:lnTo>
                      <a:lnTo>
                        <a:pt x="115" y="473"/>
                      </a:lnTo>
                      <a:lnTo>
                        <a:pt x="115" y="474"/>
                      </a:lnTo>
                      <a:lnTo>
                        <a:pt x="116" y="474"/>
                      </a:lnTo>
                      <a:lnTo>
                        <a:pt x="116" y="474"/>
                      </a:lnTo>
                      <a:lnTo>
                        <a:pt x="117" y="474"/>
                      </a:lnTo>
                      <a:lnTo>
                        <a:pt x="117" y="474"/>
                      </a:lnTo>
                      <a:lnTo>
                        <a:pt x="117" y="475"/>
                      </a:lnTo>
                      <a:lnTo>
                        <a:pt x="118" y="475"/>
                      </a:lnTo>
                      <a:lnTo>
                        <a:pt x="119" y="475"/>
                      </a:lnTo>
                      <a:lnTo>
                        <a:pt x="119" y="475"/>
                      </a:lnTo>
                      <a:lnTo>
                        <a:pt x="120" y="475"/>
                      </a:lnTo>
                      <a:lnTo>
                        <a:pt x="121" y="475"/>
                      </a:lnTo>
                      <a:lnTo>
                        <a:pt x="121" y="476"/>
                      </a:lnTo>
                      <a:lnTo>
                        <a:pt x="122" y="476"/>
                      </a:lnTo>
                      <a:lnTo>
                        <a:pt x="123" y="476"/>
                      </a:lnTo>
                      <a:lnTo>
                        <a:pt x="123" y="476"/>
                      </a:lnTo>
                      <a:lnTo>
                        <a:pt x="124" y="476"/>
                      </a:lnTo>
                      <a:lnTo>
                        <a:pt x="124" y="477"/>
                      </a:lnTo>
                      <a:lnTo>
                        <a:pt x="125" y="477"/>
                      </a:lnTo>
                      <a:lnTo>
                        <a:pt x="125" y="478"/>
                      </a:lnTo>
                      <a:lnTo>
                        <a:pt x="125" y="478"/>
                      </a:lnTo>
                      <a:lnTo>
                        <a:pt x="126" y="478"/>
                      </a:lnTo>
                      <a:lnTo>
                        <a:pt x="127" y="478"/>
                      </a:lnTo>
                      <a:lnTo>
                        <a:pt x="127" y="478"/>
                      </a:lnTo>
                      <a:lnTo>
                        <a:pt x="128" y="478"/>
                      </a:lnTo>
                      <a:lnTo>
                        <a:pt x="128" y="478"/>
                      </a:lnTo>
                      <a:lnTo>
                        <a:pt x="129" y="478"/>
                      </a:lnTo>
                      <a:lnTo>
                        <a:pt x="130" y="478"/>
                      </a:lnTo>
                      <a:lnTo>
                        <a:pt x="130" y="479"/>
                      </a:lnTo>
                      <a:lnTo>
                        <a:pt x="131" y="479"/>
                      </a:lnTo>
                      <a:lnTo>
                        <a:pt x="131" y="480"/>
                      </a:lnTo>
                      <a:lnTo>
                        <a:pt x="131" y="480"/>
                      </a:lnTo>
                      <a:lnTo>
                        <a:pt x="132" y="480"/>
                      </a:lnTo>
                      <a:lnTo>
                        <a:pt x="132" y="481"/>
                      </a:lnTo>
                      <a:lnTo>
                        <a:pt x="132" y="482"/>
                      </a:lnTo>
                      <a:lnTo>
                        <a:pt x="132" y="482"/>
                      </a:lnTo>
                      <a:lnTo>
                        <a:pt x="132" y="482"/>
                      </a:lnTo>
                      <a:lnTo>
                        <a:pt x="133" y="482"/>
                      </a:lnTo>
                      <a:lnTo>
                        <a:pt x="134" y="482"/>
                      </a:lnTo>
                      <a:lnTo>
                        <a:pt x="133" y="482"/>
                      </a:lnTo>
                      <a:lnTo>
                        <a:pt x="134" y="482"/>
                      </a:lnTo>
                      <a:lnTo>
                        <a:pt x="134" y="482"/>
                      </a:lnTo>
                      <a:lnTo>
                        <a:pt x="134" y="482"/>
                      </a:lnTo>
                      <a:lnTo>
                        <a:pt x="134" y="483"/>
                      </a:lnTo>
                      <a:lnTo>
                        <a:pt x="135" y="483"/>
                      </a:lnTo>
                      <a:lnTo>
                        <a:pt x="136" y="483"/>
                      </a:lnTo>
                      <a:lnTo>
                        <a:pt x="136" y="483"/>
                      </a:lnTo>
                      <a:lnTo>
                        <a:pt x="137" y="483"/>
                      </a:lnTo>
                      <a:lnTo>
                        <a:pt x="137" y="484"/>
                      </a:lnTo>
                      <a:lnTo>
                        <a:pt x="137" y="483"/>
                      </a:lnTo>
                      <a:lnTo>
                        <a:pt x="138" y="483"/>
                      </a:lnTo>
                      <a:lnTo>
                        <a:pt x="138" y="483"/>
                      </a:lnTo>
                      <a:lnTo>
                        <a:pt x="138" y="484"/>
                      </a:lnTo>
                      <a:lnTo>
                        <a:pt x="138" y="484"/>
                      </a:lnTo>
                      <a:lnTo>
                        <a:pt x="138" y="484"/>
                      </a:lnTo>
                      <a:lnTo>
                        <a:pt x="138" y="484"/>
                      </a:lnTo>
                      <a:lnTo>
                        <a:pt x="139" y="484"/>
                      </a:lnTo>
                      <a:lnTo>
                        <a:pt x="139" y="485"/>
                      </a:lnTo>
                      <a:lnTo>
                        <a:pt x="140" y="485"/>
                      </a:lnTo>
                      <a:lnTo>
                        <a:pt x="140" y="486"/>
                      </a:lnTo>
                      <a:lnTo>
                        <a:pt x="140" y="486"/>
                      </a:lnTo>
                      <a:lnTo>
                        <a:pt x="140" y="486"/>
                      </a:lnTo>
                      <a:lnTo>
                        <a:pt x="141" y="486"/>
                      </a:lnTo>
                      <a:lnTo>
                        <a:pt x="142" y="486"/>
                      </a:lnTo>
                      <a:lnTo>
                        <a:pt x="142" y="486"/>
                      </a:lnTo>
                      <a:lnTo>
                        <a:pt x="143" y="486"/>
                      </a:lnTo>
                      <a:lnTo>
                        <a:pt x="143" y="487"/>
                      </a:lnTo>
                      <a:lnTo>
                        <a:pt x="144" y="487"/>
                      </a:lnTo>
                      <a:lnTo>
                        <a:pt x="144" y="487"/>
                      </a:lnTo>
                      <a:lnTo>
                        <a:pt x="145" y="487"/>
                      </a:lnTo>
                      <a:lnTo>
                        <a:pt x="146" y="487"/>
                      </a:lnTo>
                      <a:lnTo>
                        <a:pt x="147" y="487"/>
                      </a:lnTo>
                      <a:lnTo>
                        <a:pt x="147" y="488"/>
                      </a:lnTo>
                      <a:lnTo>
                        <a:pt x="147" y="488"/>
                      </a:lnTo>
                      <a:lnTo>
                        <a:pt x="148" y="489"/>
                      </a:lnTo>
                      <a:lnTo>
                        <a:pt x="148" y="490"/>
                      </a:lnTo>
                      <a:lnTo>
                        <a:pt x="149" y="490"/>
                      </a:lnTo>
                      <a:lnTo>
                        <a:pt x="149" y="491"/>
                      </a:lnTo>
                      <a:lnTo>
                        <a:pt x="148" y="491"/>
                      </a:lnTo>
                      <a:lnTo>
                        <a:pt x="149" y="491"/>
                      </a:lnTo>
                      <a:lnTo>
                        <a:pt x="149" y="491"/>
                      </a:lnTo>
                      <a:lnTo>
                        <a:pt x="149" y="491"/>
                      </a:lnTo>
                      <a:lnTo>
                        <a:pt x="150" y="491"/>
                      </a:lnTo>
                      <a:lnTo>
                        <a:pt x="151" y="491"/>
                      </a:lnTo>
                      <a:lnTo>
                        <a:pt x="151" y="490"/>
                      </a:lnTo>
                      <a:lnTo>
                        <a:pt x="152" y="489"/>
                      </a:lnTo>
                      <a:lnTo>
                        <a:pt x="153" y="488"/>
                      </a:lnTo>
                      <a:lnTo>
                        <a:pt x="153" y="488"/>
                      </a:lnTo>
                      <a:lnTo>
                        <a:pt x="154" y="488"/>
                      </a:lnTo>
                      <a:lnTo>
                        <a:pt x="155" y="488"/>
                      </a:lnTo>
                      <a:lnTo>
                        <a:pt x="155" y="488"/>
                      </a:lnTo>
                      <a:lnTo>
                        <a:pt x="156" y="488"/>
                      </a:lnTo>
                      <a:lnTo>
                        <a:pt x="157" y="488"/>
                      </a:lnTo>
                      <a:lnTo>
                        <a:pt x="157" y="487"/>
                      </a:lnTo>
                      <a:lnTo>
                        <a:pt x="158" y="487"/>
                      </a:lnTo>
                      <a:lnTo>
                        <a:pt x="158" y="486"/>
                      </a:lnTo>
                      <a:lnTo>
                        <a:pt x="159" y="486"/>
                      </a:lnTo>
                      <a:lnTo>
                        <a:pt x="159" y="486"/>
                      </a:lnTo>
                      <a:lnTo>
                        <a:pt x="159" y="486"/>
                      </a:lnTo>
                      <a:lnTo>
                        <a:pt x="160" y="486"/>
                      </a:lnTo>
                      <a:lnTo>
                        <a:pt x="161" y="486"/>
                      </a:lnTo>
                      <a:lnTo>
                        <a:pt x="161" y="486"/>
                      </a:lnTo>
                      <a:lnTo>
                        <a:pt x="161" y="485"/>
                      </a:lnTo>
                      <a:lnTo>
                        <a:pt x="161" y="484"/>
                      </a:lnTo>
                      <a:lnTo>
                        <a:pt x="161" y="484"/>
                      </a:lnTo>
                      <a:lnTo>
                        <a:pt x="161" y="484"/>
                      </a:lnTo>
                      <a:lnTo>
                        <a:pt x="161" y="484"/>
                      </a:lnTo>
                      <a:lnTo>
                        <a:pt x="162" y="484"/>
                      </a:lnTo>
                      <a:lnTo>
                        <a:pt x="162" y="484"/>
                      </a:lnTo>
                      <a:lnTo>
                        <a:pt x="163" y="484"/>
                      </a:lnTo>
                      <a:lnTo>
                        <a:pt x="164" y="484"/>
                      </a:lnTo>
                      <a:lnTo>
                        <a:pt x="164" y="484"/>
                      </a:lnTo>
                      <a:lnTo>
                        <a:pt x="164" y="484"/>
                      </a:lnTo>
                      <a:lnTo>
                        <a:pt x="165" y="484"/>
                      </a:lnTo>
                      <a:lnTo>
                        <a:pt x="166" y="484"/>
                      </a:lnTo>
                      <a:lnTo>
                        <a:pt x="166" y="484"/>
                      </a:lnTo>
                      <a:lnTo>
                        <a:pt x="166" y="484"/>
                      </a:lnTo>
                      <a:lnTo>
                        <a:pt x="166" y="483"/>
                      </a:lnTo>
                      <a:lnTo>
                        <a:pt x="167" y="483"/>
                      </a:lnTo>
                      <a:lnTo>
                        <a:pt x="167" y="482"/>
                      </a:lnTo>
                      <a:lnTo>
                        <a:pt x="167" y="482"/>
                      </a:lnTo>
                      <a:lnTo>
                        <a:pt x="168" y="481"/>
                      </a:lnTo>
                      <a:lnTo>
                        <a:pt x="168" y="480"/>
                      </a:lnTo>
                      <a:lnTo>
                        <a:pt x="170" y="482"/>
                      </a:lnTo>
                      <a:lnTo>
                        <a:pt x="170" y="482"/>
                      </a:lnTo>
                      <a:lnTo>
                        <a:pt x="170" y="483"/>
                      </a:lnTo>
                      <a:lnTo>
                        <a:pt x="171" y="483"/>
                      </a:lnTo>
                      <a:lnTo>
                        <a:pt x="171" y="484"/>
                      </a:lnTo>
                      <a:lnTo>
                        <a:pt x="172" y="484"/>
                      </a:lnTo>
                      <a:lnTo>
                        <a:pt x="172" y="484"/>
                      </a:lnTo>
                      <a:lnTo>
                        <a:pt x="172" y="484"/>
                      </a:lnTo>
                      <a:lnTo>
                        <a:pt x="173" y="484"/>
                      </a:lnTo>
                      <a:lnTo>
                        <a:pt x="174" y="484"/>
                      </a:lnTo>
                      <a:lnTo>
                        <a:pt x="174" y="485"/>
                      </a:lnTo>
                      <a:lnTo>
                        <a:pt x="175" y="485"/>
                      </a:lnTo>
                      <a:lnTo>
                        <a:pt x="175" y="486"/>
                      </a:lnTo>
                      <a:lnTo>
                        <a:pt x="176" y="486"/>
                      </a:lnTo>
                      <a:lnTo>
                        <a:pt x="175" y="486"/>
                      </a:lnTo>
                      <a:lnTo>
                        <a:pt x="176" y="486"/>
                      </a:lnTo>
                      <a:lnTo>
                        <a:pt x="176" y="487"/>
                      </a:lnTo>
                      <a:lnTo>
                        <a:pt x="176" y="488"/>
                      </a:lnTo>
                      <a:lnTo>
                        <a:pt x="176" y="488"/>
                      </a:lnTo>
                      <a:lnTo>
                        <a:pt x="176" y="488"/>
                      </a:lnTo>
                      <a:lnTo>
                        <a:pt x="176" y="489"/>
                      </a:lnTo>
                      <a:lnTo>
                        <a:pt x="177" y="489"/>
                      </a:lnTo>
                      <a:lnTo>
                        <a:pt x="178" y="490"/>
                      </a:lnTo>
                      <a:lnTo>
                        <a:pt x="180" y="491"/>
                      </a:lnTo>
                      <a:lnTo>
                        <a:pt x="181" y="491"/>
                      </a:lnTo>
                      <a:lnTo>
                        <a:pt x="183" y="492"/>
                      </a:lnTo>
                      <a:lnTo>
                        <a:pt x="185" y="495"/>
                      </a:lnTo>
                      <a:lnTo>
                        <a:pt x="187" y="499"/>
                      </a:lnTo>
                      <a:lnTo>
                        <a:pt x="191" y="504"/>
                      </a:lnTo>
                      <a:lnTo>
                        <a:pt x="193" y="509"/>
                      </a:lnTo>
                      <a:lnTo>
                        <a:pt x="198" y="514"/>
                      </a:lnTo>
                      <a:lnTo>
                        <a:pt x="202" y="519"/>
                      </a:lnTo>
                      <a:lnTo>
                        <a:pt x="202" y="520"/>
                      </a:lnTo>
                      <a:lnTo>
                        <a:pt x="205" y="520"/>
                      </a:lnTo>
                      <a:lnTo>
                        <a:pt x="208" y="521"/>
                      </a:lnTo>
                      <a:lnTo>
                        <a:pt x="213" y="523"/>
                      </a:lnTo>
                      <a:lnTo>
                        <a:pt x="216" y="527"/>
                      </a:lnTo>
                      <a:lnTo>
                        <a:pt x="223" y="528"/>
                      </a:lnTo>
                      <a:lnTo>
                        <a:pt x="223" y="529"/>
                      </a:lnTo>
                      <a:lnTo>
                        <a:pt x="227" y="531"/>
                      </a:lnTo>
                      <a:lnTo>
                        <a:pt x="231" y="537"/>
                      </a:lnTo>
                      <a:lnTo>
                        <a:pt x="237" y="540"/>
                      </a:lnTo>
                      <a:lnTo>
                        <a:pt x="242" y="541"/>
                      </a:lnTo>
                      <a:lnTo>
                        <a:pt x="246" y="539"/>
                      </a:lnTo>
                      <a:lnTo>
                        <a:pt x="247" y="539"/>
                      </a:lnTo>
                      <a:lnTo>
                        <a:pt x="252" y="539"/>
                      </a:lnTo>
                      <a:lnTo>
                        <a:pt x="252" y="539"/>
                      </a:lnTo>
                      <a:lnTo>
                        <a:pt x="252" y="540"/>
                      </a:lnTo>
                      <a:lnTo>
                        <a:pt x="252" y="540"/>
                      </a:lnTo>
                      <a:lnTo>
                        <a:pt x="252" y="541"/>
                      </a:lnTo>
                      <a:lnTo>
                        <a:pt x="253" y="541"/>
                      </a:lnTo>
                      <a:lnTo>
                        <a:pt x="253" y="540"/>
                      </a:lnTo>
                      <a:lnTo>
                        <a:pt x="254" y="541"/>
                      </a:lnTo>
                      <a:lnTo>
                        <a:pt x="254" y="541"/>
                      </a:lnTo>
                      <a:lnTo>
                        <a:pt x="254" y="541"/>
                      </a:lnTo>
                      <a:lnTo>
                        <a:pt x="255" y="542"/>
                      </a:lnTo>
                      <a:lnTo>
                        <a:pt x="256" y="543"/>
                      </a:lnTo>
                      <a:lnTo>
                        <a:pt x="256" y="543"/>
                      </a:lnTo>
                      <a:lnTo>
                        <a:pt x="256" y="543"/>
                      </a:lnTo>
                      <a:lnTo>
                        <a:pt x="257" y="543"/>
                      </a:lnTo>
                      <a:lnTo>
                        <a:pt x="258" y="544"/>
                      </a:lnTo>
                      <a:lnTo>
                        <a:pt x="258" y="545"/>
                      </a:lnTo>
                      <a:lnTo>
                        <a:pt x="258" y="545"/>
                      </a:lnTo>
                      <a:lnTo>
                        <a:pt x="259" y="545"/>
                      </a:lnTo>
                      <a:lnTo>
                        <a:pt x="259" y="545"/>
                      </a:lnTo>
                      <a:lnTo>
                        <a:pt x="259" y="545"/>
                      </a:lnTo>
                      <a:lnTo>
                        <a:pt x="260" y="545"/>
                      </a:lnTo>
                      <a:lnTo>
                        <a:pt x="261" y="544"/>
                      </a:lnTo>
                      <a:lnTo>
                        <a:pt x="261" y="544"/>
                      </a:lnTo>
                      <a:lnTo>
                        <a:pt x="262" y="544"/>
                      </a:lnTo>
                      <a:lnTo>
                        <a:pt x="263" y="543"/>
                      </a:lnTo>
                      <a:lnTo>
                        <a:pt x="263" y="543"/>
                      </a:lnTo>
                      <a:lnTo>
                        <a:pt x="263" y="542"/>
                      </a:lnTo>
                      <a:lnTo>
                        <a:pt x="263" y="541"/>
                      </a:lnTo>
                      <a:lnTo>
                        <a:pt x="263" y="541"/>
                      </a:lnTo>
                      <a:lnTo>
                        <a:pt x="263" y="540"/>
                      </a:lnTo>
                      <a:lnTo>
                        <a:pt x="273" y="545"/>
                      </a:lnTo>
                      <a:lnTo>
                        <a:pt x="276" y="547"/>
                      </a:lnTo>
                      <a:lnTo>
                        <a:pt x="281" y="547"/>
                      </a:lnTo>
                      <a:lnTo>
                        <a:pt x="284" y="549"/>
                      </a:lnTo>
                      <a:lnTo>
                        <a:pt x="288" y="552"/>
                      </a:lnTo>
                      <a:lnTo>
                        <a:pt x="289" y="552"/>
                      </a:lnTo>
                      <a:lnTo>
                        <a:pt x="289" y="552"/>
                      </a:lnTo>
                      <a:lnTo>
                        <a:pt x="290" y="552"/>
                      </a:lnTo>
                      <a:lnTo>
                        <a:pt x="290" y="553"/>
                      </a:lnTo>
                      <a:lnTo>
                        <a:pt x="290" y="553"/>
                      </a:lnTo>
                      <a:lnTo>
                        <a:pt x="291" y="553"/>
                      </a:lnTo>
                      <a:lnTo>
                        <a:pt x="292" y="553"/>
                      </a:lnTo>
                      <a:lnTo>
                        <a:pt x="292" y="554"/>
                      </a:lnTo>
                      <a:lnTo>
                        <a:pt x="292" y="554"/>
                      </a:lnTo>
                      <a:lnTo>
                        <a:pt x="292" y="555"/>
                      </a:lnTo>
                      <a:lnTo>
                        <a:pt x="293" y="555"/>
                      </a:lnTo>
                      <a:lnTo>
                        <a:pt x="294" y="555"/>
                      </a:lnTo>
                      <a:lnTo>
                        <a:pt x="294" y="556"/>
                      </a:lnTo>
                      <a:lnTo>
                        <a:pt x="294" y="556"/>
                      </a:lnTo>
                      <a:lnTo>
                        <a:pt x="295" y="556"/>
                      </a:lnTo>
                      <a:lnTo>
                        <a:pt x="295" y="555"/>
                      </a:lnTo>
                      <a:lnTo>
                        <a:pt x="296" y="555"/>
                      </a:lnTo>
                      <a:lnTo>
                        <a:pt x="296" y="556"/>
                      </a:lnTo>
                      <a:lnTo>
                        <a:pt x="297" y="556"/>
                      </a:lnTo>
                      <a:lnTo>
                        <a:pt x="297" y="556"/>
                      </a:lnTo>
                      <a:lnTo>
                        <a:pt x="298" y="556"/>
                      </a:lnTo>
                      <a:lnTo>
                        <a:pt x="298" y="556"/>
                      </a:lnTo>
                      <a:lnTo>
                        <a:pt x="299" y="556"/>
                      </a:lnTo>
                      <a:lnTo>
                        <a:pt x="299" y="557"/>
                      </a:lnTo>
                      <a:lnTo>
                        <a:pt x="299" y="557"/>
                      </a:lnTo>
                      <a:lnTo>
                        <a:pt x="300" y="558"/>
                      </a:lnTo>
                      <a:lnTo>
                        <a:pt x="300" y="558"/>
                      </a:lnTo>
                      <a:lnTo>
                        <a:pt x="300" y="559"/>
                      </a:lnTo>
                      <a:lnTo>
                        <a:pt x="301" y="559"/>
                      </a:lnTo>
                      <a:lnTo>
                        <a:pt x="301" y="558"/>
                      </a:lnTo>
                      <a:lnTo>
                        <a:pt x="301" y="558"/>
                      </a:lnTo>
                      <a:lnTo>
                        <a:pt x="301" y="558"/>
                      </a:lnTo>
                      <a:lnTo>
                        <a:pt x="301" y="557"/>
                      </a:lnTo>
                      <a:lnTo>
                        <a:pt x="301" y="556"/>
                      </a:lnTo>
                      <a:lnTo>
                        <a:pt x="302" y="556"/>
                      </a:lnTo>
                      <a:lnTo>
                        <a:pt x="302" y="556"/>
                      </a:lnTo>
                      <a:lnTo>
                        <a:pt x="302" y="555"/>
                      </a:lnTo>
                      <a:lnTo>
                        <a:pt x="302" y="554"/>
                      </a:lnTo>
                      <a:lnTo>
                        <a:pt x="303" y="554"/>
                      </a:lnTo>
                      <a:lnTo>
                        <a:pt x="303" y="554"/>
                      </a:lnTo>
                      <a:lnTo>
                        <a:pt x="303" y="553"/>
                      </a:lnTo>
                      <a:lnTo>
                        <a:pt x="303" y="554"/>
                      </a:lnTo>
                      <a:lnTo>
                        <a:pt x="303" y="553"/>
                      </a:lnTo>
                      <a:lnTo>
                        <a:pt x="304" y="553"/>
                      </a:lnTo>
                      <a:lnTo>
                        <a:pt x="305" y="553"/>
                      </a:lnTo>
                      <a:lnTo>
                        <a:pt x="305" y="553"/>
                      </a:lnTo>
                      <a:lnTo>
                        <a:pt x="306" y="553"/>
                      </a:lnTo>
                      <a:lnTo>
                        <a:pt x="307" y="553"/>
                      </a:lnTo>
                      <a:lnTo>
                        <a:pt x="307" y="552"/>
                      </a:lnTo>
                      <a:lnTo>
                        <a:pt x="307" y="552"/>
                      </a:lnTo>
                      <a:lnTo>
                        <a:pt x="307" y="552"/>
                      </a:lnTo>
                      <a:lnTo>
                        <a:pt x="307" y="551"/>
                      </a:lnTo>
                      <a:lnTo>
                        <a:pt x="307" y="550"/>
                      </a:lnTo>
                      <a:lnTo>
                        <a:pt x="308" y="550"/>
                      </a:lnTo>
                      <a:lnTo>
                        <a:pt x="308" y="550"/>
                      </a:lnTo>
                      <a:lnTo>
                        <a:pt x="309" y="550"/>
                      </a:lnTo>
                      <a:lnTo>
                        <a:pt x="309" y="549"/>
                      </a:lnTo>
                      <a:lnTo>
                        <a:pt x="309" y="549"/>
                      </a:lnTo>
                      <a:lnTo>
                        <a:pt x="309" y="548"/>
                      </a:lnTo>
                      <a:lnTo>
                        <a:pt x="310" y="548"/>
                      </a:lnTo>
                      <a:lnTo>
                        <a:pt x="310" y="549"/>
                      </a:lnTo>
                      <a:lnTo>
                        <a:pt x="310" y="548"/>
                      </a:lnTo>
                      <a:lnTo>
                        <a:pt x="311" y="548"/>
                      </a:lnTo>
                      <a:lnTo>
                        <a:pt x="311" y="549"/>
                      </a:lnTo>
                      <a:lnTo>
                        <a:pt x="311" y="548"/>
                      </a:lnTo>
                      <a:lnTo>
                        <a:pt x="311" y="547"/>
                      </a:lnTo>
                      <a:lnTo>
                        <a:pt x="310" y="547"/>
                      </a:lnTo>
                      <a:lnTo>
                        <a:pt x="310" y="547"/>
                      </a:lnTo>
                      <a:lnTo>
                        <a:pt x="310" y="546"/>
                      </a:lnTo>
                      <a:lnTo>
                        <a:pt x="310" y="545"/>
                      </a:lnTo>
                      <a:lnTo>
                        <a:pt x="311" y="545"/>
                      </a:lnTo>
                      <a:lnTo>
                        <a:pt x="311" y="545"/>
                      </a:lnTo>
                      <a:lnTo>
                        <a:pt x="311" y="545"/>
                      </a:lnTo>
                      <a:lnTo>
                        <a:pt x="311" y="545"/>
                      </a:lnTo>
                      <a:lnTo>
                        <a:pt x="311" y="545"/>
                      </a:lnTo>
                      <a:lnTo>
                        <a:pt x="312" y="545"/>
                      </a:lnTo>
                      <a:lnTo>
                        <a:pt x="313" y="545"/>
                      </a:lnTo>
                      <a:lnTo>
                        <a:pt x="313" y="544"/>
                      </a:lnTo>
                      <a:lnTo>
                        <a:pt x="313" y="543"/>
                      </a:lnTo>
                      <a:lnTo>
                        <a:pt x="312" y="543"/>
                      </a:lnTo>
                      <a:lnTo>
                        <a:pt x="312" y="544"/>
                      </a:lnTo>
                      <a:lnTo>
                        <a:pt x="311" y="545"/>
                      </a:lnTo>
                      <a:lnTo>
                        <a:pt x="311" y="545"/>
                      </a:lnTo>
                      <a:lnTo>
                        <a:pt x="310" y="545"/>
                      </a:lnTo>
                      <a:lnTo>
                        <a:pt x="310" y="544"/>
                      </a:lnTo>
                      <a:lnTo>
                        <a:pt x="310" y="543"/>
                      </a:lnTo>
                      <a:lnTo>
                        <a:pt x="310" y="543"/>
                      </a:lnTo>
                      <a:lnTo>
                        <a:pt x="309" y="543"/>
                      </a:lnTo>
                      <a:lnTo>
                        <a:pt x="309" y="543"/>
                      </a:lnTo>
                      <a:lnTo>
                        <a:pt x="308" y="542"/>
                      </a:lnTo>
                      <a:lnTo>
                        <a:pt x="307" y="542"/>
                      </a:lnTo>
                      <a:lnTo>
                        <a:pt x="307" y="541"/>
                      </a:lnTo>
                      <a:lnTo>
                        <a:pt x="307" y="541"/>
                      </a:lnTo>
                      <a:lnTo>
                        <a:pt x="307" y="541"/>
                      </a:lnTo>
                      <a:lnTo>
                        <a:pt x="307" y="540"/>
                      </a:lnTo>
                      <a:lnTo>
                        <a:pt x="307" y="541"/>
                      </a:lnTo>
                      <a:lnTo>
                        <a:pt x="307" y="540"/>
                      </a:lnTo>
                      <a:lnTo>
                        <a:pt x="307" y="539"/>
                      </a:lnTo>
                      <a:lnTo>
                        <a:pt x="306" y="539"/>
                      </a:lnTo>
                      <a:lnTo>
                        <a:pt x="306" y="539"/>
                      </a:lnTo>
                      <a:lnTo>
                        <a:pt x="306" y="538"/>
                      </a:lnTo>
                      <a:lnTo>
                        <a:pt x="305" y="538"/>
                      </a:lnTo>
                      <a:lnTo>
                        <a:pt x="305" y="537"/>
                      </a:lnTo>
                      <a:lnTo>
                        <a:pt x="305" y="537"/>
                      </a:lnTo>
                      <a:lnTo>
                        <a:pt x="306" y="537"/>
                      </a:lnTo>
                      <a:lnTo>
                        <a:pt x="306" y="536"/>
                      </a:lnTo>
                      <a:lnTo>
                        <a:pt x="307" y="536"/>
                      </a:lnTo>
                      <a:lnTo>
                        <a:pt x="307" y="535"/>
                      </a:lnTo>
                      <a:lnTo>
                        <a:pt x="307" y="535"/>
                      </a:lnTo>
                      <a:lnTo>
                        <a:pt x="307" y="535"/>
                      </a:lnTo>
                      <a:lnTo>
                        <a:pt x="308" y="535"/>
                      </a:lnTo>
                      <a:lnTo>
                        <a:pt x="308" y="534"/>
                      </a:lnTo>
                      <a:lnTo>
                        <a:pt x="309" y="534"/>
                      </a:lnTo>
                      <a:lnTo>
                        <a:pt x="309" y="533"/>
                      </a:lnTo>
                      <a:lnTo>
                        <a:pt x="309" y="533"/>
                      </a:lnTo>
                      <a:lnTo>
                        <a:pt x="308" y="533"/>
                      </a:lnTo>
                      <a:lnTo>
                        <a:pt x="308" y="532"/>
                      </a:lnTo>
                      <a:lnTo>
                        <a:pt x="308" y="531"/>
                      </a:lnTo>
                      <a:lnTo>
                        <a:pt x="307" y="531"/>
                      </a:lnTo>
                      <a:lnTo>
                        <a:pt x="308" y="531"/>
                      </a:lnTo>
                      <a:lnTo>
                        <a:pt x="307" y="531"/>
                      </a:lnTo>
                      <a:lnTo>
                        <a:pt x="307" y="532"/>
                      </a:lnTo>
                      <a:lnTo>
                        <a:pt x="307" y="532"/>
                      </a:lnTo>
                      <a:lnTo>
                        <a:pt x="306" y="532"/>
                      </a:lnTo>
                      <a:lnTo>
                        <a:pt x="306" y="531"/>
                      </a:lnTo>
                      <a:lnTo>
                        <a:pt x="305" y="531"/>
                      </a:lnTo>
                      <a:lnTo>
                        <a:pt x="305" y="531"/>
                      </a:lnTo>
                      <a:lnTo>
                        <a:pt x="305" y="531"/>
                      </a:lnTo>
                      <a:lnTo>
                        <a:pt x="305" y="531"/>
                      </a:lnTo>
                      <a:lnTo>
                        <a:pt x="305" y="531"/>
                      </a:lnTo>
                      <a:lnTo>
                        <a:pt x="305" y="532"/>
                      </a:lnTo>
                      <a:lnTo>
                        <a:pt x="305" y="532"/>
                      </a:lnTo>
                      <a:lnTo>
                        <a:pt x="304" y="532"/>
                      </a:lnTo>
                      <a:lnTo>
                        <a:pt x="304" y="531"/>
                      </a:lnTo>
                      <a:lnTo>
                        <a:pt x="303" y="531"/>
                      </a:lnTo>
                      <a:lnTo>
                        <a:pt x="303" y="532"/>
                      </a:lnTo>
                      <a:lnTo>
                        <a:pt x="303" y="532"/>
                      </a:lnTo>
                      <a:lnTo>
                        <a:pt x="303" y="531"/>
                      </a:lnTo>
                      <a:lnTo>
                        <a:pt x="303" y="532"/>
                      </a:lnTo>
                      <a:lnTo>
                        <a:pt x="303" y="531"/>
                      </a:lnTo>
                      <a:lnTo>
                        <a:pt x="303" y="531"/>
                      </a:lnTo>
                      <a:lnTo>
                        <a:pt x="302" y="531"/>
                      </a:lnTo>
                      <a:lnTo>
                        <a:pt x="302" y="530"/>
                      </a:lnTo>
                      <a:lnTo>
                        <a:pt x="301" y="530"/>
                      </a:lnTo>
                      <a:lnTo>
                        <a:pt x="301" y="529"/>
                      </a:lnTo>
                      <a:lnTo>
                        <a:pt x="301" y="530"/>
                      </a:lnTo>
                      <a:lnTo>
                        <a:pt x="302" y="530"/>
                      </a:lnTo>
                      <a:lnTo>
                        <a:pt x="302" y="529"/>
                      </a:lnTo>
                      <a:lnTo>
                        <a:pt x="303" y="529"/>
                      </a:lnTo>
                      <a:lnTo>
                        <a:pt x="303" y="529"/>
                      </a:lnTo>
                      <a:lnTo>
                        <a:pt x="302" y="529"/>
                      </a:lnTo>
                      <a:lnTo>
                        <a:pt x="303" y="529"/>
                      </a:lnTo>
                      <a:lnTo>
                        <a:pt x="303" y="528"/>
                      </a:lnTo>
                      <a:lnTo>
                        <a:pt x="302" y="528"/>
                      </a:lnTo>
                      <a:lnTo>
                        <a:pt x="302" y="527"/>
                      </a:lnTo>
                      <a:lnTo>
                        <a:pt x="302" y="528"/>
                      </a:lnTo>
                      <a:lnTo>
                        <a:pt x="301" y="527"/>
                      </a:lnTo>
                      <a:lnTo>
                        <a:pt x="301" y="526"/>
                      </a:lnTo>
                      <a:lnTo>
                        <a:pt x="301" y="526"/>
                      </a:lnTo>
                      <a:lnTo>
                        <a:pt x="300" y="526"/>
                      </a:lnTo>
                      <a:lnTo>
                        <a:pt x="301" y="526"/>
                      </a:lnTo>
                      <a:lnTo>
                        <a:pt x="301" y="526"/>
                      </a:lnTo>
                      <a:lnTo>
                        <a:pt x="301" y="525"/>
                      </a:lnTo>
                      <a:lnTo>
                        <a:pt x="301" y="524"/>
                      </a:lnTo>
                      <a:lnTo>
                        <a:pt x="300" y="524"/>
                      </a:lnTo>
                      <a:lnTo>
                        <a:pt x="300" y="523"/>
                      </a:lnTo>
                      <a:lnTo>
                        <a:pt x="300" y="522"/>
                      </a:lnTo>
                      <a:lnTo>
                        <a:pt x="300" y="522"/>
                      </a:lnTo>
                      <a:lnTo>
                        <a:pt x="300" y="521"/>
                      </a:lnTo>
                      <a:lnTo>
                        <a:pt x="299" y="520"/>
                      </a:lnTo>
                      <a:lnTo>
                        <a:pt x="299" y="520"/>
                      </a:lnTo>
                      <a:lnTo>
                        <a:pt x="299" y="519"/>
                      </a:lnTo>
                      <a:lnTo>
                        <a:pt x="299" y="518"/>
                      </a:lnTo>
                      <a:lnTo>
                        <a:pt x="299" y="518"/>
                      </a:lnTo>
                      <a:lnTo>
                        <a:pt x="299" y="517"/>
                      </a:lnTo>
                      <a:lnTo>
                        <a:pt x="299" y="517"/>
                      </a:lnTo>
                      <a:lnTo>
                        <a:pt x="299" y="516"/>
                      </a:lnTo>
                      <a:lnTo>
                        <a:pt x="299" y="516"/>
                      </a:lnTo>
                      <a:lnTo>
                        <a:pt x="300" y="515"/>
                      </a:lnTo>
                      <a:lnTo>
                        <a:pt x="301" y="514"/>
                      </a:lnTo>
                      <a:lnTo>
                        <a:pt x="301" y="514"/>
                      </a:lnTo>
                      <a:lnTo>
                        <a:pt x="301" y="514"/>
                      </a:lnTo>
                      <a:lnTo>
                        <a:pt x="302" y="514"/>
                      </a:lnTo>
                      <a:lnTo>
                        <a:pt x="303" y="514"/>
                      </a:lnTo>
                      <a:lnTo>
                        <a:pt x="303" y="513"/>
                      </a:lnTo>
                      <a:lnTo>
                        <a:pt x="304" y="513"/>
                      </a:lnTo>
                      <a:lnTo>
                        <a:pt x="305" y="513"/>
                      </a:lnTo>
                      <a:lnTo>
                        <a:pt x="305" y="513"/>
                      </a:lnTo>
                      <a:lnTo>
                        <a:pt x="306" y="513"/>
                      </a:lnTo>
                      <a:lnTo>
                        <a:pt x="307" y="513"/>
                      </a:lnTo>
                      <a:lnTo>
                        <a:pt x="307" y="512"/>
                      </a:lnTo>
                      <a:lnTo>
                        <a:pt x="307" y="513"/>
                      </a:lnTo>
                      <a:lnTo>
                        <a:pt x="307" y="513"/>
                      </a:lnTo>
                      <a:lnTo>
                        <a:pt x="308" y="513"/>
                      </a:lnTo>
                      <a:lnTo>
                        <a:pt x="308" y="514"/>
                      </a:lnTo>
                      <a:lnTo>
                        <a:pt x="309" y="514"/>
                      </a:lnTo>
                      <a:lnTo>
                        <a:pt x="309" y="514"/>
                      </a:lnTo>
                      <a:lnTo>
                        <a:pt x="310" y="514"/>
                      </a:lnTo>
                      <a:lnTo>
                        <a:pt x="311" y="514"/>
                      </a:lnTo>
                      <a:lnTo>
                        <a:pt x="311" y="514"/>
                      </a:lnTo>
                      <a:lnTo>
                        <a:pt x="312" y="513"/>
                      </a:lnTo>
                      <a:lnTo>
                        <a:pt x="313" y="513"/>
                      </a:lnTo>
                      <a:lnTo>
                        <a:pt x="313" y="513"/>
                      </a:lnTo>
                      <a:lnTo>
                        <a:pt x="313" y="512"/>
                      </a:lnTo>
                      <a:lnTo>
                        <a:pt x="314" y="512"/>
                      </a:lnTo>
                      <a:lnTo>
                        <a:pt x="315" y="512"/>
                      </a:lnTo>
                      <a:lnTo>
                        <a:pt x="316" y="512"/>
                      </a:lnTo>
                      <a:lnTo>
                        <a:pt x="316" y="512"/>
                      </a:lnTo>
                      <a:lnTo>
                        <a:pt x="317" y="512"/>
                      </a:lnTo>
                      <a:lnTo>
                        <a:pt x="317" y="512"/>
                      </a:lnTo>
                      <a:lnTo>
                        <a:pt x="318" y="512"/>
                      </a:lnTo>
                      <a:lnTo>
                        <a:pt x="318" y="511"/>
                      </a:lnTo>
                      <a:lnTo>
                        <a:pt x="318" y="511"/>
                      </a:lnTo>
                      <a:lnTo>
                        <a:pt x="319" y="511"/>
                      </a:lnTo>
                      <a:lnTo>
                        <a:pt x="320" y="510"/>
                      </a:lnTo>
                      <a:lnTo>
                        <a:pt x="320" y="510"/>
                      </a:lnTo>
                      <a:lnTo>
                        <a:pt x="321" y="510"/>
                      </a:lnTo>
                      <a:lnTo>
                        <a:pt x="322" y="510"/>
                      </a:lnTo>
                      <a:lnTo>
                        <a:pt x="322" y="510"/>
                      </a:lnTo>
                      <a:lnTo>
                        <a:pt x="322" y="510"/>
                      </a:lnTo>
                      <a:lnTo>
                        <a:pt x="323" y="510"/>
                      </a:lnTo>
                      <a:lnTo>
                        <a:pt x="324" y="510"/>
                      </a:lnTo>
                      <a:lnTo>
                        <a:pt x="324" y="510"/>
                      </a:lnTo>
                      <a:lnTo>
                        <a:pt x="325" y="510"/>
                      </a:lnTo>
                      <a:lnTo>
                        <a:pt x="326" y="510"/>
                      </a:lnTo>
                      <a:lnTo>
                        <a:pt x="326" y="510"/>
                      </a:lnTo>
                      <a:lnTo>
                        <a:pt x="327" y="510"/>
                      </a:lnTo>
                      <a:lnTo>
                        <a:pt x="328" y="510"/>
                      </a:lnTo>
                      <a:lnTo>
                        <a:pt x="328" y="510"/>
                      </a:lnTo>
                      <a:lnTo>
                        <a:pt x="329" y="510"/>
                      </a:lnTo>
                      <a:lnTo>
                        <a:pt x="330" y="510"/>
                      </a:lnTo>
                      <a:lnTo>
                        <a:pt x="330" y="510"/>
                      </a:lnTo>
                      <a:lnTo>
                        <a:pt x="330" y="511"/>
                      </a:lnTo>
                      <a:lnTo>
                        <a:pt x="331" y="511"/>
                      </a:lnTo>
                      <a:lnTo>
                        <a:pt x="332" y="512"/>
                      </a:lnTo>
                      <a:lnTo>
                        <a:pt x="332" y="512"/>
                      </a:lnTo>
                      <a:lnTo>
                        <a:pt x="333" y="512"/>
                      </a:lnTo>
                      <a:lnTo>
                        <a:pt x="334" y="512"/>
                      </a:lnTo>
                      <a:lnTo>
                        <a:pt x="335" y="512"/>
                      </a:lnTo>
                      <a:lnTo>
                        <a:pt x="335" y="512"/>
                      </a:lnTo>
                      <a:lnTo>
                        <a:pt x="336" y="512"/>
                      </a:lnTo>
                      <a:lnTo>
                        <a:pt x="337" y="512"/>
                      </a:lnTo>
                      <a:lnTo>
                        <a:pt x="337" y="512"/>
                      </a:lnTo>
                      <a:lnTo>
                        <a:pt x="338" y="512"/>
                      </a:lnTo>
                      <a:lnTo>
                        <a:pt x="339" y="512"/>
                      </a:lnTo>
                      <a:lnTo>
                        <a:pt x="339" y="512"/>
                      </a:lnTo>
                      <a:lnTo>
                        <a:pt x="340" y="512"/>
                      </a:lnTo>
                      <a:lnTo>
                        <a:pt x="341" y="512"/>
                      </a:lnTo>
                      <a:lnTo>
                        <a:pt x="341" y="512"/>
                      </a:lnTo>
                      <a:lnTo>
                        <a:pt x="343" y="512"/>
                      </a:lnTo>
                      <a:lnTo>
                        <a:pt x="343" y="512"/>
                      </a:lnTo>
                      <a:lnTo>
                        <a:pt x="344" y="512"/>
                      </a:lnTo>
                      <a:lnTo>
                        <a:pt x="345" y="512"/>
                      </a:lnTo>
                      <a:lnTo>
                        <a:pt x="345" y="512"/>
                      </a:lnTo>
                      <a:lnTo>
                        <a:pt x="346" y="512"/>
                      </a:lnTo>
                      <a:lnTo>
                        <a:pt x="347" y="512"/>
                      </a:lnTo>
                      <a:lnTo>
                        <a:pt x="348" y="512"/>
                      </a:lnTo>
                      <a:lnTo>
                        <a:pt x="349" y="512"/>
                      </a:lnTo>
                      <a:lnTo>
                        <a:pt x="349" y="512"/>
                      </a:lnTo>
                      <a:lnTo>
                        <a:pt x="350" y="512"/>
                      </a:lnTo>
                      <a:lnTo>
                        <a:pt x="351" y="512"/>
                      </a:lnTo>
                      <a:lnTo>
                        <a:pt x="351" y="513"/>
                      </a:lnTo>
                      <a:lnTo>
                        <a:pt x="352" y="513"/>
                      </a:lnTo>
                      <a:lnTo>
                        <a:pt x="353" y="513"/>
                      </a:lnTo>
                      <a:lnTo>
                        <a:pt x="354" y="514"/>
                      </a:lnTo>
                      <a:lnTo>
                        <a:pt x="354" y="514"/>
                      </a:lnTo>
                      <a:lnTo>
                        <a:pt x="355" y="514"/>
                      </a:lnTo>
                      <a:lnTo>
                        <a:pt x="356" y="514"/>
                      </a:lnTo>
                      <a:lnTo>
                        <a:pt x="356" y="514"/>
                      </a:lnTo>
                      <a:lnTo>
                        <a:pt x="356" y="514"/>
                      </a:lnTo>
                      <a:lnTo>
                        <a:pt x="356" y="515"/>
                      </a:lnTo>
                      <a:lnTo>
                        <a:pt x="357" y="515"/>
                      </a:lnTo>
                      <a:lnTo>
                        <a:pt x="358" y="516"/>
                      </a:lnTo>
                      <a:lnTo>
                        <a:pt x="358" y="516"/>
                      </a:lnTo>
                      <a:lnTo>
                        <a:pt x="358" y="516"/>
                      </a:lnTo>
                      <a:lnTo>
                        <a:pt x="359" y="517"/>
                      </a:lnTo>
                      <a:lnTo>
                        <a:pt x="359" y="518"/>
                      </a:lnTo>
                      <a:lnTo>
                        <a:pt x="360" y="518"/>
                      </a:lnTo>
                      <a:lnTo>
                        <a:pt x="360" y="518"/>
                      </a:lnTo>
                      <a:lnTo>
                        <a:pt x="361" y="519"/>
                      </a:lnTo>
                      <a:lnTo>
                        <a:pt x="362" y="519"/>
                      </a:lnTo>
                      <a:lnTo>
                        <a:pt x="362" y="519"/>
                      </a:lnTo>
                      <a:lnTo>
                        <a:pt x="362" y="520"/>
                      </a:lnTo>
                      <a:lnTo>
                        <a:pt x="363" y="519"/>
                      </a:lnTo>
                      <a:lnTo>
                        <a:pt x="364" y="520"/>
                      </a:lnTo>
                      <a:lnTo>
                        <a:pt x="364" y="520"/>
                      </a:lnTo>
                      <a:lnTo>
                        <a:pt x="365" y="520"/>
                      </a:lnTo>
                      <a:lnTo>
                        <a:pt x="366" y="520"/>
                      </a:lnTo>
                      <a:lnTo>
                        <a:pt x="366" y="520"/>
                      </a:lnTo>
                      <a:lnTo>
                        <a:pt x="367" y="521"/>
                      </a:lnTo>
                      <a:lnTo>
                        <a:pt x="367" y="522"/>
                      </a:lnTo>
                      <a:lnTo>
                        <a:pt x="368" y="522"/>
                      </a:lnTo>
                      <a:lnTo>
                        <a:pt x="368" y="522"/>
                      </a:lnTo>
                      <a:lnTo>
                        <a:pt x="368" y="522"/>
                      </a:lnTo>
                      <a:lnTo>
                        <a:pt x="369" y="522"/>
                      </a:lnTo>
                      <a:lnTo>
                        <a:pt x="369" y="523"/>
                      </a:lnTo>
                      <a:lnTo>
                        <a:pt x="370" y="523"/>
                      </a:lnTo>
                      <a:lnTo>
                        <a:pt x="370" y="524"/>
                      </a:lnTo>
                      <a:lnTo>
                        <a:pt x="370" y="524"/>
                      </a:lnTo>
                      <a:lnTo>
                        <a:pt x="370" y="525"/>
                      </a:lnTo>
                      <a:lnTo>
                        <a:pt x="370" y="524"/>
                      </a:lnTo>
                      <a:lnTo>
                        <a:pt x="374" y="521"/>
                      </a:lnTo>
                      <a:lnTo>
                        <a:pt x="374" y="520"/>
                      </a:lnTo>
                      <a:lnTo>
                        <a:pt x="374" y="520"/>
                      </a:lnTo>
                      <a:lnTo>
                        <a:pt x="375" y="519"/>
                      </a:lnTo>
                      <a:lnTo>
                        <a:pt x="375" y="518"/>
                      </a:lnTo>
                      <a:lnTo>
                        <a:pt x="375" y="518"/>
                      </a:lnTo>
                      <a:lnTo>
                        <a:pt x="375" y="518"/>
                      </a:lnTo>
                      <a:lnTo>
                        <a:pt x="375" y="517"/>
                      </a:lnTo>
                      <a:lnTo>
                        <a:pt x="375" y="516"/>
                      </a:lnTo>
                      <a:lnTo>
                        <a:pt x="375" y="516"/>
                      </a:lnTo>
                      <a:lnTo>
                        <a:pt x="376" y="515"/>
                      </a:lnTo>
                      <a:lnTo>
                        <a:pt x="376" y="514"/>
                      </a:lnTo>
                      <a:lnTo>
                        <a:pt x="377" y="514"/>
                      </a:lnTo>
                      <a:lnTo>
                        <a:pt x="377" y="513"/>
                      </a:lnTo>
                      <a:lnTo>
                        <a:pt x="377" y="512"/>
                      </a:lnTo>
                      <a:lnTo>
                        <a:pt x="377" y="512"/>
                      </a:lnTo>
                      <a:lnTo>
                        <a:pt x="378" y="512"/>
                      </a:lnTo>
                      <a:lnTo>
                        <a:pt x="378" y="511"/>
                      </a:lnTo>
                      <a:lnTo>
                        <a:pt x="377" y="511"/>
                      </a:lnTo>
                      <a:lnTo>
                        <a:pt x="378" y="510"/>
                      </a:lnTo>
                      <a:lnTo>
                        <a:pt x="377" y="510"/>
                      </a:lnTo>
                      <a:lnTo>
                        <a:pt x="377" y="510"/>
                      </a:lnTo>
                      <a:lnTo>
                        <a:pt x="378" y="510"/>
                      </a:lnTo>
                      <a:lnTo>
                        <a:pt x="377" y="510"/>
                      </a:lnTo>
                      <a:lnTo>
                        <a:pt x="377" y="509"/>
                      </a:lnTo>
                      <a:lnTo>
                        <a:pt x="378" y="509"/>
                      </a:lnTo>
                      <a:lnTo>
                        <a:pt x="378" y="508"/>
                      </a:lnTo>
                      <a:lnTo>
                        <a:pt x="378" y="507"/>
                      </a:lnTo>
                      <a:lnTo>
                        <a:pt x="378" y="507"/>
                      </a:lnTo>
                      <a:lnTo>
                        <a:pt x="379" y="507"/>
                      </a:lnTo>
                      <a:lnTo>
                        <a:pt x="379" y="506"/>
                      </a:lnTo>
                      <a:lnTo>
                        <a:pt x="379" y="506"/>
                      </a:lnTo>
                      <a:lnTo>
                        <a:pt x="380" y="505"/>
                      </a:lnTo>
                      <a:lnTo>
                        <a:pt x="381" y="505"/>
                      </a:lnTo>
                      <a:lnTo>
                        <a:pt x="381" y="505"/>
                      </a:lnTo>
                      <a:lnTo>
                        <a:pt x="381" y="505"/>
                      </a:lnTo>
                      <a:lnTo>
                        <a:pt x="382" y="505"/>
                      </a:lnTo>
                      <a:lnTo>
                        <a:pt x="383" y="505"/>
                      </a:lnTo>
                      <a:lnTo>
                        <a:pt x="383" y="505"/>
                      </a:lnTo>
                      <a:lnTo>
                        <a:pt x="384" y="505"/>
                      </a:lnTo>
                      <a:lnTo>
                        <a:pt x="385" y="505"/>
                      </a:lnTo>
                      <a:lnTo>
                        <a:pt x="385" y="505"/>
                      </a:lnTo>
                      <a:lnTo>
                        <a:pt x="385" y="504"/>
                      </a:lnTo>
                      <a:lnTo>
                        <a:pt x="386" y="504"/>
                      </a:lnTo>
                      <a:lnTo>
                        <a:pt x="386" y="503"/>
                      </a:lnTo>
                      <a:lnTo>
                        <a:pt x="387" y="503"/>
                      </a:lnTo>
                      <a:lnTo>
                        <a:pt x="387" y="503"/>
                      </a:lnTo>
                      <a:lnTo>
                        <a:pt x="388" y="503"/>
                      </a:lnTo>
                      <a:lnTo>
                        <a:pt x="388" y="502"/>
                      </a:lnTo>
                      <a:lnTo>
                        <a:pt x="389" y="502"/>
                      </a:lnTo>
                      <a:lnTo>
                        <a:pt x="388" y="502"/>
                      </a:lnTo>
                      <a:lnTo>
                        <a:pt x="388" y="501"/>
                      </a:lnTo>
                      <a:lnTo>
                        <a:pt x="389" y="501"/>
                      </a:lnTo>
                      <a:lnTo>
                        <a:pt x="389" y="501"/>
                      </a:lnTo>
                      <a:lnTo>
                        <a:pt x="389" y="500"/>
                      </a:lnTo>
                      <a:lnTo>
                        <a:pt x="389" y="500"/>
                      </a:lnTo>
                      <a:lnTo>
                        <a:pt x="389" y="501"/>
                      </a:lnTo>
                      <a:lnTo>
                        <a:pt x="389" y="500"/>
                      </a:lnTo>
                      <a:lnTo>
                        <a:pt x="390" y="500"/>
                      </a:lnTo>
                      <a:lnTo>
                        <a:pt x="389" y="499"/>
                      </a:lnTo>
                      <a:lnTo>
                        <a:pt x="390" y="499"/>
                      </a:lnTo>
                      <a:lnTo>
                        <a:pt x="390" y="499"/>
                      </a:lnTo>
                      <a:lnTo>
                        <a:pt x="390" y="498"/>
                      </a:lnTo>
                      <a:lnTo>
                        <a:pt x="390" y="497"/>
                      </a:lnTo>
                      <a:lnTo>
                        <a:pt x="390" y="497"/>
                      </a:lnTo>
                      <a:lnTo>
                        <a:pt x="390" y="496"/>
                      </a:lnTo>
                      <a:lnTo>
                        <a:pt x="389" y="496"/>
                      </a:lnTo>
                      <a:lnTo>
                        <a:pt x="389" y="495"/>
                      </a:lnTo>
                      <a:lnTo>
                        <a:pt x="389" y="495"/>
                      </a:lnTo>
                      <a:lnTo>
                        <a:pt x="389" y="495"/>
                      </a:lnTo>
                      <a:lnTo>
                        <a:pt x="389" y="494"/>
                      </a:lnTo>
                      <a:lnTo>
                        <a:pt x="389" y="493"/>
                      </a:lnTo>
                      <a:lnTo>
                        <a:pt x="389" y="493"/>
                      </a:lnTo>
                      <a:lnTo>
                        <a:pt x="389" y="492"/>
                      </a:lnTo>
                      <a:lnTo>
                        <a:pt x="389" y="491"/>
                      </a:lnTo>
                      <a:lnTo>
                        <a:pt x="389" y="491"/>
                      </a:lnTo>
                      <a:lnTo>
                        <a:pt x="389" y="490"/>
                      </a:lnTo>
                      <a:lnTo>
                        <a:pt x="389" y="489"/>
                      </a:lnTo>
                      <a:lnTo>
                        <a:pt x="389" y="488"/>
                      </a:lnTo>
                      <a:lnTo>
                        <a:pt x="389" y="488"/>
                      </a:lnTo>
                      <a:lnTo>
                        <a:pt x="389" y="487"/>
                      </a:lnTo>
                      <a:lnTo>
                        <a:pt x="389" y="486"/>
                      </a:lnTo>
                      <a:lnTo>
                        <a:pt x="389" y="486"/>
                      </a:lnTo>
                      <a:lnTo>
                        <a:pt x="389" y="485"/>
                      </a:lnTo>
                      <a:lnTo>
                        <a:pt x="390" y="485"/>
                      </a:lnTo>
                      <a:lnTo>
                        <a:pt x="391" y="485"/>
                      </a:lnTo>
                      <a:lnTo>
                        <a:pt x="391" y="484"/>
                      </a:lnTo>
                      <a:lnTo>
                        <a:pt x="390" y="484"/>
                      </a:lnTo>
                      <a:lnTo>
                        <a:pt x="390" y="484"/>
                      </a:lnTo>
                      <a:lnTo>
                        <a:pt x="390" y="483"/>
                      </a:lnTo>
                      <a:lnTo>
                        <a:pt x="390" y="482"/>
                      </a:lnTo>
                      <a:lnTo>
                        <a:pt x="389" y="482"/>
                      </a:lnTo>
                      <a:lnTo>
                        <a:pt x="389" y="482"/>
                      </a:lnTo>
                      <a:lnTo>
                        <a:pt x="389" y="481"/>
                      </a:lnTo>
                      <a:lnTo>
                        <a:pt x="389" y="481"/>
                      </a:lnTo>
                      <a:lnTo>
                        <a:pt x="389" y="480"/>
                      </a:lnTo>
                      <a:lnTo>
                        <a:pt x="388" y="480"/>
                      </a:lnTo>
                      <a:lnTo>
                        <a:pt x="388" y="480"/>
                      </a:lnTo>
                      <a:lnTo>
                        <a:pt x="387" y="480"/>
                      </a:lnTo>
                      <a:lnTo>
                        <a:pt x="387" y="479"/>
                      </a:lnTo>
                      <a:lnTo>
                        <a:pt x="387" y="479"/>
                      </a:lnTo>
                      <a:lnTo>
                        <a:pt x="386" y="479"/>
                      </a:lnTo>
                      <a:lnTo>
                        <a:pt x="386" y="478"/>
                      </a:lnTo>
                      <a:lnTo>
                        <a:pt x="385" y="478"/>
                      </a:lnTo>
                      <a:lnTo>
                        <a:pt x="385" y="478"/>
                      </a:lnTo>
                      <a:lnTo>
                        <a:pt x="385" y="478"/>
                      </a:lnTo>
                      <a:lnTo>
                        <a:pt x="385" y="477"/>
                      </a:lnTo>
                      <a:lnTo>
                        <a:pt x="384" y="477"/>
                      </a:lnTo>
                      <a:lnTo>
                        <a:pt x="383" y="477"/>
                      </a:lnTo>
                      <a:lnTo>
                        <a:pt x="383" y="476"/>
                      </a:lnTo>
                      <a:lnTo>
                        <a:pt x="383" y="476"/>
                      </a:lnTo>
                      <a:lnTo>
                        <a:pt x="383" y="475"/>
                      </a:lnTo>
                      <a:lnTo>
                        <a:pt x="383" y="474"/>
                      </a:lnTo>
                      <a:lnTo>
                        <a:pt x="383" y="474"/>
                      </a:lnTo>
                      <a:lnTo>
                        <a:pt x="383" y="473"/>
                      </a:lnTo>
                      <a:lnTo>
                        <a:pt x="383" y="472"/>
                      </a:lnTo>
                      <a:lnTo>
                        <a:pt x="384" y="472"/>
                      </a:lnTo>
                      <a:lnTo>
                        <a:pt x="384" y="472"/>
                      </a:lnTo>
                      <a:lnTo>
                        <a:pt x="385" y="472"/>
                      </a:lnTo>
                      <a:lnTo>
                        <a:pt x="385" y="471"/>
                      </a:lnTo>
                      <a:lnTo>
                        <a:pt x="386" y="471"/>
                      </a:lnTo>
                      <a:lnTo>
                        <a:pt x="386" y="470"/>
                      </a:lnTo>
                      <a:lnTo>
                        <a:pt x="387" y="470"/>
                      </a:lnTo>
                      <a:lnTo>
                        <a:pt x="387" y="469"/>
                      </a:lnTo>
                      <a:lnTo>
                        <a:pt x="386" y="468"/>
                      </a:lnTo>
                      <a:lnTo>
                        <a:pt x="385" y="467"/>
                      </a:lnTo>
                      <a:lnTo>
                        <a:pt x="384" y="466"/>
                      </a:lnTo>
                      <a:lnTo>
                        <a:pt x="383" y="463"/>
                      </a:lnTo>
                      <a:lnTo>
                        <a:pt x="384" y="463"/>
                      </a:lnTo>
                      <a:lnTo>
                        <a:pt x="384" y="463"/>
                      </a:lnTo>
                      <a:lnTo>
                        <a:pt x="384" y="463"/>
                      </a:lnTo>
                      <a:lnTo>
                        <a:pt x="385" y="463"/>
                      </a:lnTo>
                      <a:lnTo>
                        <a:pt x="384" y="463"/>
                      </a:lnTo>
                      <a:lnTo>
                        <a:pt x="384" y="462"/>
                      </a:lnTo>
                      <a:lnTo>
                        <a:pt x="384" y="461"/>
                      </a:lnTo>
                      <a:lnTo>
                        <a:pt x="383" y="461"/>
                      </a:lnTo>
                      <a:lnTo>
                        <a:pt x="383" y="461"/>
                      </a:lnTo>
                      <a:lnTo>
                        <a:pt x="383" y="460"/>
                      </a:lnTo>
                      <a:lnTo>
                        <a:pt x="383" y="459"/>
                      </a:lnTo>
                      <a:lnTo>
                        <a:pt x="383" y="459"/>
                      </a:lnTo>
                      <a:lnTo>
                        <a:pt x="383" y="458"/>
                      </a:lnTo>
                      <a:lnTo>
                        <a:pt x="383" y="457"/>
                      </a:lnTo>
                      <a:lnTo>
                        <a:pt x="383" y="457"/>
                      </a:lnTo>
                      <a:lnTo>
                        <a:pt x="382" y="457"/>
                      </a:lnTo>
                      <a:lnTo>
                        <a:pt x="382" y="456"/>
                      </a:lnTo>
                      <a:lnTo>
                        <a:pt x="381" y="456"/>
                      </a:lnTo>
                      <a:lnTo>
                        <a:pt x="381" y="455"/>
                      </a:lnTo>
                      <a:lnTo>
                        <a:pt x="382" y="455"/>
                      </a:lnTo>
                      <a:lnTo>
                        <a:pt x="382" y="455"/>
                      </a:lnTo>
                      <a:lnTo>
                        <a:pt x="383" y="454"/>
                      </a:lnTo>
                      <a:lnTo>
                        <a:pt x="383" y="453"/>
                      </a:lnTo>
                      <a:lnTo>
                        <a:pt x="383" y="453"/>
                      </a:lnTo>
                      <a:lnTo>
                        <a:pt x="384" y="453"/>
                      </a:lnTo>
                      <a:lnTo>
                        <a:pt x="384" y="453"/>
                      </a:lnTo>
                      <a:lnTo>
                        <a:pt x="384" y="452"/>
                      </a:lnTo>
                      <a:lnTo>
                        <a:pt x="384" y="451"/>
                      </a:lnTo>
                      <a:lnTo>
                        <a:pt x="384" y="451"/>
                      </a:lnTo>
                      <a:lnTo>
                        <a:pt x="384" y="450"/>
                      </a:lnTo>
                      <a:lnTo>
                        <a:pt x="384" y="449"/>
                      </a:lnTo>
                      <a:lnTo>
                        <a:pt x="383" y="449"/>
                      </a:lnTo>
                      <a:lnTo>
                        <a:pt x="383" y="449"/>
                      </a:lnTo>
                      <a:lnTo>
                        <a:pt x="382" y="449"/>
                      </a:lnTo>
                      <a:lnTo>
                        <a:pt x="381" y="448"/>
                      </a:lnTo>
                      <a:lnTo>
                        <a:pt x="381" y="448"/>
                      </a:lnTo>
                      <a:lnTo>
                        <a:pt x="381" y="448"/>
                      </a:lnTo>
                      <a:lnTo>
                        <a:pt x="380" y="448"/>
                      </a:lnTo>
                      <a:lnTo>
                        <a:pt x="380" y="447"/>
                      </a:lnTo>
                      <a:lnTo>
                        <a:pt x="379" y="446"/>
                      </a:lnTo>
                      <a:lnTo>
                        <a:pt x="379" y="446"/>
                      </a:lnTo>
                      <a:lnTo>
                        <a:pt x="379" y="446"/>
                      </a:lnTo>
                      <a:lnTo>
                        <a:pt x="378" y="446"/>
                      </a:lnTo>
                      <a:lnTo>
                        <a:pt x="377" y="446"/>
                      </a:lnTo>
                      <a:lnTo>
                        <a:pt x="377" y="445"/>
                      </a:lnTo>
                      <a:lnTo>
                        <a:pt x="377" y="445"/>
                      </a:lnTo>
                      <a:lnTo>
                        <a:pt x="377" y="444"/>
                      </a:lnTo>
                      <a:lnTo>
                        <a:pt x="377" y="445"/>
                      </a:lnTo>
                      <a:lnTo>
                        <a:pt x="377" y="444"/>
                      </a:lnTo>
                      <a:lnTo>
                        <a:pt x="376" y="444"/>
                      </a:lnTo>
                      <a:lnTo>
                        <a:pt x="376" y="444"/>
                      </a:lnTo>
                      <a:lnTo>
                        <a:pt x="376" y="443"/>
                      </a:lnTo>
                      <a:lnTo>
                        <a:pt x="375" y="443"/>
                      </a:lnTo>
                      <a:lnTo>
                        <a:pt x="375" y="442"/>
                      </a:lnTo>
                      <a:lnTo>
                        <a:pt x="375" y="442"/>
                      </a:lnTo>
                      <a:lnTo>
                        <a:pt x="376" y="442"/>
                      </a:lnTo>
                      <a:lnTo>
                        <a:pt x="376" y="441"/>
                      </a:lnTo>
                      <a:lnTo>
                        <a:pt x="375" y="441"/>
                      </a:lnTo>
                      <a:lnTo>
                        <a:pt x="375" y="440"/>
                      </a:lnTo>
                      <a:lnTo>
                        <a:pt x="375" y="441"/>
                      </a:lnTo>
                      <a:lnTo>
                        <a:pt x="375" y="441"/>
                      </a:lnTo>
                      <a:lnTo>
                        <a:pt x="375" y="440"/>
                      </a:lnTo>
                      <a:lnTo>
                        <a:pt x="375" y="440"/>
                      </a:lnTo>
                      <a:lnTo>
                        <a:pt x="375" y="439"/>
                      </a:lnTo>
                      <a:lnTo>
                        <a:pt x="374" y="439"/>
                      </a:lnTo>
                      <a:lnTo>
                        <a:pt x="374" y="438"/>
                      </a:lnTo>
                      <a:lnTo>
                        <a:pt x="373" y="438"/>
                      </a:lnTo>
                      <a:lnTo>
                        <a:pt x="373" y="438"/>
                      </a:lnTo>
                      <a:lnTo>
                        <a:pt x="373" y="437"/>
                      </a:lnTo>
                      <a:lnTo>
                        <a:pt x="373" y="437"/>
                      </a:lnTo>
                      <a:lnTo>
                        <a:pt x="373" y="436"/>
                      </a:lnTo>
                      <a:lnTo>
                        <a:pt x="373" y="436"/>
                      </a:lnTo>
                      <a:lnTo>
                        <a:pt x="374" y="436"/>
                      </a:lnTo>
                      <a:lnTo>
                        <a:pt x="375" y="436"/>
                      </a:lnTo>
                      <a:lnTo>
                        <a:pt x="375" y="436"/>
                      </a:lnTo>
                      <a:lnTo>
                        <a:pt x="376" y="436"/>
                      </a:lnTo>
                      <a:lnTo>
                        <a:pt x="377" y="436"/>
                      </a:lnTo>
                      <a:lnTo>
                        <a:pt x="377" y="436"/>
                      </a:lnTo>
                      <a:lnTo>
                        <a:pt x="378" y="436"/>
                      </a:lnTo>
                      <a:lnTo>
                        <a:pt x="379" y="436"/>
                      </a:lnTo>
                      <a:lnTo>
                        <a:pt x="379" y="437"/>
                      </a:lnTo>
                      <a:lnTo>
                        <a:pt x="379" y="437"/>
                      </a:lnTo>
                      <a:lnTo>
                        <a:pt x="380" y="437"/>
                      </a:lnTo>
                      <a:lnTo>
                        <a:pt x="381" y="437"/>
                      </a:lnTo>
                      <a:lnTo>
                        <a:pt x="381" y="437"/>
                      </a:lnTo>
                      <a:lnTo>
                        <a:pt x="382" y="437"/>
                      </a:lnTo>
                      <a:lnTo>
                        <a:pt x="383" y="438"/>
                      </a:lnTo>
                      <a:lnTo>
                        <a:pt x="384" y="439"/>
                      </a:lnTo>
                      <a:lnTo>
                        <a:pt x="386" y="438"/>
                      </a:lnTo>
                      <a:lnTo>
                        <a:pt x="387" y="439"/>
                      </a:lnTo>
                      <a:lnTo>
                        <a:pt x="387" y="439"/>
                      </a:lnTo>
                      <a:lnTo>
                        <a:pt x="387" y="440"/>
                      </a:lnTo>
                      <a:lnTo>
                        <a:pt x="388" y="440"/>
                      </a:lnTo>
                      <a:lnTo>
                        <a:pt x="389" y="440"/>
                      </a:lnTo>
                      <a:lnTo>
                        <a:pt x="389" y="440"/>
                      </a:lnTo>
                      <a:lnTo>
                        <a:pt x="390" y="440"/>
                      </a:lnTo>
                      <a:lnTo>
                        <a:pt x="391" y="440"/>
                      </a:lnTo>
                      <a:lnTo>
                        <a:pt x="392" y="440"/>
                      </a:lnTo>
                      <a:lnTo>
                        <a:pt x="392" y="440"/>
                      </a:lnTo>
                      <a:lnTo>
                        <a:pt x="393" y="440"/>
                      </a:lnTo>
                      <a:lnTo>
                        <a:pt x="394" y="440"/>
                      </a:lnTo>
                      <a:lnTo>
                        <a:pt x="394" y="440"/>
                      </a:lnTo>
                      <a:lnTo>
                        <a:pt x="395" y="439"/>
                      </a:lnTo>
                      <a:lnTo>
                        <a:pt x="396" y="439"/>
                      </a:lnTo>
                      <a:lnTo>
                        <a:pt x="396" y="439"/>
                      </a:lnTo>
                      <a:lnTo>
                        <a:pt x="397" y="439"/>
                      </a:lnTo>
                      <a:lnTo>
                        <a:pt x="398" y="438"/>
                      </a:lnTo>
                      <a:lnTo>
                        <a:pt x="398" y="438"/>
                      </a:lnTo>
                      <a:lnTo>
                        <a:pt x="399" y="438"/>
                      </a:lnTo>
                      <a:lnTo>
                        <a:pt x="399" y="438"/>
                      </a:lnTo>
                      <a:lnTo>
                        <a:pt x="400" y="438"/>
                      </a:lnTo>
                      <a:lnTo>
                        <a:pt x="400" y="437"/>
                      </a:lnTo>
                      <a:lnTo>
                        <a:pt x="400" y="437"/>
                      </a:lnTo>
                      <a:lnTo>
                        <a:pt x="401" y="436"/>
                      </a:lnTo>
                      <a:lnTo>
                        <a:pt x="402" y="434"/>
                      </a:lnTo>
                      <a:lnTo>
                        <a:pt x="403" y="434"/>
                      </a:lnTo>
                      <a:lnTo>
                        <a:pt x="404" y="434"/>
                      </a:lnTo>
                      <a:lnTo>
                        <a:pt x="404" y="433"/>
                      </a:lnTo>
                      <a:lnTo>
                        <a:pt x="404" y="433"/>
                      </a:lnTo>
                      <a:lnTo>
                        <a:pt x="404" y="432"/>
                      </a:lnTo>
                      <a:lnTo>
                        <a:pt x="405" y="432"/>
                      </a:lnTo>
                      <a:lnTo>
                        <a:pt x="406" y="432"/>
                      </a:lnTo>
                      <a:lnTo>
                        <a:pt x="407" y="432"/>
                      </a:lnTo>
                      <a:lnTo>
                        <a:pt x="408" y="432"/>
                      </a:lnTo>
                      <a:lnTo>
                        <a:pt x="409" y="432"/>
                      </a:lnTo>
                      <a:lnTo>
                        <a:pt x="409" y="431"/>
                      </a:lnTo>
                      <a:lnTo>
                        <a:pt x="410" y="431"/>
                      </a:lnTo>
                      <a:lnTo>
                        <a:pt x="411" y="431"/>
                      </a:lnTo>
                      <a:lnTo>
                        <a:pt x="412" y="430"/>
                      </a:lnTo>
                      <a:lnTo>
                        <a:pt x="413" y="430"/>
                      </a:lnTo>
                      <a:lnTo>
                        <a:pt x="413" y="430"/>
                      </a:lnTo>
                      <a:lnTo>
                        <a:pt x="413" y="430"/>
                      </a:lnTo>
                      <a:lnTo>
                        <a:pt x="413" y="429"/>
                      </a:lnTo>
                      <a:lnTo>
                        <a:pt x="414" y="429"/>
                      </a:lnTo>
                      <a:lnTo>
                        <a:pt x="414" y="428"/>
                      </a:lnTo>
                      <a:lnTo>
                        <a:pt x="414" y="427"/>
                      </a:lnTo>
                      <a:lnTo>
                        <a:pt x="415" y="427"/>
                      </a:lnTo>
                      <a:lnTo>
                        <a:pt x="415" y="427"/>
                      </a:lnTo>
                      <a:lnTo>
                        <a:pt x="415" y="426"/>
                      </a:lnTo>
                      <a:lnTo>
                        <a:pt x="415" y="425"/>
                      </a:lnTo>
                      <a:lnTo>
                        <a:pt x="415" y="425"/>
                      </a:lnTo>
                      <a:lnTo>
                        <a:pt x="415" y="425"/>
                      </a:lnTo>
                      <a:lnTo>
                        <a:pt x="416" y="424"/>
                      </a:lnTo>
                      <a:lnTo>
                        <a:pt x="416" y="423"/>
                      </a:lnTo>
                      <a:lnTo>
                        <a:pt x="417" y="423"/>
                      </a:lnTo>
                      <a:lnTo>
                        <a:pt x="417" y="422"/>
                      </a:lnTo>
                      <a:lnTo>
                        <a:pt x="417" y="421"/>
                      </a:lnTo>
                      <a:lnTo>
                        <a:pt x="418" y="421"/>
                      </a:lnTo>
                      <a:lnTo>
                        <a:pt x="418" y="420"/>
                      </a:lnTo>
                      <a:lnTo>
                        <a:pt x="418" y="419"/>
                      </a:lnTo>
                      <a:lnTo>
                        <a:pt x="418" y="418"/>
                      </a:lnTo>
                      <a:lnTo>
                        <a:pt x="419" y="417"/>
                      </a:lnTo>
                      <a:lnTo>
                        <a:pt x="419" y="417"/>
                      </a:lnTo>
                      <a:lnTo>
                        <a:pt x="419" y="416"/>
                      </a:lnTo>
                      <a:lnTo>
                        <a:pt x="419" y="415"/>
                      </a:lnTo>
                      <a:lnTo>
                        <a:pt x="420" y="415"/>
                      </a:lnTo>
                      <a:lnTo>
                        <a:pt x="420" y="416"/>
                      </a:lnTo>
                      <a:lnTo>
                        <a:pt x="421" y="416"/>
                      </a:lnTo>
                      <a:lnTo>
                        <a:pt x="421" y="415"/>
                      </a:lnTo>
                      <a:lnTo>
                        <a:pt x="421" y="416"/>
                      </a:lnTo>
                      <a:lnTo>
                        <a:pt x="421" y="416"/>
                      </a:lnTo>
                      <a:lnTo>
                        <a:pt x="421" y="417"/>
                      </a:lnTo>
                      <a:lnTo>
                        <a:pt x="422" y="417"/>
                      </a:lnTo>
                      <a:lnTo>
                        <a:pt x="422" y="417"/>
                      </a:lnTo>
                      <a:lnTo>
                        <a:pt x="423" y="417"/>
                      </a:lnTo>
                      <a:lnTo>
                        <a:pt x="423" y="418"/>
                      </a:lnTo>
                      <a:lnTo>
                        <a:pt x="423" y="419"/>
                      </a:lnTo>
                      <a:lnTo>
                        <a:pt x="423" y="419"/>
                      </a:lnTo>
                      <a:lnTo>
                        <a:pt x="423" y="419"/>
                      </a:lnTo>
                      <a:lnTo>
                        <a:pt x="424" y="419"/>
                      </a:lnTo>
                      <a:lnTo>
                        <a:pt x="424" y="420"/>
                      </a:lnTo>
                      <a:lnTo>
                        <a:pt x="425" y="420"/>
                      </a:lnTo>
                      <a:lnTo>
                        <a:pt x="425" y="419"/>
                      </a:lnTo>
                      <a:lnTo>
                        <a:pt x="425" y="420"/>
                      </a:lnTo>
                      <a:lnTo>
                        <a:pt x="425" y="420"/>
                      </a:lnTo>
                      <a:lnTo>
                        <a:pt x="425" y="419"/>
                      </a:lnTo>
                      <a:lnTo>
                        <a:pt x="425" y="419"/>
                      </a:lnTo>
                      <a:lnTo>
                        <a:pt x="426" y="419"/>
                      </a:lnTo>
                      <a:lnTo>
                        <a:pt x="427" y="419"/>
                      </a:lnTo>
                      <a:lnTo>
                        <a:pt x="427" y="419"/>
                      </a:lnTo>
                      <a:lnTo>
                        <a:pt x="427" y="420"/>
                      </a:lnTo>
                      <a:lnTo>
                        <a:pt x="428" y="420"/>
                      </a:lnTo>
                      <a:lnTo>
                        <a:pt x="428" y="421"/>
                      </a:lnTo>
                      <a:lnTo>
                        <a:pt x="428" y="421"/>
                      </a:lnTo>
                      <a:lnTo>
                        <a:pt x="429" y="421"/>
                      </a:lnTo>
                      <a:lnTo>
                        <a:pt x="429" y="421"/>
                      </a:lnTo>
                      <a:lnTo>
                        <a:pt x="430" y="421"/>
                      </a:lnTo>
                      <a:lnTo>
                        <a:pt x="430" y="421"/>
                      </a:lnTo>
                      <a:lnTo>
                        <a:pt x="430" y="421"/>
                      </a:lnTo>
                      <a:lnTo>
                        <a:pt x="431" y="420"/>
                      </a:lnTo>
                      <a:lnTo>
                        <a:pt x="432" y="419"/>
                      </a:lnTo>
                      <a:lnTo>
                        <a:pt x="432" y="419"/>
                      </a:lnTo>
                      <a:lnTo>
                        <a:pt x="433" y="419"/>
                      </a:lnTo>
                      <a:lnTo>
                        <a:pt x="434" y="419"/>
                      </a:lnTo>
                      <a:lnTo>
                        <a:pt x="434" y="418"/>
                      </a:lnTo>
                      <a:lnTo>
                        <a:pt x="435" y="418"/>
                      </a:lnTo>
                      <a:lnTo>
                        <a:pt x="436" y="418"/>
                      </a:lnTo>
                      <a:lnTo>
                        <a:pt x="436" y="418"/>
                      </a:lnTo>
                      <a:lnTo>
                        <a:pt x="437" y="419"/>
                      </a:lnTo>
                      <a:lnTo>
                        <a:pt x="438" y="419"/>
                      </a:lnTo>
                      <a:lnTo>
                        <a:pt x="438" y="419"/>
                      </a:lnTo>
                      <a:lnTo>
                        <a:pt x="440" y="421"/>
                      </a:lnTo>
                      <a:lnTo>
                        <a:pt x="440" y="421"/>
                      </a:lnTo>
                      <a:lnTo>
                        <a:pt x="440" y="421"/>
                      </a:lnTo>
                      <a:lnTo>
                        <a:pt x="441" y="421"/>
                      </a:lnTo>
                      <a:lnTo>
                        <a:pt x="442" y="421"/>
                      </a:lnTo>
                      <a:lnTo>
                        <a:pt x="442" y="420"/>
                      </a:lnTo>
                      <a:lnTo>
                        <a:pt x="442" y="420"/>
                      </a:lnTo>
                      <a:lnTo>
                        <a:pt x="443" y="419"/>
                      </a:lnTo>
                      <a:lnTo>
                        <a:pt x="444" y="419"/>
                      </a:lnTo>
                      <a:lnTo>
                        <a:pt x="444" y="419"/>
                      </a:lnTo>
                      <a:lnTo>
                        <a:pt x="445" y="419"/>
                      </a:lnTo>
                      <a:lnTo>
                        <a:pt x="446" y="419"/>
                      </a:lnTo>
                      <a:lnTo>
                        <a:pt x="447" y="419"/>
                      </a:lnTo>
                      <a:lnTo>
                        <a:pt x="447" y="418"/>
                      </a:lnTo>
                      <a:lnTo>
                        <a:pt x="447" y="418"/>
                      </a:lnTo>
                      <a:lnTo>
                        <a:pt x="447" y="419"/>
                      </a:lnTo>
                      <a:lnTo>
                        <a:pt x="448" y="419"/>
                      </a:lnTo>
                      <a:lnTo>
                        <a:pt x="448" y="418"/>
                      </a:lnTo>
                      <a:lnTo>
                        <a:pt x="449" y="418"/>
                      </a:lnTo>
                      <a:lnTo>
                        <a:pt x="449" y="418"/>
                      </a:lnTo>
                      <a:lnTo>
                        <a:pt x="450" y="418"/>
                      </a:lnTo>
                      <a:lnTo>
                        <a:pt x="450" y="417"/>
                      </a:lnTo>
                      <a:lnTo>
                        <a:pt x="451" y="417"/>
                      </a:lnTo>
                      <a:lnTo>
                        <a:pt x="451" y="417"/>
                      </a:lnTo>
                      <a:lnTo>
                        <a:pt x="452" y="418"/>
                      </a:lnTo>
                      <a:lnTo>
                        <a:pt x="453" y="418"/>
                      </a:lnTo>
                      <a:lnTo>
                        <a:pt x="453" y="419"/>
                      </a:lnTo>
                      <a:lnTo>
                        <a:pt x="453" y="419"/>
                      </a:lnTo>
                      <a:lnTo>
                        <a:pt x="453" y="419"/>
                      </a:lnTo>
                      <a:lnTo>
                        <a:pt x="453" y="420"/>
                      </a:lnTo>
                      <a:lnTo>
                        <a:pt x="454" y="420"/>
                      </a:lnTo>
                      <a:lnTo>
                        <a:pt x="455" y="420"/>
                      </a:lnTo>
                      <a:lnTo>
                        <a:pt x="455" y="420"/>
                      </a:lnTo>
                      <a:lnTo>
                        <a:pt x="455" y="421"/>
                      </a:lnTo>
                      <a:lnTo>
                        <a:pt x="456" y="421"/>
                      </a:lnTo>
                      <a:lnTo>
                        <a:pt x="456" y="421"/>
                      </a:lnTo>
                      <a:lnTo>
                        <a:pt x="457" y="421"/>
                      </a:lnTo>
                      <a:lnTo>
                        <a:pt x="457" y="421"/>
                      </a:lnTo>
                      <a:lnTo>
                        <a:pt x="457" y="422"/>
                      </a:lnTo>
                      <a:lnTo>
                        <a:pt x="458" y="422"/>
                      </a:lnTo>
                      <a:lnTo>
                        <a:pt x="458" y="423"/>
                      </a:lnTo>
                      <a:lnTo>
                        <a:pt x="459" y="423"/>
                      </a:lnTo>
                      <a:lnTo>
                        <a:pt x="459" y="423"/>
                      </a:lnTo>
                      <a:lnTo>
                        <a:pt x="460" y="424"/>
                      </a:lnTo>
                      <a:lnTo>
                        <a:pt x="461" y="424"/>
                      </a:lnTo>
                      <a:lnTo>
                        <a:pt x="462" y="425"/>
                      </a:lnTo>
                      <a:lnTo>
                        <a:pt x="463" y="426"/>
                      </a:lnTo>
                      <a:lnTo>
                        <a:pt x="464" y="427"/>
                      </a:lnTo>
                      <a:lnTo>
                        <a:pt x="466" y="427"/>
                      </a:lnTo>
                      <a:lnTo>
                        <a:pt x="466" y="428"/>
                      </a:lnTo>
                      <a:lnTo>
                        <a:pt x="468" y="428"/>
                      </a:lnTo>
                      <a:lnTo>
                        <a:pt x="468" y="428"/>
                      </a:lnTo>
                      <a:lnTo>
                        <a:pt x="468" y="429"/>
                      </a:lnTo>
                      <a:lnTo>
                        <a:pt x="469" y="429"/>
                      </a:lnTo>
                      <a:lnTo>
                        <a:pt x="470" y="429"/>
                      </a:lnTo>
                      <a:lnTo>
                        <a:pt x="470" y="429"/>
                      </a:lnTo>
                      <a:lnTo>
                        <a:pt x="470" y="430"/>
                      </a:lnTo>
                      <a:lnTo>
                        <a:pt x="470" y="430"/>
                      </a:lnTo>
                      <a:lnTo>
                        <a:pt x="470" y="431"/>
                      </a:lnTo>
                      <a:lnTo>
                        <a:pt x="470" y="432"/>
                      </a:lnTo>
                      <a:lnTo>
                        <a:pt x="471" y="432"/>
                      </a:lnTo>
                      <a:lnTo>
                        <a:pt x="472" y="432"/>
                      </a:lnTo>
                      <a:lnTo>
                        <a:pt x="472" y="432"/>
                      </a:lnTo>
                      <a:lnTo>
                        <a:pt x="472" y="433"/>
                      </a:lnTo>
                      <a:lnTo>
                        <a:pt x="472" y="434"/>
                      </a:lnTo>
                      <a:lnTo>
                        <a:pt x="473" y="434"/>
                      </a:lnTo>
                      <a:lnTo>
                        <a:pt x="472" y="434"/>
                      </a:lnTo>
                      <a:lnTo>
                        <a:pt x="473" y="434"/>
                      </a:lnTo>
                      <a:lnTo>
                        <a:pt x="473" y="435"/>
                      </a:lnTo>
                      <a:lnTo>
                        <a:pt x="474" y="436"/>
                      </a:lnTo>
                      <a:lnTo>
                        <a:pt x="474" y="436"/>
                      </a:lnTo>
                      <a:lnTo>
                        <a:pt x="475" y="436"/>
                      </a:lnTo>
                      <a:lnTo>
                        <a:pt x="475" y="436"/>
                      </a:lnTo>
                      <a:lnTo>
                        <a:pt x="476" y="437"/>
                      </a:lnTo>
                      <a:lnTo>
                        <a:pt x="476" y="437"/>
                      </a:lnTo>
                      <a:lnTo>
                        <a:pt x="476" y="438"/>
                      </a:lnTo>
                      <a:lnTo>
                        <a:pt x="477" y="438"/>
                      </a:lnTo>
                      <a:lnTo>
                        <a:pt x="477" y="438"/>
                      </a:lnTo>
                      <a:lnTo>
                        <a:pt x="478" y="438"/>
                      </a:lnTo>
                      <a:lnTo>
                        <a:pt x="478" y="438"/>
                      </a:lnTo>
                      <a:lnTo>
                        <a:pt x="478" y="438"/>
                      </a:lnTo>
                      <a:lnTo>
                        <a:pt x="479" y="438"/>
                      </a:lnTo>
                      <a:lnTo>
                        <a:pt x="479" y="439"/>
                      </a:lnTo>
                      <a:lnTo>
                        <a:pt x="480" y="440"/>
                      </a:lnTo>
                      <a:lnTo>
                        <a:pt x="480" y="440"/>
                      </a:lnTo>
                      <a:lnTo>
                        <a:pt x="481" y="440"/>
                      </a:lnTo>
                      <a:lnTo>
                        <a:pt x="482" y="440"/>
                      </a:lnTo>
                      <a:lnTo>
                        <a:pt x="482" y="440"/>
                      </a:lnTo>
                      <a:lnTo>
                        <a:pt x="483" y="440"/>
                      </a:lnTo>
                      <a:lnTo>
                        <a:pt x="484" y="440"/>
                      </a:lnTo>
                      <a:lnTo>
                        <a:pt x="485" y="440"/>
                      </a:lnTo>
                      <a:lnTo>
                        <a:pt x="485" y="440"/>
                      </a:lnTo>
                      <a:lnTo>
                        <a:pt x="486" y="440"/>
                      </a:lnTo>
                      <a:lnTo>
                        <a:pt x="486" y="439"/>
                      </a:lnTo>
                      <a:lnTo>
                        <a:pt x="487" y="439"/>
                      </a:lnTo>
                      <a:lnTo>
                        <a:pt x="487" y="438"/>
                      </a:lnTo>
                      <a:lnTo>
                        <a:pt x="487" y="438"/>
                      </a:lnTo>
                      <a:lnTo>
                        <a:pt x="488" y="438"/>
                      </a:lnTo>
                      <a:lnTo>
                        <a:pt x="489" y="438"/>
                      </a:lnTo>
                      <a:lnTo>
                        <a:pt x="489" y="438"/>
                      </a:lnTo>
                      <a:lnTo>
                        <a:pt x="490" y="438"/>
                      </a:lnTo>
                      <a:lnTo>
                        <a:pt x="490" y="438"/>
                      </a:lnTo>
                      <a:lnTo>
                        <a:pt x="491" y="438"/>
                      </a:lnTo>
                      <a:lnTo>
                        <a:pt x="491" y="437"/>
                      </a:lnTo>
                      <a:lnTo>
                        <a:pt x="491" y="436"/>
                      </a:lnTo>
                      <a:lnTo>
                        <a:pt x="491" y="436"/>
                      </a:lnTo>
                      <a:lnTo>
                        <a:pt x="492" y="436"/>
                      </a:lnTo>
                      <a:lnTo>
                        <a:pt x="492" y="436"/>
                      </a:lnTo>
                      <a:lnTo>
                        <a:pt x="493" y="436"/>
                      </a:lnTo>
                      <a:lnTo>
                        <a:pt x="493" y="435"/>
                      </a:lnTo>
                      <a:lnTo>
                        <a:pt x="493" y="435"/>
                      </a:lnTo>
                      <a:lnTo>
                        <a:pt x="493" y="434"/>
                      </a:lnTo>
                      <a:lnTo>
                        <a:pt x="494" y="434"/>
                      </a:lnTo>
                      <a:lnTo>
                        <a:pt x="494" y="434"/>
                      </a:lnTo>
                      <a:lnTo>
                        <a:pt x="495" y="434"/>
                      </a:lnTo>
                      <a:lnTo>
                        <a:pt x="495" y="434"/>
                      </a:lnTo>
                      <a:lnTo>
                        <a:pt x="496" y="434"/>
                      </a:lnTo>
                      <a:lnTo>
                        <a:pt x="497" y="434"/>
                      </a:lnTo>
                      <a:lnTo>
                        <a:pt x="497" y="433"/>
                      </a:lnTo>
                      <a:lnTo>
                        <a:pt x="497" y="433"/>
                      </a:lnTo>
                      <a:lnTo>
                        <a:pt x="498" y="433"/>
                      </a:lnTo>
                      <a:lnTo>
                        <a:pt x="499" y="433"/>
                      </a:lnTo>
                      <a:lnTo>
                        <a:pt x="499" y="433"/>
                      </a:lnTo>
                      <a:lnTo>
                        <a:pt x="500" y="433"/>
                      </a:lnTo>
                      <a:lnTo>
                        <a:pt x="501" y="433"/>
                      </a:lnTo>
                      <a:lnTo>
                        <a:pt x="501" y="433"/>
                      </a:lnTo>
                      <a:lnTo>
                        <a:pt x="501" y="432"/>
                      </a:lnTo>
                      <a:lnTo>
                        <a:pt x="502" y="432"/>
                      </a:lnTo>
                      <a:lnTo>
                        <a:pt x="503" y="432"/>
                      </a:lnTo>
                      <a:lnTo>
                        <a:pt x="503" y="433"/>
                      </a:lnTo>
                      <a:lnTo>
                        <a:pt x="503" y="434"/>
                      </a:lnTo>
                      <a:lnTo>
                        <a:pt x="503" y="434"/>
                      </a:lnTo>
                      <a:lnTo>
                        <a:pt x="504" y="434"/>
                      </a:lnTo>
                      <a:lnTo>
                        <a:pt x="504" y="435"/>
                      </a:lnTo>
                      <a:lnTo>
                        <a:pt x="504" y="434"/>
                      </a:lnTo>
                      <a:lnTo>
                        <a:pt x="504" y="434"/>
                      </a:lnTo>
                      <a:lnTo>
                        <a:pt x="505" y="434"/>
                      </a:lnTo>
                      <a:lnTo>
                        <a:pt x="506" y="434"/>
                      </a:lnTo>
                      <a:lnTo>
                        <a:pt x="506" y="434"/>
                      </a:lnTo>
                      <a:lnTo>
                        <a:pt x="507" y="434"/>
                      </a:lnTo>
                      <a:lnTo>
                        <a:pt x="508" y="432"/>
                      </a:lnTo>
                      <a:lnTo>
                        <a:pt x="508" y="433"/>
                      </a:lnTo>
                      <a:lnTo>
                        <a:pt x="509" y="433"/>
                      </a:lnTo>
                      <a:lnTo>
                        <a:pt x="509" y="434"/>
                      </a:lnTo>
                      <a:lnTo>
                        <a:pt x="509" y="434"/>
                      </a:lnTo>
                      <a:lnTo>
                        <a:pt x="510" y="434"/>
                      </a:lnTo>
                      <a:lnTo>
                        <a:pt x="510" y="435"/>
                      </a:lnTo>
                      <a:lnTo>
                        <a:pt x="512" y="436"/>
                      </a:lnTo>
                      <a:lnTo>
                        <a:pt x="512" y="436"/>
                      </a:lnTo>
                      <a:lnTo>
                        <a:pt x="514" y="437"/>
                      </a:lnTo>
                      <a:lnTo>
                        <a:pt x="514" y="437"/>
                      </a:lnTo>
                      <a:lnTo>
                        <a:pt x="516" y="438"/>
                      </a:lnTo>
                      <a:lnTo>
                        <a:pt x="518" y="437"/>
                      </a:lnTo>
                      <a:lnTo>
                        <a:pt x="520" y="437"/>
                      </a:lnTo>
                      <a:lnTo>
                        <a:pt x="521" y="436"/>
                      </a:lnTo>
                      <a:lnTo>
                        <a:pt x="522" y="436"/>
                      </a:lnTo>
                      <a:lnTo>
                        <a:pt x="523" y="435"/>
                      </a:lnTo>
                      <a:lnTo>
                        <a:pt x="523" y="434"/>
                      </a:lnTo>
                      <a:lnTo>
                        <a:pt x="524" y="434"/>
                      </a:lnTo>
                      <a:lnTo>
                        <a:pt x="524" y="434"/>
                      </a:lnTo>
                      <a:lnTo>
                        <a:pt x="525" y="434"/>
                      </a:lnTo>
                      <a:lnTo>
                        <a:pt x="525" y="433"/>
                      </a:lnTo>
                      <a:lnTo>
                        <a:pt x="525" y="433"/>
                      </a:lnTo>
                      <a:lnTo>
                        <a:pt x="525" y="432"/>
                      </a:lnTo>
                      <a:lnTo>
                        <a:pt x="526" y="432"/>
                      </a:lnTo>
                      <a:lnTo>
                        <a:pt x="527" y="432"/>
                      </a:lnTo>
                      <a:lnTo>
                        <a:pt x="527" y="433"/>
                      </a:lnTo>
                      <a:lnTo>
                        <a:pt x="527" y="433"/>
                      </a:lnTo>
                      <a:lnTo>
                        <a:pt x="530" y="432"/>
                      </a:lnTo>
                      <a:lnTo>
                        <a:pt x="531" y="432"/>
                      </a:lnTo>
                      <a:lnTo>
                        <a:pt x="533" y="432"/>
                      </a:lnTo>
                      <a:lnTo>
                        <a:pt x="534" y="431"/>
                      </a:lnTo>
                      <a:lnTo>
                        <a:pt x="536" y="431"/>
                      </a:lnTo>
                      <a:lnTo>
                        <a:pt x="537" y="431"/>
                      </a:lnTo>
                      <a:lnTo>
                        <a:pt x="539" y="432"/>
                      </a:lnTo>
                      <a:lnTo>
                        <a:pt x="541" y="432"/>
                      </a:lnTo>
                      <a:lnTo>
                        <a:pt x="543" y="431"/>
                      </a:lnTo>
                      <a:lnTo>
                        <a:pt x="544" y="431"/>
                      </a:lnTo>
                      <a:lnTo>
                        <a:pt x="546" y="430"/>
                      </a:lnTo>
                      <a:lnTo>
                        <a:pt x="546" y="429"/>
                      </a:lnTo>
                      <a:lnTo>
                        <a:pt x="548" y="424"/>
                      </a:lnTo>
                      <a:lnTo>
                        <a:pt x="550" y="423"/>
                      </a:lnTo>
                      <a:lnTo>
                        <a:pt x="552" y="423"/>
                      </a:lnTo>
                      <a:lnTo>
                        <a:pt x="554" y="421"/>
                      </a:lnTo>
                      <a:lnTo>
                        <a:pt x="554" y="420"/>
                      </a:lnTo>
                      <a:lnTo>
                        <a:pt x="565" y="413"/>
                      </a:lnTo>
                      <a:lnTo>
                        <a:pt x="576" y="418"/>
                      </a:lnTo>
                      <a:lnTo>
                        <a:pt x="584" y="425"/>
                      </a:lnTo>
                      <a:lnTo>
                        <a:pt x="594" y="438"/>
                      </a:lnTo>
                      <a:lnTo>
                        <a:pt x="603" y="437"/>
                      </a:lnTo>
                      <a:lnTo>
                        <a:pt x="607" y="427"/>
                      </a:lnTo>
                      <a:lnTo>
                        <a:pt x="615" y="415"/>
                      </a:lnTo>
                      <a:lnTo>
                        <a:pt x="620" y="404"/>
                      </a:lnTo>
                      <a:lnTo>
                        <a:pt x="622" y="400"/>
                      </a:lnTo>
                      <a:lnTo>
                        <a:pt x="624" y="400"/>
                      </a:lnTo>
                      <a:lnTo>
                        <a:pt x="623" y="398"/>
                      </a:lnTo>
                      <a:lnTo>
                        <a:pt x="623" y="397"/>
                      </a:lnTo>
                      <a:lnTo>
                        <a:pt x="624" y="396"/>
                      </a:lnTo>
                      <a:lnTo>
                        <a:pt x="626" y="396"/>
                      </a:lnTo>
                      <a:lnTo>
                        <a:pt x="627" y="396"/>
                      </a:lnTo>
                      <a:lnTo>
                        <a:pt x="628" y="396"/>
                      </a:lnTo>
                      <a:lnTo>
                        <a:pt x="630" y="394"/>
                      </a:lnTo>
                      <a:lnTo>
                        <a:pt x="634" y="392"/>
                      </a:lnTo>
                      <a:lnTo>
                        <a:pt x="634" y="390"/>
                      </a:lnTo>
                      <a:lnTo>
                        <a:pt x="635" y="389"/>
                      </a:lnTo>
                      <a:lnTo>
                        <a:pt x="636" y="385"/>
                      </a:lnTo>
                      <a:lnTo>
                        <a:pt x="637" y="384"/>
                      </a:lnTo>
                      <a:lnTo>
                        <a:pt x="641" y="383"/>
                      </a:lnTo>
                      <a:lnTo>
                        <a:pt x="642" y="381"/>
                      </a:lnTo>
                      <a:lnTo>
                        <a:pt x="643" y="381"/>
                      </a:lnTo>
                      <a:lnTo>
                        <a:pt x="644" y="380"/>
                      </a:lnTo>
                      <a:lnTo>
                        <a:pt x="645" y="380"/>
                      </a:lnTo>
                      <a:lnTo>
                        <a:pt x="645" y="380"/>
                      </a:lnTo>
                      <a:lnTo>
                        <a:pt x="646" y="380"/>
                      </a:lnTo>
                      <a:lnTo>
                        <a:pt x="647" y="380"/>
                      </a:lnTo>
                      <a:lnTo>
                        <a:pt x="647" y="379"/>
                      </a:lnTo>
                      <a:lnTo>
                        <a:pt x="647" y="379"/>
                      </a:lnTo>
                      <a:lnTo>
                        <a:pt x="648" y="379"/>
                      </a:lnTo>
                      <a:lnTo>
                        <a:pt x="648" y="379"/>
                      </a:lnTo>
                      <a:lnTo>
                        <a:pt x="649" y="379"/>
                      </a:lnTo>
                      <a:lnTo>
                        <a:pt x="649" y="379"/>
                      </a:lnTo>
                      <a:lnTo>
                        <a:pt x="649" y="379"/>
                      </a:lnTo>
                      <a:lnTo>
                        <a:pt x="649" y="379"/>
                      </a:lnTo>
                      <a:lnTo>
                        <a:pt x="650" y="379"/>
                      </a:lnTo>
                      <a:lnTo>
                        <a:pt x="650" y="378"/>
                      </a:lnTo>
                      <a:lnTo>
                        <a:pt x="651" y="378"/>
                      </a:lnTo>
                      <a:lnTo>
                        <a:pt x="651" y="378"/>
                      </a:lnTo>
                      <a:lnTo>
                        <a:pt x="652" y="378"/>
                      </a:lnTo>
                      <a:lnTo>
                        <a:pt x="653" y="378"/>
                      </a:lnTo>
                      <a:lnTo>
                        <a:pt x="653" y="379"/>
                      </a:lnTo>
                      <a:lnTo>
                        <a:pt x="653" y="379"/>
                      </a:lnTo>
                      <a:lnTo>
                        <a:pt x="653" y="379"/>
                      </a:lnTo>
                      <a:lnTo>
                        <a:pt x="654" y="379"/>
                      </a:lnTo>
                      <a:lnTo>
                        <a:pt x="655" y="379"/>
                      </a:lnTo>
                      <a:lnTo>
                        <a:pt x="655" y="380"/>
                      </a:lnTo>
                      <a:lnTo>
                        <a:pt x="656" y="380"/>
                      </a:lnTo>
                      <a:lnTo>
                        <a:pt x="656" y="381"/>
                      </a:lnTo>
                      <a:lnTo>
                        <a:pt x="657" y="381"/>
                      </a:lnTo>
                      <a:lnTo>
                        <a:pt x="658" y="381"/>
                      </a:lnTo>
                      <a:lnTo>
                        <a:pt x="658" y="381"/>
                      </a:lnTo>
                      <a:lnTo>
                        <a:pt x="659" y="381"/>
                      </a:lnTo>
                      <a:lnTo>
                        <a:pt x="659" y="380"/>
                      </a:lnTo>
                      <a:lnTo>
                        <a:pt x="660" y="379"/>
                      </a:lnTo>
                      <a:lnTo>
                        <a:pt x="659" y="375"/>
                      </a:lnTo>
                      <a:lnTo>
                        <a:pt x="659" y="374"/>
                      </a:lnTo>
                      <a:lnTo>
                        <a:pt x="660" y="373"/>
                      </a:lnTo>
                      <a:lnTo>
                        <a:pt x="660" y="371"/>
                      </a:lnTo>
                      <a:lnTo>
                        <a:pt x="661" y="368"/>
                      </a:lnTo>
                      <a:lnTo>
                        <a:pt x="662" y="366"/>
                      </a:lnTo>
                      <a:lnTo>
                        <a:pt x="664" y="364"/>
                      </a:lnTo>
                      <a:lnTo>
                        <a:pt x="665" y="364"/>
                      </a:lnTo>
                      <a:lnTo>
                        <a:pt x="666" y="362"/>
                      </a:lnTo>
                      <a:lnTo>
                        <a:pt x="666" y="362"/>
                      </a:lnTo>
                      <a:lnTo>
                        <a:pt x="666" y="361"/>
                      </a:lnTo>
                      <a:lnTo>
                        <a:pt x="665" y="361"/>
                      </a:lnTo>
                      <a:lnTo>
                        <a:pt x="664" y="360"/>
                      </a:lnTo>
                      <a:lnTo>
                        <a:pt x="664" y="360"/>
                      </a:lnTo>
                      <a:lnTo>
                        <a:pt x="664" y="359"/>
                      </a:lnTo>
                      <a:lnTo>
                        <a:pt x="664" y="358"/>
                      </a:lnTo>
                      <a:lnTo>
                        <a:pt x="663" y="358"/>
                      </a:lnTo>
                      <a:lnTo>
                        <a:pt x="663" y="358"/>
                      </a:lnTo>
                      <a:lnTo>
                        <a:pt x="662" y="357"/>
                      </a:lnTo>
                      <a:lnTo>
                        <a:pt x="662" y="356"/>
                      </a:lnTo>
                      <a:lnTo>
                        <a:pt x="665" y="353"/>
                      </a:lnTo>
                      <a:lnTo>
                        <a:pt x="666" y="349"/>
                      </a:lnTo>
                      <a:lnTo>
                        <a:pt x="665" y="347"/>
                      </a:lnTo>
                      <a:lnTo>
                        <a:pt x="666" y="345"/>
                      </a:lnTo>
                      <a:lnTo>
                        <a:pt x="667" y="343"/>
                      </a:lnTo>
                      <a:lnTo>
                        <a:pt x="668" y="343"/>
                      </a:lnTo>
                      <a:lnTo>
                        <a:pt x="668" y="343"/>
                      </a:lnTo>
                      <a:lnTo>
                        <a:pt x="669" y="342"/>
                      </a:lnTo>
                      <a:lnTo>
                        <a:pt x="668" y="341"/>
                      </a:lnTo>
                      <a:lnTo>
                        <a:pt x="668" y="341"/>
                      </a:lnTo>
                      <a:lnTo>
                        <a:pt x="668" y="340"/>
                      </a:lnTo>
                      <a:lnTo>
                        <a:pt x="667" y="338"/>
                      </a:lnTo>
                      <a:lnTo>
                        <a:pt x="666" y="338"/>
                      </a:lnTo>
                      <a:lnTo>
                        <a:pt x="665" y="339"/>
                      </a:lnTo>
                      <a:lnTo>
                        <a:pt x="664" y="338"/>
                      </a:lnTo>
                      <a:lnTo>
                        <a:pt x="664" y="337"/>
                      </a:lnTo>
                      <a:lnTo>
                        <a:pt x="664" y="337"/>
                      </a:lnTo>
                      <a:lnTo>
                        <a:pt x="664" y="336"/>
                      </a:lnTo>
                      <a:lnTo>
                        <a:pt x="662" y="335"/>
                      </a:lnTo>
                      <a:lnTo>
                        <a:pt x="660" y="332"/>
                      </a:lnTo>
                      <a:lnTo>
                        <a:pt x="659" y="331"/>
                      </a:lnTo>
                      <a:lnTo>
                        <a:pt x="658" y="330"/>
                      </a:lnTo>
                      <a:lnTo>
                        <a:pt x="656" y="330"/>
                      </a:lnTo>
                      <a:lnTo>
                        <a:pt x="655" y="328"/>
                      </a:lnTo>
                      <a:lnTo>
                        <a:pt x="654" y="327"/>
                      </a:lnTo>
                      <a:lnTo>
                        <a:pt x="652" y="324"/>
                      </a:lnTo>
                      <a:lnTo>
                        <a:pt x="647" y="321"/>
                      </a:lnTo>
                      <a:lnTo>
                        <a:pt x="646" y="322"/>
                      </a:lnTo>
                      <a:lnTo>
                        <a:pt x="646" y="320"/>
                      </a:lnTo>
                      <a:lnTo>
                        <a:pt x="645" y="316"/>
                      </a:lnTo>
                      <a:lnTo>
                        <a:pt x="645" y="314"/>
                      </a:lnTo>
                      <a:lnTo>
                        <a:pt x="645" y="314"/>
                      </a:lnTo>
                      <a:lnTo>
                        <a:pt x="645" y="312"/>
                      </a:lnTo>
                      <a:lnTo>
                        <a:pt x="644" y="312"/>
                      </a:lnTo>
                      <a:lnTo>
                        <a:pt x="644" y="312"/>
                      </a:lnTo>
                      <a:lnTo>
                        <a:pt x="643" y="312"/>
                      </a:lnTo>
                      <a:lnTo>
                        <a:pt x="643" y="312"/>
                      </a:lnTo>
                      <a:lnTo>
                        <a:pt x="642" y="312"/>
                      </a:lnTo>
                      <a:lnTo>
                        <a:pt x="641" y="312"/>
                      </a:lnTo>
                      <a:lnTo>
                        <a:pt x="641" y="313"/>
                      </a:lnTo>
                      <a:lnTo>
                        <a:pt x="641" y="312"/>
                      </a:lnTo>
                      <a:lnTo>
                        <a:pt x="641" y="313"/>
                      </a:lnTo>
                      <a:lnTo>
                        <a:pt x="641" y="313"/>
                      </a:lnTo>
                      <a:lnTo>
                        <a:pt x="640" y="313"/>
                      </a:lnTo>
                      <a:lnTo>
                        <a:pt x="639" y="314"/>
                      </a:lnTo>
                      <a:lnTo>
                        <a:pt x="639" y="314"/>
                      </a:lnTo>
                      <a:lnTo>
                        <a:pt x="638" y="314"/>
                      </a:lnTo>
                      <a:lnTo>
                        <a:pt x="638" y="314"/>
                      </a:lnTo>
                      <a:lnTo>
                        <a:pt x="637" y="314"/>
                      </a:lnTo>
                      <a:lnTo>
                        <a:pt x="637" y="314"/>
                      </a:lnTo>
                      <a:lnTo>
                        <a:pt x="637" y="315"/>
                      </a:lnTo>
                      <a:lnTo>
                        <a:pt x="637" y="314"/>
                      </a:lnTo>
                      <a:lnTo>
                        <a:pt x="636" y="314"/>
                      </a:lnTo>
                      <a:lnTo>
                        <a:pt x="636" y="315"/>
                      </a:lnTo>
                      <a:lnTo>
                        <a:pt x="635" y="315"/>
                      </a:lnTo>
                      <a:lnTo>
                        <a:pt x="634" y="315"/>
                      </a:lnTo>
                      <a:lnTo>
                        <a:pt x="634" y="315"/>
                      </a:lnTo>
                      <a:lnTo>
                        <a:pt x="633" y="315"/>
                      </a:lnTo>
                      <a:lnTo>
                        <a:pt x="632" y="315"/>
                      </a:lnTo>
                      <a:lnTo>
                        <a:pt x="632" y="316"/>
                      </a:lnTo>
                      <a:lnTo>
                        <a:pt x="631" y="316"/>
                      </a:lnTo>
                      <a:lnTo>
                        <a:pt x="630" y="317"/>
                      </a:lnTo>
                      <a:lnTo>
                        <a:pt x="629" y="318"/>
                      </a:lnTo>
                      <a:lnTo>
                        <a:pt x="628" y="318"/>
                      </a:lnTo>
                      <a:lnTo>
                        <a:pt x="622" y="319"/>
                      </a:lnTo>
                      <a:lnTo>
                        <a:pt x="620" y="320"/>
                      </a:lnTo>
                      <a:lnTo>
                        <a:pt x="615" y="316"/>
                      </a:lnTo>
                      <a:lnTo>
                        <a:pt x="614" y="314"/>
                      </a:lnTo>
                      <a:lnTo>
                        <a:pt x="615" y="311"/>
                      </a:lnTo>
                      <a:lnTo>
                        <a:pt x="615" y="309"/>
                      </a:lnTo>
                      <a:lnTo>
                        <a:pt x="614" y="303"/>
                      </a:lnTo>
                      <a:lnTo>
                        <a:pt x="614" y="299"/>
                      </a:lnTo>
                      <a:lnTo>
                        <a:pt x="613" y="298"/>
                      </a:lnTo>
                      <a:lnTo>
                        <a:pt x="611" y="296"/>
                      </a:lnTo>
                      <a:lnTo>
                        <a:pt x="611" y="293"/>
                      </a:lnTo>
                      <a:lnTo>
                        <a:pt x="611" y="292"/>
                      </a:lnTo>
                      <a:lnTo>
                        <a:pt x="610" y="290"/>
                      </a:lnTo>
                      <a:lnTo>
                        <a:pt x="609" y="289"/>
                      </a:lnTo>
                      <a:lnTo>
                        <a:pt x="609" y="288"/>
                      </a:lnTo>
                      <a:lnTo>
                        <a:pt x="609" y="287"/>
                      </a:lnTo>
                      <a:lnTo>
                        <a:pt x="609" y="286"/>
                      </a:lnTo>
                      <a:lnTo>
                        <a:pt x="608" y="286"/>
                      </a:lnTo>
                      <a:lnTo>
                        <a:pt x="608" y="284"/>
                      </a:lnTo>
                      <a:lnTo>
                        <a:pt x="607" y="284"/>
                      </a:lnTo>
                      <a:lnTo>
                        <a:pt x="607" y="283"/>
                      </a:lnTo>
                      <a:lnTo>
                        <a:pt x="607" y="283"/>
                      </a:lnTo>
                      <a:lnTo>
                        <a:pt x="607" y="282"/>
                      </a:lnTo>
                      <a:lnTo>
                        <a:pt x="606" y="282"/>
                      </a:lnTo>
                      <a:lnTo>
                        <a:pt x="606" y="280"/>
                      </a:lnTo>
                      <a:lnTo>
                        <a:pt x="607" y="280"/>
                      </a:lnTo>
                      <a:lnTo>
                        <a:pt x="605" y="278"/>
                      </a:lnTo>
                      <a:lnTo>
                        <a:pt x="605" y="276"/>
                      </a:lnTo>
                      <a:lnTo>
                        <a:pt x="603" y="274"/>
                      </a:lnTo>
                      <a:lnTo>
                        <a:pt x="603" y="272"/>
                      </a:lnTo>
                      <a:lnTo>
                        <a:pt x="603" y="271"/>
                      </a:lnTo>
                      <a:lnTo>
                        <a:pt x="603" y="270"/>
                      </a:lnTo>
                      <a:lnTo>
                        <a:pt x="603" y="269"/>
                      </a:lnTo>
                      <a:lnTo>
                        <a:pt x="602" y="267"/>
                      </a:lnTo>
                      <a:lnTo>
                        <a:pt x="601" y="265"/>
                      </a:lnTo>
                      <a:lnTo>
                        <a:pt x="601" y="263"/>
                      </a:lnTo>
                      <a:lnTo>
                        <a:pt x="601" y="262"/>
                      </a:lnTo>
                      <a:lnTo>
                        <a:pt x="599" y="259"/>
                      </a:lnTo>
                      <a:lnTo>
                        <a:pt x="598" y="256"/>
                      </a:lnTo>
                      <a:lnTo>
                        <a:pt x="597" y="256"/>
                      </a:lnTo>
                      <a:lnTo>
                        <a:pt x="597" y="255"/>
                      </a:lnTo>
                      <a:lnTo>
                        <a:pt x="596" y="254"/>
                      </a:lnTo>
                      <a:lnTo>
                        <a:pt x="596" y="253"/>
                      </a:lnTo>
                      <a:lnTo>
                        <a:pt x="596" y="253"/>
                      </a:lnTo>
                      <a:lnTo>
                        <a:pt x="595" y="252"/>
                      </a:lnTo>
                      <a:lnTo>
                        <a:pt x="594" y="251"/>
                      </a:lnTo>
                      <a:lnTo>
                        <a:pt x="594" y="250"/>
                      </a:lnTo>
                      <a:lnTo>
                        <a:pt x="594" y="249"/>
                      </a:lnTo>
                      <a:lnTo>
                        <a:pt x="594" y="248"/>
                      </a:lnTo>
                      <a:lnTo>
                        <a:pt x="593" y="248"/>
                      </a:lnTo>
                      <a:lnTo>
                        <a:pt x="593" y="247"/>
                      </a:lnTo>
                      <a:lnTo>
                        <a:pt x="592" y="246"/>
                      </a:lnTo>
                      <a:lnTo>
                        <a:pt x="592" y="245"/>
                      </a:lnTo>
                      <a:lnTo>
                        <a:pt x="591" y="244"/>
                      </a:lnTo>
                      <a:lnTo>
                        <a:pt x="590" y="242"/>
                      </a:lnTo>
                      <a:lnTo>
                        <a:pt x="590" y="242"/>
                      </a:lnTo>
                      <a:lnTo>
                        <a:pt x="588" y="241"/>
                      </a:lnTo>
                      <a:lnTo>
                        <a:pt x="588" y="241"/>
                      </a:lnTo>
                      <a:lnTo>
                        <a:pt x="586" y="241"/>
                      </a:lnTo>
                      <a:lnTo>
                        <a:pt x="586" y="241"/>
                      </a:lnTo>
                      <a:lnTo>
                        <a:pt x="585" y="240"/>
                      </a:lnTo>
                      <a:lnTo>
                        <a:pt x="584" y="240"/>
                      </a:lnTo>
                      <a:lnTo>
                        <a:pt x="584" y="240"/>
                      </a:lnTo>
                      <a:lnTo>
                        <a:pt x="582" y="240"/>
                      </a:lnTo>
                      <a:lnTo>
                        <a:pt x="582" y="240"/>
                      </a:lnTo>
                      <a:lnTo>
                        <a:pt x="582" y="240"/>
                      </a:lnTo>
                      <a:lnTo>
                        <a:pt x="582" y="239"/>
                      </a:lnTo>
                      <a:lnTo>
                        <a:pt x="581" y="239"/>
                      </a:lnTo>
                      <a:lnTo>
                        <a:pt x="580" y="239"/>
                      </a:lnTo>
                      <a:lnTo>
                        <a:pt x="580" y="240"/>
                      </a:lnTo>
                      <a:lnTo>
                        <a:pt x="580" y="240"/>
                      </a:lnTo>
                      <a:lnTo>
                        <a:pt x="579" y="240"/>
                      </a:lnTo>
                      <a:lnTo>
                        <a:pt x="579" y="240"/>
                      </a:lnTo>
                      <a:lnTo>
                        <a:pt x="578" y="240"/>
                      </a:lnTo>
                      <a:lnTo>
                        <a:pt x="578" y="240"/>
                      </a:lnTo>
                      <a:lnTo>
                        <a:pt x="577" y="239"/>
                      </a:lnTo>
                      <a:lnTo>
                        <a:pt x="577" y="238"/>
                      </a:lnTo>
                      <a:lnTo>
                        <a:pt x="577" y="238"/>
                      </a:lnTo>
                      <a:lnTo>
                        <a:pt x="577" y="239"/>
                      </a:lnTo>
                      <a:lnTo>
                        <a:pt x="576" y="239"/>
                      </a:lnTo>
                      <a:lnTo>
                        <a:pt x="575" y="239"/>
                      </a:lnTo>
                      <a:lnTo>
                        <a:pt x="575" y="239"/>
                      </a:lnTo>
                      <a:lnTo>
                        <a:pt x="575" y="240"/>
                      </a:lnTo>
                      <a:lnTo>
                        <a:pt x="574" y="240"/>
                      </a:lnTo>
                      <a:lnTo>
                        <a:pt x="573" y="240"/>
                      </a:lnTo>
                      <a:lnTo>
                        <a:pt x="573" y="240"/>
                      </a:lnTo>
                      <a:lnTo>
                        <a:pt x="572" y="240"/>
                      </a:lnTo>
                      <a:lnTo>
                        <a:pt x="570" y="243"/>
                      </a:lnTo>
                      <a:lnTo>
                        <a:pt x="569" y="246"/>
                      </a:lnTo>
                      <a:lnTo>
                        <a:pt x="569" y="248"/>
                      </a:lnTo>
                      <a:lnTo>
                        <a:pt x="569" y="249"/>
                      </a:lnTo>
                      <a:lnTo>
                        <a:pt x="569" y="252"/>
                      </a:lnTo>
                      <a:lnTo>
                        <a:pt x="569" y="253"/>
                      </a:lnTo>
                      <a:lnTo>
                        <a:pt x="569" y="254"/>
                      </a:lnTo>
                      <a:lnTo>
                        <a:pt x="567" y="257"/>
                      </a:lnTo>
                      <a:lnTo>
                        <a:pt x="566" y="257"/>
                      </a:lnTo>
                      <a:lnTo>
                        <a:pt x="565" y="259"/>
                      </a:lnTo>
                      <a:lnTo>
                        <a:pt x="563" y="261"/>
                      </a:lnTo>
                      <a:lnTo>
                        <a:pt x="563" y="261"/>
                      </a:lnTo>
                      <a:lnTo>
                        <a:pt x="561" y="261"/>
                      </a:lnTo>
                      <a:lnTo>
                        <a:pt x="558" y="260"/>
                      </a:lnTo>
                      <a:lnTo>
                        <a:pt x="556" y="259"/>
                      </a:lnTo>
                      <a:lnTo>
                        <a:pt x="555" y="258"/>
                      </a:lnTo>
                      <a:lnTo>
                        <a:pt x="554" y="255"/>
                      </a:lnTo>
                      <a:lnTo>
                        <a:pt x="554" y="253"/>
                      </a:lnTo>
                      <a:lnTo>
                        <a:pt x="554" y="251"/>
                      </a:lnTo>
                      <a:lnTo>
                        <a:pt x="553" y="250"/>
                      </a:lnTo>
                      <a:lnTo>
                        <a:pt x="553" y="248"/>
                      </a:lnTo>
                      <a:lnTo>
                        <a:pt x="553" y="244"/>
                      </a:lnTo>
                      <a:lnTo>
                        <a:pt x="551" y="244"/>
                      </a:lnTo>
                      <a:lnTo>
                        <a:pt x="548" y="244"/>
                      </a:lnTo>
                      <a:lnTo>
                        <a:pt x="547" y="243"/>
                      </a:lnTo>
                      <a:lnTo>
                        <a:pt x="546" y="243"/>
                      </a:lnTo>
                      <a:lnTo>
                        <a:pt x="546" y="243"/>
                      </a:lnTo>
                      <a:lnTo>
                        <a:pt x="544" y="242"/>
                      </a:lnTo>
                      <a:lnTo>
                        <a:pt x="544" y="241"/>
                      </a:lnTo>
                      <a:lnTo>
                        <a:pt x="544" y="240"/>
                      </a:lnTo>
                      <a:lnTo>
                        <a:pt x="543" y="240"/>
                      </a:lnTo>
                      <a:lnTo>
                        <a:pt x="542" y="240"/>
                      </a:lnTo>
                      <a:lnTo>
                        <a:pt x="542" y="239"/>
                      </a:lnTo>
                      <a:lnTo>
                        <a:pt x="542" y="238"/>
                      </a:lnTo>
                      <a:lnTo>
                        <a:pt x="540" y="238"/>
                      </a:lnTo>
                      <a:lnTo>
                        <a:pt x="539" y="238"/>
                      </a:lnTo>
                      <a:lnTo>
                        <a:pt x="538" y="238"/>
                      </a:lnTo>
                      <a:lnTo>
                        <a:pt x="537" y="238"/>
                      </a:lnTo>
                      <a:lnTo>
                        <a:pt x="537" y="237"/>
                      </a:lnTo>
                      <a:lnTo>
                        <a:pt x="537" y="236"/>
                      </a:lnTo>
                      <a:lnTo>
                        <a:pt x="539" y="235"/>
                      </a:lnTo>
                      <a:lnTo>
                        <a:pt x="539" y="234"/>
                      </a:lnTo>
                      <a:lnTo>
                        <a:pt x="538" y="234"/>
                      </a:lnTo>
                      <a:lnTo>
                        <a:pt x="539" y="234"/>
                      </a:lnTo>
                      <a:lnTo>
                        <a:pt x="539" y="233"/>
                      </a:lnTo>
                      <a:lnTo>
                        <a:pt x="538" y="231"/>
                      </a:lnTo>
                      <a:lnTo>
                        <a:pt x="537" y="231"/>
                      </a:lnTo>
                      <a:lnTo>
                        <a:pt x="537" y="229"/>
                      </a:lnTo>
                      <a:lnTo>
                        <a:pt x="536" y="229"/>
                      </a:lnTo>
                      <a:lnTo>
                        <a:pt x="536" y="229"/>
                      </a:lnTo>
                      <a:lnTo>
                        <a:pt x="535" y="228"/>
                      </a:lnTo>
                      <a:lnTo>
                        <a:pt x="534" y="228"/>
                      </a:lnTo>
                      <a:lnTo>
                        <a:pt x="534" y="227"/>
                      </a:lnTo>
                      <a:lnTo>
                        <a:pt x="535" y="225"/>
                      </a:lnTo>
                      <a:lnTo>
                        <a:pt x="535" y="225"/>
                      </a:lnTo>
                      <a:lnTo>
                        <a:pt x="533" y="225"/>
                      </a:lnTo>
                      <a:lnTo>
                        <a:pt x="533" y="224"/>
                      </a:lnTo>
                      <a:lnTo>
                        <a:pt x="531" y="225"/>
                      </a:lnTo>
                      <a:lnTo>
                        <a:pt x="530" y="225"/>
                      </a:lnTo>
                      <a:lnTo>
                        <a:pt x="529" y="225"/>
                      </a:lnTo>
                      <a:lnTo>
                        <a:pt x="529" y="225"/>
                      </a:lnTo>
                      <a:lnTo>
                        <a:pt x="528" y="225"/>
                      </a:lnTo>
                      <a:lnTo>
                        <a:pt x="528" y="224"/>
                      </a:lnTo>
                      <a:lnTo>
                        <a:pt x="528" y="223"/>
                      </a:lnTo>
                      <a:lnTo>
                        <a:pt x="527" y="223"/>
                      </a:lnTo>
                      <a:lnTo>
                        <a:pt x="527" y="223"/>
                      </a:lnTo>
                      <a:lnTo>
                        <a:pt x="527" y="222"/>
                      </a:lnTo>
                      <a:lnTo>
                        <a:pt x="526" y="221"/>
                      </a:lnTo>
                      <a:lnTo>
                        <a:pt x="525" y="218"/>
                      </a:lnTo>
                      <a:lnTo>
                        <a:pt x="525" y="217"/>
                      </a:lnTo>
                      <a:lnTo>
                        <a:pt x="525" y="216"/>
                      </a:lnTo>
                      <a:lnTo>
                        <a:pt x="527" y="215"/>
                      </a:lnTo>
                      <a:lnTo>
                        <a:pt x="527" y="214"/>
                      </a:lnTo>
                      <a:lnTo>
                        <a:pt x="527" y="213"/>
                      </a:lnTo>
                      <a:lnTo>
                        <a:pt x="527" y="212"/>
                      </a:lnTo>
                      <a:lnTo>
                        <a:pt x="527" y="210"/>
                      </a:lnTo>
                      <a:lnTo>
                        <a:pt x="526" y="210"/>
                      </a:lnTo>
                      <a:lnTo>
                        <a:pt x="525" y="208"/>
                      </a:lnTo>
                      <a:lnTo>
                        <a:pt x="524" y="206"/>
                      </a:lnTo>
                      <a:lnTo>
                        <a:pt x="524" y="206"/>
                      </a:lnTo>
                      <a:lnTo>
                        <a:pt x="524" y="205"/>
                      </a:lnTo>
                      <a:lnTo>
                        <a:pt x="523" y="204"/>
                      </a:lnTo>
                      <a:lnTo>
                        <a:pt x="523" y="204"/>
                      </a:lnTo>
                      <a:lnTo>
                        <a:pt x="523" y="204"/>
                      </a:lnTo>
                      <a:lnTo>
                        <a:pt x="522" y="204"/>
                      </a:lnTo>
                      <a:lnTo>
                        <a:pt x="522" y="203"/>
                      </a:lnTo>
                      <a:lnTo>
                        <a:pt x="522" y="202"/>
                      </a:lnTo>
                      <a:lnTo>
                        <a:pt x="523" y="202"/>
                      </a:lnTo>
                      <a:lnTo>
                        <a:pt x="522" y="202"/>
                      </a:lnTo>
                      <a:lnTo>
                        <a:pt x="522" y="202"/>
                      </a:lnTo>
                      <a:lnTo>
                        <a:pt x="522" y="201"/>
                      </a:lnTo>
                      <a:lnTo>
                        <a:pt x="522" y="200"/>
                      </a:lnTo>
                      <a:lnTo>
                        <a:pt x="523" y="200"/>
                      </a:lnTo>
                      <a:lnTo>
                        <a:pt x="522" y="200"/>
                      </a:lnTo>
                      <a:lnTo>
                        <a:pt x="522" y="199"/>
                      </a:lnTo>
                      <a:lnTo>
                        <a:pt x="522" y="198"/>
                      </a:lnTo>
                      <a:lnTo>
                        <a:pt x="521" y="198"/>
                      </a:lnTo>
                      <a:lnTo>
                        <a:pt x="520" y="197"/>
                      </a:lnTo>
                      <a:lnTo>
                        <a:pt x="520" y="196"/>
                      </a:lnTo>
                      <a:lnTo>
                        <a:pt x="520" y="196"/>
                      </a:lnTo>
                      <a:lnTo>
                        <a:pt x="520" y="195"/>
                      </a:lnTo>
                      <a:lnTo>
                        <a:pt x="520" y="193"/>
                      </a:lnTo>
                      <a:lnTo>
                        <a:pt x="520" y="191"/>
                      </a:lnTo>
                      <a:lnTo>
                        <a:pt x="518" y="190"/>
                      </a:lnTo>
                      <a:lnTo>
                        <a:pt x="517" y="187"/>
                      </a:lnTo>
                      <a:lnTo>
                        <a:pt x="516" y="186"/>
                      </a:lnTo>
                      <a:lnTo>
                        <a:pt x="516" y="185"/>
                      </a:lnTo>
                      <a:lnTo>
                        <a:pt x="516" y="184"/>
                      </a:lnTo>
                      <a:lnTo>
                        <a:pt x="516" y="183"/>
                      </a:lnTo>
                      <a:lnTo>
                        <a:pt x="515" y="181"/>
                      </a:lnTo>
                      <a:lnTo>
                        <a:pt x="515" y="181"/>
                      </a:lnTo>
                      <a:lnTo>
                        <a:pt x="515" y="180"/>
                      </a:lnTo>
                      <a:lnTo>
                        <a:pt x="515" y="179"/>
                      </a:lnTo>
                      <a:lnTo>
                        <a:pt x="516" y="179"/>
                      </a:lnTo>
                      <a:lnTo>
                        <a:pt x="515" y="178"/>
                      </a:lnTo>
                      <a:lnTo>
                        <a:pt x="514" y="176"/>
                      </a:lnTo>
                      <a:lnTo>
                        <a:pt x="512" y="170"/>
                      </a:lnTo>
                      <a:lnTo>
                        <a:pt x="511" y="169"/>
                      </a:lnTo>
                      <a:lnTo>
                        <a:pt x="511" y="166"/>
                      </a:lnTo>
                      <a:lnTo>
                        <a:pt x="510" y="164"/>
                      </a:lnTo>
                      <a:lnTo>
                        <a:pt x="511" y="164"/>
                      </a:lnTo>
                      <a:lnTo>
                        <a:pt x="511" y="162"/>
                      </a:lnTo>
                      <a:lnTo>
                        <a:pt x="511" y="160"/>
                      </a:lnTo>
                      <a:lnTo>
                        <a:pt x="510" y="158"/>
                      </a:lnTo>
                      <a:lnTo>
                        <a:pt x="508" y="157"/>
                      </a:lnTo>
                      <a:lnTo>
                        <a:pt x="507" y="154"/>
                      </a:lnTo>
                      <a:lnTo>
                        <a:pt x="507" y="153"/>
                      </a:lnTo>
                      <a:lnTo>
                        <a:pt x="506" y="149"/>
                      </a:lnTo>
                      <a:lnTo>
                        <a:pt x="503" y="144"/>
                      </a:lnTo>
                      <a:lnTo>
                        <a:pt x="506" y="141"/>
                      </a:lnTo>
                      <a:lnTo>
                        <a:pt x="508" y="141"/>
                      </a:lnTo>
                      <a:lnTo>
                        <a:pt x="509" y="139"/>
                      </a:lnTo>
                      <a:lnTo>
                        <a:pt x="515" y="137"/>
                      </a:lnTo>
                      <a:lnTo>
                        <a:pt x="518" y="135"/>
                      </a:lnTo>
                      <a:lnTo>
                        <a:pt x="519" y="134"/>
                      </a:lnTo>
                      <a:lnTo>
                        <a:pt x="520" y="132"/>
                      </a:lnTo>
                      <a:lnTo>
                        <a:pt x="520" y="132"/>
                      </a:lnTo>
                      <a:lnTo>
                        <a:pt x="521" y="132"/>
                      </a:lnTo>
                      <a:lnTo>
                        <a:pt x="522" y="131"/>
                      </a:lnTo>
                      <a:lnTo>
                        <a:pt x="523" y="131"/>
                      </a:lnTo>
                      <a:lnTo>
                        <a:pt x="523" y="132"/>
                      </a:lnTo>
                      <a:lnTo>
                        <a:pt x="523" y="131"/>
                      </a:lnTo>
                      <a:lnTo>
                        <a:pt x="524" y="131"/>
                      </a:lnTo>
                      <a:lnTo>
                        <a:pt x="525" y="131"/>
                      </a:lnTo>
                      <a:lnTo>
                        <a:pt x="525" y="130"/>
                      </a:lnTo>
                      <a:lnTo>
                        <a:pt x="525" y="130"/>
                      </a:lnTo>
                      <a:lnTo>
                        <a:pt x="526" y="130"/>
                      </a:lnTo>
                      <a:lnTo>
                        <a:pt x="526" y="129"/>
                      </a:lnTo>
                      <a:lnTo>
                        <a:pt x="527" y="129"/>
                      </a:lnTo>
                      <a:lnTo>
                        <a:pt x="527" y="129"/>
                      </a:lnTo>
                      <a:lnTo>
                        <a:pt x="528" y="129"/>
                      </a:lnTo>
                      <a:lnTo>
                        <a:pt x="529" y="129"/>
                      </a:lnTo>
                      <a:lnTo>
                        <a:pt x="529" y="129"/>
                      </a:lnTo>
                      <a:lnTo>
                        <a:pt x="529" y="128"/>
                      </a:lnTo>
                      <a:lnTo>
                        <a:pt x="530" y="128"/>
                      </a:lnTo>
                      <a:lnTo>
                        <a:pt x="530" y="128"/>
                      </a:lnTo>
                      <a:lnTo>
                        <a:pt x="531" y="128"/>
                      </a:lnTo>
                      <a:lnTo>
                        <a:pt x="531" y="127"/>
                      </a:lnTo>
                      <a:lnTo>
                        <a:pt x="532" y="127"/>
                      </a:lnTo>
                      <a:lnTo>
                        <a:pt x="533" y="127"/>
                      </a:lnTo>
                      <a:lnTo>
                        <a:pt x="533" y="127"/>
                      </a:lnTo>
                      <a:lnTo>
                        <a:pt x="533" y="128"/>
                      </a:lnTo>
                      <a:lnTo>
                        <a:pt x="533" y="127"/>
                      </a:lnTo>
                      <a:lnTo>
                        <a:pt x="534" y="127"/>
                      </a:lnTo>
                      <a:lnTo>
                        <a:pt x="534" y="128"/>
                      </a:lnTo>
                      <a:lnTo>
                        <a:pt x="534" y="127"/>
                      </a:lnTo>
                      <a:lnTo>
                        <a:pt x="535" y="127"/>
                      </a:lnTo>
                      <a:lnTo>
                        <a:pt x="535" y="128"/>
                      </a:lnTo>
                      <a:lnTo>
                        <a:pt x="535" y="128"/>
                      </a:lnTo>
                      <a:lnTo>
                        <a:pt x="539" y="128"/>
                      </a:lnTo>
                      <a:lnTo>
                        <a:pt x="540" y="127"/>
                      </a:lnTo>
                      <a:lnTo>
                        <a:pt x="541" y="127"/>
                      </a:lnTo>
                      <a:lnTo>
                        <a:pt x="542" y="127"/>
                      </a:lnTo>
                      <a:lnTo>
                        <a:pt x="542" y="126"/>
                      </a:lnTo>
                      <a:lnTo>
                        <a:pt x="542" y="127"/>
                      </a:lnTo>
                      <a:lnTo>
                        <a:pt x="543" y="127"/>
                      </a:lnTo>
                      <a:lnTo>
                        <a:pt x="544" y="127"/>
                      </a:lnTo>
                      <a:lnTo>
                        <a:pt x="544" y="126"/>
                      </a:lnTo>
                      <a:lnTo>
                        <a:pt x="544" y="126"/>
                      </a:lnTo>
                      <a:lnTo>
                        <a:pt x="545" y="126"/>
                      </a:lnTo>
                      <a:lnTo>
                        <a:pt x="545" y="126"/>
                      </a:lnTo>
                      <a:lnTo>
                        <a:pt x="546" y="126"/>
                      </a:lnTo>
                      <a:lnTo>
                        <a:pt x="546" y="126"/>
                      </a:lnTo>
                      <a:lnTo>
                        <a:pt x="546" y="126"/>
                      </a:lnTo>
                      <a:lnTo>
                        <a:pt x="546" y="126"/>
                      </a:lnTo>
                      <a:lnTo>
                        <a:pt x="546" y="126"/>
                      </a:lnTo>
                      <a:lnTo>
                        <a:pt x="547" y="126"/>
                      </a:lnTo>
                      <a:lnTo>
                        <a:pt x="547" y="126"/>
                      </a:lnTo>
                      <a:lnTo>
                        <a:pt x="548" y="126"/>
                      </a:lnTo>
                      <a:lnTo>
                        <a:pt x="548" y="125"/>
                      </a:lnTo>
                      <a:lnTo>
                        <a:pt x="548" y="125"/>
                      </a:lnTo>
                      <a:lnTo>
                        <a:pt x="548" y="125"/>
                      </a:lnTo>
                      <a:lnTo>
                        <a:pt x="548" y="124"/>
                      </a:lnTo>
                      <a:lnTo>
                        <a:pt x="548" y="125"/>
                      </a:lnTo>
                      <a:lnTo>
                        <a:pt x="549" y="125"/>
                      </a:lnTo>
                      <a:lnTo>
                        <a:pt x="549" y="124"/>
                      </a:lnTo>
                      <a:lnTo>
                        <a:pt x="549" y="124"/>
                      </a:lnTo>
                      <a:lnTo>
                        <a:pt x="549" y="123"/>
                      </a:lnTo>
                      <a:lnTo>
                        <a:pt x="550" y="123"/>
                      </a:lnTo>
                      <a:lnTo>
                        <a:pt x="550" y="124"/>
                      </a:lnTo>
                      <a:lnTo>
                        <a:pt x="550" y="124"/>
                      </a:lnTo>
                      <a:lnTo>
                        <a:pt x="550" y="124"/>
                      </a:lnTo>
                      <a:lnTo>
                        <a:pt x="550" y="124"/>
                      </a:lnTo>
                      <a:lnTo>
                        <a:pt x="551" y="123"/>
                      </a:lnTo>
                      <a:lnTo>
                        <a:pt x="551" y="124"/>
                      </a:lnTo>
                      <a:lnTo>
                        <a:pt x="552" y="124"/>
                      </a:lnTo>
                      <a:lnTo>
                        <a:pt x="552" y="123"/>
                      </a:lnTo>
                      <a:lnTo>
                        <a:pt x="552" y="122"/>
                      </a:lnTo>
                      <a:lnTo>
                        <a:pt x="552" y="122"/>
                      </a:lnTo>
                      <a:lnTo>
                        <a:pt x="553" y="122"/>
                      </a:lnTo>
                      <a:lnTo>
                        <a:pt x="553" y="122"/>
                      </a:lnTo>
                      <a:lnTo>
                        <a:pt x="553" y="121"/>
                      </a:lnTo>
                      <a:lnTo>
                        <a:pt x="553" y="120"/>
                      </a:lnTo>
                      <a:lnTo>
                        <a:pt x="553" y="120"/>
                      </a:lnTo>
                      <a:lnTo>
                        <a:pt x="553" y="119"/>
                      </a:lnTo>
                      <a:lnTo>
                        <a:pt x="553" y="118"/>
                      </a:lnTo>
                      <a:lnTo>
                        <a:pt x="552" y="118"/>
                      </a:lnTo>
                      <a:lnTo>
                        <a:pt x="552" y="118"/>
                      </a:lnTo>
                      <a:lnTo>
                        <a:pt x="551" y="118"/>
                      </a:lnTo>
                      <a:lnTo>
                        <a:pt x="550" y="118"/>
                      </a:lnTo>
                      <a:lnTo>
                        <a:pt x="550" y="118"/>
                      </a:lnTo>
                      <a:lnTo>
                        <a:pt x="549" y="118"/>
                      </a:lnTo>
                      <a:lnTo>
                        <a:pt x="549" y="118"/>
                      </a:lnTo>
                      <a:lnTo>
                        <a:pt x="548" y="118"/>
                      </a:lnTo>
                      <a:lnTo>
                        <a:pt x="548" y="117"/>
                      </a:lnTo>
                      <a:lnTo>
                        <a:pt x="548" y="118"/>
                      </a:lnTo>
                      <a:lnTo>
                        <a:pt x="547" y="118"/>
                      </a:lnTo>
                      <a:lnTo>
                        <a:pt x="546" y="118"/>
                      </a:lnTo>
                      <a:lnTo>
                        <a:pt x="546" y="118"/>
                      </a:lnTo>
                      <a:lnTo>
                        <a:pt x="545" y="118"/>
                      </a:lnTo>
                      <a:lnTo>
                        <a:pt x="545" y="118"/>
                      </a:lnTo>
                      <a:lnTo>
                        <a:pt x="544" y="118"/>
                      </a:lnTo>
                      <a:lnTo>
                        <a:pt x="544" y="119"/>
                      </a:lnTo>
                      <a:lnTo>
                        <a:pt x="544" y="119"/>
                      </a:lnTo>
                      <a:lnTo>
                        <a:pt x="543" y="119"/>
                      </a:lnTo>
                      <a:lnTo>
                        <a:pt x="542" y="119"/>
                      </a:lnTo>
                      <a:lnTo>
                        <a:pt x="542" y="119"/>
                      </a:lnTo>
                      <a:lnTo>
                        <a:pt x="541" y="119"/>
                      </a:lnTo>
                      <a:lnTo>
                        <a:pt x="541" y="118"/>
                      </a:lnTo>
                      <a:lnTo>
                        <a:pt x="540" y="118"/>
                      </a:lnTo>
                      <a:lnTo>
                        <a:pt x="539" y="118"/>
                      </a:lnTo>
                      <a:lnTo>
                        <a:pt x="539" y="118"/>
                      </a:lnTo>
                      <a:lnTo>
                        <a:pt x="538" y="118"/>
                      </a:lnTo>
                      <a:lnTo>
                        <a:pt x="538" y="117"/>
                      </a:lnTo>
                      <a:lnTo>
                        <a:pt x="537" y="117"/>
                      </a:lnTo>
                      <a:lnTo>
                        <a:pt x="537" y="117"/>
                      </a:lnTo>
                      <a:lnTo>
                        <a:pt x="537" y="116"/>
                      </a:lnTo>
                      <a:lnTo>
                        <a:pt x="536" y="116"/>
                      </a:lnTo>
                      <a:lnTo>
                        <a:pt x="536" y="116"/>
                      </a:lnTo>
                      <a:lnTo>
                        <a:pt x="535" y="116"/>
                      </a:lnTo>
                      <a:lnTo>
                        <a:pt x="535" y="116"/>
                      </a:lnTo>
                      <a:lnTo>
                        <a:pt x="535" y="116"/>
                      </a:lnTo>
                      <a:lnTo>
                        <a:pt x="534" y="116"/>
                      </a:lnTo>
                      <a:lnTo>
                        <a:pt x="533" y="116"/>
                      </a:lnTo>
                      <a:lnTo>
                        <a:pt x="533" y="116"/>
                      </a:lnTo>
                      <a:lnTo>
                        <a:pt x="532" y="116"/>
                      </a:lnTo>
                      <a:lnTo>
                        <a:pt x="531" y="116"/>
                      </a:lnTo>
                      <a:lnTo>
                        <a:pt x="531" y="116"/>
                      </a:lnTo>
                      <a:lnTo>
                        <a:pt x="530" y="116"/>
                      </a:lnTo>
                      <a:lnTo>
                        <a:pt x="529" y="116"/>
                      </a:lnTo>
                      <a:lnTo>
                        <a:pt x="529" y="116"/>
                      </a:lnTo>
                      <a:lnTo>
                        <a:pt x="528" y="116"/>
                      </a:lnTo>
                      <a:lnTo>
                        <a:pt x="527" y="116"/>
                      </a:lnTo>
                      <a:lnTo>
                        <a:pt x="527" y="116"/>
                      </a:lnTo>
                      <a:lnTo>
                        <a:pt x="526" y="116"/>
                      </a:lnTo>
                      <a:lnTo>
                        <a:pt x="526" y="117"/>
                      </a:lnTo>
                      <a:lnTo>
                        <a:pt x="525" y="117"/>
                      </a:lnTo>
                      <a:lnTo>
                        <a:pt x="525" y="117"/>
                      </a:lnTo>
                      <a:lnTo>
                        <a:pt x="524" y="117"/>
                      </a:lnTo>
                      <a:lnTo>
                        <a:pt x="523" y="117"/>
                      </a:lnTo>
                      <a:lnTo>
                        <a:pt x="523" y="117"/>
                      </a:lnTo>
                      <a:lnTo>
                        <a:pt x="522" y="117"/>
                      </a:lnTo>
                      <a:lnTo>
                        <a:pt x="522" y="116"/>
                      </a:lnTo>
                      <a:lnTo>
                        <a:pt x="521" y="116"/>
                      </a:lnTo>
                      <a:lnTo>
                        <a:pt x="520" y="116"/>
                      </a:lnTo>
                      <a:lnTo>
                        <a:pt x="520" y="116"/>
                      </a:lnTo>
                      <a:lnTo>
                        <a:pt x="520" y="116"/>
                      </a:lnTo>
                      <a:lnTo>
                        <a:pt x="520" y="116"/>
                      </a:lnTo>
                      <a:lnTo>
                        <a:pt x="519" y="116"/>
                      </a:lnTo>
                      <a:lnTo>
                        <a:pt x="518" y="116"/>
                      </a:lnTo>
                      <a:lnTo>
                        <a:pt x="518" y="117"/>
                      </a:lnTo>
                      <a:lnTo>
                        <a:pt x="518" y="117"/>
                      </a:lnTo>
                      <a:lnTo>
                        <a:pt x="518" y="116"/>
                      </a:lnTo>
                      <a:lnTo>
                        <a:pt x="517" y="116"/>
                      </a:lnTo>
                      <a:lnTo>
                        <a:pt x="516" y="116"/>
                      </a:lnTo>
                      <a:lnTo>
                        <a:pt x="516" y="116"/>
                      </a:lnTo>
                      <a:lnTo>
                        <a:pt x="516" y="116"/>
                      </a:lnTo>
                      <a:lnTo>
                        <a:pt x="516" y="115"/>
                      </a:lnTo>
                      <a:lnTo>
                        <a:pt x="515" y="115"/>
                      </a:lnTo>
                      <a:lnTo>
                        <a:pt x="512" y="115"/>
                      </a:lnTo>
                      <a:lnTo>
                        <a:pt x="510" y="116"/>
                      </a:lnTo>
                      <a:lnTo>
                        <a:pt x="509" y="116"/>
                      </a:lnTo>
                      <a:lnTo>
                        <a:pt x="507" y="118"/>
                      </a:lnTo>
                      <a:lnTo>
                        <a:pt x="506" y="118"/>
                      </a:lnTo>
                      <a:lnTo>
                        <a:pt x="506" y="118"/>
                      </a:lnTo>
                      <a:lnTo>
                        <a:pt x="506" y="118"/>
                      </a:lnTo>
                      <a:lnTo>
                        <a:pt x="505" y="118"/>
                      </a:lnTo>
                      <a:lnTo>
                        <a:pt x="504" y="118"/>
                      </a:lnTo>
                      <a:lnTo>
                        <a:pt x="504" y="119"/>
                      </a:lnTo>
                      <a:lnTo>
                        <a:pt x="504" y="118"/>
                      </a:lnTo>
                      <a:lnTo>
                        <a:pt x="503" y="118"/>
                      </a:lnTo>
                      <a:lnTo>
                        <a:pt x="503" y="118"/>
                      </a:lnTo>
                      <a:lnTo>
                        <a:pt x="502" y="118"/>
                      </a:lnTo>
                      <a:lnTo>
                        <a:pt x="501" y="118"/>
                      </a:lnTo>
                      <a:lnTo>
                        <a:pt x="501" y="118"/>
                      </a:lnTo>
                      <a:lnTo>
                        <a:pt x="500" y="118"/>
                      </a:lnTo>
                      <a:lnTo>
                        <a:pt x="499" y="118"/>
                      </a:lnTo>
                      <a:lnTo>
                        <a:pt x="499" y="118"/>
                      </a:lnTo>
                      <a:lnTo>
                        <a:pt x="498" y="118"/>
                      </a:lnTo>
                      <a:lnTo>
                        <a:pt x="497" y="118"/>
                      </a:lnTo>
                      <a:lnTo>
                        <a:pt x="497" y="117"/>
                      </a:lnTo>
                      <a:lnTo>
                        <a:pt x="498" y="117"/>
                      </a:lnTo>
                      <a:lnTo>
                        <a:pt x="497" y="117"/>
                      </a:lnTo>
                      <a:lnTo>
                        <a:pt x="497" y="116"/>
                      </a:lnTo>
                      <a:lnTo>
                        <a:pt x="497" y="116"/>
                      </a:lnTo>
                      <a:lnTo>
                        <a:pt x="495" y="114"/>
                      </a:lnTo>
                      <a:lnTo>
                        <a:pt x="495" y="114"/>
                      </a:lnTo>
                      <a:lnTo>
                        <a:pt x="493" y="111"/>
                      </a:lnTo>
                      <a:lnTo>
                        <a:pt x="493" y="109"/>
                      </a:lnTo>
                      <a:lnTo>
                        <a:pt x="495" y="109"/>
                      </a:lnTo>
                      <a:lnTo>
                        <a:pt x="495" y="107"/>
                      </a:lnTo>
                      <a:lnTo>
                        <a:pt x="495" y="106"/>
                      </a:lnTo>
                      <a:lnTo>
                        <a:pt x="495" y="105"/>
                      </a:lnTo>
                      <a:lnTo>
                        <a:pt x="494" y="103"/>
                      </a:lnTo>
                      <a:lnTo>
                        <a:pt x="494" y="101"/>
                      </a:lnTo>
                      <a:lnTo>
                        <a:pt x="494" y="101"/>
                      </a:lnTo>
                      <a:lnTo>
                        <a:pt x="494" y="100"/>
                      </a:lnTo>
                      <a:lnTo>
                        <a:pt x="494" y="99"/>
                      </a:lnTo>
                      <a:lnTo>
                        <a:pt x="493" y="98"/>
                      </a:lnTo>
                      <a:lnTo>
                        <a:pt x="493" y="98"/>
                      </a:lnTo>
                      <a:lnTo>
                        <a:pt x="492" y="98"/>
                      </a:lnTo>
                      <a:lnTo>
                        <a:pt x="491" y="97"/>
                      </a:lnTo>
                      <a:lnTo>
                        <a:pt x="491" y="97"/>
                      </a:lnTo>
                      <a:lnTo>
                        <a:pt x="489" y="94"/>
                      </a:lnTo>
                      <a:lnTo>
                        <a:pt x="488" y="90"/>
                      </a:lnTo>
                      <a:lnTo>
                        <a:pt x="487" y="90"/>
                      </a:lnTo>
                      <a:lnTo>
                        <a:pt x="493" y="90"/>
                      </a:lnTo>
                      <a:lnTo>
                        <a:pt x="495" y="90"/>
                      </a:lnTo>
                      <a:lnTo>
                        <a:pt x="503" y="84"/>
                      </a:lnTo>
                      <a:lnTo>
                        <a:pt x="506" y="84"/>
                      </a:lnTo>
                      <a:lnTo>
                        <a:pt x="508" y="86"/>
                      </a:lnTo>
                      <a:lnTo>
                        <a:pt x="510" y="86"/>
                      </a:lnTo>
                      <a:lnTo>
                        <a:pt x="511" y="86"/>
                      </a:lnTo>
                      <a:lnTo>
                        <a:pt x="512" y="86"/>
                      </a:lnTo>
                      <a:lnTo>
                        <a:pt x="512" y="85"/>
                      </a:lnTo>
                      <a:lnTo>
                        <a:pt x="512" y="85"/>
                      </a:lnTo>
                      <a:lnTo>
                        <a:pt x="512" y="84"/>
                      </a:lnTo>
                      <a:lnTo>
                        <a:pt x="513" y="84"/>
                      </a:lnTo>
                      <a:lnTo>
                        <a:pt x="513" y="84"/>
                      </a:lnTo>
                      <a:lnTo>
                        <a:pt x="512" y="84"/>
                      </a:lnTo>
                      <a:lnTo>
                        <a:pt x="513" y="83"/>
                      </a:lnTo>
                      <a:lnTo>
                        <a:pt x="514" y="83"/>
                      </a:lnTo>
                      <a:lnTo>
                        <a:pt x="514" y="84"/>
                      </a:lnTo>
                      <a:lnTo>
                        <a:pt x="514" y="84"/>
                      </a:lnTo>
                      <a:lnTo>
                        <a:pt x="514" y="83"/>
                      </a:lnTo>
                      <a:lnTo>
                        <a:pt x="515" y="82"/>
                      </a:lnTo>
                      <a:lnTo>
                        <a:pt x="516" y="83"/>
                      </a:lnTo>
                      <a:lnTo>
                        <a:pt x="516" y="83"/>
                      </a:lnTo>
                      <a:lnTo>
                        <a:pt x="517" y="83"/>
                      </a:lnTo>
                      <a:lnTo>
                        <a:pt x="517" y="84"/>
                      </a:lnTo>
                      <a:lnTo>
                        <a:pt x="518" y="84"/>
                      </a:lnTo>
                      <a:lnTo>
                        <a:pt x="518" y="84"/>
                      </a:lnTo>
                      <a:lnTo>
                        <a:pt x="518" y="84"/>
                      </a:lnTo>
                      <a:lnTo>
                        <a:pt x="519" y="84"/>
                      </a:lnTo>
                      <a:lnTo>
                        <a:pt x="520" y="84"/>
                      </a:lnTo>
                      <a:lnTo>
                        <a:pt x="520" y="85"/>
                      </a:lnTo>
                      <a:lnTo>
                        <a:pt x="521" y="85"/>
                      </a:lnTo>
                      <a:lnTo>
                        <a:pt x="522" y="85"/>
                      </a:lnTo>
                      <a:lnTo>
                        <a:pt x="523" y="85"/>
                      </a:lnTo>
                      <a:lnTo>
                        <a:pt x="523" y="84"/>
                      </a:lnTo>
                      <a:lnTo>
                        <a:pt x="523" y="85"/>
                      </a:lnTo>
                      <a:lnTo>
                        <a:pt x="524" y="85"/>
                      </a:lnTo>
                      <a:lnTo>
                        <a:pt x="525" y="85"/>
                      </a:lnTo>
                      <a:lnTo>
                        <a:pt x="525" y="85"/>
                      </a:lnTo>
                      <a:lnTo>
                        <a:pt x="525" y="84"/>
                      </a:lnTo>
                      <a:lnTo>
                        <a:pt x="526" y="84"/>
                      </a:lnTo>
                      <a:lnTo>
                        <a:pt x="527" y="84"/>
                      </a:lnTo>
                      <a:lnTo>
                        <a:pt x="527" y="84"/>
                      </a:lnTo>
                      <a:lnTo>
                        <a:pt x="527" y="84"/>
                      </a:lnTo>
                      <a:lnTo>
                        <a:pt x="527" y="83"/>
                      </a:lnTo>
                      <a:lnTo>
                        <a:pt x="528" y="83"/>
                      </a:lnTo>
                      <a:lnTo>
                        <a:pt x="528" y="82"/>
                      </a:lnTo>
                      <a:lnTo>
                        <a:pt x="529" y="82"/>
                      </a:lnTo>
                      <a:lnTo>
                        <a:pt x="529" y="82"/>
                      </a:lnTo>
                      <a:lnTo>
                        <a:pt x="529" y="81"/>
                      </a:lnTo>
                      <a:lnTo>
                        <a:pt x="529" y="80"/>
                      </a:lnTo>
                      <a:lnTo>
                        <a:pt x="529" y="80"/>
                      </a:lnTo>
                      <a:lnTo>
                        <a:pt x="529" y="79"/>
                      </a:lnTo>
                      <a:lnTo>
                        <a:pt x="530" y="79"/>
                      </a:lnTo>
                      <a:lnTo>
                        <a:pt x="531" y="79"/>
                      </a:lnTo>
                      <a:lnTo>
                        <a:pt x="531" y="78"/>
                      </a:lnTo>
                      <a:lnTo>
                        <a:pt x="531" y="78"/>
                      </a:lnTo>
                      <a:lnTo>
                        <a:pt x="531" y="78"/>
                      </a:lnTo>
                      <a:lnTo>
                        <a:pt x="531" y="77"/>
                      </a:lnTo>
                      <a:lnTo>
                        <a:pt x="532" y="76"/>
                      </a:lnTo>
                      <a:lnTo>
                        <a:pt x="532" y="76"/>
                      </a:lnTo>
                      <a:lnTo>
                        <a:pt x="533" y="76"/>
                      </a:lnTo>
                      <a:lnTo>
                        <a:pt x="534" y="75"/>
                      </a:lnTo>
                      <a:lnTo>
                        <a:pt x="535" y="76"/>
                      </a:lnTo>
                      <a:lnTo>
                        <a:pt x="537" y="75"/>
                      </a:lnTo>
                      <a:lnTo>
                        <a:pt x="539" y="75"/>
                      </a:lnTo>
                      <a:lnTo>
                        <a:pt x="539" y="75"/>
                      </a:lnTo>
                      <a:lnTo>
                        <a:pt x="540" y="75"/>
                      </a:lnTo>
                      <a:lnTo>
                        <a:pt x="540" y="74"/>
                      </a:lnTo>
                      <a:lnTo>
                        <a:pt x="541" y="74"/>
                      </a:lnTo>
                      <a:lnTo>
                        <a:pt x="542" y="74"/>
                      </a:lnTo>
                      <a:lnTo>
                        <a:pt x="542" y="73"/>
                      </a:lnTo>
                      <a:lnTo>
                        <a:pt x="542" y="73"/>
                      </a:lnTo>
                      <a:lnTo>
                        <a:pt x="543" y="73"/>
                      </a:lnTo>
                      <a:lnTo>
                        <a:pt x="543" y="73"/>
                      </a:lnTo>
                      <a:lnTo>
                        <a:pt x="544" y="73"/>
                      </a:lnTo>
                      <a:lnTo>
                        <a:pt x="544" y="73"/>
                      </a:lnTo>
                      <a:lnTo>
                        <a:pt x="544" y="73"/>
                      </a:lnTo>
                      <a:lnTo>
                        <a:pt x="545" y="73"/>
                      </a:lnTo>
                      <a:lnTo>
                        <a:pt x="546" y="74"/>
                      </a:lnTo>
                      <a:lnTo>
                        <a:pt x="546" y="74"/>
                      </a:lnTo>
                      <a:lnTo>
                        <a:pt x="547" y="74"/>
                      </a:lnTo>
                      <a:lnTo>
                        <a:pt x="548" y="74"/>
                      </a:lnTo>
                      <a:lnTo>
                        <a:pt x="548" y="75"/>
                      </a:lnTo>
                      <a:lnTo>
                        <a:pt x="548" y="75"/>
                      </a:lnTo>
                      <a:lnTo>
                        <a:pt x="549" y="75"/>
                      </a:lnTo>
                      <a:lnTo>
                        <a:pt x="550" y="75"/>
                      </a:lnTo>
                      <a:lnTo>
                        <a:pt x="550" y="75"/>
                      </a:lnTo>
                      <a:lnTo>
                        <a:pt x="550" y="76"/>
                      </a:lnTo>
                      <a:lnTo>
                        <a:pt x="551" y="76"/>
                      </a:lnTo>
                      <a:lnTo>
                        <a:pt x="552" y="76"/>
                      </a:lnTo>
                      <a:lnTo>
                        <a:pt x="552" y="76"/>
                      </a:lnTo>
                      <a:lnTo>
                        <a:pt x="552" y="76"/>
                      </a:lnTo>
                      <a:lnTo>
                        <a:pt x="553" y="76"/>
                      </a:lnTo>
                      <a:lnTo>
                        <a:pt x="554" y="76"/>
                      </a:lnTo>
                      <a:lnTo>
                        <a:pt x="554" y="76"/>
                      </a:lnTo>
                      <a:lnTo>
                        <a:pt x="553" y="75"/>
                      </a:lnTo>
                      <a:lnTo>
                        <a:pt x="553" y="74"/>
                      </a:lnTo>
                      <a:lnTo>
                        <a:pt x="553" y="73"/>
                      </a:lnTo>
                      <a:lnTo>
                        <a:pt x="552" y="73"/>
                      </a:lnTo>
                      <a:lnTo>
                        <a:pt x="552" y="72"/>
                      </a:lnTo>
                      <a:lnTo>
                        <a:pt x="552" y="71"/>
                      </a:lnTo>
                      <a:lnTo>
                        <a:pt x="552" y="71"/>
                      </a:lnTo>
                      <a:lnTo>
                        <a:pt x="552" y="71"/>
                      </a:lnTo>
                      <a:lnTo>
                        <a:pt x="551" y="70"/>
                      </a:lnTo>
                      <a:lnTo>
                        <a:pt x="551" y="69"/>
                      </a:lnTo>
                      <a:lnTo>
                        <a:pt x="551" y="68"/>
                      </a:lnTo>
                      <a:lnTo>
                        <a:pt x="554" y="65"/>
                      </a:lnTo>
                      <a:lnTo>
                        <a:pt x="556" y="62"/>
                      </a:lnTo>
                      <a:lnTo>
                        <a:pt x="558" y="60"/>
                      </a:lnTo>
                      <a:lnTo>
                        <a:pt x="560" y="59"/>
                      </a:lnTo>
                      <a:lnTo>
                        <a:pt x="561" y="59"/>
                      </a:lnTo>
                      <a:lnTo>
                        <a:pt x="563" y="56"/>
                      </a:lnTo>
                      <a:lnTo>
                        <a:pt x="565" y="55"/>
                      </a:lnTo>
                      <a:lnTo>
                        <a:pt x="565" y="55"/>
                      </a:lnTo>
                      <a:lnTo>
                        <a:pt x="566" y="53"/>
                      </a:lnTo>
                      <a:lnTo>
                        <a:pt x="566" y="52"/>
                      </a:lnTo>
                      <a:lnTo>
                        <a:pt x="569" y="50"/>
                      </a:lnTo>
                      <a:lnTo>
                        <a:pt x="573" y="47"/>
                      </a:lnTo>
                      <a:lnTo>
                        <a:pt x="573" y="46"/>
                      </a:lnTo>
                      <a:lnTo>
                        <a:pt x="575" y="46"/>
                      </a:lnTo>
                      <a:lnTo>
                        <a:pt x="575" y="46"/>
                      </a:lnTo>
                      <a:lnTo>
                        <a:pt x="576" y="45"/>
                      </a:lnTo>
                      <a:lnTo>
                        <a:pt x="577" y="46"/>
                      </a:lnTo>
                      <a:lnTo>
                        <a:pt x="578" y="46"/>
                      </a:lnTo>
                      <a:lnTo>
                        <a:pt x="580" y="46"/>
                      </a:lnTo>
                      <a:lnTo>
                        <a:pt x="580" y="46"/>
                      </a:lnTo>
                      <a:lnTo>
                        <a:pt x="580" y="45"/>
                      </a:lnTo>
                      <a:lnTo>
                        <a:pt x="581" y="44"/>
                      </a:lnTo>
                      <a:lnTo>
                        <a:pt x="583" y="44"/>
                      </a:lnTo>
                      <a:lnTo>
                        <a:pt x="586" y="42"/>
                      </a:lnTo>
                      <a:lnTo>
                        <a:pt x="586" y="43"/>
                      </a:lnTo>
                      <a:lnTo>
                        <a:pt x="586" y="42"/>
                      </a:lnTo>
                      <a:lnTo>
                        <a:pt x="587" y="42"/>
                      </a:lnTo>
                      <a:lnTo>
                        <a:pt x="588" y="42"/>
                      </a:lnTo>
                      <a:lnTo>
                        <a:pt x="588" y="42"/>
                      </a:lnTo>
                      <a:lnTo>
                        <a:pt x="589" y="42"/>
                      </a:lnTo>
                      <a:lnTo>
                        <a:pt x="590" y="42"/>
                      </a:lnTo>
                      <a:lnTo>
                        <a:pt x="591" y="41"/>
                      </a:lnTo>
                      <a:lnTo>
                        <a:pt x="591" y="40"/>
                      </a:lnTo>
                      <a:lnTo>
                        <a:pt x="594" y="40"/>
                      </a:lnTo>
                      <a:lnTo>
                        <a:pt x="596" y="42"/>
                      </a:lnTo>
                      <a:lnTo>
                        <a:pt x="597" y="41"/>
                      </a:lnTo>
                      <a:lnTo>
                        <a:pt x="599" y="41"/>
                      </a:lnTo>
                      <a:lnTo>
                        <a:pt x="599" y="40"/>
                      </a:lnTo>
                      <a:lnTo>
                        <a:pt x="600" y="40"/>
                      </a:lnTo>
                      <a:lnTo>
                        <a:pt x="602" y="40"/>
                      </a:lnTo>
                      <a:lnTo>
                        <a:pt x="603" y="40"/>
                      </a:lnTo>
                      <a:lnTo>
                        <a:pt x="603" y="39"/>
                      </a:lnTo>
                      <a:lnTo>
                        <a:pt x="603" y="39"/>
                      </a:lnTo>
                      <a:lnTo>
                        <a:pt x="604" y="39"/>
                      </a:lnTo>
                      <a:lnTo>
                        <a:pt x="604" y="38"/>
                      </a:lnTo>
                      <a:lnTo>
                        <a:pt x="605" y="38"/>
                      </a:lnTo>
                      <a:lnTo>
                        <a:pt x="605" y="39"/>
                      </a:lnTo>
                      <a:lnTo>
                        <a:pt x="605" y="39"/>
                      </a:lnTo>
                      <a:lnTo>
                        <a:pt x="605" y="40"/>
                      </a:lnTo>
                      <a:lnTo>
                        <a:pt x="606" y="40"/>
                      </a:lnTo>
                      <a:lnTo>
                        <a:pt x="607" y="40"/>
                      </a:lnTo>
                      <a:lnTo>
                        <a:pt x="607" y="41"/>
                      </a:lnTo>
                      <a:lnTo>
                        <a:pt x="607" y="42"/>
                      </a:lnTo>
                      <a:lnTo>
                        <a:pt x="608" y="42"/>
                      </a:lnTo>
                      <a:lnTo>
                        <a:pt x="609" y="42"/>
                      </a:lnTo>
                      <a:lnTo>
                        <a:pt x="609" y="42"/>
                      </a:lnTo>
                      <a:lnTo>
                        <a:pt x="610" y="42"/>
                      </a:lnTo>
                      <a:lnTo>
                        <a:pt x="611" y="42"/>
                      </a:lnTo>
                      <a:lnTo>
                        <a:pt x="611" y="42"/>
                      </a:lnTo>
                      <a:lnTo>
                        <a:pt x="612" y="42"/>
                      </a:lnTo>
                      <a:lnTo>
                        <a:pt x="613" y="42"/>
                      </a:lnTo>
                      <a:lnTo>
                        <a:pt x="613" y="42"/>
                      </a:lnTo>
                      <a:lnTo>
                        <a:pt x="614" y="42"/>
                      </a:lnTo>
                      <a:lnTo>
                        <a:pt x="615" y="42"/>
                      </a:lnTo>
                      <a:lnTo>
                        <a:pt x="615" y="41"/>
                      </a:lnTo>
                      <a:lnTo>
                        <a:pt x="616" y="40"/>
                      </a:lnTo>
                      <a:lnTo>
                        <a:pt x="617" y="40"/>
                      </a:lnTo>
                      <a:lnTo>
                        <a:pt x="617" y="39"/>
                      </a:lnTo>
                      <a:lnTo>
                        <a:pt x="618" y="39"/>
                      </a:lnTo>
                      <a:lnTo>
                        <a:pt x="618" y="39"/>
                      </a:lnTo>
                      <a:lnTo>
                        <a:pt x="618" y="38"/>
                      </a:lnTo>
                      <a:lnTo>
                        <a:pt x="618" y="38"/>
                      </a:lnTo>
                      <a:lnTo>
                        <a:pt x="618" y="37"/>
                      </a:lnTo>
                      <a:lnTo>
                        <a:pt x="619" y="37"/>
                      </a:lnTo>
                      <a:lnTo>
                        <a:pt x="619" y="36"/>
                      </a:lnTo>
                      <a:lnTo>
                        <a:pt x="619" y="36"/>
                      </a:lnTo>
                      <a:lnTo>
                        <a:pt x="620" y="36"/>
                      </a:lnTo>
                      <a:lnTo>
                        <a:pt x="620" y="35"/>
                      </a:lnTo>
                      <a:lnTo>
                        <a:pt x="620" y="35"/>
                      </a:lnTo>
                      <a:lnTo>
                        <a:pt x="622" y="34"/>
                      </a:lnTo>
                      <a:lnTo>
                        <a:pt x="622" y="35"/>
                      </a:lnTo>
                      <a:lnTo>
                        <a:pt x="623" y="37"/>
                      </a:lnTo>
                      <a:lnTo>
                        <a:pt x="622" y="38"/>
                      </a:lnTo>
                      <a:lnTo>
                        <a:pt x="623" y="39"/>
                      </a:lnTo>
                      <a:lnTo>
                        <a:pt x="624" y="38"/>
                      </a:lnTo>
                      <a:lnTo>
                        <a:pt x="626" y="38"/>
                      </a:lnTo>
                      <a:lnTo>
                        <a:pt x="627" y="38"/>
                      </a:lnTo>
                      <a:lnTo>
                        <a:pt x="628" y="39"/>
                      </a:lnTo>
                      <a:lnTo>
                        <a:pt x="628" y="39"/>
                      </a:lnTo>
                      <a:lnTo>
                        <a:pt x="629" y="38"/>
                      </a:lnTo>
                      <a:lnTo>
                        <a:pt x="629" y="36"/>
                      </a:lnTo>
                      <a:lnTo>
                        <a:pt x="630" y="36"/>
                      </a:lnTo>
                      <a:lnTo>
                        <a:pt x="630" y="35"/>
                      </a:lnTo>
                      <a:lnTo>
                        <a:pt x="630" y="34"/>
                      </a:lnTo>
                      <a:lnTo>
                        <a:pt x="632" y="34"/>
                      </a:lnTo>
                      <a:lnTo>
                        <a:pt x="632" y="33"/>
                      </a:lnTo>
                      <a:lnTo>
                        <a:pt x="633" y="33"/>
                      </a:lnTo>
                      <a:lnTo>
                        <a:pt x="634" y="33"/>
                      </a:lnTo>
                      <a:lnTo>
                        <a:pt x="636" y="31"/>
                      </a:lnTo>
                      <a:lnTo>
                        <a:pt x="637" y="33"/>
                      </a:lnTo>
                      <a:lnTo>
                        <a:pt x="638" y="33"/>
                      </a:lnTo>
                      <a:lnTo>
                        <a:pt x="639" y="33"/>
                      </a:lnTo>
                      <a:lnTo>
                        <a:pt x="639" y="33"/>
                      </a:lnTo>
                      <a:lnTo>
                        <a:pt x="640" y="33"/>
                      </a:lnTo>
                      <a:lnTo>
                        <a:pt x="641" y="33"/>
                      </a:lnTo>
                      <a:lnTo>
                        <a:pt x="641" y="33"/>
                      </a:lnTo>
                      <a:lnTo>
                        <a:pt x="642" y="32"/>
                      </a:lnTo>
                      <a:lnTo>
                        <a:pt x="643" y="31"/>
                      </a:lnTo>
                      <a:lnTo>
                        <a:pt x="644" y="31"/>
                      </a:lnTo>
                      <a:lnTo>
                        <a:pt x="643" y="31"/>
                      </a:lnTo>
                      <a:lnTo>
                        <a:pt x="643" y="30"/>
                      </a:lnTo>
                      <a:lnTo>
                        <a:pt x="643" y="29"/>
                      </a:lnTo>
                      <a:lnTo>
                        <a:pt x="643" y="29"/>
                      </a:lnTo>
                      <a:lnTo>
                        <a:pt x="643" y="28"/>
                      </a:lnTo>
                      <a:lnTo>
                        <a:pt x="644" y="28"/>
                      </a:lnTo>
                      <a:lnTo>
                        <a:pt x="645" y="27"/>
                      </a:lnTo>
                      <a:lnTo>
                        <a:pt x="644" y="27"/>
                      </a:lnTo>
                      <a:lnTo>
                        <a:pt x="644" y="27"/>
                      </a:lnTo>
                      <a:lnTo>
                        <a:pt x="645" y="26"/>
                      </a:lnTo>
                      <a:lnTo>
                        <a:pt x="645" y="25"/>
                      </a:lnTo>
                      <a:lnTo>
                        <a:pt x="645" y="25"/>
                      </a:lnTo>
                      <a:lnTo>
                        <a:pt x="645" y="25"/>
                      </a:lnTo>
                      <a:lnTo>
                        <a:pt x="647" y="22"/>
                      </a:lnTo>
                      <a:lnTo>
                        <a:pt x="648" y="21"/>
                      </a:lnTo>
                      <a:lnTo>
                        <a:pt x="651" y="19"/>
                      </a:lnTo>
                      <a:lnTo>
                        <a:pt x="655" y="14"/>
                      </a:lnTo>
                      <a:lnTo>
                        <a:pt x="656" y="14"/>
                      </a:lnTo>
                      <a:lnTo>
                        <a:pt x="656" y="13"/>
                      </a:lnTo>
                      <a:lnTo>
                        <a:pt x="656" y="12"/>
                      </a:lnTo>
                      <a:lnTo>
                        <a:pt x="656" y="12"/>
                      </a:lnTo>
                      <a:lnTo>
                        <a:pt x="656" y="11"/>
                      </a:lnTo>
                      <a:lnTo>
                        <a:pt x="656" y="10"/>
                      </a:lnTo>
                      <a:lnTo>
                        <a:pt x="656" y="10"/>
                      </a:lnTo>
                      <a:lnTo>
                        <a:pt x="656" y="9"/>
                      </a:lnTo>
                      <a:lnTo>
                        <a:pt x="656" y="8"/>
                      </a:lnTo>
                      <a:lnTo>
                        <a:pt x="656" y="8"/>
                      </a:lnTo>
                      <a:lnTo>
                        <a:pt x="656" y="8"/>
                      </a:lnTo>
                      <a:lnTo>
                        <a:pt x="656" y="7"/>
                      </a:lnTo>
                      <a:lnTo>
                        <a:pt x="656" y="6"/>
                      </a:lnTo>
                      <a:lnTo>
                        <a:pt x="656" y="6"/>
                      </a:lnTo>
                      <a:lnTo>
                        <a:pt x="657" y="6"/>
                      </a:lnTo>
                      <a:lnTo>
                        <a:pt x="656" y="6"/>
                      </a:lnTo>
                      <a:lnTo>
                        <a:pt x="656" y="5"/>
                      </a:lnTo>
                      <a:lnTo>
                        <a:pt x="657" y="5"/>
                      </a:lnTo>
                      <a:lnTo>
                        <a:pt x="658" y="5"/>
                      </a:lnTo>
                      <a:lnTo>
                        <a:pt x="658" y="4"/>
                      </a:lnTo>
                      <a:lnTo>
                        <a:pt x="658" y="4"/>
                      </a:lnTo>
                      <a:lnTo>
                        <a:pt x="658" y="3"/>
                      </a:lnTo>
                      <a:lnTo>
                        <a:pt x="658" y="3"/>
                      </a:lnTo>
                      <a:lnTo>
                        <a:pt x="658" y="2"/>
                      </a:lnTo>
                      <a:lnTo>
                        <a:pt x="659" y="2"/>
                      </a:lnTo>
                      <a:lnTo>
                        <a:pt x="659" y="2"/>
                      </a:lnTo>
                      <a:lnTo>
                        <a:pt x="659" y="1"/>
                      </a:lnTo>
                      <a:lnTo>
                        <a:pt x="659" y="0"/>
                      </a:lnTo>
                      <a:lnTo>
                        <a:pt x="660" y="0"/>
                      </a:lnTo>
                      <a:lnTo>
                        <a:pt x="660" y="0"/>
                      </a:lnTo>
                      <a:close/>
                      <a:moveTo>
                        <a:pt x="310" y="552"/>
                      </a:moveTo>
                      <a:lnTo>
                        <a:pt x="310" y="552"/>
                      </a:lnTo>
                      <a:lnTo>
                        <a:pt x="310" y="553"/>
                      </a:lnTo>
                      <a:lnTo>
                        <a:pt x="310" y="554"/>
                      </a:lnTo>
                      <a:lnTo>
                        <a:pt x="310" y="553"/>
                      </a:lnTo>
                      <a:lnTo>
                        <a:pt x="310" y="552"/>
                      </a:lnTo>
                      <a:lnTo>
                        <a:pt x="311" y="552"/>
                      </a:lnTo>
                      <a:lnTo>
                        <a:pt x="311" y="552"/>
                      </a:lnTo>
                      <a:lnTo>
                        <a:pt x="311" y="552"/>
                      </a:lnTo>
                      <a:lnTo>
                        <a:pt x="311" y="552"/>
                      </a:lnTo>
                      <a:lnTo>
                        <a:pt x="311" y="552"/>
                      </a:lnTo>
                      <a:lnTo>
                        <a:pt x="311" y="552"/>
                      </a:lnTo>
                      <a:lnTo>
                        <a:pt x="311" y="552"/>
                      </a:lnTo>
                      <a:lnTo>
                        <a:pt x="311" y="552"/>
                      </a:lnTo>
                      <a:lnTo>
                        <a:pt x="310" y="55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7" name="Tarija">
                  <a:extLst>
                    <a:ext uri="{FF2B5EF4-FFF2-40B4-BE49-F238E27FC236}">
                      <a16:creationId xmlns:a16="http://schemas.microsoft.com/office/drawing/2014/main" xmlns="" id="{6DF93A23-3804-5B96-D8F9-B4FBC16172B2}"/>
                    </a:ext>
                  </a:extLst>
                </p:cNvPr>
                <p:cNvSpPr>
                  <a:spLocks/>
                </p:cNvSpPr>
                <p:nvPr/>
              </p:nvSpPr>
              <p:spPr bwMode="auto">
                <a:xfrm>
                  <a:off x="3110" y="3688"/>
                  <a:ext cx="782" cy="528"/>
                </a:xfrm>
                <a:custGeom>
                  <a:avLst/>
                  <a:gdLst>
                    <a:gd name="T0" fmla="*/ 327 w 782"/>
                    <a:gd name="T1" fmla="*/ 8 h 528"/>
                    <a:gd name="T2" fmla="*/ 348 w 782"/>
                    <a:gd name="T3" fmla="*/ 16 h 528"/>
                    <a:gd name="T4" fmla="*/ 773 w 782"/>
                    <a:gd name="T5" fmla="*/ 74 h 528"/>
                    <a:gd name="T6" fmla="*/ 666 w 782"/>
                    <a:gd name="T7" fmla="*/ 347 h 528"/>
                    <a:gd name="T8" fmla="*/ 644 w 782"/>
                    <a:gd name="T9" fmla="*/ 306 h 528"/>
                    <a:gd name="T10" fmla="*/ 433 w 782"/>
                    <a:gd name="T11" fmla="*/ 297 h 528"/>
                    <a:gd name="T12" fmla="*/ 429 w 782"/>
                    <a:gd name="T13" fmla="*/ 300 h 528"/>
                    <a:gd name="T14" fmla="*/ 365 w 782"/>
                    <a:gd name="T15" fmla="*/ 297 h 528"/>
                    <a:gd name="T16" fmla="*/ 361 w 782"/>
                    <a:gd name="T17" fmla="*/ 314 h 528"/>
                    <a:gd name="T18" fmla="*/ 353 w 782"/>
                    <a:gd name="T19" fmla="*/ 322 h 528"/>
                    <a:gd name="T20" fmla="*/ 347 w 782"/>
                    <a:gd name="T21" fmla="*/ 339 h 528"/>
                    <a:gd name="T22" fmla="*/ 343 w 782"/>
                    <a:gd name="T23" fmla="*/ 358 h 528"/>
                    <a:gd name="T24" fmla="*/ 331 w 782"/>
                    <a:gd name="T25" fmla="*/ 371 h 528"/>
                    <a:gd name="T26" fmla="*/ 324 w 782"/>
                    <a:gd name="T27" fmla="*/ 396 h 528"/>
                    <a:gd name="T28" fmla="*/ 292 w 782"/>
                    <a:gd name="T29" fmla="*/ 453 h 528"/>
                    <a:gd name="T30" fmla="*/ 278 w 782"/>
                    <a:gd name="T31" fmla="*/ 516 h 528"/>
                    <a:gd name="T32" fmla="*/ 269 w 782"/>
                    <a:gd name="T33" fmla="*/ 501 h 528"/>
                    <a:gd name="T34" fmla="*/ 255 w 782"/>
                    <a:gd name="T35" fmla="*/ 482 h 528"/>
                    <a:gd name="T36" fmla="*/ 247 w 782"/>
                    <a:gd name="T37" fmla="*/ 463 h 528"/>
                    <a:gd name="T38" fmla="*/ 251 w 782"/>
                    <a:gd name="T39" fmla="*/ 438 h 528"/>
                    <a:gd name="T40" fmla="*/ 233 w 782"/>
                    <a:gd name="T41" fmla="*/ 422 h 528"/>
                    <a:gd name="T42" fmla="*/ 224 w 782"/>
                    <a:gd name="T43" fmla="*/ 403 h 528"/>
                    <a:gd name="T44" fmla="*/ 219 w 782"/>
                    <a:gd name="T45" fmla="*/ 373 h 528"/>
                    <a:gd name="T46" fmla="*/ 199 w 782"/>
                    <a:gd name="T47" fmla="*/ 352 h 528"/>
                    <a:gd name="T48" fmla="*/ 173 w 782"/>
                    <a:gd name="T49" fmla="*/ 347 h 528"/>
                    <a:gd name="T50" fmla="*/ 156 w 782"/>
                    <a:gd name="T51" fmla="*/ 339 h 528"/>
                    <a:gd name="T52" fmla="*/ 138 w 782"/>
                    <a:gd name="T53" fmla="*/ 329 h 528"/>
                    <a:gd name="T54" fmla="*/ 120 w 782"/>
                    <a:gd name="T55" fmla="*/ 326 h 528"/>
                    <a:gd name="T56" fmla="*/ 55 w 782"/>
                    <a:gd name="T57" fmla="*/ 301 h 528"/>
                    <a:gd name="T58" fmla="*/ 32 w 782"/>
                    <a:gd name="T59" fmla="*/ 291 h 528"/>
                    <a:gd name="T60" fmla="*/ 10 w 782"/>
                    <a:gd name="T61" fmla="*/ 281 h 528"/>
                    <a:gd name="T62" fmla="*/ 6 w 782"/>
                    <a:gd name="T63" fmla="*/ 266 h 528"/>
                    <a:gd name="T64" fmla="*/ 17 w 782"/>
                    <a:gd name="T65" fmla="*/ 248 h 528"/>
                    <a:gd name="T66" fmla="*/ 25 w 782"/>
                    <a:gd name="T67" fmla="*/ 227 h 528"/>
                    <a:gd name="T68" fmla="*/ 33 w 782"/>
                    <a:gd name="T69" fmla="*/ 209 h 528"/>
                    <a:gd name="T70" fmla="*/ 40 w 782"/>
                    <a:gd name="T71" fmla="*/ 189 h 528"/>
                    <a:gd name="T72" fmla="*/ 42 w 782"/>
                    <a:gd name="T73" fmla="*/ 166 h 528"/>
                    <a:gd name="T74" fmla="*/ 44 w 782"/>
                    <a:gd name="T75" fmla="*/ 142 h 528"/>
                    <a:gd name="T76" fmla="*/ 47 w 782"/>
                    <a:gd name="T77" fmla="*/ 120 h 528"/>
                    <a:gd name="T78" fmla="*/ 47 w 782"/>
                    <a:gd name="T79" fmla="*/ 101 h 528"/>
                    <a:gd name="T80" fmla="*/ 51 w 782"/>
                    <a:gd name="T81" fmla="*/ 86 h 528"/>
                    <a:gd name="T82" fmla="*/ 52 w 782"/>
                    <a:gd name="T83" fmla="*/ 67 h 528"/>
                    <a:gd name="T84" fmla="*/ 52 w 782"/>
                    <a:gd name="T85" fmla="*/ 42 h 528"/>
                    <a:gd name="T86" fmla="*/ 55 w 782"/>
                    <a:gd name="T87" fmla="*/ 21 h 528"/>
                    <a:gd name="T88" fmla="*/ 68 w 782"/>
                    <a:gd name="T89" fmla="*/ 21 h 528"/>
                    <a:gd name="T90" fmla="*/ 80 w 782"/>
                    <a:gd name="T91" fmla="*/ 22 h 528"/>
                    <a:gd name="T92" fmla="*/ 91 w 782"/>
                    <a:gd name="T93" fmla="*/ 35 h 528"/>
                    <a:gd name="T94" fmla="*/ 99 w 782"/>
                    <a:gd name="T95" fmla="*/ 37 h 528"/>
                    <a:gd name="T96" fmla="*/ 112 w 782"/>
                    <a:gd name="T97" fmla="*/ 39 h 528"/>
                    <a:gd name="T98" fmla="*/ 120 w 782"/>
                    <a:gd name="T99" fmla="*/ 46 h 528"/>
                    <a:gd name="T100" fmla="*/ 138 w 782"/>
                    <a:gd name="T101" fmla="*/ 55 h 528"/>
                    <a:gd name="T102" fmla="*/ 153 w 782"/>
                    <a:gd name="T103" fmla="*/ 51 h 528"/>
                    <a:gd name="T104" fmla="*/ 161 w 782"/>
                    <a:gd name="T105" fmla="*/ 28 h 528"/>
                    <a:gd name="T106" fmla="*/ 181 w 782"/>
                    <a:gd name="T107" fmla="*/ 16 h 528"/>
                    <a:gd name="T108" fmla="*/ 200 w 782"/>
                    <a:gd name="T109" fmla="*/ 31 h 528"/>
                    <a:gd name="T110" fmla="*/ 213 w 782"/>
                    <a:gd name="T111" fmla="*/ 52 h 528"/>
                    <a:gd name="T112" fmla="*/ 238 w 782"/>
                    <a:gd name="T113" fmla="*/ 54 h 528"/>
                    <a:gd name="T114" fmla="*/ 257 w 782"/>
                    <a:gd name="T115" fmla="*/ 67 h 528"/>
                    <a:gd name="T116" fmla="*/ 282 w 782"/>
                    <a:gd name="T117" fmla="*/ 67 h 528"/>
                    <a:gd name="T118" fmla="*/ 301 w 782"/>
                    <a:gd name="T119" fmla="*/ 59 h 528"/>
                    <a:gd name="T120" fmla="*/ 304 w 782"/>
                    <a:gd name="T121" fmla="*/ 37 h 528"/>
                    <a:gd name="T122" fmla="*/ 301 w 782"/>
                    <a:gd name="T123" fmla="*/ 1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2" h="528">
                      <a:moveTo>
                        <a:pt x="307" y="0"/>
                      </a:moveTo>
                      <a:lnTo>
                        <a:pt x="308" y="0"/>
                      </a:lnTo>
                      <a:lnTo>
                        <a:pt x="308" y="0"/>
                      </a:lnTo>
                      <a:lnTo>
                        <a:pt x="309" y="0"/>
                      </a:lnTo>
                      <a:lnTo>
                        <a:pt x="310" y="0"/>
                      </a:lnTo>
                      <a:lnTo>
                        <a:pt x="310" y="1"/>
                      </a:lnTo>
                      <a:lnTo>
                        <a:pt x="310" y="2"/>
                      </a:lnTo>
                      <a:lnTo>
                        <a:pt x="310" y="2"/>
                      </a:lnTo>
                      <a:lnTo>
                        <a:pt x="310" y="3"/>
                      </a:lnTo>
                      <a:lnTo>
                        <a:pt x="310" y="4"/>
                      </a:lnTo>
                      <a:lnTo>
                        <a:pt x="309" y="4"/>
                      </a:lnTo>
                      <a:lnTo>
                        <a:pt x="309" y="4"/>
                      </a:lnTo>
                      <a:lnTo>
                        <a:pt x="310" y="4"/>
                      </a:lnTo>
                      <a:lnTo>
                        <a:pt x="310" y="5"/>
                      </a:lnTo>
                      <a:lnTo>
                        <a:pt x="310" y="5"/>
                      </a:lnTo>
                      <a:lnTo>
                        <a:pt x="311" y="6"/>
                      </a:lnTo>
                      <a:lnTo>
                        <a:pt x="311" y="6"/>
                      </a:lnTo>
                      <a:lnTo>
                        <a:pt x="312" y="7"/>
                      </a:lnTo>
                      <a:lnTo>
                        <a:pt x="312" y="8"/>
                      </a:lnTo>
                      <a:lnTo>
                        <a:pt x="312" y="8"/>
                      </a:lnTo>
                      <a:lnTo>
                        <a:pt x="312" y="9"/>
                      </a:lnTo>
                      <a:lnTo>
                        <a:pt x="313" y="10"/>
                      </a:lnTo>
                      <a:lnTo>
                        <a:pt x="314" y="9"/>
                      </a:lnTo>
                      <a:lnTo>
                        <a:pt x="314" y="8"/>
                      </a:lnTo>
                      <a:lnTo>
                        <a:pt x="315" y="8"/>
                      </a:lnTo>
                      <a:lnTo>
                        <a:pt x="316" y="9"/>
                      </a:lnTo>
                      <a:lnTo>
                        <a:pt x="317" y="9"/>
                      </a:lnTo>
                      <a:lnTo>
                        <a:pt x="317" y="10"/>
                      </a:lnTo>
                      <a:lnTo>
                        <a:pt x="317" y="10"/>
                      </a:lnTo>
                      <a:lnTo>
                        <a:pt x="318" y="10"/>
                      </a:lnTo>
                      <a:lnTo>
                        <a:pt x="319" y="10"/>
                      </a:lnTo>
                      <a:lnTo>
                        <a:pt x="319" y="10"/>
                      </a:lnTo>
                      <a:lnTo>
                        <a:pt x="319" y="9"/>
                      </a:lnTo>
                      <a:lnTo>
                        <a:pt x="319" y="8"/>
                      </a:lnTo>
                      <a:lnTo>
                        <a:pt x="319" y="8"/>
                      </a:lnTo>
                      <a:lnTo>
                        <a:pt x="319" y="8"/>
                      </a:lnTo>
                      <a:lnTo>
                        <a:pt x="319" y="7"/>
                      </a:lnTo>
                      <a:lnTo>
                        <a:pt x="320" y="7"/>
                      </a:lnTo>
                      <a:lnTo>
                        <a:pt x="321" y="6"/>
                      </a:lnTo>
                      <a:lnTo>
                        <a:pt x="321" y="6"/>
                      </a:lnTo>
                      <a:lnTo>
                        <a:pt x="322" y="7"/>
                      </a:lnTo>
                      <a:lnTo>
                        <a:pt x="323" y="8"/>
                      </a:lnTo>
                      <a:lnTo>
                        <a:pt x="323" y="8"/>
                      </a:lnTo>
                      <a:lnTo>
                        <a:pt x="323" y="8"/>
                      </a:lnTo>
                      <a:lnTo>
                        <a:pt x="324" y="8"/>
                      </a:lnTo>
                      <a:lnTo>
                        <a:pt x="325" y="8"/>
                      </a:lnTo>
                      <a:lnTo>
                        <a:pt x="325" y="8"/>
                      </a:lnTo>
                      <a:lnTo>
                        <a:pt x="326" y="8"/>
                      </a:lnTo>
                      <a:lnTo>
                        <a:pt x="327" y="8"/>
                      </a:lnTo>
                      <a:lnTo>
                        <a:pt x="328" y="8"/>
                      </a:lnTo>
                      <a:lnTo>
                        <a:pt x="329" y="9"/>
                      </a:lnTo>
                      <a:lnTo>
                        <a:pt x="329" y="9"/>
                      </a:lnTo>
                      <a:lnTo>
                        <a:pt x="330" y="10"/>
                      </a:lnTo>
                      <a:lnTo>
                        <a:pt x="330" y="10"/>
                      </a:lnTo>
                      <a:lnTo>
                        <a:pt x="331" y="10"/>
                      </a:lnTo>
                      <a:lnTo>
                        <a:pt x="331" y="11"/>
                      </a:lnTo>
                      <a:lnTo>
                        <a:pt x="331" y="12"/>
                      </a:lnTo>
                      <a:lnTo>
                        <a:pt x="331" y="12"/>
                      </a:lnTo>
                      <a:lnTo>
                        <a:pt x="332" y="12"/>
                      </a:lnTo>
                      <a:lnTo>
                        <a:pt x="333" y="12"/>
                      </a:lnTo>
                      <a:lnTo>
                        <a:pt x="333" y="12"/>
                      </a:lnTo>
                      <a:lnTo>
                        <a:pt x="333" y="13"/>
                      </a:lnTo>
                      <a:lnTo>
                        <a:pt x="333" y="14"/>
                      </a:lnTo>
                      <a:lnTo>
                        <a:pt x="333" y="14"/>
                      </a:lnTo>
                      <a:lnTo>
                        <a:pt x="333" y="14"/>
                      </a:lnTo>
                      <a:lnTo>
                        <a:pt x="333" y="15"/>
                      </a:lnTo>
                      <a:lnTo>
                        <a:pt x="333" y="16"/>
                      </a:lnTo>
                      <a:lnTo>
                        <a:pt x="333" y="17"/>
                      </a:lnTo>
                      <a:lnTo>
                        <a:pt x="333" y="17"/>
                      </a:lnTo>
                      <a:lnTo>
                        <a:pt x="334" y="17"/>
                      </a:lnTo>
                      <a:lnTo>
                        <a:pt x="334" y="18"/>
                      </a:lnTo>
                      <a:lnTo>
                        <a:pt x="335" y="18"/>
                      </a:lnTo>
                      <a:lnTo>
                        <a:pt x="336" y="18"/>
                      </a:lnTo>
                      <a:lnTo>
                        <a:pt x="336" y="17"/>
                      </a:lnTo>
                      <a:lnTo>
                        <a:pt x="336" y="18"/>
                      </a:lnTo>
                      <a:lnTo>
                        <a:pt x="336" y="18"/>
                      </a:lnTo>
                      <a:lnTo>
                        <a:pt x="337" y="18"/>
                      </a:lnTo>
                      <a:lnTo>
                        <a:pt x="338" y="18"/>
                      </a:lnTo>
                      <a:lnTo>
                        <a:pt x="338" y="19"/>
                      </a:lnTo>
                      <a:lnTo>
                        <a:pt x="338" y="19"/>
                      </a:lnTo>
                      <a:lnTo>
                        <a:pt x="339" y="19"/>
                      </a:lnTo>
                      <a:lnTo>
                        <a:pt x="340" y="19"/>
                      </a:lnTo>
                      <a:lnTo>
                        <a:pt x="340" y="19"/>
                      </a:lnTo>
                      <a:lnTo>
                        <a:pt x="342" y="19"/>
                      </a:lnTo>
                      <a:lnTo>
                        <a:pt x="343" y="20"/>
                      </a:lnTo>
                      <a:lnTo>
                        <a:pt x="344" y="20"/>
                      </a:lnTo>
                      <a:lnTo>
                        <a:pt x="344" y="19"/>
                      </a:lnTo>
                      <a:lnTo>
                        <a:pt x="344" y="19"/>
                      </a:lnTo>
                      <a:lnTo>
                        <a:pt x="344" y="18"/>
                      </a:lnTo>
                      <a:lnTo>
                        <a:pt x="345" y="18"/>
                      </a:lnTo>
                      <a:lnTo>
                        <a:pt x="346" y="18"/>
                      </a:lnTo>
                      <a:lnTo>
                        <a:pt x="346" y="18"/>
                      </a:lnTo>
                      <a:lnTo>
                        <a:pt x="346" y="17"/>
                      </a:lnTo>
                      <a:lnTo>
                        <a:pt x="346" y="17"/>
                      </a:lnTo>
                      <a:lnTo>
                        <a:pt x="346" y="16"/>
                      </a:lnTo>
                      <a:lnTo>
                        <a:pt x="346" y="15"/>
                      </a:lnTo>
                      <a:lnTo>
                        <a:pt x="347" y="15"/>
                      </a:lnTo>
                      <a:lnTo>
                        <a:pt x="348" y="16"/>
                      </a:lnTo>
                      <a:lnTo>
                        <a:pt x="348" y="17"/>
                      </a:lnTo>
                      <a:lnTo>
                        <a:pt x="348" y="17"/>
                      </a:lnTo>
                      <a:lnTo>
                        <a:pt x="347" y="18"/>
                      </a:lnTo>
                      <a:lnTo>
                        <a:pt x="348" y="19"/>
                      </a:lnTo>
                      <a:lnTo>
                        <a:pt x="347" y="19"/>
                      </a:lnTo>
                      <a:lnTo>
                        <a:pt x="347" y="19"/>
                      </a:lnTo>
                      <a:lnTo>
                        <a:pt x="347" y="20"/>
                      </a:lnTo>
                      <a:lnTo>
                        <a:pt x="346" y="20"/>
                      </a:lnTo>
                      <a:lnTo>
                        <a:pt x="346" y="21"/>
                      </a:lnTo>
                      <a:lnTo>
                        <a:pt x="346" y="21"/>
                      </a:lnTo>
                      <a:lnTo>
                        <a:pt x="347" y="22"/>
                      </a:lnTo>
                      <a:lnTo>
                        <a:pt x="347" y="23"/>
                      </a:lnTo>
                      <a:lnTo>
                        <a:pt x="348" y="23"/>
                      </a:lnTo>
                      <a:lnTo>
                        <a:pt x="348" y="24"/>
                      </a:lnTo>
                      <a:lnTo>
                        <a:pt x="348" y="25"/>
                      </a:lnTo>
                      <a:lnTo>
                        <a:pt x="348" y="25"/>
                      </a:lnTo>
                      <a:lnTo>
                        <a:pt x="348" y="26"/>
                      </a:lnTo>
                      <a:lnTo>
                        <a:pt x="348" y="27"/>
                      </a:lnTo>
                      <a:lnTo>
                        <a:pt x="347" y="27"/>
                      </a:lnTo>
                      <a:lnTo>
                        <a:pt x="347" y="28"/>
                      </a:lnTo>
                      <a:lnTo>
                        <a:pt x="347" y="29"/>
                      </a:lnTo>
                      <a:lnTo>
                        <a:pt x="347" y="29"/>
                      </a:lnTo>
                      <a:lnTo>
                        <a:pt x="348" y="29"/>
                      </a:lnTo>
                      <a:lnTo>
                        <a:pt x="348" y="30"/>
                      </a:lnTo>
                      <a:lnTo>
                        <a:pt x="348" y="31"/>
                      </a:lnTo>
                      <a:lnTo>
                        <a:pt x="349" y="31"/>
                      </a:lnTo>
                      <a:lnTo>
                        <a:pt x="350" y="31"/>
                      </a:lnTo>
                      <a:lnTo>
                        <a:pt x="350" y="31"/>
                      </a:lnTo>
                      <a:lnTo>
                        <a:pt x="350" y="31"/>
                      </a:lnTo>
                      <a:lnTo>
                        <a:pt x="351" y="31"/>
                      </a:lnTo>
                      <a:lnTo>
                        <a:pt x="352" y="31"/>
                      </a:lnTo>
                      <a:lnTo>
                        <a:pt x="353" y="31"/>
                      </a:lnTo>
                      <a:lnTo>
                        <a:pt x="382" y="31"/>
                      </a:lnTo>
                      <a:lnTo>
                        <a:pt x="410" y="30"/>
                      </a:lnTo>
                      <a:lnTo>
                        <a:pt x="411" y="30"/>
                      </a:lnTo>
                      <a:lnTo>
                        <a:pt x="418" y="30"/>
                      </a:lnTo>
                      <a:lnTo>
                        <a:pt x="420" y="30"/>
                      </a:lnTo>
                      <a:lnTo>
                        <a:pt x="445" y="30"/>
                      </a:lnTo>
                      <a:lnTo>
                        <a:pt x="450" y="30"/>
                      </a:lnTo>
                      <a:lnTo>
                        <a:pt x="466" y="30"/>
                      </a:lnTo>
                      <a:lnTo>
                        <a:pt x="472" y="30"/>
                      </a:lnTo>
                      <a:lnTo>
                        <a:pt x="473" y="30"/>
                      </a:lnTo>
                      <a:lnTo>
                        <a:pt x="534" y="30"/>
                      </a:lnTo>
                      <a:lnTo>
                        <a:pt x="536" y="30"/>
                      </a:lnTo>
                      <a:lnTo>
                        <a:pt x="598" y="30"/>
                      </a:lnTo>
                      <a:lnTo>
                        <a:pt x="781" y="27"/>
                      </a:lnTo>
                      <a:lnTo>
                        <a:pt x="781" y="30"/>
                      </a:lnTo>
                      <a:lnTo>
                        <a:pt x="782" y="45"/>
                      </a:lnTo>
                      <a:lnTo>
                        <a:pt x="773" y="74"/>
                      </a:lnTo>
                      <a:lnTo>
                        <a:pt x="759" y="119"/>
                      </a:lnTo>
                      <a:lnTo>
                        <a:pt x="746" y="162"/>
                      </a:lnTo>
                      <a:lnTo>
                        <a:pt x="733" y="206"/>
                      </a:lnTo>
                      <a:lnTo>
                        <a:pt x="719" y="250"/>
                      </a:lnTo>
                      <a:lnTo>
                        <a:pt x="705" y="295"/>
                      </a:lnTo>
                      <a:lnTo>
                        <a:pt x="692" y="339"/>
                      </a:lnTo>
                      <a:lnTo>
                        <a:pt x="692" y="339"/>
                      </a:lnTo>
                      <a:lnTo>
                        <a:pt x="691" y="340"/>
                      </a:lnTo>
                      <a:lnTo>
                        <a:pt x="691" y="341"/>
                      </a:lnTo>
                      <a:lnTo>
                        <a:pt x="691" y="342"/>
                      </a:lnTo>
                      <a:lnTo>
                        <a:pt x="690" y="343"/>
                      </a:lnTo>
                      <a:lnTo>
                        <a:pt x="690" y="344"/>
                      </a:lnTo>
                      <a:lnTo>
                        <a:pt x="690" y="345"/>
                      </a:lnTo>
                      <a:lnTo>
                        <a:pt x="690" y="346"/>
                      </a:lnTo>
                      <a:lnTo>
                        <a:pt x="689" y="347"/>
                      </a:lnTo>
                      <a:lnTo>
                        <a:pt x="689" y="348"/>
                      </a:lnTo>
                      <a:lnTo>
                        <a:pt x="688" y="349"/>
                      </a:lnTo>
                      <a:lnTo>
                        <a:pt x="688" y="351"/>
                      </a:lnTo>
                      <a:lnTo>
                        <a:pt x="688" y="352"/>
                      </a:lnTo>
                      <a:lnTo>
                        <a:pt x="688" y="354"/>
                      </a:lnTo>
                      <a:lnTo>
                        <a:pt x="687" y="354"/>
                      </a:lnTo>
                      <a:lnTo>
                        <a:pt x="687" y="356"/>
                      </a:lnTo>
                      <a:lnTo>
                        <a:pt x="686" y="357"/>
                      </a:lnTo>
                      <a:lnTo>
                        <a:pt x="686" y="359"/>
                      </a:lnTo>
                      <a:lnTo>
                        <a:pt x="685" y="360"/>
                      </a:lnTo>
                      <a:lnTo>
                        <a:pt x="684" y="360"/>
                      </a:lnTo>
                      <a:lnTo>
                        <a:pt x="684" y="360"/>
                      </a:lnTo>
                      <a:lnTo>
                        <a:pt x="682" y="360"/>
                      </a:lnTo>
                      <a:lnTo>
                        <a:pt x="680" y="358"/>
                      </a:lnTo>
                      <a:lnTo>
                        <a:pt x="680" y="357"/>
                      </a:lnTo>
                      <a:lnTo>
                        <a:pt x="679" y="356"/>
                      </a:lnTo>
                      <a:lnTo>
                        <a:pt x="678" y="355"/>
                      </a:lnTo>
                      <a:lnTo>
                        <a:pt x="677" y="354"/>
                      </a:lnTo>
                      <a:lnTo>
                        <a:pt x="677" y="352"/>
                      </a:lnTo>
                      <a:lnTo>
                        <a:pt x="676" y="351"/>
                      </a:lnTo>
                      <a:lnTo>
                        <a:pt x="676" y="349"/>
                      </a:lnTo>
                      <a:lnTo>
                        <a:pt x="675" y="347"/>
                      </a:lnTo>
                      <a:lnTo>
                        <a:pt x="675" y="346"/>
                      </a:lnTo>
                      <a:lnTo>
                        <a:pt x="675" y="345"/>
                      </a:lnTo>
                      <a:lnTo>
                        <a:pt x="674" y="344"/>
                      </a:lnTo>
                      <a:lnTo>
                        <a:pt x="674" y="345"/>
                      </a:lnTo>
                      <a:lnTo>
                        <a:pt x="673" y="345"/>
                      </a:lnTo>
                      <a:lnTo>
                        <a:pt x="671" y="347"/>
                      </a:lnTo>
                      <a:lnTo>
                        <a:pt x="669" y="349"/>
                      </a:lnTo>
                      <a:lnTo>
                        <a:pt x="669" y="349"/>
                      </a:lnTo>
                      <a:lnTo>
                        <a:pt x="668" y="349"/>
                      </a:lnTo>
                      <a:lnTo>
                        <a:pt x="667" y="349"/>
                      </a:lnTo>
                      <a:lnTo>
                        <a:pt x="666" y="348"/>
                      </a:lnTo>
                      <a:lnTo>
                        <a:pt x="666" y="347"/>
                      </a:lnTo>
                      <a:lnTo>
                        <a:pt x="666" y="345"/>
                      </a:lnTo>
                      <a:lnTo>
                        <a:pt x="665" y="343"/>
                      </a:lnTo>
                      <a:lnTo>
                        <a:pt x="665" y="341"/>
                      </a:lnTo>
                      <a:lnTo>
                        <a:pt x="664" y="340"/>
                      </a:lnTo>
                      <a:lnTo>
                        <a:pt x="663" y="339"/>
                      </a:lnTo>
                      <a:lnTo>
                        <a:pt x="661" y="337"/>
                      </a:lnTo>
                      <a:lnTo>
                        <a:pt x="660" y="336"/>
                      </a:lnTo>
                      <a:lnTo>
                        <a:pt x="659" y="335"/>
                      </a:lnTo>
                      <a:lnTo>
                        <a:pt x="659" y="334"/>
                      </a:lnTo>
                      <a:lnTo>
                        <a:pt x="657" y="334"/>
                      </a:lnTo>
                      <a:lnTo>
                        <a:pt x="657" y="334"/>
                      </a:lnTo>
                      <a:lnTo>
                        <a:pt x="656" y="335"/>
                      </a:lnTo>
                      <a:lnTo>
                        <a:pt x="655" y="335"/>
                      </a:lnTo>
                      <a:lnTo>
                        <a:pt x="655" y="336"/>
                      </a:lnTo>
                      <a:lnTo>
                        <a:pt x="655" y="337"/>
                      </a:lnTo>
                      <a:lnTo>
                        <a:pt x="654" y="339"/>
                      </a:lnTo>
                      <a:lnTo>
                        <a:pt x="653" y="339"/>
                      </a:lnTo>
                      <a:lnTo>
                        <a:pt x="652" y="340"/>
                      </a:lnTo>
                      <a:lnTo>
                        <a:pt x="652" y="340"/>
                      </a:lnTo>
                      <a:lnTo>
                        <a:pt x="651" y="339"/>
                      </a:lnTo>
                      <a:lnTo>
                        <a:pt x="651" y="339"/>
                      </a:lnTo>
                      <a:lnTo>
                        <a:pt x="650" y="338"/>
                      </a:lnTo>
                      <a:lnTo>
                        <a:pt x="650" y="336"/>
                      </a:lnTo>
                      <a:lnTo>
                        <a:pt x="649" y="335"/>
                      </a:lnTo>
                      <a:lnTo>
                        <a:pt x="648" y="333"/>
                      </a:lnTo>
                      <a:lnTo>
                        <a:pt x="647" y="333"/>
                      </a:lnTo>
                      <a:lnTo>
                        <a:pt x="646" y="330"/>
                      </a:lnTo>
                      <a:lnTo>
                        <a:pt x="644" y="329"/>
                      </a:lnTo>
                      <a:lnTo>
                        <a:pt x="644" y="328"/>
                      </a:lnTo>
                      <a:lnTo>
                        <a:pt x="644" y="327"/>
                      </a:lnTo>
                      <a:lnTo>
                        <a:pt x="644" y="326"/>
                      </a:lnTo>
                      <a:lnTo>
                        <a:pt x="645" y="324"/>
                      </a:lnTo>
                      <a:lnTo>
                        <a:pt x="646" y="323"/>
                      </a:lnTo>
                      <a:lnTo>
                        <a:pt x="646" y="322"/>
                      </a:lnTo>
                      <a:lnTo>
                        <a:pt x="646" y="322"/>
                      </a:lnTo>
                      <a:lnTo>
                        <a:pt x="645" y="321"/>
                      </a:lnTo>
                      <a:lnTo>
                        <a:pt x="644" y="320"/>
                      </a:lnTo>
                      <a:lnTo>
                        <a:pt x="645" y="318"/>
                      </a:lnTo>
                      <a:lnTo>
                        <a:pt x="645" y="316"/>
                      </a:lnTo>
                      <a:lnTo>
                        <a:pt x="646" y="314"/>
                      </a:lnTo>
                      <a:lnTo>
                        <a:pt x="647" y="313"/>
                      </a:lnTo>
                      <a:lnTo>
                        <a:pt x="648" y="312"/>
                      </a:lnTo>
                      <a:lnTo>
                        <a:pt x="648" y="311"/>
                      </a:lnTo>
                      <a:lnTo>
                        <a:pt x="649" y="310"/>
                      </a:lnTo>
                      <a:lnTo>
                        <a:pt x="648" y="309"/>
                      </a:lnTo>
                      <a:lnTo>
                        <a:pt x="647" y="308"/>
                      </a:lnTo>
                      <a:lnTo>
                        <a:pt x="646" y="308"/>
                      </a:lnTo>
                      <a:lnTo>
                        <a:pt x="644" y="307"/>
                      </a:lnTo>
                      <a:lnTo>
                        <a:pt x="644" y="306"/>
                      </a:lnTo>
                      <a:lnTo>
                        <a:pt x="644" y="305"/>
                      </a:lnTo>
                      <a:lnTo>
                        <a:pt x="644" y="304"/>
                      </a:lnTo>
                      <a:lnTo>
                        <a:pt x="643" y="303"/>
                      </a:lnTo>
                      <a:lnTo>
                        <a:pt x="643" y="303"/>
                      </a:lnTo>
                      <a:lnTo>
                        <a:pt x="644" y="301"/>
                      </a:lnTo>
                      <a:lnTo>
                        <a:pt x="645" y="301"/>
                      </a:lnTo>
                      <a:lnTo>
                        <a:pt x="646" y="300"/>
                      </a:lnTo>
                      <a:lnTo>
                        <a:pt x="646" y="299"/>
                      </a:lnTo>
                      <a:lnTo>
                        <a:pt x="647" y="298"/>
                      </a:lnTo>
                      <a:lnTo>
                        <a:pt x="647" y="297"/>
                      </a:lnTo>
                      <a:lnTo>
                        <a:pt x="647" y="295"/>
                      </a:lnTo>
                      <a:lnTo>
                        <a:pt x="647" y="295"/>
                      </a:lnTo>
                      <a:lnTo>
                        <a:pt x="646" y="294"/>
                      </a:lnTo>
                      <a:lnTo>
                        <a:pt x="646" y="295"/>
                      </a:lnTo>
                      <a:lnTo>
                        <a:pt x="643" y="295"/>
                      </a:lnTo>
                      <a:lnTo>
                        <a:pt x="631" y="295"/>
                      </a:lnTo>
                      <a:lnTo>
                        <a:pt x="622" y="295"/>
                      </a:lnTo>
                      <a:lnTo>
                        <a:pt x="598" y="295"/>
                      </a:lnTo>
                      <a:lnTo>
                        <a:pt x="597" y="295"/>
                      </a:lnTo>
                      <a:lnTo>
                        <a:pt x="594" y="295"/>
                      </a:lnTo>
                      <a:lnTo>
                        <a:pt x="591" y="295"/>
                      </a:lnTo>
                      <a:lnTo>
                        <a:pt x="589" y="295"/>
                      </a:lnTo>
                      <a:lnTo>
                        <a:pt x="584" y="295"/>
                      </a:lnTo>
                      <a:lnTo>
                        <a:pt x="578" y="295"/>
                      </a:lnTo>
                      <a:lnTo>
                        <a:pt x="574" y="295"/>
                      </a:lnTo>
                      <a:lnTo>
                        <a:pt x="568" y="295"/>
                      </a:lnTo>
                      <a:lnTo>
                        <a:pt x="556" y="295"/>
                      </a:lnTo>
                      <a:lnTo>
                        <a:pt x="552" y="295"/>
                      </a:lnTo>
                      <a:lnTo>
                        <a:pt x="545" y="295"/>
                      </a:lnTo>
                      <a:lnTo>
                        <a:pt x="540" y="295"/>
                      </a:lnTo>
                      <a:lnTo>
                        <a:pt x="537" y="295"/>
                      </a:lnTo>
                      <a:lnTo>
                        <a:pt x="536" y="295"/>
                      </a:lnTo>
                      <a:lnTo>
                        <a:pt x="521" y="295"/>
                      </a:lnTo>
                      <a:lnTo>
                        <a:pt x="521" y="295"/>
                      </a:lnTo>
                      <a:lnTo>
                        <a:pt x="506" y="295"/>
                      </a:lnTo>
                      <a:lnTo>
                        <a:pt x="505" y="295"/>
                      </a:lnTo>
                      <a:lnTo>
                        <a:pt x="498" y="295"/>
                      </a:lnTo>
                      <a:lnTo>
                        <a:pt x="491" y="295"/>
                      </a:lnTo>
                      <a:lnTo>
                        <a:pt x="486" y="295"/>
                      </a:lnTo>
                      <a:lnTo>
                        <a:pt x="479" y="295"/>
                      </a:lnTo>
                      <a:lnTo>
                        <a:pt x="475" y="295"/>
                      </a:lnTo>
                      <a:lnTo>
                        <a:pt x="475" y="295"/>
                      </a:lnTo>
                      <a:lnTo>
                        <a:pt x="474" y="295"/>
                      </a:lnTo>
                      <a:lnTo>
                        <a:pt x="433" y="295"/>
                      </a:lnTo>
                      <a:lnTo>
                        <a:pt x="433" y="295"/>
                      </a:lnTo>
                      <a:lnTo>
                        <a:pt x="433" y="296"/>
                      </a:lnTo>
                      <a:lnTo>
                        <a:pt x="433" y="296"/>
                      </a:lnTo>
                      <a:lnTo>
                        <a:pt x="433" y="297"/>
                      </a:lnTo>
                      <a:lnTo>
                        <a:pt x="433" y="297"/>
                      </a:lnTo>
                      <a:lnTo>
                        <a:pt x="433" y="298"/>
                      </a:lnTo>
                      <a:lnTo>
                        <a:pt x="433" y="298"/>
                      </a:lnTo>
                      <a:lnTo>
                        <a:pt x="433" y="299"/>
                      </a:lnTo>
                      <a:lnTo>
                        <a:pt x="433" y="299"/>
                      </a:lnTo>
                      <a:lnTo>
                        <a:pt x="433" y="299"/>
                      </a:lnTo>
                      <a:lnTo>
                        <a:pt x="433" y="300"/>
                      </a:lnTo>
                      <a:lnTo>
                        <a:pt x="433" y="301"/>
                      </a:lnTo>
                      <a:lnTo>
                        <a:pt x="433" y="301"/>
                      </a:lnTo>
                      <a:lnTo>
                        <a:pt x="432" y="301"/>
                      </a:lnTo>
                      <a:lnTo>
                        <a:pt x="432" y="302"/>
                      </a:lnTo>
                      <a:lnTo>
                        <a:pt x="432" y="303"/>
                      </a:lnTo>
                      <a:lnTo>
                        <a:pt x="431" y="303"/>
                      </a:lnTo>
                      <a:lnTo>
                        <a:pt x="431" y="303"/>
                      </a:lnTo>
                      <a:lnTo>
                        <a:pt x="431" y="304"/>
                      </a:lnTo>
                      <a:lnTo>
                        <a:pt x="432" y="304"/>
                      </a:lnTo>
                      <a:lnTo>
                        <a:pt x="431" y="304"/>
                      </a:lnTo>
                      <a:lnTo>
                        <a:pt x="431" y="305"/>
                      </a:lnTo>
                      <a:lnTo>
                        <a:pt x="431" y="305"/>
                      </a:lnTo>
                      <a:lnTo>
                        <a:pt x="431" y="305"/>
                      </a:lnTo>
                      <a:lnTo>
                        <a:pt x="431" y="306"/>
                      </a:lnTo>
                      <a:lnTo>
                        <a:pt x="431" y="306"/>
                      </a:lnTo>
                      <a:lnTo>
                        <a:pt x="431" y="307"/>
                      </a:lnTo>
                      <a:lnTo>
                        <a:pt x="430" y="307"/>
                      </a:lnTo>
                      <a:lnTo>
                        <a:pt x="431" y="307"/>
                      </a:lnTo>
                      <a:lnTo>
                        <a:pt x="431" y="307"/>
                      </a:lnTo>
                      <a:lnTo>
                        <a:pt x="430" y="307"/>
                      </a:lnTo>
                      <a:lnTo>
                        <a:pt x="430" y="308"/>
                      </a:lnTo>
                      <a:lnTo>
                        <a:pt x="429" y="308"/>
                      </a:lnTo>
                      <a:lnTo>
                        <a:pt x="429" y="307"/>
                      </a:lnTo>
                      <a:lnTo>
                        <a:pt x="429" y="307"/>
                      </a:lnTo>
                      <a:lnTo>
                        <a:pt x="429" y="306"/>
                      </a:lnTo>
                      <a:lnTo>
                        <a:pt x="429" y="306"/>
                      </a:lnTo>
                      <a:lnTo>
                        <a:pt x="429" y="305"/>
                      </a:lnTo>
                      <a:lnTo>
                        <a:pt x="429" y="305"/>
                      </a:lnTo>
                      <a:lnTo>
                        <a:pt x="429" y="305"/>
                      </a:lnTo>
                      <a:lnTo>
                        <a:pt x="429" y="305"/>
                      </a:lnTo>
                      <a:lnTo>
                        <a:pt x="429" y="305"/>
                      </a:lnTo>
                      <a:lnTo>
                        <a:pt x="429" y="305"/>
                      </a:lnTo>
                      <a:lnTo>
                        <a:pt x="429" y="304"/>
                      </a:lnTo>
                      <a:lnTo>
                        <a:pt x="429" y="303"/>
                      </a:lnTo>
                      <a:lnTo>
                        <a:pt x="429" y="303"/>
                      </a:lnTo>
                      <a:lnTo>
                        <a:pt x="429" y="303"/>
                      </a:lnTo>
                      <a:lnTo>
                        <a:pt x="429" y="302"/>
                      </a:lnTo>
                      <a:lnTo>
                        <a:pt x="430" y="302"/>
                      </a:lnTo>
                      <a:lnTo>
                        <a:pt x="429" y="302"/>
                      </a:lnTo>
                      <a:lnTo>
                        <a:pt x="429" y="301"/>
                      </a:lnTo>
                      <a:lnTo>
                        <a:pt x="429" y="301"/>
                      </a:lnTo>
                      <a:lnTo>
                        <a:pt x="429" y="301"/>
                      </a:lnTo>
                      <a:lnTo>
                        <a:pt x="429" y="300"/>
                      </a:lnTo>
                      <a:lnTo>
                        <a:pt x="428" y="300"/>
                      </a:lnTo>
                      <a:lnTo>
                        <a:pt x="429" y="300"/>
                      </a:lnTo>
                      <a:lnTo>
                        <a:pt x="428" y="300"/>
                      </a:lnTo>
                      <a:lnTo>
                        <a:pt x="428" y="299"/>
                      </a:lnTo>
                      <a:lnTo>
                        <a:pt x="428" y="299"/>
                      </a:lnTo>
                      <a:lnTo>
                        <a:pt x="428" y="298"/>
                      </a:lnTo>
                      <a:lnTo>
                        <a:pt x="428" y="297"/>
                      </a:lnTo>
                      <a:lnTo>
                        <a:pt x="428" y="297"/>
                      </a:lnTo>
                      <a:lnTo>
                        <a:pt x="428" y="297"/>
                      </a:lnTo>
                      <a:lnTo>
                        <a:pt x="427" y="297"/>
                      </a:lnTo>
                      <a:lnTo>
                        <a:pt x="426" y="297"/>
                      </a:lnTo>
                      <a:lnTo>
                        <a:pt x="426" y="298"/>
                      </a:lnTo>
                      <a:lnTo>
                        <a:pt x="426" y="298"/>
                      </a:lnTo>
                      <a:lnTo>
                        <a:pt x="426" y="297"/>
                      </a:lnTo>
                      <a:lnTo>
                        <a:pt x="425" y="298"/>
                      </a:lnTo>
                      <a:lnTo>
                        <a:pt x="424" y="298"/>
                      </a:lnTo>
                      <a:lnTo>
                        <a:pt x="424" y="298"/>
                      </a:lnTo>
                      <a:lnTo>
                        <a:pt x="424" y="297"/>
                      </a:lnTo>
                      <a:lnTo>
                        <a:pt x="424" y="297"/>
                      </a:lnTo>
                      <a:lnTo>
                        <a:pt x="424" y="296"/>
                      </a:lnTo>
                      <a:lnTo>
                        <a:pt x="423" y="296"/>
                      </a:lnTo>
                      <a:lnTo>
                        <a:pt x="423" y="295"/>
                      </a:lnTo>
                      <a:lnTo>
                        <a:pt x="422" y="295"/>
                      </a:lnTo>
                      <a:lnTo>
                        <a:pt x="422" y="295"/>
                      </a:lnTo>
                      <a:lnTo>
                        <a:pt x="422" y="295"/>
                      </a:lnTo>
                      <a:lnTo>
                        <a:pt x="422" y="294"/>
                      </a:lnTo>
                      <a:lnTo>
                        <a:pt x="421" y="294"/>
                      </a:lnTo>
                      <a:lnTo>
                        <a:pt x="420" y="294"/>
                      </a:lnTo>
                      <a:lnTo>
                        <a:pt x="420" y="294"/>
                      </a:lnTo>
                      <a:lnTo>
                        <a:pt x="412" y="294"/>
                      </a:lnTo>
                      <a:lnTo>
                        <a:pt x="398" y="294"/>
                      </a:lnTo>
                      <a:lnTo>
                        <a:pt x="396" y="294"/>
                      </a:lnTo>
                      <a:lnTo>
                        <a:pt x="376" y="294"/>
                      </a:lnTo>
                      <a:lnTo>
                        <a:pt x="376" y="294"/>
                      </a:lnTo>
                      <a:lnTo>
                        <a:pt x="371" y="294"/>
                      </a:lnTo>
                      <a:lnTo>
                        <a:pt x="368" y="294"/>
                      </a:lnTo>
                      <a:lnTo>
                        <a:pt x="368" y="295"/>
                      </a:lnTo>
                      <a:lnTo>
                        <a:pt x="367" y="295"/>
                      </a:lnTo>
                      <a:lnTo>
                        <a:pt x="367" y="295"/>
                      </a:lnTo>
                      <a:lnTo>
                        <a:pt x="367" y="295"/>
                      </a:lnTo>
                      <a:lnTo>
                        <a:pt x="367" y="296"/>
                      </a:lnTo>
                      <a:lnTo>
                        <a:pt x="366" y="296"/>
                      </a:lnTo>
                      <a:lnTo>
                        <a:pt x="366" y="297"/>
                      </a:lnTo>
                      <a:lnTo>
                        <a:pt x="367" y="297"/>
                      </a:lnTo>
                      <a:lnTo>
                        <a:pt x="366" y="297"/>
                      </a:lnTo>
                      <a:lnTo>
                        <a:pt x="366" y="297"/>
                      </a:lnTo>
                      <a:lnTo>
                        <a:pt x="365" y="297"/>
                      </a:lnTo>
                      <a:lnTo>
                        <a:pt x="365" y="297"/>
                      </a:lnTo>
                      <a:lnTo>
                        <a:pt x="365" y="297"/>
                      </a:lnTo>
                      <a:lnTo>
                        <a:pt x="365" y="297"/>
                      </a:lnTo>
                      <a:lnTo>
                        <a:pt x="365" y="298"/>
                      </a:lnTo>
                      <a:lnTo>
                        <a:pt x="366" y="298"/>
                      </a:lnTo>
                      <a:lnTo>
                        <a:pt x="367" y="299"/>
                      </a:lnTo>
                      <a:lnTo>
                        <a:pt x="366" y="299"/>
                      </a:lnTo>
                      <a:lnTo>
                        <a:pt x="366" y="299"/>
                      </a:lnTo>
                      <a:lnTo>
                        <a:pt x="365" y="299"/>
                      </a:lnTo>
                      <a:lnTo>
                        <a:pt x="365" y="300"/>
                      </a:lnTo>
                      <a:lnTo>
                        <a:pt x="365" y="301"/>
                      </a:lnTo>
                      <a:lnTo>
                        <a:pt x="365" y="301"/>
                      </a:lnTo>
                      <a:lnTo>
                        <a:pt x="365" y="301"/>
                      </a:lnTo>
                      <a:lnTo>
                        <a:pt x="365" y="302"/>
                      </a:lnTo>
                      <a:lnTo>
                        <a:pt x="365" y="303"/>
                      </a:lnTo>
                      <a:lnTo>
                        <a:pt x="365" y="303"/>
                      </a:lnTo>
                      <a:lnTo>
                        <a:pt x="365" y="303"/>
                      </a:lnTo>
                      <a:lnTo>
                        <a:pt x="365" y="304"/>
                      </a:lnTo>
                      <a:lnTo>
                        <a:pt x="364" y="304"/>
                      </a:lnTo>
                      <a:lnTo>
                        <a:pt x="363" y="304"/>
                      </a:lnTo>
                      <a:lnTo>
                        <a:pt x="363" y="304"/>
                      </a:lnTo>
                      <a:lnTo>
                        <a:pt x="363" y="305"/>
                      </a:lnTo>
                      <a:lnTo>
                        <a:pt x="363" y="305"/>
                      </a:lnTo>
                      <a:lnTo>
                        <a:pt x="363" y="306"/>
                      </a:lnTo>
                      <a:lnTo>
                        <a:pt x="363" y="306"/>
                      </a:lnTo>
                      <a:lnTo>
                        <a:pt x="362" y="306"/>
                      </a:lnTo>
                      <a:lnTo>
                        <a:pt x="362" y="307"/>
                      </a:lnTo>
                      <a:lnTo>
                        <a:pt x="363" y="307"/>
                      </a:lnTo>
                      <a:lnTo>
                        <a:pt x="363" y="307"/>
                      </a:lnTo>
                      <a:lnTo>
                        <a:pt x="363" y="308"/>
                      </a:lnTo>
                      <a:lnTo>
                        <a:pt x="363" y="308"/>
                      </a:lnTo>
                      <a:lnTo>
                        <a:pt x="362" y="308"/>
                      </a:lnTo>
                      <a:lnTo>
                        <a:pt x="362" y="309"/>
                      </a:lnTo>
                      <a:lnTo>
                        <a:pt x="362" y="309"/>
                      </a:lnTo>
                      <a:lnTo>
                        <a:pt x="363" y="309"/>
                      </a:lnTo>
                      <a:lnTo>
                        <a:pt x="363" y="309"/>
                      </a:lnTo>
                      <a:lnTo>
                        <a:pt x="363" y="309"/>
                      </a:lnTo>
                      <a:lnTo>
                        <a:pt x="363" y="309"/>
                      </a:lnTo>
                      <a:lnTo>
                        <a:pt x="363" y="310"/>
                      </a:lnTo>
                      <a:lnTo>
                        <a:pt x="363" y="310"/>
                      </a:lnTo>
                      <a:lnTo>
                        <a:pt x="362" y="310"/>
                      </a:lnTo>
                      <a:lnTo>
                        <a:pt x="362" y="311"/>
                      </a:lnTo>
                      <a:lnTo>
                        <a:pt x="361" y="311"/>
                      </a:lnTo>
                      <a:lnTo>
                        <a:pt x="361" y="311"/>
                      </a:lnTo>
                      <a:lnTo>
                        <a:pt x="361" y="311"/>
                      </a:lnTo>
                      <a:lnTo>
                        <a:pt x="361" y="312"/>
                      </a:lnTo>
                      <a:lnTo>
                        <a:pt x="361" y="312"/>
                      </a:lnTo>
                      <a:lnTo>
                        <a:pt x="362" y="312"/>
                      </a:lnTo>
                      <a:lnTo>
                        <a:pt x="361" y="313"/>
                      </a:lnTo>
                      <a:lnTo>
                        <a:pt x="361" y="314"/>
                      </a:lnTo>
                      <a:lnTo>
                        <a:pt x="361" y="314"/>
                      </a:lnTo>
                      <a:lnTo>
                        <a:pt x="361" y="315"/>
                      </a:lnTo>
                      <a:lnTo>
                        <a:pt x="361" y="316"/>
                      </a:lnTo>
                      <a:lnTo>
                        <a:pt x="362" y="316"/>
                      </a:lnTo>
                      <a:lnTo>
                        <a:pt x="361" y="316"/>
                      </a:lnTo>
                      <a:lnTo>
                        <a:pt x="361" y="316"/>
                      </a:lnTo>
                      <a:lnTo>
                        <a:pt x="361" y="317"/>
                      </a:lnTo>
                      <a:lnTo>
                        <a:pt x="361" y="317"/>
                      </a:lnTo>
                      <a:lnTo>
                        <a:pt x="361" y="316"/>
                      </a:lnTo>
                      <a:lnTo>
                        <a:pt x="361" y="317"/>
                      </a:lnTo>
                      <a:lnTo>
                        <a:pt x="361" y="318"/>
                      </a:lnTo>
                      <a:lnTo>
                        <a:pt x="361" y="318"/>
                      </a:lnTo>
                      <a:lnTo>
                        <a:pt x="360" y="319"/>
                      </a:lnTo>
                      <a:lnTo>
                        <a:pt x="359" y="319"/>
                      </a:lnTo>
                      <a:lnTo>
                        <a:pt x="359" y="318"/>
                      </a:lnTo>
                      <a:lnTo>
                        <a:pt x="359" y="318"/>
                      </a:lnTo>
                      <a:lnTo>
                        <a:pt x="359" y="318"/>
                      </a:lnTo>
                      <a:lnTo>
                        <a:pt x="358" y="318"/>
                      </a:lnTo>
                      <a:lnTo>
                        <a:pt x="357" y="318"/>
                      </a:lnTo>
                      <a:lnTo>
                        <a:pt x="357" y="317"/>
                      </a:lnTo>
                      <a:lnTo>
                        <a:pt x="357" y="316"/>
                      </a:lnTo>
                      <a:lnTo>
                        <a:pt x="357" y="316"/>
                      </a:lnTo>
                      <a:lnTo>
                        <a:pt x="357" y="316"/>
                      </a:lnTo>
                      <a:lnTo>
                        <a:pt x="356" y="316"/>
                      </a:lnTo>
                      <a:lnTo>
                        <a:pt x="356" y="316"/>
                      </a:lnTo>
                      <a:lnTo>
                        <a:pt x="355" y="316"/>
                      </a:lnTo>
                      <a:lnTo>
                        <a:pt x="355" y="317"/>
                      </a:lnTo>
                      <a:lnTo>
                        <a:pt x="356" y="317"/>
                      </a:lnTo>
                      <a:lnTo>
                        <a:pt x="357" y="317"/>
                      </a:lnTo>
                      <a:lnTo>
                        <a:pt x="357" y="318"/>
                      </a:lnTo>
                      <a:lnTo>
                        <a:pt x="357" y="318"/>
                      </a:lnTo>
                      <a:lnTo>
                        <a:pt x="357" y="319"/>
                      </a:lnTo>
                      <a:lnTo>
                        <a:pt x="357" y="318"/>
                      </a:lnTo>
                      <a:lnTo>
                        <a:pt x="356" y="318"/>
                      </a:lnTo>
                      <a:lnTo>
                        <a:pt x="355" y="319"/>
                      </a:lnTo>
                      <a:lnTo>
                        <a:pt x="355" y="319"/>
                      </a:lnTo>
                      <a:lnTo>
                        <a:pt x="355" y="320"/>
                      </a:lnTo>
                      <a:lnTo>
                        <a:pt x="354" y="320"/>
                      </a:lnTo>
                      <a:lnTo>
                        <a:pt x="354" y="320"/>
                      </a:lnTo>
                      <a:lnTo>
                        <a:pt x="354" y="321"/>
                      </a:lnTo>
                      <a:lnTo>
                        <a:pt x="354" y="322"/>
                      </a:lnTo>
                      <a:lnTo>
                        <a:pt x="353" y="322"/>
                      </a:lnTo>
                      <a:lnTo>
                        <a:pt x="354" y="322"/>
                      </a:lnTo>
                      <a:lnTo>
                        <a:pt x="354" y="322"/>
                      </a:lnTo>
                      <a:lnTo>
                        <a:pt x="355" y="322"/>
                      </a:lnTo>
                      <a:lnTo>
                        <a:pt x="355" y="322"/>
                      </a:lnTo>
                      <a:lnTo>
                        <a:pt x="355" y="323"/>
                      </a:lnTo>
                      <a:lnTo>
                        <a:pt x="354" y="323"/>
                      </a:lnTo>
                      <a:lnTo>
                        <a:pt x="354" y="322"/>
                      </a:lnTo>
                      <a:lnTo>
                        <a:pt x="353" y="322"/>
                      </a:lnTo>
                      <a:lnTo>
                        <a:pt x="353" y="322"/>
                      </a:lnTo>
                      <a:lnTo>
                        <a:pt x="352" y="322"/>
                      </a:lnTo>
                      <a:lnTo>
                        <a:pt x="351" y="322"/>
                      </a:lnTo>
                      <a:lnTo>
                        <a:pt x="351" y="323"/>
                      </a:lnTo>
                      <a:lnTo>
                        <a:pt x="352" y="324"/>
                      </a:lnTo>
                      <a:lnTo>
                        <a:pt x="353" y="323"/>
                      </a:lnTo>
                      <a:lnTo>
                        <a:pt x="353" y="323"/>
                      </a:lnTo>
                      <a:lnTo>
                        <a:pt x="353" y="324"/>
                      </a:lnTo>
                      <a:lnTo>
                        <a:pt x="353" y="324"/>
                      </a:lnTo>
                      <a:lnTo>
                        <a:pt x="354" y="324"/>
                      </a:lnTo>
                      <a:lnTo>
                        <a:pt x="354" y="325"/>
                      </a:lnTo>
                      <a:lnTo>
                        <a:pt x="354" y="326"/>
                      </a:lnTo>
                      <a:lnTo>
                        <a:pt x="353" y="326"/>
                      </a:lnTo>
                      <a:lnTo>
                        <a:pt x="353" y="326"/>
                      </a:lnTo>
                      <a:lnTo>
                        <a:pt x="353" y="326"/>
                      </a:lnTo>
                      <a:lnTo>
                        <a:pt x="352" y="326"/>
                      </a:lnTo>
                      <a:lnTo>
                        <a:pt x="352" y="327"/>
                      </a:lnTo>
                      <a:lnTo>
                        <a:pt x="352" y="328"/>
                      </a:lnTo>
                      <a:lnTo>
                        <a:pt x="352" y="328"/>
                      </a:lnTo>
                      <a:lnTo>
                        <a:pt x="353" y="328"/>
                      </a:lnTo>
                      <a:lnTo>
                        <a:pt x="353" y="329"/>
                      </a:lnTo>
                      <a:lnTo>
                        <a:pt x="353" y="330"/>
                      </a:lnTo>
                      <a:lnTo>
                        <a:pt x="353" y="330"/>
                      </a:lnTo>
                      <a:lnTo>
                        <a:pt x="352" y="330"/>
                      </a:lnTo>
                      <a:lnTo>
                        <a:pt x="352" y="330"/>
                      </a:lnTo>
                      <a:lnTo>
                        <a:pt x="351" y="330"/>
                      </a:lnTo>
                      <a:lnTo>
                        <a:pt x="351" y="331"/>
                      </a:lnTo>
                      <a:lnTo>
                        <a:pt x="352" y="331"/>
                      </a:lnTo>
                      <a:lnTo>
                        <a:pt x="352" y="332"/>
                      </a:lnTo>
                      <a:lnTo>
                        <a:pt x="352" y="333"/>
                      </a:lnTo>
                      <a:lnTo>
                        <a:pt x="351" y="333"/>
                      </a:lnTo>
                      <a:lnTo>
                        <a:pt x="351" y="333"/>
                      </a:lnTo>
                      <a:lnTo>
                        <a:pt x="351" y="334"/>
                      </a:lnTo>
                      <a:lnTo>
                        <a:pt x="350" y="334"/>
                      </a:lnTo>
                      <a:lnTo>
                        <a:pt x="350" y="335"/>
                      </a:lnTo>
                      <a:lnTo>
                        <a:pt x="350" y="335"/>
                      </a:lnTo>
                      <a:lnTo>
                        <a:pt x="350" y="335"/>
                      </a:lnTo>
                      <a:lnTo>
                        <a:pt x="350" y="335"/>
                      </a:lnTo>
                      <a:lnTo>
                        <a:pt x="351" y="336"/>
                      </a:lnTo>
                      <a:lnTo>
                        <a:pt x="351" y="337"/>
                      </a:lnTo>
                      <a:lnTo>
                        <a:pt x="350" y="337"/>
                      </a:lnTo>
                      <a:lnTo>
                        <a:pt x="350" y="337"/>
                      </a:lnTo>
                      <a:lnTo>
                        <a:pt x="350" y="337"/>
                      </a:lnTo>
                      <a:lnTo>
                        <a:pt x="349" y="338"/>
                      </a:lnTo>
                      <a:lnTo>
                        <a:pt x="349" y="339"/>
                      </a:lnTo>
                      <a:lnTo>
                        <a:pt x="348" y="339"/>
                      </a:lnTo>
                      <a:lnTo>
                        <a:pt x="348" y="339"/>
                      </a:lnTo>
                      <a:lnTo>
                        <a:pt x="347" y="339"/>
                      </a:lnTo>
                      <a:lnTo>
                        <a:pt x="347" y="339"/>
                      </a:lnTo>
                      <a:lnTo>
                        <a:pt x="346" y="340"/>
                      </a:lnTo>
                      <a:lnTo>
                        <a:pt x="346" y="341"/>
                      </a:lnTo>
                      <a:lnTo>
                        <a:pt x="346" y="341"/>
                      </a:lnTo>
                      <a:lnTo>
                        <a:pt x="346" y="342"/>
                      </a:lnTo>
                      <a:lnTo>
                        <a:pt x="346" y="342"/>
                      </a:lnTo>
                      <a:lnTo>
                        <a:pt x="346" y="343"/>
                      </a:lnTo>
                      <a:lnTo>
                        <a:pt x="346" y="343"/>
                      </a:lnTo>
                      <a:lnTo>
                        <a:pt x="347" y="343"/>
                      </a:lnTo>
                      <a:lnTo>
                        <a:pt x="347" y="344"/>
                      </a:lnTo>
                      <a:lnTo>
                        <a:pt x="346" y="344"/>
                      </a:lnTo>
                      <a:lnTo>
                        <a:pt x="346" y="344"/>
                      </a:lnTo>
                      <a:lnTo>
                        <a:pt x="345" y="344"/>
                      </a:lnTo>
                      <a:lnTo>
                        <a:pt x="344" y="345"/>
                      </a:lnTo>
                      <a:lnTo>
                        <a:pt x="344" y="345"/>
                      </a:lnTo>
                      <a:lnTo>
                        <a:pt x="344" y="346"/>
                      </a:lnTo>
                      <a:lnTo>
                        <a:pt x="343" y="346"/>
                      </a:lnTo>
                      <a:lnTo>
                        <a:pt x="343" y="347"/>
                      </a:lnTo>
                      <a:lnTo>
                        <a:pt x="343" y="347"/>
                      </a:lnTo>
                      <a:lnTo>
                        <a:pt x="344" y="348"/>
                      </a:lnTo>
                      <a:lnTo>
                        <a:pt x="344" y="349"/>
                      </a:lnTo>
                      <a:lnTo>
                        <a:pt x="344" y="349"/>
                      </a:lnTo>
                      <a:lnTo>
                        <a:pt x="344" y="349"/>
                      </a:lnTo>
                      <a:lnTo>
                        <a:pt x="345" y="349"/>
                      </a:lnTo>
                      <a:lnTo>
                        <a:pt x="345" y="350"/>
                      </a:lnTo>
                      <a:lnTo>
                        <a:pt x="344" y="350"/>
                      </a:lnTo>
                      <a:lnTo>
                        <a:pt x="344" y="351"/>
                      </a:lnTo>
                      <a:lnTo>
                        <a:pt x="344" y="352"/>
                      </a:lnTo>
                      <a:lnTo>
                        <a:pt x="344" y="352"/>
                      </a:lnTo>
                      <a:lnTo>
                        <a:pt x="343" y="352"/>
                      </a:lnTo>
                      <a:lnTo>
                        <a:pt x="343" y="353"/>
                      </a:lnTo>
                      <a:lnTo>
                        <a:pt x="342" y="353"/>
                      </a:lnTo>
                      <a:lnTo>
                        <a:pt x="342" y="353"/>
                      </a:lnTo>
                      <a:lnTo>
                        <a:pt x="342" y="354"/>
                      </a:lnTo>
                      <a:lnTo>
                        <a:pt x="342" y="354"/>
                      </a:lnTo>
                      <a:lnTo>
                        <a:pt x="342" y="354"/>
                      </a:lnTo>
                      <a:lnTo>
                        <a:pt x="343" y="354"/>
                      </a:lnTo>
                      <a:lnTo>
                        <a:pt x="344" y="354"/>
                      </a:lnTo>
                      <a:lnTo>
                        <a:pt x="344" y="355"/>
                      </a:lnTo>
                      <a:lnTo>
                        <a:pt x="344" y="356"/>
                      </a:lnTo>
                      <a:lnTo>
                        <a:pt x="344" y="356"/>
                      </a:lnTo>
                      <a:lnTo>
                        <a:pt x="343" y="356"/>
                      </a:lnTo>
                      <a:lnTo>
                        <a:pt x="343" y="357"/>
                      </a:lnTo>
                      <a:lnTo>
                        <a:pt x="342" y="356"/>
                      </a:lnTo>
                      <a:lnTo>
                        <a:pt x="342" y="356"/>
                      </a:lnTo>
                      <a:lnTo>
                        <a:pt x="342" y="357"/>
                      </a:lnTo>
                      <a:lnTo>
                        <a:pt x="342" y="358"/>
                      </a:lnTo>
                      <a:lnTo>
                        <a:pt x="342" y="358"/>
                      </a:lnTo>
                      <a:lnTo>
                        <a:pt x="343" y="358"/>
                      </a:lnTo>
                      <a:lnTo>
                        <a:pt x="343" y="358"/>
                      </a:lnTo>
                      <a:lnTo>
                        <a:pt x="343" y="359"/>
                      </a:lnTo>
                      <a:lnTo>
                        <a:pt x="342" y="359"/>
                      </a:lnTo>
                      <a:lnTo>
                        <a:pt x="342" y="358"/>
                      </a:lnTo>
                      <a:lnTo>
                        <a:pt x="341" y="358"/>
                      </a:lnTo>
                      <a:lnTo>
                        <a:pt x="341" y="359"/>
                      </a:lnTo>
                      <a:lnTo>
                        <a:pt x="342" y="359"/>
                      </a:lnTo>
                      <a:lnTo>
                        <a:pt x="342" y="360"/>
                      </a:lnTo>
                      <a:lnTo>
                        <a:pt x="341" y="360"/>
                      </a:lnTo>
                      <a:lnTo>
                        <a:pt x="340" y="360"/>
                      </a:lnTo>
                      <a:lnTo>
                        <a:pt x="340" y="360"/>
                      </a:lnTo>
                      <a:lnTo>
                        <a:pt x="340" y="359"/>
                      </a:lnTo>
                      <a:lnTo>
                        <a:pt x="339" y="359"/>
                      </a:lnTo>
                      <a:lnTo>
                        <a:pt x="338" y="359"/>
                      </a:lnTo>
                      <a:lnTo>
                        <a:pt x="338" y="360"/>
                      </a:lnTo>
                      <a:lnTo>
                        <a:pt x="338" y="360"/>
                      </a:lnTo>
                      <a:lnTo>
                        <a:pt x="338" y="359"/>
                      </a:lnTo>
                      <a:lnTo>
                        <a:pt x="338" y="358"/>
                      </a:lnTo>
                      <a:lnTo>
                        <a:pt x="338" y="358"/>
                      </a:lnTo>
                      <a:lnTo>
                        <a:pt x="337" y="358"/>
                      </a:lnTo>
                      <a:lnTo>
                        <a:pt x="336" y="358"/>
                      </a:lnTo>
                      <a:lnTo>
                        <a:pt x="336" y="358"/>
                      </a:lnTo>
                      <a:lnTo>
                        <a:pt x="336" y="359"/>
                      </a:lnTo>
                      <a:lnTo>
                        <a:pt x="336" y="360"/>
                      </a:lnTo>
                      <a:lnTo>
                        <a:pt x="335" y="360"/>
                      </a:lnTo>
                      <a:lnTo>
                        <a:pt x="335" y="360"/>
                      </a:lnTo>
                      <a:lnTo>
                        <a:pt x="335" y="361"/>
                      </a:lnTo>
                      <a:lnTo>
                        <a:pt x="334" y="362"/>
                      </a:lnTo>
                      <a:lnTo>
                        <a:pt x="334" y="362"/>
                      </a:lnTo>
                      <a:lnTo>
                        <a:pt x="333" y="362"/>
                      </a:lnTo>
                      <a:lnTo>
                        <a:pt x="333" y="363"/>
                      </a:lnTo>
                      <a:lnTo>
                        <a:pt x="333" y="364"/>
                      </a:lnTo>
                      <a:lnTo>
                        <a:pt x="333" y="364"/>
                      </a:lnTo>
                      <a:lnTo>
                        <a:pt x="333" y="365"/>
                      </a:lnTo>
                      <a:lnTo>
                        <a:pt x="333" y="366"/>
                      </a:lnTo>
                      <a:lnTo>
                        <a:pt x="333" y="366"/>
                      </a:lnTo>
                      <a:lnTo>
                        <a:pt x="333" y="367"/>
                      </a:lnTo>
                      <a:lnTo>
                        <a:pt x="333" y="368"/>
                      </a:lnTo>
                      <a:lnTo>
                        <a:pt x="333" y="368"/>
                      </a:lnTo>
                      <a:lnTo>
                        <a:pt x="333" y="369"/>
                      </a:lnTo>
                      <a:lnTo>
                        <a:pt x="332" y="370"/>
                      </a:lnTo>
                      <a:lnTo>
                        <a:pt x="332" y="369"/>
                      </a:lnTo>
                      <a:lnTo>
                        <a:pt x="332" y="368"/>
                      </a:lnTo>
                      <a:lnTo>
                        <a:pt x="332" y="368"/>
                      </a:lnTo>
                      <a:lnTo>
                        <a:pt x="331" y="368"/>
                      </a:lnTo>
                      <a:lnTo>
                        <a:pt x="331" y="368"/>
                      </a:lnTo>
                      <a:lnTo>
                        <a:pt x="331" y="369"/>
                      </a:lnTo>
                      <a:lnTo>
                        <a:pt x="331" y="370"/>
                      </a:lnTo>
                      <a:lnTo>
                        <a:pt x="331" y="370"/>
                      </a:lnTo>
                      <a:lnTo>
                        <a:pt x="331" y="371"/>
                      </a:lnTo>
                      <a:lnTo>
                        <a:pt x="331" y="372"/>
                      </a:lnTo>
                      <a:lnTo>
                        <a:pt x="330" y="373"/>
                      </a:lnTo>
                      <a:lnTo>
                        <a:pt x="329" y="373"/>
                      </a:lnTo>
                      <a:lnTo>
                        <a:pt x="329" y="374"/>
                      </a:lnTo>
                      <a:lnTo>
                        <a:pt x="329" y="375"/>
                      </a:lnTo>
                      <a:lnTo>
                        <a:pt x="329" y="375"/>
                      </a:lnTo>
                      <a:lnTo>
                        <a:pt x="329" y="375"/>
                      </a:lnTo>
                      <a:lnTo>
                        <a:pt x="330" y="375"/>
                      </a:lnTo>
                      <a:lnTo>
                        <a:pt x="331" y="375"/>
                      </a:lnTo>
                      <a:lnTo>
                        <a:pt x="331" y="376"/>
                      </a:lnTo>
                      <a:lnTo>
                        <a:pt x="330" y="377"/>
                      </a:lnTo>
                      <a:lnTo>
                        <a:pt x="329" y="377"/>
                      </a:lnTo>
                      <a:lnTo>
                        <a:pt x="329" y="377"/>
                      </a:lnTo>
                      <a:lnTo>
                        <a:pt x="329" y="377"/>
                      </a:lnTo>
                      <a:lnTo>
                        <a:pt x="328" y="377"/>
                      </a:lnTo>
                      <a:lnTo>
                        <a:pt x="328" y="378"/>
                      </a:lnTo>
                      <a:lnTo>
                        <a:pt x="327" y="378"/>
                      </a:lnTo>
                      <a:lnTo>
                        <a:pt x="327" y="379"/>
                      </a:lnTo>
                      <a:lnTo>
                        <a:pt x="328" y="379"/>
                      </a:lnTo>
                      <a:lnTo>
                        <a:pt x="329" y="379"/>
                      </a:lnTo>
                      <a:lnTo>
                        <a:pt x="329" y="379"/>
                      </a:lnTo>
                      <a:lnTo>
                        <a:pt x="329" y="379"/>
                      </a:lnTo>
                      <a:lnTo>
                        <a:pt x="329" y="379"/>
                      </a:lnTo>
                      <a:lnTo>
                        <a:pt x="329" y="380"/>
                      </a:lnTo>
                      <a:lnTo>
                        <a:pt x="329" y="381"/>
                      </a:lnTo>
                      <a:lnTo>
                        <a:pt x="328" y="381"/>
                      </a:lnTo>
                      <a:lnTo>
                        <a:pt x="327" y="381"/>
                      </a:lnTo>
                      <a:lnTo>
                        <a:pt x="327" y="381"/>
                      </a:lnTo>
                      <a:lnTo>
                        <a:pt x="327" y="381"/>
                      </a:lnTo>
                      <a:lnTo>
                        <a:pt x="327" y="382"/>
                      </a:lnTo>
                      <a:lnTo>
                        <a:pt x="327" y="383"/>
                      </a:lnTo>
                      <a:lnTo>
                        <a:pt x="327" y="383"/>
                      </a:lnTo>
                      <a:lnTo>
                        <a:pt x="327" y="383"/>
                      </a:lnTo>
                      <a:lnTo>
                        <a:pt x="327" y="383"/>
                      </a:lnTo>
                      <a:lnTo>
                        <a:pt x="326" y="383"/>
                      </a:lnTo>
                      <a:lnTo>
                        <a:pt x="327" y="384"/>
                      </a:lnTo>
                      <a:lnTo>
                        <a:pt x="327" y="385"/>
                      </a:lnTo>
                      <a:lnTo>
                        <a:pt x="327" y="385"/>
                      </a:lnTo>
                      <a:lnTo>
                        <a:pt x="327" y="387"/>
                      </a:lnTo>
                      <a:lnTo>
                        <a:pt x="326" y="389"/>
                      </a:lnTo>
                      <a:lnTo>
                        <a:pt x="325" y="389"/>
                      </a:lnTo>
                      <a:lnTo>
                        <a:pt x="323" y="390"/>
                      </a:lnTo>
                      <a:lnTo>
                        <a:pt x="323" y="391"/>
                      </a:lnTo>
                      <a:lnTo>
                        <a:pt x="323" y="392"/>
                      </a:lnTo>
                      <a:lnTo>
                        <a:pt x="323" y="392"/>
                      </a:lnTo>
                      <a:lnTo>
                        <a:pt x="325" y="395"/>
                      </a:lnTo>
                      <a:lnTo>
                        <a:pt x="325" y="396"/>
                      </a:lnTo>
                      <a:lnTo>
                        <a:pt x="325" y="396"/>
                      </a:lnTo>
                      <a:lnTo>
                        <a:pt x="324" y="396"/>
                      </a:lnTo>
                      <a:lnTo>
                        <a:pt x="323" y="396"/>
                      </a:lnTo>
                      <a:lnTo>
                        <a:pt x="322" y="396"/>
                      </a:lnTo>
                      <a:lnTo>
                        <a:pt x="322" y="396"/>
                      </a:lnTo>
                      <a:lnTo>
                        <a:pt x="322" y="399"/>
                      </a:lnTo>
                      <a:lnTo>
                        <a:pt x="323" y="401"/>
                      </a:lnTo>
                      <a:lnTo>
                        <a:pt x="323" y="402"/>
                      </a:lnTo>
                      <a:lnTo>
                        <a:pt x="322" y="402"/>
                      </a:lnTo>
                      <a:lnTo>
                        <a:pt x="321" y="402"/>
                      </a:lnTo>
                      <a:lnTo>
                        <a:pt x="319" y="402"/>
                      </a:lnTo>
                      <a:lnTo>
                        <a:pt x="317" y="403"/>
                      </a:lnTo>
                      <a:lnTo>
                        <a:pt x="317" y="404"/>
                      </a:lnTo>
                      <a:lnTo>
                        <a:pt x="316" y="404"/>
                      </a:lnTo>
                      <a:lnTo>
                        <a:pt x="317" y="406"/>
                      </a:lnTo>
                      <a:lnTo>
                        <a:pt x="318" y="408"/>
                      </a:lnTo>
                      <a:lnTo>
                        <a:pt x="318" y="408"/>
                      </a:lnTo>
                      <a:lnTo>
                        <a:pt x="317" y="409"/>
                      </a:lnTo>
                      <a:lnTo>
                        <a:pt x="316" y="409"/>
                      </a:lnTo>
                      <a:lnTo>
                        <a:pt x="314" y="410"/>
                      </a:lnTo>
                      <a:lnTo>
                        <a:pt x="314" y="411"/>
                      </a:lnTo>
                      <a:lnTo>
                        <a:pt x="314" y="414"/>
                      </a:lnTo>
                      <a:lnTo>
                        <a:pt x="314" y="415"/>
                      </a:lnTo>
                      <a:lnTo>
                        <a:pt x="313" y="415"/>
                      </a:lnTo>
                      <a:lnTo>
                        <a:pt x="312" y="415"/>
                      </a:lnTo>
                      <a:lnTo>
                        <a:pt x="312" y="416"/>
                      </a:lnTo>
                      <a:lnTo>
                        <a:pt x="312" y="417"/>
                      </a:lnTo>
                      <a:lnTo>
                        <a:pt x="312" y="418"/>
                      </a:lnTo>
                      <a:lnTo>
                        <a:pt x="311" y="419"/>
                      </a:lnTo>
                      <a:lnTo>
                        <a:pt x="309" y="418"/>
                      </a:lnTo>
                      <a:lnTo>
                        <a:pt x="308" y="419"/>
                      </a:lnTo>
                      <a:lnTo>
                        <a:pt x="307" y="420"/>
                      </a:lnTo>
                      <a:lnTo>
                        <a:pt x="306" y="421"/>
                      </a:lnTo>
                      <a:lnTo>
                        <a:pt x="306" y="424"/>
                      </a:lnTo>
                      <a:lnTo>
                        <a:pt x="305" y="425"/>
                      </a:lnTo>
                      <a:lnTo>
                        <a:pt x="303" y="424"/>
                      </a:lnTo>
                      <a:lnTo>
                        <a:pt x="302" y="426"/>
                      </a:lnTo>
                      <a:lnTo>
                        <a:pt x="302" y="427"/>
                      </a:lnTo>
                      <a:lnTo>
                        <a:pt x="301" y="429"/>
                      </a:lnTo>
                      <a:lnTo>
                        <a:pt x="300" y="434"/>
                      </a:lnTo>
                      <a:lnTo>
                        <a:pt x="299" y="438"/>
                      </a:lnTo>
                      <a:lnTo>
                        <a:pt x="296" y="438"/>
                      </a:lnTo>
                      <a:lnTo>
                        <a:pt x="296" y="440"/>
                      </a:lnTo>
                      <a:lnTo>
                        <a:pt x="295" y="442"/>
                      </a:lnTo>
                      <a:lnTo>
                        <a:pt x="293" y="442"/>
                      </a:lnTo>
                      <a:lnTo>
                        <a:pt x="292" y="444"/>
                      </a:lnTo>
                      <a:lnTo>
                        <a:pt x="292" y="446"/>
                      </a:lnTo>
                      <a:lnTo>
                        <a:pt x="292" y="447"/>
                      </a:lnTo>
                      <a:lnTo>
                        <a:pt x="292" y="448"/>
                      </a:lnTo>
                      <a:lnTo>
                        <a:pt x="292" y="451"/>
                      </a:lnTo>
                      <a:lnTo>
                        <a:pt x="292" y="453"/>
                      </a:lnTo>
                      <a:lnTo>
                        <a:pt x="293" y="456"/>
                      </a:lnTo>
                      <a:lnTo>
                        <a:pt x="293" y="459"/>
                      </a:lnTo>
                      <a:lnTo>
                        <a:pt x="293" y="461"/>
                      </a:lnTo>
                      <a:lnTo>
                        <a:pt x="291" y="462"/>
                      </a:lnTo>
                      <a:lnTo>
                        <a:pt x="289" y="461"/>
                      </a:lnTo>
                      <a:lnTo>
                        <a:pt x="287" y="467"/>
                      </a:lnTo>
                      <a:lnTo>
                        <a:pt x="293" y="471"/>
                      </a:lnTo>
                      <a:lnTo>
                        <a:pt x="292" y="472"/>
                      </a:lnTo>
                      <a:lnTo>
                        <a:pt x="289" y="473"/>
                      </a:lnTo>
                      <a:lnTo>
                        <a:pt x="288" y="474"/>
                      </a:lnTo>
                      <a:lnTo>
                        <a:pt x="288" y="476"/>
                      </a:lnTo>
                      <a:lnTo>
                        <a:pt x="288" y="477"/>
                      </a:lnTo>
                      <a:lnTo>
                        <a:pt x="287" y="478"/>
                      </a:lnTo>
                      <a:lnTo>
                        <a:pt x="287" y="479"/>
                      </a:lnTo>
                      <a:lnTo>
                        <a:pt x="287" y="480"/>
                      </a:lnTo>
                      <a:lnTo>
                        <a:pt x="287" y="481"/>
                      </a:lnTo>
                      <a:lnTo>
                        <a:pt x="286" y="482"/>
                      </a:lnTo>
                      <a:lnTo>
                        <a:pt x="285" y="482"/>
                      </a:lnTo>
                      <a:lnTo>
                        <a:pt x="285" y="483"/>
                      </a:lnTo>
                      <a:lnTo>
                        <a:pt x="285" y="484"/>
                      </a:lnTo>
                      <a:lnTo>
                        <a:pt x="285" y="484"/>
                      </a:lnTo>
                      <a:lnTo>
                        <a:pt x="286" y="485"/>
                      </a:lnTo>
                      <a:lnTo>
                        <a:pt x="286" y="486"/>
                      </a:lnTo>
                      <a:lnTo>
                        <a:pt x="287" y="488"/>
                      </a:lnTo>
                      <a:lnTo>
                        <a:pt x="286" y="489"/>
                      </a:lnTo>
                      <a:lnTo>
                        <a:pt x="286" y="490"/>
                      </a:lnTo>
                      <a:lnTo>
                        <a:pt x="286" y="491"/>
                      </a:lnTo>
                      <a:lnTo>
                        <a:pt x="287" y="491"/>
                      </a:lnTo>
                      <a:lnTo>
                        <a:pt x="287" y="492"/>
                      </a:lnTo>
                      <a:lnTo>
                        <a:pt x="285" y="492"/>
                      </a:lnTo>
                      <a:lnTo>
                        <a:pt x="283" y="493"/>
                      </a:lnTo>
                      <a:lnTo>
                        <a:pt x="283" y="494"/>
                      </a:lnTo>
                      <a:lnTo>
                        <a:pt x="284" y="495"/>
                      </a:lnTo>
                      <a:lnTo>
                        <a:pt x="287" y="495"/>
                      </a:lnTo>
                      <a:lnTo>
                        <a:pt x="287" y="497"/>
                      </a:lnTo>
                      <a:lnTo>
                        <a:pt x="287" y="499"/>
                      </a:lnTo>
                      <a:lnTo>
                        <a:pt x="285" y="500"/>
                      </a:lnTo>
                      <a:lnTo>
                        <a:pt x="284" y="501"/>
                      </a:lnTo>
                      <a:lnTo>
                        <a:pt x="284" y="502"/>
                      </a:lnTo>
                      <a:lnTo>
                        <a:pt x="285" y="503"/>
                      </a:lnTo>
                      <a:lnTo>
                        <a:pt x="285" y="504"/>
                      </a:lnTo>
                      <a:lnTo>
                        <a:pt x="283" y="505"/>
                      </a:lnTo>
                      <a:lnTo>
                        <a:pt x="282" y="509"/>
                      </a:lnTo>
                      <a:lnTo>
                        <a:pt x="283" y="514"/>
                      </a:lnTo>
                      <a:lnTo>
                        <a:pt x="282" y="516"/>
                      </a:lnTo>
                      <a:lnTo>
                        <a:pt x="281" y="516"/>
                      </a:lnTo>
                      <a:lnTo>
                        <a:pt x="280" y="516"/>
                      </a:lnTo>
                      <a:lnTo>
                        <a:pt x="279" y="517"/>
                      </a:lnTo>
                      <a:lnTo>
                        <a:pt x="278" y="516"/>
                      </a:lnTo>
                      <a:lnTo>
                        <a:pt x="277" y="518"/>
                      </a:lnTo>
                      <a:lnTo>
                        <a:pt x="278" y="518"/>
                      </a:lnTo>
                      <a:lnTo>
                        <a:pt x="279" y="520"/>
                      </a:lnTo>
                      <a:lnTo>
                        <a:pt x="279" y="520"/>
                      </a:lnTo>
                      <a:lnTo>
                        <a:pt x="279" y="523"/>
                      </a:lnTo>
                      <a:lnTo>
                        <a:pt x="278" y="523"/>
                      </a:lnTo>
                      <a:lnTo>
                        <a:pt x="277" y="523"/>
                      </a:lnTo>
                      <a:lnTo>
                        <a:pt x="276" y="524"/>
                      </a:lnTo>
                      <a:lnTo>
                        <a:pt x="276" y="525"/>
                      </a:lnTo>
                      <a:lnTo>
                        <a:pt x="276" y="526"/>
                      </a:lnTo>
                      <a:lnTo>
                        <a:pt x="276" y="527"/>
                      </a:lnTo>
                      <a:lnTo>
                        <a:pt x="276" y="528"/>
                      </a:lnTo>
                      <a:lnTo>
                        <a:pt x="275" y="528"/>
                      </a:lnTo>
                      <a:lnTo>
                        <a:pt x="274" y="528"/>
                      </a:lnTo>
                      <a:lnTo>
                        <a:pt x="275" y="527"/>
                      </a:lnTo>
                      <a:lnTo>
                        <a:pt x="275" y="526"/>
                      </a:lnTo>
                      <a:lnTo>
                        <a:pt x="276" y="526"/>
                      </a:lnTo>
                      <a:lnTo>
                        <a:pt x="276" y="525"/>
                      </a:lnTo>
                      <a:lnTo>
                        <a:pt x="275" y="524"/>
                      </a:lnTo>
                      <a:lnTo>
                        <a:pt x="274" y="524"/>
                      </a:lnTo>
                      <a:lnTo>
                        <a:pt x="273" y="526"/>
                      </a:lnTo>
                      <a:lnTo>
                        <a:pt x="273" y="526"/>
                      </a:lnTo>
                      <a:lnTo>
                        <a:pt x="272" y="526"/>
                      </a:lnTo>
                      <a:lnTo>
                        <a:pt x="271" y="526"/>
                      </a:lnTo>
                      <a:lnTo>
                        <a:pt x="270" y="526"/>
                      </a:lnTo>
                      <a:lnTo>
                        <a:pt x="270" y="524"/>
                      </a:lnTo>
                      <a:lnTo>
                        <a:pt x="269" y="524"/>
                      </a:lnTo>
                      <a:lnTo>
                        <a:pt x="269" y="522"/>
                      </a:lnTo>
                      <a:lnTo>
                        <a:pt x="270" y="522"/>
                      </a:lnTo>
                      <a:lnTo>
                        <a:pt x="271" y="522"/>
                      </a:lnTo>
                      <a:lnTo>
                        <a:pt x="271" y="523"/>
                      </a:lnTo>
                      <a:lnTo>
                        <a:pt x="272" y="523"/>
                      </a:lnTo>
                      <a:lnTo>
                        <a:pt x="272" y="522"/>
                      </a:lnTo>
                      <a:lnTo>
                        <a:pt x="272" y="521"/>
                      </a:lnTo>
                      <a:lnTo>
                        <a:pt x="272" y="520"/>
                      </a:lnTo>
                      <a:lnTo>
                        <a:pt x="272" y="519"/>
                      </a:lnTo>
                      <a:lnTo>
                        <a:pt x="272" y="518"/>
                      </a:lnTo>
                      <a:lnTo>
                        <a:pt x="272" y="516"/>
                      </a:lnTo>
                      <a:lnTo>
                        <a:pt x="272" y="515"/>
                      </a:lnTo>
                      <a:lnTo>
                        <a:pt x="272" y="514"/>
                      </a:lnTo>
                      <a:lnTo>
                        <a:pt x="272" y="512"/>
                      </a:lnTo>
                      <a:lnTo>
                        <a:pt x="271" y="510"/>
                      </a:lnTo>
                      <a:lnTo>
                        <a:pt x="270" y="509"/>
                      </a:lnTo>
                      <a:lnTo>
                        <a:pt x="268" y="508"/>
                      </a:lnTo>
                      <a:lnTo>
                        <a:pt x="268" y="507"/>
                      </a:lnTo>
                      <a:lnTo>
                        <a:pt x="268" y="506"/>
                      </a:lnTo>
                      <a:lnTo>
                        <a:pt x="268" y="505"/>
                      </a:lnTo>
                      <a:lnTo>
                        <a:pt x="269" y="503"/>
                      </a:lnTo>
                      <a:lnTo>
                        <a:pt x="269" y="501"/>
                      </a:lnTo>
                      <a:lnTo>
                        <a:pt x="269" y="498"/>
                      </a:lnTo>
                      <a:lnTo>
                        <a:pt x="268" y="497"/>
                      </a:lnTo>
                      <a:lnTo>
                        <a:pt x="268" y="494"/>
                      </a:lnTo>
                      <a:lnTo>
                        <a:pt x="268" y="493"/>
                      </a:lnTo>
                      <a:lnTo>
                        <a:pt x="268" y="493"/>
                      </a:lnTo>
                      <a:lnTo>
                        <a:pt x="268" y="492"/>
                      </a:lnTo>
                      <a:lnTo>
                        <a:pt x="267" y="491"/>
                      </a:lnTo>
                      <a:lnTo>
                        <a:pt x="266" y="491"/>
                      </a:lnTo>
                      <a:lnTo>
                        <a:pt x="266" y="490"/>
                      </a:lnTo>
                      <a:lnTo>
                        <a:pt x="266" y="489"/>
                      </a:lnTo>
                      <a:lnTo>
                        <a:pt x="266" y="488"/>
                      </a:lnTo>
                      <a:lnTo>
                        <a:pt x="265" y="488"/>
                      </a:lnTo>
                      <a:lnTo>
                        <a:pt x="264" y="487"/>
                      </a:lnTo>
                      <a:lnTo>
                        <a:pt x="264" y="486"/>
                      </a:lnTo>
                      <a:lnTo>
                        <a:pt x="263" y="486"/>
                      </a:lnTo>
                      <a:lnTo>
                        <a:pt x="262" y="486"/>
                      </a:lnTo>
                      <a:lnTo>
                        <a:pt x="262" y="487"/>
                      </a:lnTo>
                      <a:lnTo>
                        <a:pt x="262" y="487"/>
                      </a:lnTo>
                      <a:lnTo>
                        <a:pt x="261" y="488"/>
                      </a:lnTo>
                      <a:lnTo>
                        <a:pt x="261" y="487"/>
                      </a:lnTo>
                      <a:lnTo>
                        <a:pt x="260" y="487"/>
                      </a:lnTo>
                      <a:lnTo>
                        <a:pt x="261" y="487"/>
                      </a:lnTo>
                      <a:lnTo>
                        <a:pt x="261" y="486"/>
                      </a:lnTo>
                      <a:lnTo>
                        <a:pt x="260" y="486"/>
                      </a:lnTo>
                      <a:lnTo>
                        <a:pt x="260" y="486"/>
                      </a:lnTo>
                      <a:lnTo>
                        <a:pt x="259" y="485"/>
                      </a:lnTo>
                      <a:lnTo>
                        <a:pt x="258" y="485"/>
                      </a:lnTo>
                      <a:lnTo>
                        <a:pt x="257" y="485"/>
                      </a:lnTo>
                      <a:lnTo>
                        <a:pt x="257" y="486"/>
                      </a:lnTo>
                      <a:lnTo>
                        <a:pt x="257" y="486"/>
                      </a:lnTo>
                      <a:lnTo>
                        <a:pt x="256" y="486"/>
                      </a:lnTo>
                      <a:lnTo>
                        <a:pt x="256" y="486"/>
                      </a:lnTo>
                      <a:lnTo>
                        <a:pt x="255" y="486"/>
                      </a:lnTo>
                      <a:lnTo>
                        <a:pt x="255" y="485"/>
                      </a:lnTo>
                      <a:lnTo>
                        <a:pt x="255" y="485"/>
                      </a:lnTo>
                      <a:lnTo>
                        <a:pt x="255" y="486"/>
                      </a:lnTo>
                      <a:lnTo>
                        <a:pt x="254" y="486"/>
                      </a:lnTo>
                      <a:lnTo>
                        <a:pt x="253" y="486"/>
                      </a:lnTo>
                      <a:lnTo>
                        <a:pt x="253" y="485"/>
                      </a:lnTo>
                      <a:lnTo>
                        <a:pt x="253" y="484"/>
                      </a:lnTo>
                      <a:lnTo>
                        <a:pt x="254" y="484"/>
                      </a:lnTo>
                      <a:lnTo>
                        <a:pt x="254" y="484"/>
                      </a:lnTo>
                      <a:lnTo>
                        <a:pt x="255" y="484"/>
                      </a:lnTo>
                      <a:lnTo>
                        <a:pt x="255" y="484"/>
                      </a:lnTo>
                      <a:lnTo>
                        <a:pt x="256" y="484"/>
                      </a:lnTo>
                      <a:lnTo>
                        <a:pt x="256" y="483"/>
                      </a:lnTo>
                      <a:lnTo>
                        <a:pt x="255" y="483"/>
                      </a:lnTo>
                      <a:lnTo>
                        <a:pt x="255" y="483"/>
                      </a:lnTo>
                      <a:lnTo>
                        <a:pt x="255" y="482"/>
                      </a:lnTo>
                      <a:lnTo>
                        <a:pt x="255" y="482"/>
                      </a:lnTo>
                      <a:lnTo>
                        <a:pt x="254" y="481"/>
                      </a:lnTo>
                      <a:lnTo>
                        <a:pt x="254" y="480"/>
                      </a:lnTo>
                      <a:lnTo>
                        <a:pt x="253" y="480"/>
                      </a:lnTo>
                      <a:lnTo>
                        <a:pt x="254" y="479"/>
                      </a:lnTo>
                      <a:lnTo>
                        <a:pt x="255" y="478"/>
                      </a:lnTo>
                      <a:lnTo>
                        <a:pt x="255" y="478"/>
                      </a:lnTo>
                      <a:lnTo>
                        <a:pt x="255" y="477"/>
                      </a:lnTo>
                      <a:lnTo>
                        <a:pt x="255" y="476"/>
                      </a:lnTo>
                      <a:lnTo>
                        <a:pt x="254" y="476"/>
                      </a:lnTo>
                      <a:lnTo>
                        <a:pt x="253" y="476"/>
                      </a:lnTo>
                      <a:lnTo>
                        <a:pt x="253" y="476"/>
                      </a:lnTo>
                      <a:lnTo>
                        <a:pt x="251" y="476"/>
                      </a:lnTo>
                      <a:lnTo>
                        <a:pt x="251" y="475"/>
                      </a:lnTo>
                      <a:lnTo>
                        <a:pt x="250" y="475"/>
                      </a:lnTo>
                      <a:lnTo>
                        <a:pt x="249" y="474"/>
                      </a:lnTo>
                      <a:lnTo>
                        <a:pt x="249" y="474"/>
                      </a:lnTo>
                      <a:lnTo>
                        <a:pt x="249" y="473"/>
                      </a:lnTo>
                      <a:lnTo>
                        <a:pt x="249" y="472"/>
                      </a:lnTo>
                      <a:lnTo>
                        <a:pt x="250" y="471"/>
                      </a:lnTo>
                      <a:lnTo>
                        <a:pt x="250" y="470"/>
                      </a:lnTo>
                      <a:lnTo>
                        <a:pt x="250" y="469"/>
                      </a:lnTo>
                      <a:lnTo>
                        <a:pt x="250" y="469"/>
                      </a:lnTo>
                      <a:lnTo>
                        <a:pt x="249" y="468"/>
                      </a:lnTo>
                      <a:lnTo>
                        <a:pt x="249" y="468"/>
                      </a:lnTo>
                      <a:lnTo>
                        <a:pt x="248" y="468"/>
                      </a:lnTo>
                      <a:lnTo>
                        <a:pt x="247" y="467"/>
                      </a:lnTo>
                      <a:lnTo>
                        <a:pt x="247" y="467"/>
                      </a:lnTo>
                      <a:lnTo>
                        <a:pt x="246" y="467"/>
                      </a:lnTo>
                      <a:lnTo>
                        <a:pt x="245" y="467"/>
                      </a:lnTo>
                      <a:lnTo>
                        <a:pt x="245" y="466"/>
                      </a:lnTo>
                      <a:lnTo>
                        <a:pt x="245" y="465"/>
                      </a:lnTo>
                      <a:lnTo>
                        <a:pt x="245" y="465"/>
                      </a:lnTo>
                      <a:lnTo>
                        <a:pt x="244" y="465"/>
                      </a:lnTo>
                      <a:lnTo>
                        <a:pt x="243" y="465"/>
                      </a:lnTo>
                      <a:lnTo>
                        <a:pt x="243" y="464"/>
                      </a:lnTo>
                      <a:lnTo>
                        <a:pt x="243" y="463"/>
                      </a:lnTo>
                      <a:lnTo>
                        <a:pt x="244" y="463"/>
                      </a:lnTo>
                      <a:lnTo>
                        <a:pt x="245" y="463"/>
                      </a:lnTo>
                      <a:lnTo>
                        <a:pt x="245" y="463"/>
                      </a:lnTo>
                      <a:lnTo>
                        <a:pt x="246" y="463"/>
                      </a:lnTo>
                      <a:lnTo>
                        <a:pt x="247" y="464"/>
                      </a:lnTo>
                      <a:lnTo>
                        <a:pt x="247" y="464"/>
                      </a:lnTo>
                      <a:lnTo>
                        <a:pt x="248" y="463"/>
                      </a:lnTo>
                      <a:lnTo>
                        <a:pt x="248" y="463"/>
                      </a:lnTo>
                      <a:lnTo>
                        <a:pt x="248" y="462"/>
                      </a:lnTo>
                      <a:lnTo>
                        <a:pt x="247" y="462"/>
                      </a:lnTo>
                      <a:lnTo>
                        <a:pt x="247" y="462"/>
                      </a:lnTo>
                      <a:lnTo>
                        <a:pt x="247" y="463"/>
                      </a:lnTo>
                      <a:lnTo>
                        <a:pt x="246" y="463"/>
                      </a:lnTo>
                      <a:lnTo>
                        <a:pt x="245" y="463"/>
                      </a:lnTo>
                      <a:lnTo>
                        <a:pt x="245" y="462"/>
                      </a:lnTo>
                      <a:lnTo>
                        <a:pt x="246" y="461"/>
                      </a:lnTo>
                      <a:lnTo>
                        <a:pt x="245" y="461"/>
                      </a:lnTo>
                      <a:lnTo>
                        <a:pt x="245" y="460"/>
                      </a:lnTo>
                      <a:lnTo>
                        <a:pt x="246" y="460"/>
                      </a:lnTo>
                      <a:lnTo>
                        <a:pt x="246" y="459"/>
                      </a:lnTo>
                      <a:lnTo>
                        <a:pt x="247" y="459"/>
                      </a:lnTo>
                      <a:lnTo>
                        <a:pt x="247" y="459"/>
                      </a:lnTo>
                      <a:lnTo>
                        <a:pt x="247" y="458"/>
                      </a:lnTo>
                      <a:lnTo>
                        <a:pt x="247" y="457"/>
                      </a:lnTo>
                      <a:lnTo>
                        <a:pt x="247" y="457"/>
                      </a:lnTo>
                      <a:lnTo>
                        <a:pt x="247" y="456"/>
                      </a:lnTo>
                      <a:lnTo>
                        <a:pt x="247" y="456"/>
                      </a:lnTo>
                      <a:lnTo>
                        <a:pt x="247" y="455"/>
                      </a:lnTo>
                      <a:lnTo>
                        <a:pt x="247" y="455"/>
                      </a:lnTo>
                      <a:lnTo>
                        <a:pt x="247" y="455"/>
                      </a:lnTo>
                      <a:lnTo>
                        <a:pt x="247" y="454"/>
                      </a:lnTo>
                      <a:lnTo>
                        <a:pt x="247" y="453"/>
                      </a:lnTo>
                      <a:lnTo>
                        <a:pt x="247" y="453"/>
                      </a:lnTo>
                      <a:lnTo>
                        <a:pt x="247" y="452"/>
                      </a:lnTo>
                      <a:lnTo>
                        <a:pt x="247" y="451"/>
                      </a:lnTo>
                      <a:lnTo>
                        <a:pt x="247" y="451"/>
                      </a:lnTo>
                      <a:lnTo>
                        <a:pt x="247" y="451"/>
                      </a:lnTo>
                      <a:lnTo>
                        <a:pt x="246" y="450"/>
                      </a:lnTo>
                      <a:lnTo>
                        <a:pt x="246" y="449"/>
                      </a:lnTo>
                      <a:lnTo>
                        <a:pt x="246" y="448"/>
                      </a:lnTo>
                      <a:lnTo>
                        <a:pt x="247" y="448"/>
                      </a:lnTo>
                      <a:lnTo>
                        <a:pt x="247" y="448"/>
                      </a:lnTo>
                      <a:lnTo>
                        <a:pt x="248" y="448"/>
                      </a:lnTo>
                      <a:lnTo>
                        <a:pt x="249" y="448"/>
                      </a:lnTo>
                      <a:lnTo>
                        <a:pt x="249" y="447"/>
                      </a:lnTo>
                      <a:lnTo>
                        <a:pt x="250" y="446"/>
                      </a:lnTo>
                      <a:lnTo>
                        <a:pt x="251" y="446"/>
                      </a:lnTo>
                      <a:lnTo>
                        <a:pt x="251" y="445"/>
                      </a:lnTo>
                      <a:lnTo>
                        <a:pt x="251" y="444"/>
                      </a:lnTo>
                      <a:lnTo>
                        <a:pt x="251" y="444"/>
                      </a:lnTo>
                      <a:lnTo>
                        <a:pt x="251" y="443"/>
                      </a:lnTo>
                      <a:lnTo>
                        <a:pt x="251" y="442"/>
                      </a:lnTo>
                      <a:lnTo>
                        <a:pt x="250" y="442"/>
                      </a:lnTo>
                      <a:lnTo>
                        <a:pt x="249" y="442"/>
                      </a:lnTo>
                      <a:lnTo>
                        <a:pt x="249" y="441"/>
                      </a:lnTo>
                      <a:lnTo>
                        <a:pt x="249" y="440"/>
                      </a:lnTo>
                      <a:lnTo>
                        <a:pt x="250" y="440"/>
                      </a:lnTo>
                      <a:lnTo>
                        <a:pt x="250" y="440"/>
                      </a:lnTo>
                      <a:lnTo>
                        <a:pt x="251" y="440"/>
                      </a:lnTo>
                      <a:lnTo>
                        <a:pt x="251" y="439"/>
                      </a:lnTo>
                      <a:lnTo>
                        <a:pt x="251" y="438"/>
                      </a:lnTo>
                      <a:lnTo>
                        <a:pt x="251" y="438"/>
                      </a:lnTo>
                      <a:lnTo>
                        <a:pt x="250" y="437"/>
                      </a:lnTo>
                      <a:lnTo>
                        <a:pt x="249" y="437"/>
                      </a:lnTo>
                      <a:lnTo>
                        <a:pt x="249" y="437"/>
                      </a:lnTo>
                      <a:lnTo>
                        <a:pt x="248" y="436"/>
                      </a:lnTo>
                      <a:lnTo>
                        <a:pt x="247" y="436"/>
                      </a:lnTo>
                      <a:lnTo>
                        <a:pt x="247" y="434"/>
                      </a:lnTo>
                      <a:lnTo>
                        <a:pt x="247" y="434"/>
                      </a:lnTo>
                      <a:lnTo>
                        <a:pt x="246" y="434"/>
                      </a:lnTo>
                      <a:lnTo>
                        <a:pt x="245" y="433"/>
                      </a:lnTo>
                      <a:lnTo>
                        <a:pt x="245" y="433"/>
                      </a:lnTo>
                      <a:lnTo>
                        <a:pt x="244" y="433"/>
                      </a:lnTo>
                      <a:lnTo>
                        <a:pt x="244" y="434"/>
                      </a:lnTo>
                      <a:lnTo>
                        <a:pt x="243" y="434"/>
                      </a:lnTo>
                      <a:lnTo>
                        <a:pt x="243" y="434"/>
                      </a:lnTo>
                      <a:lnTo>
                        <a:pt x="242" y="433"/>
                      </a:lnTo>
                      <a:lnTo>
                        <a:pt x="241" y="433"/>
                      </a:lnTo>
                      <a:lnTo>
                        <a:pt x="241" y="432"/>
                      </a:lnTo>
                      <a:lnTo>
                        <a:pt x="241" y="432"/>
                      </a:lnTo>
                      <a:lnTo>
                        <a:pt x="241" y="432"/>
                      </a:lnTo>
                      <a:lnTo>
                        <a:pt x="241" y="431"/>
                      </a:lnTo>
                      <a:lnTo>
                        <a:pt x="242" y="430"/>
                      </a:lnTo>
                      <a:lnTo>
                        <a:pt x="243" y="430"/>
                      </a:lnTo>
                      <a:lnTo>
                        <a:pt x="243" y="429"/>
                      </a:lnTo>
                      <a:lnTo>
                        <a:pt x="243" y="429"/>
                      </a:lnTo>
                      <a:lnTo>
                        <a:pt x="242" y="429"/>
                      </a:lnTo>
                      <a:lnTo>
                        <a:pt x="241" y="428"/>
                      </a:lnTo>
                      <a:lnTo>
                        <a:pt x="241" y="429"/>
                      </a:lnTo>
                      <a:lnTo>
                        <a:pt x="241" y="429"/>
                      </a:lnTo>
                      <a:lnTo>
                        <a:pt x="240" y="429"/>
                      </a:lnTo>
                      <a:lnTo>
                        <a:pt x="239" y="428"/>
                      </a:lnTo>
                      <a:lnTo>
                        <a:pt x="239" y="427"/>
                      </a:lnTo>
                      <a:lnTo>
                        <a:pt x="239" y="427"/>
                      </a:lnTo>
                      <a:lnTo>
                        <a:pt x="239" y="426"/>
                      </a:lnTo>
                      <a:lnTo>
                        <a:pt x="238" y="425"/>
                      </a:lnTo>
                      <a:lnTo>
                        <a:pt x="238" y="425"/>
                      </a:lnTo>
                      <a:lnTo>
                        <a:pt x="237" y="425"/>
                      </a:lnTo>
                      <a:lnTo>
                        <a:pt x="236" y="425"/>
                      </a:lnTo>
                      <a:lnTo>
                        <a:pt x="236" y="425"/>
                      </a:lnTo>
                      <a:lnTo>
                        <a:pt x="236" y="424"/>
                      </a:lnTo>
                      <a:lnTo>
                        <a:pt x="236" y="424"/>
                      </a:lnTo>
                      <a:lnTo>
                        <a:pt x="236" y="425"/>
                      </a:lnTo>
                      <a:lnTo>
                        <a:pt x="235" y="425"/>
                      </a:lnTo>
                      <a:lnTo>
                        <a:pt x="234" y="424"/>
                      </a:lnTo>
                      <a:lnTo>
                        <a:pt x="234" y="423"/>
                      </a:lnTo>
                      <a:lnTo>
                        <a:pt x="234" y="423"/>
                      </a:lnTo>
                      <a:lnTo>
                        <a:pt x="234" y="423"/>
                      </a:lnTo>
                      <a:lnTo>
                        <a:pt x="233" y="423"/>
                      </a:lnTo>
                      <a:lnTo>
                        <a:pt x="233" y="422"/>
                      </a:lnTo>
                      <a:lnTo>
                        <a:pt x="232" y="422"/>
                      </a:lnTo>
                      <a:lnTo>
                        <a:pt x="232" y="421"/>
                      </a:lnTo>
                      <a:lnTo>
                        <a:pt x="233" y="421"/>
                      </a:lnTo>
                      <a:lnTo>
                        <a:pt x="233" y="420"/>
                      </a:lnTo>
                      <a:lnTo>
                        <a:pt x="234" y="420"/>
                      </a:lnTo>
                      <a:lnTo>
                        <a:pt x="234" y="420"/>
                      </a:lnTo>
                      <a:lnTo>
                        <a:pt x="235" y="419"/>
                      </a:lnTo>
                      <a:lnTo>
                        <a:pt x="234" y="419"/>
                      </a:lnTo>
                      <a:lnTo>
                        <a:pt x="234" y="418"/>
                      </a:lnTo>
                      <a:lnTo>
                        <a:pt x="234" y="417"/>
                      </a:lnTo>
                      <a:lnTo>
                        <a:pt x="233" y="417"/>
                      </a:lnTo>
                      <a:lnTo>
                        <a:pt x="232" y="417"/>
                      </a:lnTo>
                      <a:lnTo>
                        <a:pt x="232" y="417"/>
                      </a:lnTo>
                      <a:lnTo>
                        <a:pt x="232" y="417"/>
                      </a:lnTo>
                      <a:lnTo>
                        <a:pt x="231" y="416"/>
                      </a:lnTo>
                      <a:lnTo>
                        <a:pt x="231" y="415"/>
                      </a:lnTo>
                      <a:lnTo>
                        <a:pt x="231" y="415"/>
                      </a:lnTo>
                      <a:lnTo>
                        <a:pt x="231" y="414"/>
                      </a:lnTo>
                      <a:lnTo>
                        <a:pt x="231" y="413"/>
                      </a:lnTo>
                      <a:lnTo>
                        <a:pt x="231" y="413"/>
                      </a:lnTo>
                      <a:lnTo>
                        <a:pt x="231" y="412"/>
                      </a:lnTo>
                      <a:lnTo>
                        <a:pt x="231" y="411"/>
                      </a:lnTo>
                      <a:lnTo>
                        <a:pt x="230" y="411"/>
                      </a:lnTo>
                      <a:lnTo>
                        <a:pt x="230" y="411"/>
                      </a:lnTo>
                      <a:lnTo>
                        <a:pt x="230" y="411"/>
                      </a:lnTo>
                      <a:lnTo>
                        <a:pt x="229" y="411"/>
                      </a:lnTo>
                      <a:lnTo>
                        <a:pt x="229" y="412"/>
                      </a:lnTo>
                      <a:lnTo>
                        <a:pt x="228" y="412"/>
                      </a:lnTo>
                      <a:lnTo>
                        <a:pt x="228" y="413"/>
                      </a:lnTo>
                      <a:lnTo>
                        <a:pt x="227" y="413"/>
                      </a:lnTo>
                      <a:lnTo>
                        <a:pt x="226" y="413"/>
                      </a:lnTo>
                      <a:lnTo>
                        <a:pt x="225" y="413"/>
                      </a:lnTo>
                      <a:lnTo>
                        <a:pt x="224" y="413"/>
                      </a:lnTo>
                      <a:lnTo>
                        <a:pt x="224" y="413"/>
                      </a:lnTo>
                      <a:lnTo>
                        <a:pt x="223" y="413"/>
                      </a:lnTo>
                      <a:lnTo>
                        <a:pt x="222" y="412"/>
                      </a:lnTo>
                      <a:lnTo>
                        <a:pt x="223" y="412"/>
                      </a:lnTo>
                      <a:lnTo>
                        <a:pt x="223" y="411"/>
                      </a:lnTo>
                      <a:lnTo>
                        <a:pt x="223" y="411"/>
                      </a:lnTo>
                      <a:lnTo>
                        <a:pt x="224" y="410"/>
                      </a:lnTo>
                      <a:lnTo>
                        <a:pt x="224" y="409"/>
                      </a:lnTo>
                      <a:lnTo>
                        <a:pt x="224" y="408"/>
                      </a:lnTo>
                      <a:lnTo>
                        <a:pt x="225" y="408"/>
                      </a:lnTo>
                      <a:lnTo>
                        <a:pt x="226" y="407"/>
                      </a:lnTo>
                      <a:lnTo>
                        <a:pt x="226" y="406"/>
                      </a:lnTo>
                      <a:lnTo>
                        <a:pt x="226" y="405"/>
                      </a:lnTo>
                      <a:lnTo>
                        <a:pt x="225" y="404"/>
                      </a:lnTo>
                      <a:lnTo>
                        <a:pt x="224" y="404"/>
                      </a:lnTo>
                      <a:lnTo>
                        <a:pt x="224" y="403"/>
                      </a:lnTo>
                      <a:lnTo>
                        <a:pt x="223" y="403"/>
                      </a:lnTo>
                      <a:lnTo>
                        <a:pt x="222" y="402"/>
                      </a:lnTo>
                      <a:lnTo>
                        <a:pt x="222" y="401"/>
                      </a:lnTo>
                      <a:lnTo>
                        <a:pt x="220" y="400"/>
                      </a:lnTo>
                      <a:lnTo>
                        <a:pt x="219" y="400"/>
                      </a:lnTo>
                      <a:lnTo>
                        <a:pt x="218" y="400"/>
                      </a:lnTo>
                      <a:lnTo>
                        <a:pt x="217" y="399"/>
                      </a:lnTo>
                      <a:lnTo>
                        <a:pt x="216" y="398"/>
                      </a:lnTo>
                      <a:lnTo>
                        <a:pt x="215" y="398"/>
                      </a:lnTo>
                      <a:lnTo>
                        <a:pt x="214" y="396"/>
                      </a:lnTo>
                      <a:lnTo>
                        <a:pt x="213" y="396"/>
                      </a:lnTo>
                      <a:lnTo>
                        <a:pt x="213" y="395"/>
                      </a:lnTo>
                      <a:lnTo>
                        <a:pt x="213" y="394"/>
                      </a:lnTo>
                      <a:lnTo>
                        <a:pt x="212" y="394"/>
                      </a:lnTo>
                      <a:lnTo>
                        <a:pt x="212" y="393"/>
                      </a:lnTo>
                      <a:lnTo>
                        <a:pt x="212" y="392"/>
                      </a:lnTo>
                      <a:lnTo>
                        <a:pt x="213" y="392"/>
                      </a:lnTo>
                      <a:lnTo>
                        <a:pt x="213" y="391"/>
                      </a:lnTo>
                      <a:lnTo>
                        <a:pt x="213" y="390"/>
                      </a:lnTo>
                      <a:lnTo>
                        <a:pt x="213" y="389"/>
                      </a:lnTo>
                      <a:lnTo>
                        <a:pt x="213" y="389"/>
                      </a:lnTo>
                      <a:lnTo>
                        <a:pt x="213" y="388"/>
                      </a:lnTo>
                      <a:lnTo>
                        <a:pt x="213" y="388"/>
                      </a:lnTo>
                      <a:lnTo>
                        <a:pt x="213" y="387"/>
                      </a:lnTo>
                      <a:lnTo>
                        <a:pt x="213" y="387"/>
                      </a:lnTo>
                      <a:lnTo>
                        <a:pt x="213" y="386"/>
                      </a:lnTo>
                      <a:lnTo>
                        <a:pt x="212" y="385"/>
                      </a:lnTo>
                      <a:lnTo>
                        <a:pt x="212" y="385"/>
                      </a:lnTo>
                      <a:lnTo>
                        <a:pt x="212" y="384"/>
                      </a:lnTo>
                      <a:lnTo>
                        <a:pt x="212" y="383"/>
                      </a:lnTo>
                      <a:lnTo>
                        <a:pt x="213" y="383"/>
                      </a:lnTo>
                      <a:lnTo>
                        <a:pt x="213" y="383"/>
                      </a:lnTo>
                      <a:lnTo>
                        <a:pt x="213" y="382"/>
                      </a:lnTo>
                      <a:lnTo>
                        <a:pt x="213" y="381"/>
                      </a:lnTo>
                      <a:lnTo>
                        <a:pt x="213" y="381"/>
                      </a:lnTo>
                      <a:lnTo>
                        <a:pt x="214" y="380"/>
                      </a:lnTo>
                      <a:lnTo>
                        <a:pt x="215" y="380"/>
                      </a:lnTo>
                      <a:lnTo>
                        <a:pt x="215" y="380"/>
                      </a:lnTo>
                      <a:lnTo>
                        <a:pt x="216" y="379"/>
                      </a:lnTo>
                      <a:lnTo>
                        <a:pt x="217" y="379"/>
                      </a:lnTo>
                      <a:lnTo>
                        <a:pt x="217" y="379"/>
                      </a:lnTo>
                      <a:lnTo>
                        <a:pt x="217" y="378"/>
                      </a:lnTo>
                      <a:lnTo>
                        <a:pt x="217" y="377"/>
                      </a:lnTo>
                      <a:lnTo>
                        <a:pt x="218" y="377"/>
                      </a:lnTo>
                      <a:lnTo>
                        <a:pt x="218" y="376"/>
                      </a:lnTo>
                      <a:lnTo>
                        <a:pt x="219" y="375"/>
                      </a:lnTo>
                      <a:lnTo>
                        <a:pt x="219" y="375"/>
                      </a:lnTo>
                      <a:lnTo>
                        <a:pt x="219" y="374"/>
                      </a:lnTo>
                      <a:lnTo>
                        <a:pt x="219" y="373"/>
                      </a:lnTo>
                      <a:lnTo>
                        <a:pt x="219" y="373"/>
                      </a:lnTo>
                      <a:lnTo>
                        <a:pt x="219" y="372"/>
                      </a:lnTo>
                      <a:lnTo>
                        <a:pt x="219" y="371"/>
                      </a:lnTo>
                      <a:lnTo>
                        <a:pt x="219" y="370"/>
                      </a:lnTo>
                      <a:lnTo>
                        <a:pt x="217" y="368"/>
                      </a:lnTo>
                      <a:lnTo>
                        <a:pt x="216" y="368"/>
                      </a:lnTo>
                      <a:lnTo>
                        <a:pt x="215" y="367"/>
                      </a:lnTo>
                      <a:lnTo>
                        <a:pt x="215" y="367"/>
                      </a:lnTo>
                      <a:lnTo>
                        <a:pt x="214" y="366"/>
                      </a:lnTo>
                      <a:lnTo>
                        <a:pt x="213" y="366"/>
                      </a:lnTo>
                      <a:lnTo>
                        <a:pt x="213" y="366"/>
                      </a:lnTo>
                      <a:lnTo>
                        <a:pt x="213" y="365"/>
                      </a:lnTo>
                      <a:lnTo>
                        <a:pt x="212" y="365"/>
                      </a:lnTo>
                      <a:lnTo>
                        <a:pt x="211" y="364"/>
                      </a:lnTo>
                      <a:lnTo>
                        <a:pt x="211" y="364"/>
                      </a:lnTo>
                      <a:lnTo>
                        <a:pt x="210" y="363"/>
                      </a:lnTo>
                      <a:lnTo>
                        <a:pt x="209" y="363"/>
                      </a:lnTo>
                      <a:lnTo>
                        <a:pt x="209" y="362"/>
                      </a:lnTo>
                      <a:lnTo>
                        <a:pt x="209" y="362"/>
                      </a:lnTo>
                      <a:lnTo>
                        <a:pt x="209" y="362"/>
                      </a:lnTo>
                      <a:lnTo>
                        <a:pt x="208" y="362"/>
                      </a:lnTo>
                      <a:lnTo>
                        <a:pt x="207" y="362"/>
                      </a:lnTo>
                      <a:lnTo>
                        <a:pt x="207" y="362"/>
                      </a:lnTo>
                      <a:lnTo>
                        <a:pt x="207" y="361"/>
                      </a:lnTo>
                      <a:lnTo>
                        <a:pt x="206" y="361"/>
                      </a:lnTo>
                      <a:lnTo>
                        <a:pt x="205" y="361"/>
                      </a:lnTo>
                      <a:lnTo>
                        <a:pt x="205" y="360"/>
                      </a:lnTo>
                      <a:lnTo>
                        <a:pt x="205" y="360"/>
                      </a:lnTo>
                      <a:lnTo>
                        <a:pt x="204" y="360"/>
                      </a:lnTo>
                      <a:lnTo>
                        <a:pt x="204" y="359"/>
                      </a:lnTo>
                      <a:lnTo>
                        <a:pt x="204" y="358"/>
                      </a:lnTo>
                      <a:lnTo>
                        <a:pt x="203" y="358"/>
                      </a:lnTo>
                      <a:lnTo>
                        <a:pt x="203" y="358"/>
                      </a:lnTo>
                      <a:lnTo>
                        <a:pt x="204" y="358"/>
                      </a:lnTo>
                      <a:lnTo>
                        <a:pt x="204" y="357"/>
                      </a:lnTo>
                      <a:lnTo>
                        <a:pt x="203" y="357"/>
                      </a:lnTo>
                      <a:lnTo>
                        <a:pt x="203" y="356"/>
                      </a:lnTo>
                      <a:lnTo>
                        <a:pt x="203" y="356"/>
                      </a:lnTo>
                      <a:lnTo>
                        <a:pt x="203" y="356"/>
                      </a:lnTo>
                      <a:lnTo>
                        <a:pt x="203" y="355"/>
                      </a:lnTo>
                      <a:lnTo>
                        <a:pt x="202" y="355"/>
                      </a:lnTo>
                      <a:lnTo>
                        <a:pt x="202" y="354"/>
                      </a:lnTo>
                      <a:lnTo>
                        <a:pt x="201" y="354"/>
                      </a:lnTo>
                      <a:lnTo>
                        <a:pt x="201" y="354"/>
                      </a:lnTo>
                      <a:lnTo>
                        <a:pt x="200" y="354"/>
                      </a:lnTo>
                      <a:lnTo>
                        <a:pt x="200" y="353"/>
                      </a:lnTo>
                      <a:lnTo>
                        <a:pt x="200" y="352"/>
                      </a:lnTo>
                      <a:lnTo>
                        <a:pt x="199" y="352"/>
                      </a:lnTo>
                      <a:lnTo>
                        <a:pt x="199" y="352"/>
                      </a:lnTo>
                      <a:lnTo>
                        <a:pt x="199" y="351"/>
                      </a:lnTo>
                      <a:lnTo>
                        <a:pt x="199" y="350"/>
                      </a:lnTo>
                      <a:lnTo>
                        <a:pt x="198" y="350"/>
                      </a:lnTo>
                      <a:lnTo>
                        <a:pt x="198" y="351"/>
                      </a:lnTo>
                      <a:lnTo>
                        <a:pt x="197" y="351"/>
                      </a:lnTo>
                      <a:lnTo>
                        <a:pt x="197" y="350"/>
                      </a:lnTo>
                      <a:lnTo>
                        <a:pt x="197" y="349"/>
                      </a:lnTo>
                      <a:lnTo>
                        <a:pt x="196" y="349"/>
                      </a:lnTo>
                      <a:lnTo>
                        <a:pt x="196" y="349"/>
                      </a:lnTo>
                      <a:lnTo>
                        <a:pt x="196" y="349"/>
                      </a:lnTo>
                      <a:lnTo>
                        <a:pt x="195" y="349"/>
                      </a:lnTo>
                      <a:lnTo>
                        <a:pt x="194" y="349"/>
                      </a:lnTo>
                      <a:lnTo>
                        <a:pt x="194" y="348"/>
                      </a:lnTo>
                      <a:lnTo>
                        <a:pt x="194" y="347"/>
                      </a:lnTo>
                      <a:lnTo>
                        <a:pt x="194" y="347"/>
                      </a:lnTo>
                      <a:lnTo>
                        <a:pt x="194" y="347"/>
                      </a:lnTo>
                      <a:lnTo>
                        <a:pt x="193" y="347"/>
                      </a:lnTo>
                      <a:lnTo>
                        <a:pt x="192" y="347"/>
                      </a:lnTo>
                      <a:lnTo>
                        <a:pt x="192" y="347"/>
                      </a:lnTo>
                      <a:lnTo>
                        <a:pt x="192" y="346"/>
                      </a:lnTo>
                      <a:lnTo>
                        <a:pt x="191" y="346"/>
                      </a:lnTo>
                      <a:lnTo>
                        <a:pt x="190" y="346"/>
                      </a:lnTo>
                      <a:lnTo>
                        <a:pt x="190" y="347"/>
                      </a:lnTo>
                      <a:lnTo>
                        <a:pt x="189" y="347"/>
                      </a:lnTo>
                      <a:lnTo>
                        <a:pt x="188" y="347"/>
                      </a:lnTo>
                      <a:lnTo>
                        <a:pt x="188" y="347"/>
                      </a:lnTo>
                      <a:lnTo>
                        <a:pt x="187" y="347"/>
                      </a:lnTo>
                      <a:lnTo>
                        <a:pt x="186" y="346"/>
                      </a:lnTo>
                      <a:lnTo>
                        <a:pt x="186" y="346"/>
                      </a:lnTo>
                      <a:lnTo>
                        <a:pt x="185" y="345"/>
                      </a:lnTo>
                      <a:lnTo>
                        <a:pt x="184" y="345"/>
                      </a:lnTo>
                      <a:lnTo>
                        <a:pt x="184" y="345"/>
                      </a:lnTo>
                      <a:lnTo>
                        <a:pt x="183" y="345"/>
                      </a:lnTo>
                      <a:lnTo>
                        <a:pt x="182" y="345"/>
                      </a:lnTo>
                      <a:lnTo>
                        <a:pt x="181" y="345"/>
                      </a:lnTo>
                      <a:lnTo>
                        <a:pt x="181" y="345"/>
                      </a:lnTo>
                      <a:lnTo>
                        <a:pt x="180" y="345"/>
                      </a:lnTo>
                      <a:lnTo>
                        <a:pt x="179" y="345"/>
                      </a:lnTo>
                      <a:lnTo>
                        <a:pt x="179" y="346"/>
                      </a:lnTo>
                      <a:lnTo>
                        <a:pt x="179" y="346"/>
                      </a:lnTo>
                      <a:lnTo>
                        <a:pt x="178" y="346"/>
                      </a:lnTo>
                      <a:lnTo>
                        <a:pt x="177" y="346"/>
                      </a:lnTo>
                      <a:lnTo>
                        <a:pt x="177" y="346"/>
                      </a:lnTo>
                      <a:lnTo>
                        <a:pt x="176" y="346"/>
                      </a:lnTo>
                      <a:lnTo>
                        <a:pt x="175" y="346"/>
                      </a:lnTo>
                      <a:lnTo>
                        <a:pt x="175" y="347"/>
                      </a:lnTo>
                      <a:lnTo>
                        <a:pt x="175" y="347"/>
                      </a:lnTo>
                      <a:lnTo>
                        <a:pt x="174" y="347"/>
                      </a:lnTo>
                      <a:lnTo>
                        <a:pt x="173" y="347"/>
                      </a:lnTo>
                      <a:lnTo>
                        <a:pt x="173" y="348"/>
                      </a:lnTo>
                      <a:lnTo>
                        <a:pt x="173" y="347"/>
                      </a:lnTo>
                      <a:lnTo>
                        <a:pt x="173" y="347"/>
                      </a:lnTo>
                      <a:lnTo>
                        <a:pt x="172" y="347"/>
                      </a:lnTo>
                      <a:lnTo>
                        <a:pt x="171" y="347"/>
                      </a:lnTo>
                      <a:lnTo>
                        <a:pt x="171" y="347"/>
                      </a:lnTo>
                      <a:lnTo>
                        <a:pt x="170" y="347"/>
                      </a:lnTo>
                      <a:lnTo>
                        <a:pt x="169" y="347"/>
                      </a:lnTo>
                      <a:lnTo>
                        <a:pt x="169" y="347"/>
                      </a:lnTo>
                      <a:lnTo>
                        <a:pt x="169" y="347"/>
                      </a:lnTo>
                      <a:lnTo>
                        <a:pt x="168" y="346"/>
                      </a:lnTo>
                      <a:lnTo>
                        <a:pt x="167" y="346"/>
                      </a:lnTo>
                      <a:lnTo>
                        <a:pt x="167" y="345"/>
                      </a:lnTo>
                      <a:lnTo>
                        <a:pt x="168" y="345"/>
                      </a:lnTo>
                      <a:lnTo>
                        <a:pt x="168" y="345"/>
                      </a:lnTo>
                      <a:lnTo>
                        <a:pt x="167" y="345"/>
                      </a:lnTo>
                      <a:lnTo>
                        <a:pt x="167" y="344"/>
                      </a:lnTo>
                      <a:lnTo>
                        <a:pt x="167" y="344"/>
                      </a:lnTo>
                      <a:lnTo>
                        <a:pt x="166" y="344"/>
                      </a:lnTo>
                      <a:lnTo>
                        <a:pt x="166" y="343"/>
                      </a:lnTo>
                      <a:lnTo>
                        <a:pt x="165" y="343"/>
                      </a:lnTo>
                      <a:lnTo>
                        <a:pt x="165" y="343"/>
                      </a:lnTo>
                      <a:lnTo>
                        <a:pt x="165" y="344"/>
                      </a:lnTo>
                      <a:lnTo>
                        <a:pt x="164" y="343"/>
                      </a:lnTo>
                      <a:lnTo>
                        <a:pt x="164" y="344"/>
                      </a:lnTo>
                      <a:lnTo>
                        <a:pt x="164" y="343"/>
                      </a:lnTo>
                      <a:lnTo>
                        <a:pt x="163" y="343"/>
                      </a:lnTo>
                      <a:lnTo>
                        <a:pt x="162" y="343"/>
                      </a:lnTo>
                      <a:lnTo>
                        <a:pt x="162" y="343"/>
                      </a:lnTo>
                      <a:lnTo>
                        <a:pt x="162" y="343"/>
                      </a:lnTo>
                      <a:lnTo>
                        <a:pt x="161" y="343"/>
                      </a:lnTo>
                      <a:lnTo>
                        <a:pt x="161" y="343"/>
                      </a:lnTo>
                      <a:lnTo>
                        <a:pt x="160" y="343"/>
                      </a:lnTo>
                      <a:lnTo>
                        <a:pt x="160" y="343"/>
                      </a:lnTo>
                      <a:lnTo>
                        <a:pt x="160" y="343"/>
                      </a:lnTo>
                      <a:lnTo>
                        <a:pt x="159" y="343"/>
                      </a:lnTo>
                      <a:lnTo>
                        <a:pt x="159" y="343"/>
                      </a:lnTo>
                      <a:lnTo>
                        <a:pt x="158" y="343"/>
                      </a:lnTo>
                      <a:lnTo>
                        <a:pt x="158" y="342"/>
                      </a:lnTo>
                      <a:lnTo>
                        <a:pt x="158" y="342"/>
                      </a:lnTo>
                      <a:lnTo>
                        <a:pt x="158" y="341"/>
                      </a:lnTo>
                      <a:lnTo>
                        <a:pt x="157" y="341"/>
                      </a:lnTo>
                      <a:lnTo>
                        <a:pt x="156" y="341"/>
                      </a:lnTo>
                      <a:lnTo>
                        <a:pt x="156" y="340"/>
                      </a:lnTo>
                      <a:lnTo>
                        <a:pt x="156" y="339"/>
                      </a:lnTo>
                      <a:lnTo>
                        <a:pt x="156" y="340"/>
                      </a:lnTo>
                      <a:lnTo>
                        <a:pt x="156" y="339"/>
                      </a:lnTo>
                      <a:lnTo>
                        <a:pt x="155" y="339"/>
                      </a:lnTo>
                      <a:lnTo>
                        <a:pt x="156" y="339"/>
                      </a:lnTo>
                      <a:lnTo>
                        <a:pt x="156" y="339"/>
                      </a:lnTo>
                      <a:lnTo>
                        <a:pt x="155" y="339"/>
                      </a:lnTo>
                      <a:lnTo>
                        <a:pt x="155" y="339"/>
                      </a:lnTo>
                      <a:lnTo>
                        <a:pt x="155" y="339"/>
                      </a:lnTo>
                      <a:lnTo>
                        <a:pt x="155" y="339"/>
                      </a:lnTo>
                      <a:lnTo>
                        <a:pt x="154" y="339"/>
                      </a:lnTo>
                      <a:lnTo>
                        <a:pt x="154" y="339"/>
                      </a:lnTo>
                      <a:lnTo>
                        <a:pt x="154" y="339"/>
                      </a:lnTo>
                      <a:lnTo>
                        <a:pt x="154" y="338"/>
                      </a:lnTo>
                      <a:lnTo>
                        <a:pt x="153" y="338"/>
                      </a:lnTo>
                      <a:lnTo>
                        <a:pt x="153" y="337"/>
                      </a:lnTo>
                      <a:lnTo>
                        <a:pt x="152" y="337"/>
                      </a:lnTo>
                      <a:lnTo>
                        <a:pt x="152" y="337"/>
                      </a:lnTo>
                      <a:lnTo>
                        <a:pt x="152" y="337"/>
                      </a:lnTo>
                      <a:lnTo>
                        <a:pt x="151" y="337"/>
                      </a:lnTo>
                      <a:lnTo>
                        <a:pt x="151" y="336"/>
                      </a:lnTo>
                      <a:lnTo>
                        <a:pt x="150" y="336"/>
                      </a:lnTo>
                      <a:lnTo>
                        <a:pt x="150" y="335"/>
                      </a:lnTo>
                      <a:lnTo>
                        <a:pt x="150" y="335"/>
                      </a:lnTo>
                      <a:lnTo>
                        <a:pt x="150" y="335"/>
                      </a:lnTo>
                      <a:lnTo>
                        <a:pt x="149" y="335"/>
                      </a:lnTo>
                      <a:lnTo>
                        <a:pt x="148" y="335"/>
                      </a:lnTo>
                      <a:lnTo>
                        <a:pt x="148" y="334"/>
                      </a:lnTo>
                      <a:lnTo>
                        <a:pt x="148" y="334"/>
                      </a:lnTo>
                      <a:lnTo>
                        <a:pt x="147" y="334"/>
                      </a:lnTo>
                      <a:lnTo>
                        <a:pt x="148" y="334"/>
                      </a:lnTo>
                      <a:lnTo>
                        <a:pt x="147" y="334"/>
                      </a:lnTo>
                      <a:lnTo>
                        <a:pt x="146" y="334"/>
                      </a:lnTo>
                      <a:lnTo>
                        <a:pt x="146" y="335"/>
                      </a:lnTo>
                      <a:lnTo>
                        <a:pt x="146" y="335"/>
                      </a:lnTo>
                      <a:lnTo>
                        <a:pt x="146" y="334"/>
                      </a:lnTo>
                      <a:lnTo>
                        <a:pt x="146" y="333"/>
                      </a:lnTo>
                      <a:lnTo>
                        <a:pt x="145" y="333"/>
                      </a:lnTo>
                      <a:lnTo>
                        <a:pt x="144" y="333"/>
                      </a:lnTo>
                      <a:lnTo>
                        <a:pt x="143" y="333"/>
                      </a:lnTo>
                      <a:lnTo>
                        <a:pt x="143" y="333"/>
                      </a:lnTo>
                      <a:lnTo>
                        <a:pt x="143" y="333"/>
                      </a:lnTo>
                      <a:lnTo>
                        <a:pt x="143" y="332"/>
                      </a:lnTo>
                      <a:lnTo>
                        <a:pt x="142" y="332"/>
                      </a:lnTo>
                      <a:lnTo>
                        <a:pt x="141" y="331"/>
                      </a:lnTo>
                      <a:lnTo>
                        <a:pt x="141" y="331"/>
                      </a:lnTo>
                      <a:lnTo>
                        <a:pt x="141" y="330"/>
                      </a:lnTo>
                      <a:lnTo>
                        <a:pt x="140" y="330"/>
                      </a:lnTo>
                      <a:lnTo>
                        <a:pt x="139" y="330"/>
                      </a:lnTo>
                      <a:lnTo>
                        <a:pt x="139" y="330"/>
                      </a:lnTo>
                      <a:lnTo>
                        <a:pt x="139" y="329"/>
                      </a:lnTo>
                      <a:lnTo>
                        <a:pt x="139" y="328"/>
                      </a:lnTo>
                      <a:lnTo>
                        <a:pt x="139" y="329"/>
                      </a:lnTo>
                      <a:lnTo>
                        <a:pt x="138" y="329"/>
                      </a:lnTo>
                      <a:lnTo>
                        <a:pt x="138" y="328"/>
                      </a:lnTo>
                      <a:lnTo>
                        <a:pt x="137" y="329"/>
                      </a:lnTo>
                      <a:lnTo>
                        <a:pt x="137" y="328"/>
                      </a:lnTo>
                      <a:lnTo>
                        <a:pt x="137" y="328"/>
                      </a:lnTo>
                      <a:lnTo>
                        <a:pt x="136" y="328"/>
                      </a:lnTo>
                      <a:lnTo>
                        <a:pt x="136" y="328"/>
                      </a:lnTo>
                      <a:lnTo>
                        <a:pt x="135" y="328"/>
                      </a:lnTo>
                      <a:lnTo>
                        <a:pt x="135" y="327"/>
                      </a:lnTo>
                      <a:lnTo>
                        <a:pt x="135" y="327"/>
                      </a:lnTo>
                      <a:lnTo>
                        <a:pt x="135" y="328"/>
                      </a:lnTo>
                      <a:lnTo>
                        <a:pt x="135" y="327"/>
                      </a:lnTo>
                      <a:lnTo>
                        <a:pt x="134" y="328"/>
                      </a:lnTo>
                      <a:lnTo>
                        <a:pt x="134" y="328"/>
                      </a:lnTo>
                      <a:lnTo>
                        <a:pt x="134" y="329"/>
                      </a:lnTo>
                      <a:lnTo>
                        <a:pt x="134" y="328"/>
                      </a:lnTo>
                      <a:lnTo>
                        <a:pt x="134" y="329"/>
                      </a:lnTo>
                      <a:lnTo>
                        <a:pt x="133" y="329"/>
                      </a:lnTo>
                      <a:lnTo>
                        <a:pt x="133" y="330"/>
                      </a:lnTo>
                      <a:lnTo>
                        <a:pt x="133" y="330"/>
                      </a:lnTo>
                      <a:lnTo>
                        <a:pt x="133" y="330"/>
                      </a:lnTo>
                      <a:lnTo>
                        <a:pt x="132" y="330"/>
                      </a:lnTo>
                      <a:lnTo>
                        <a:pt x="132" y="330"/>
                      </a:lnTo>
                      <a:lnTo>
                        <a:pt x="131" y="330"/>
                      </a:lnTo>
                      <a:lnTo>
                        <a:pt x="131" y="329"/>
                      </a:lnTo>
                      <a:lnTo>
                        <a:pt x="130" y="329"/>
                      </a:lnTo>
                      <a:lnTo>
                        <a:pt x="129" y="329"/>
                      </a:lnTo>
                      <a:lnTo>
                        <a:pt x="129" y="328"/>
                      </a:lnTo>
                      <a:lnTo>
                        <a:pt x="129" y="328"/>
                      </a:lnTo>
                      <a:lnTo>
                        <a:pt x="129" y="328"/>
                      </a:lnTo>
                      <a:lnTo>
                        <a:pt x="129" y="328"/>
                      </a:lnTo>
                      <a:lnTo>
                        <a:pt x="128" y="328"/>
                      </a:lnTo>
                      <a:lnTo>
                        <a:pt x="128" y="328"/>
                      </a:lnTo>
                      <a:lnTo>
                        <a:pt x="127" y="328"/>
                      </a:lnTo>
                      <a:lnTo>
                        <a:pt x="127" y="328"/>
                      </a:lnTo>
                      <a:lnTo>
                        <a:pt x="127" y="328"/>
                      </a:lnTo>
                      <a:lnTo>
                        <a:pt x="126" y="328"/>
                      </a:lnTo>
                      <a:lnTo>
                        <a:pt x="125" y="328"/>
                      </a:lnTo>
                      <a:lnTo>
                        <a:pt x="124" y="328"/>
                      </a:lnTo>
                      <a:lnTo>
                        <a:pt x="124" y="328"/>
                      </a:lnTo>
                      <a:lnTo>
                        <a:pt x="123" y="328"/>
                      </a:lnTo>
                      <a:lnTo>
                        <a:pt x="122" y="328"/>
                      </a:lnTo>
                      <a:lnTo>
                        <a:pt x="122" y="328"/>
                      </a:lnTo>
                      <a:lnTo>
                        <a:pt x="122" y="328"/>
                      </a:lnTo>
                      <a:lnTo>
                        <a:pt x="121" y="328"/>
                      </a:lnTo>
                      <a:lnTo>
                        <a:pt x="121" y="327"/>
                      </a:lnTo>
                      <a:lnTo>
                        <a:pt x="120" y="327"/>
                      </a:lnTo>
                      <a:lnTo>
                        <a:pt x="120" y="326"/>
                      </a:lnTo>
                      <a:lnTo>
                        <a:pt x="120" y="326"/>
                      </a:lnTo>
                      <a:lnTo>
                        <a:pt x="120" y="326"/>
                      </a:lnTo>
                      <a:lnTo>
                        <a:pt x="119" y="326"/>
                      </a:lnTo>
                      <a:lnTo>
                        <a:pt x="118" y="326"/>
                      </a:lnTo>
                      <a:lnTo>
                        <a:pt x="118" y="326"/>
                      </a:lnTo>
                      <a:lnTo>
                        <a:pt x="118" y="325"/>
                      </a:lnTo>
                      <a:lnTo>
                        <a:pt x="117" y="325"/>
                      </a:lnTo>
                      <a:lnTo>
                        <a:pt x="116" y="325"/>
                      </a:lnTo>
                      <a:lnTo>
                        <a:pt x="116" y="325"/>
                      </a:lnTo>
                      <a:lnTo>
                        <a:pt x="116" y="324"/>
                      </a:lnTo>
                      <a:lnTo>
                        <a:pt x="115" y="324"/>
                      </a:lnTo>
                      <a:lnTo>
                        <a:pt x="115" y="324"/>
                      </a:lnTo>
                      <a:lnTo>
                        <a:pt x="114" y="324"/>
                      </a:lnTo>
                      <a:lnTo>
                        <a:pt x="114" y="324"/>
                      </a:lnTo>
                      <a:lnTo>
                        <a:pt x="114" y="324"/>
                      </a:lnTo>
                      <a:lnTo>
                        <a:pt x="114" y="324"/>
                      </a:lnTo>
                      <a:lnTo>
                        <a:pt x="113" y="324"/>
                      </a:lnTo>
                      <a:lnTo>
                        <a:pt x="112" y="324"/>
                      </a:lnTo>
                      <a:lnTo>
                        <a:pt x="112" y="324"/>
                      </a:lnTo>
                      <a:lnTo>
                        <a:pt x="112" y="324"/>
                      </a:lnTo>
                      <a:lnTo>
                        <a:pt x="112" y="323"/>
                      </a:lnTo>
                      <a:lnTo>
                        <a:pt x="111" y="323"/>
                      </a:lnTo>
                      <a:lnTo>
                        <a:pt x="110" y="323"/>
                      </a:lnTo>
                      <a:lnTo>
                        <a:pt x="110" y="323"/>
                      </a:lnTo>
                      <a:lnTo>
                        <a:pt x="110" y="322"/>
                      </a:lnTo>
                      <a:lnTo>
                        <a:pt x="109" y="322"/>
                      </a:lnTo>
                      <a:lnTo>
                        <a:pt x="108" y="322"/>
                      </a:lnTo>
                      <a:lnTo>
                        <a:pt x="108" y="322"/>
                      </a:lnTo>
                      <a:lnTo>
                        <a:pt x="108" y="322"/>
                      </a:lnTo>
                      <a:lnTo>
                        <a:pt x="108" y="321"/>
                      </a:lnTo>
                      <a:lnTo>
                        <a:pt x="107" y="321"/>
                      </a:lnTo>
                      <a:lnTo>
                        <a:pt x="108" y="320"/>
                      </a:lnTo>
                      <a:lnTo>
                        <a:pt x="107" y="320"/>
                      </a:lnTo>
                      <a:lnTo>
                        <a:pt x="107" y="320"/>
                      </a:lnTo>
                      <a:lnTo>
                        <a:pt x="106" y="320"/>
                      </a:lnTo>
                      <a:lnTo>
                        <a:pt x="105" y="319"/>
                      </a:lnTo>
                      <a:lnTo>
                        <a:pt x="91" y="319"/>
                      </a:lnTo>
                      <a:lnTo>
                        <a:pt x="69" y="320"/>
                      </a:lnTo>
                      <a:lnTo>
                        <a:pt x="58" y="320"/>
                      </a:lnTo>
                      <a:lnTo>
                        <a:pt x="57" y="318"/>
                      </a:lnTo>
                      <a:lnTo>
                        <a:pt x="58" y="311"/>
                      </a:lnTo>
                      <a:lnTo>
                        <a:pt x="59" y="304"/>
                      </a:lnTo>
                      <a:lnTo>
                        <a:pt x="59" y="303"/>
                      </a:lnTo>
                      <a:lnTo>
                        <a:pt x="59" y="302"/>
                      </a:lnTo>
                      <a:lnTo>
                        <a:pt x="59" y="301"/>
                      </a:lnTo>
                      <a:lnTo>
                        <a:pt x="59" y="301"/>
                      </a:lnTo>
                      <a:lnTo>
                        <a:pt x="58" y="301"/>
                      </a:lnTo>
                      <a:lnTo>
                        <a:pt x="57" y="301"/>
                      </a:lnTo>
                      <a:lnTo>
                        <a:pt x="57" y="301"/>
                      </a:lnTo>
                      <a:lnTo>
                        <a:pt x="56" y="301"/>
                      </a:lnTo>
                      <a:lnTo>
                        <a:pt x="55" y="301"/>
                      </a:lnTo>
                      <a:lnTo>
                        <a:pt x="55" y="301"/>
                      </a:lnTo>
                      <a:lnTo>
                        <a:pt x="54" y="300"/>
                      </a:lnTo>
                      <a:lnTo>
                        <a:pt x="54" y="299"/>
                      </a:lnTo>
                      <a:lnTo>
                        <a:pt x="53" y="299"/>
                      </a:lnTo>
                      <a:lnTo>
                        <a:pt x="53" y="299"/>
                      </a:lnTo>
                      <a:lnTo>
                        <a:pt x="53" y="299"/>
                      </a:lnTo>
                      <a:lnTo>
                        <a:pt x="53" y="298"/>
                      </a:lnTo>
                      <a:lnTo>
                        <a:pt x="52" y="298"/>
                      </a:lnTo>
                      <a:lnTo>
                        <a:pt x="52" y="297"/>
                      </a:lnTo>
                      <a:lnTo>
                        <a:pt x="51" y="297"/>
                      </a:lnTo>
                      <a:lnTo>
                        <a:pt x="51" y="297"/>
                      </a:lnTo>
                      <a:lnTo>
                        <a:pt x="50" y="297"/>
                      </a:lnTo>
                      <a:lnTo>
                        <a:pt x="50" y="297"/>
                      </a:lnTo>
                      <a:lnTo>
                        <a:pt x="50" y="296"/>
                      </a:lnTo>
                      <a:lnTo>
                        <a:pt x="49" y="296"/>
                      </a:lnTo>
                      <a:lnTo>
                        <a:pt x="48" y="296"/>
                      </a:lnTo>
                      <a:lnTo>
                        <a:pt x="48" y="296"/>
                      </a:lnTo>
                      <a:lnTo>
                        <a:pt x="47" y="296"/>
                      </a:lnTo>
                      <a:lnTo>
                        <a:pt x="47" y="295"/>
                      </a:lnTo>
                      <a:lnTo>
                        <a:pt x="46" y="295"/>
                      </a:lnTo>
                      <a:lnTo>
                        <a:pt x="46" y="295"/>
                      </a:lnTo>
                      <a:lnTo>
                        <a:pt x="46" y="295"/>
                      </a:lnTo>
                      <a:lnTo>
                        <a:pt x="45" y="295"/>
                      </a:lnTo>
                      <a:lnTo>
                        <a:pt x="45" y="294"/>
                      </a:lnTo>
                      <a:lnTo>
                        <a:pt x="44" y="294"/>
                      </a:lnTo>
                      <a:lnTo>
                        <a:pt x="44" y="294"/>
                      </a:lnTo>
                      <a:lnTo>
                        <a:pt x="44" y="293"/>
                      </a:lnTo>
                      <a:lnTo>
                        <a:pt x="44" y="293"/>
                      </a:lnTo>
                      <a:lnTo>
                        <a:pt x="43" y="293"/>
                      </a:lnTo>
                      <a:lnTo>
                        <a:pt x="43" y="292"/>
                      </a:lnTo>
                      <a:lnTo>
                        <a:pt x="42" y="292"/>
                      </a:lnTo>
                      <a:lnTo>
                        <a:pt x="42" y="291"/>
                      </a:lnTo>
                      <a:lnTo>
                        <a:pt x="42" y="291"/>
                      </a:lnTo>
                      <a:lnTo>
                        <a:pt x="41" y="291"/>
                      </a:lnTo>
                      <a:lnTo>
                        <a:pt x="40" y="290"/>
                      </a:lnTo>
                      <a:lnTo>
                        <a:pt x="40" y="290"/>
                      </a:lnTo>
                      <a:lnTo>
                        <a:pt x="39" y="290"/>
                      </a:lnTo>
                      <a:lnTo>
                        <a:pt x="38" y="290"/>
                      </a:lnTo>
                      <a:lnTo>
                        <a:pt x="38" y="290"/>
                      </a:lnTo>
                      <a:lnTo>
                        <a:pt x="37" y="290"/>
                      </a:lnTo>
                      <a:lnTo>
                        <a:pt x="36" y="290"/>
                      </a:lnTo>
                      <a:lnTo>
                        <a:pt x="36" y="290"/>
                      </a:lnTo>
                      <a:lnTo>
                        <a:pt x="36" y="290"/>
                      </a:lnTo>
                      <a:lnTo>
                        <a:pt x="35" y="290"/>
                      </a:lnTo>
                      <a:lnTo>
                        <a:pt x="34" y="290"/>
                      </a:lnTo>
                      <a:lnTo>
                        <a:pt x="34" y="290"/>
                      </a:lnTo>
                      <a:lnTo>
                        <a:pt x="34" y="291"/>
                      </a:lnTo>
                      <a:lnTo>
                        <a:pt x="33" y="291"/>
                      </a:lnTo>
                      <a:lnTo>
                        <a:pt x="32" y="291"/>
                      </a:lnTo>
                      <a:lnTo>
                        <a:pt x="31" y="291"/>
                      </a:lnTo>
                      <a:lnTo>
                        <a:pt x="31" y="292"/>
                      </a:lnTo>
                      <a:lnTo>
                        <a:pt x="31" y="292"/>
                      </a:lnTo>
                      <a:lnTo>
                        <a:pt x="30" y="292"/>
                      </a:lnTo>
                      <a:lnTo>
                        <a:pt x="29" y="292"/>
                      </a:lnTo>
                      <a:lnTo>
                        <a:pt x="29" y="292"/>
                      </a:lnTo>
                      <a:lnTo>
                        <a:pt x="28" y="292"/>
                      </a:lnTo>
                      <a:lnTo>
                        <a:pt x="27" y="292"/>
                      </a:lnTo>
                      <a:lnTo>
                        <a:pt x="27" y="291"/>
                      </a:lnTo>
                      <a:lnTo>
                        <a:pt x="27" y="291"/>
                      </a:lnTo>
                      <a:lnTo>
                        <a:pt x="26" y="291"/>
                      </a:lnTo>
                      <a:lnTo>
                        <a:pt x="26" y="290"/>
                      </a:lnTo>
                      <a:lnTo>
                        <a:pt x="25" y="290"/>
                      </a:lnTo>
                      <a:lnTo>
                        <a:pt x="25" y="290"/>
                      </a:lnTo>
                      <a:lnTo>
                        <a:pt x="25" y="290"/>
                      </a:lnTo>
                      <a:lnTo>
                        <a:pt x="24" y="290"/>
                      </a:lnTo>
                      <a:lnTo>
                        <a:pt x="23" y="290"/>
                      </a:lnTo>
                      <a:lnTo>
                        <a:pt x="23" y="289"/>
                      </a:lnTo>
                      <a:lnTo>
                        <a:pt x="23" y="289"/>
                      </a:lnTo>
                      <a:lnTo>
                        <a:pt x="22" y="289"/>
                      </a:lnTo>
                      <a:lnTo>
                        <a:pt x="21" y="289"/>
                      </a:lnTo>
                      <a:lnTo>
                        <a:pt x="21" y="288"/>
                      </a:lnTo>
                      <a:lnTo>
                        <a:pt x="21" y="288"/>
                      </a:lnTo>
                      <a:lnTo>
                        <a:pt x="20" y="288"/>
                      </a:lnTo>
                      <a:lnTo>
                        <a:pt x="20" y="288"/>
                      </a:lnTo>
                      <a:lnTo>
                        <a:pt x="19" y="288"/>
                      </a:lnTo>
                      <a:lnTo>
                        <a:pt x="19" y="287"/>
                      </a:lnTo>
                      <a:lnTo>
                        <a:pt x="19" y="287"/>
                      </a:lnTo>
                      <a:lnTo>
                        <a:pt x="18" y="287"/>
                      </a:lnTo>
                      <a:lnTo>
                        <a:pt x="18" y="286"/>
                      </a:lnTo>
                      <a:lnTo>
                        <a:pt x="17" y="286"/>
                      </a:lnTo>
                      <a:lnTo>
                        <a:pt x="17" y="286"/>
                      </a:lnTo>
                      <a:lnTo>
                        <a:pt x="17" y="286"/>
                      </a:lnTo>
                      <a:lnTo>
                        <a:pt x="17" y="285"/>
                      </a:lnTo>
                      <a:lnTo>
                        <a:pt x="16" y="285"/>
                      </a:lnTo>
                      <a:lnTo>
                        <a:pt x="16" y="284"/>
                      </a:lnTo>
                      <a:lnTo>
                        <a:pt x="15" y="284"/>
                      </a:lnTo>
                      <a:lnTo>
                        <a:pt x="15" y="284"/>
                      </a:lnTo>
                      <a:lnTo>
                        <a:pt x="14" y="284"/>
                      </a:lnTo>
                      <a:lnTo>
                        <a:pt x="14" y="283"/>
                      </a:lnTo>
                      <a:lnTo>
                        <a:pt x="13" y="283"/>
                      </a:lnTo>
                      <a:lnTo>
                        <a:pt x="12" y="283"/>
                      </a:lnTo>
                      <a:lnTo>
                        <a:pt x="12" y="283"/>
                      </a:lnTo>
                      <a:lnTo>
                        <a:pt x="12" y="282"/>
                      </a:lnTo>
                      <a:lnTo>
                        <a:pt x="11" y="282"/>
                      </a:lnTo>
                      <a:lnTo>
                        <a:pt x="11" y="282"/>
                      </a:lnTo>
                      <a:lnTo>
                        <a:pt x="10" y="282"/>
                      </a:lnTo>
                      <a:lnTo>
                        <a:pt x="10" y="281"/>
                      </a:lnTo>
                      <a:lnTo>
                        <a:pt x="10" y="281"/>
                      </a:lnTo>
                      <a:lnTo>
                        <a:pt x="10" y="280"/>
                      </a:lnTo>
                      <a:lnTo>
                        <a:pt x="9" y="280"/>
                      </a:lnTo>
                      <a:lnTo>
                        <a:pt x="8" y="280"/>
                      </a:lnTo>
                      <a:lnTo>
                        <a:pt x="8" y="280"/>
                      </a:lnTo>
                      <a:lnTo>
                        <a:pt x="8" y="280"/>
                      </a:lnTo>
                      <a:lnTo>
                        <a:pt x="7" y="280"/>
                      </a:lnTo>
                      <a:lnTo>
                        <a:pt x="6" y="280"/>
                      </a:lnTo>
                      <a:lnTo>
                        <a:pt x="6" y="279"/>
                      </a:lnTo>
                      <a:lnTo>
                        <a:pt x="6" y="279"/>
                      </a:lnTo>
                      <a:lnTo>
                        <a:pt x="6" y="278"/>
                      </a:lnTo>
                      <a:lnTo>
                        <a:pt x="6" y="278"/>
                      </a:lnTo>
                      <a:lnTo>
                        <a:pt x="5" y="278"/>
                      </a:lnTo>
                      <a:lnTo>
                        <a:pt x="4" y="278"/>
                      </a:lnTo>
                      <a:lnTo>
                        <a:pt x="4" y="277"/>
                      </a:lnTo>
                      <a:lnTo>
                        <a:pt x="4" y="277"/>
                      </a:lnTo>
                      <a:lnTo>
                        <a:pt x="4" y="276"/>
                      </a:lnTo>
                      <a:lnTo>
                        <a:pt x="3" y="276"/>
                      </a:lnTo>
                      <a:lnTo>
                        <a:pt x="3" y="276"/>
                      </a:lnTo>
                      <a:lnTo>
                        <a:pt x="2" y="276"/>
                      </a:lnTo>
                      <a:lnTo>
                        <a:pt x="2" y="275"/>
                      </a:lnTo>
                      <a:lnTo>
                        <a:pt x="2" y="274"/>
                      </a:lnTo>
                      <a:lnTo>
                        <a:pt x="2" y="274"/>
                      </a:lnTo>
                      <a:lnTo>
                        <a:pt x="2" y="274"/>
                      </a:lnTo>
                      <a:lnTo>
                        <a:pt x="2" y="273"/>
                      </a:lnTo>
                      <a:lnTo>
                        <a:pt x="2" y="272"/>
                      </a:lnTo>
                      <a:lnTo>
                        <a:pt x="1" y="272"/>
                      </a:lnTo>
                      <a:lnTo>
                        <a:pt x="1" y="271"/>
                      </a:lnTo>
                      <a:lnTo>
                        <a:pt x="0" y="271"/>
                      </a:lnTo>
                      <a:lnTo>
                        <a:pt x="0" y="271"/>
                      </a:lnTo>
                      <a:lnTo>
                        <a:pt x="0" y="270"/>
                      </a:lnTo>
                      <a:lnTo>
                        <a:pt x="0" y="270"/>
                      </a:lnTo>
                      <a:lnTo>
                        <a:pt x="0" y="269"/>
                      </a:lnTo>
                      <a:lnTo>
                        <a:pt x="1" y="269"/>
                      </a:lnTo>
                      <a:lnTo>
                        <a:pt x="1" y="269"/>
                      </a:lnTo>
                      <a:lnTo>
                        <a:pt x="1" y="268"/>
                      </a:lnTo>
                      <a:lnTo>
                        <a:pt x="1" y="267"/>
                      </a:lnTo>
                      <a:lnTo>
                        <a:pt x="0" y="267"/>
                      </a:lnTo>
                      <a:lnTo>
                        <a:pt x="0" y="267"/>
                      </a:lnTo>
                      <a:lnTo>
                        <a:pt x="1" y="267"/>
                      </a:lnTo>
                      <a:lnTo>
                        <a:pt x="2" y="267"/>
                      </a:lnTo>
                      <a:lnTo>
                        <a:pt x="2" y="267"/>
                      </a:lnTo>
                      <a:lnTo>
                        <a:pt x="2" y="267"/>
                      </a:lnTo>
                      <a:lnTo>
                        <a:pt x="2" y="267"/>
                      </a:lnTo>
                      <a:lnTo>
                        <a:pt x="3" y="267"/>
                      </a:lnTo>
                      <a:lnTo>
                        <a:pt x="4" y="267"/>
                      </a:lnTo>
                      <a:lnTo>
                        <a:pt x="4" y="267"/>
                      </a:lnTo>
                      <a:lnTo>
                        <a:pt x="5" y="267"/>
                      </a:lnTo>
                      <a:lnTo>
                        <a:pt x="5" y="266"/>
                      </a:lnTo>
                      <a:lnTo>
                        <a:pt x="6" y="266"/>
                      </a:lnTo>
                      <a:lnTo>
                        <a:pt x="6" y="265"/>
                      </a:lnTo>
                      <a:lnTo>
                        <a:pt x="5" y="265"/>
                      </a:lnTo>
                      <a:lnTo>
                        <a:pt x="5" y="265"/>
                      </a:lnTo>
                      <a:lnTo>
                        <a:pt x="6" y="265"/>
                      </a:lnTo>
                      <a:lnTo>
                        <a:pt x="6" y="264"/>
                      </a:lnTo>
                      <a:lnTo>
                        <a:pt x="6" y="264"/>
                      </a:lnTo>
                      <a:lnTo>
                        <a:pt x="6" y="263"/>
                      </a:lnTo>
                      <a:lnTo>
                        <a:pt x="6" y="263"/>
                      </a:lnTo>
                      <a:lnTo>
                        <a:pt x="6" y="262"/>
                      </a:lnTo>
                      <a:lnTo>
                        <a:pt x="7" y="262"/>
                      </a:lnTo>
                      <a:lnTo>
                        <a:pt x="7" y="261"/>
                      </a:lnTo>
                      <a:lnTo>
                        <a:pt x="7" y="261"/>
                      </a:lnTo>
                      <a:lnTo>
                        <a:pt x="7" y="260"/>
                      </a:lnTo>
                      <a:lnTo>
                        <a:pt x="7" y="259"/>
                      </a:lnTo>
                      <a:lnTo>
                        <a:pt x="7" y="259"/>
                      </a:lnTo>
                      <a:lnTo>
                        <a:pt x="6" y="258"/>
                      </a:lnTo>
                      <a:lnTo>
                        <a:pt x="7" y="258"/>
                      </a:lnTo>
                      <a:lnTo>
                        <a:pt x="7" y="257"/>
                      </a:lnTo>
                      <a:lnTo>
                        <a:pt x="7" y="257"/>
                      </a:lnTo>
                      <a:lnTo>
                        <a:pt x="7" y="256"/>
                      </a:lnTo>
                      <a:lnTo>
                        <a:pt x="8" y="256"/>
                      </a:lnTo>
                      <a:lnTo>
                        <a:pt x="8" y="257"/>
                      </a:lnTo>
                      <a:lnTo>
                        <a:pt x="8" y="257"/>
                      </a:lnTo>
                      <a:lnTo>
                        <a:pt x="8" y="256"/>
                      </a:lnTo>
                      <a:lnTo>
                        <a:pt x="9" y="255"/>
                      </a:lnTo>
                      <a:lnTo>
                        <a:pt x="9" y="255"/>
                      </a:lnTo>
                      <a:lnTo>
                        <a:pt x="10" y="255"/>
                      </a:lnTo>
                      <a:lnTo>
                        <a:pt x="10" y="255"/>
                      </a:lnTo>
                      <a:lnTo>
                        <a:pt x="11" y="255"/>
                      </a:lnTo>
                      <a:lnTo>
                        <a:pt x="11" y="256"/>
                      </a:lnTo>
                      <a:lnTo>
                        <a:pt x="12" y="256"/>
                      </a:lnTo>
                      <a:lnTo>
                        <a:pt x="12" y="256"/>
                      </a:lnTo>
                      <a:lnTo>
                        <a:pt x="13" y="256"/>
                      </a:lnTo>
                      <a:lnTo>
                        <a:pt x="13" y="255"/>
                      </a:lnTo>
                      <a:lnTo>
                        <a:pt x="14" y="255"/>
                      </a:lnTo>
                      <a:lnTo>
                        <a:pt x="15" y="255"/>
                      </a:lnTo>
                      <a:lnTo>
                        <a:pt x="15" y="255"/>
                      </a:lnTo>
                      <a:lnTo>
                        <a:pt x="16" y="255"/>
                      </a:lnTo>
                      <a:lnTo>
                        <a:pt x="16" y="255"/>
                      </a:lnTo>
                      <a:lnTo>
                        <a:pt x="16" y="254"/>
                      </a:lnTo>
                      <a:lnTo>
                        <a:pt x="16" y="253"/>
                      </a:lnTo>
                      <a:lnTo>
                        <a:pt x="17" y="253"/>
                      </a:lnTo>
                      <a:lnTo>
                        <a:pt x="17" y="253"/>
                      </a:lnTo>
                      <a:lnTo>
                        <a:pt x="17" y="252"/>
                      </a:lnTo>
                      <a:lnTo>
                        <a:pt x="17" y="251"/>
                      </a:lnTo>
                      <a:lnTo>
                        <a:pt x="17" y="250"/>
                      </a:lnTo>
                      <a:lnTo>
                        <a:pt x="17" y="250"/>
                      </a:lnTo>
                      <a:lnTo>
                        <a:pt x="17" y="249"/>
                      </a:lnTo>
                      <a:lnTo>
                        <a:pt x="17" y="248"/>
                      </a:lnTo>
                      <a:lnTo>
                        <a:pt x="17" y="248"/>
                      </a:lnTo>
                      <a:lnTo>
                        <a:pt x="18" y="248"/>
                      </a:lnTo>
                      <a:lnTo>
                        <a:pt x="19" y="248"/>
                      </a:lnTo>
                      <a:lnTo>
                        <a:pt x="19" y="247"/>
                      </a:lnTo>
                      <a:lnTo>
                        <a:pt x="20" y="247"/>
                      </a:lnTo>
                      <a:lnTo>
                        <a:pt x="20" y="246"/>
                      </a:lnTo>
                      <a:lnTo>
                        <a:pt x="21" y="246"/>
                      </a:lnTo>
                      <a:lnTo>
                        <a:pt x="20" y="246"/>
                      </a:lnTo>
                      <a:lnTo>
                        <a:pt x="20" y="245"/>
                      </a:lnTo>
                      <a:lnTo>
                        <a:pt x="21" y="245"/>
                      </a:lnTo>
                      <a:lnTo>
                        <a:pt x="21" y="244"/>
                      </a:lnTo>
                      <a:lnTo>
                        <a:pt x="21" y="244"/>
                      </a:lnTo>
                      <a:lnTo>
                        <a:pt x="21" y="243"/>
                      </a:lnTo>
                      <a:lnTo>
                        <a:pt x="21" y="242"/>
                      </a:lnTo>
                      <a:lnTo>
                        <a:pt x="21" y="242"/>
                      </a:lnTo>
                      <a:lnTo>
                        <a:pt x="21" y="242"/>
                      </a:lnTo>
                      <a:lnTo>
                        <a:pt x="22" y="242"/>
                      </a:lnTo>
                      <a:lnTo>
                        <a:pt x="22" y="241"/>
                      </a:lnTo>
                      <a:lnTo>
                        <a:pt x="22" y="240"/>
                      </a:lnTo>
                      <a:lnTo>
                        <a:pt x="22" y="240"/>
                      </a:lnTo>
                      <a:lnTo>
                        <a:pt x="21" y="240"/>
                      </a:lnTo>
                      <a:lnTo>
                        <a:pt x="21" y="239"/>
                      </a:lnTo>
                      <a:lnTo>
                        <a:pt x="22" y="239"/>
                      </a:lnTo>
                      <a:lnTo>
                        <a:pt x="22" y="238"/>
                      </a:lnTo>
                      <a:lnTo>
                        <a:pt x="22" y="238"/>
                      </a:lnTo>
                      <a:lnTo>
                        <a:pt x="23" y="238"/>
                      </a:lnTo>
                      <a:lnTo>
                        <a:pt x="23" y="237"/>
                      </a:lnTo>
                      <a:lnTo>
                        <a:pt x="23" y="237"/>
                      </a:lnTo>
                      <a:lnTo>
                        <a:pt x="23" y="236"/>
                      </a:lnTo>
                      <a:lnTo>
                        <a:pt x="24" y="236"/>
                      </a:lnTo>
                      <a:lnTo>
                        <a:pt x="24" y="236"/>
                      </a:lnTo>
                      <a:lnTo>
                        <a:pt x="24" y="235"/>
                      </a:lnTo>
                      <a:lnTo>
                        <a:pt x="23" y="235"/>
                      </a:lnTo>
                      <a:lnTo>
                        <a:pt x="23" y="234"/>
                      </a:lnTo>
                      <a:lnTo>
                        <a:pt x="23" y="234"/>
                      </a:lnTo>
                      <a:lnTo>
                        <a:pt x="23" y="234"/>
                      </a:lnTo>
                      <a:lnTo>
                        <a:pt x="23" y="233"/>
                      </a:lnTo>
                      <a:lnTo>
                        <a:pt x="24" y="233"/>
                      </a:lnTo>
                      <a:lnTo>
                        <a:pt x="24" y="232"/>
                      </a:lnTo>
                      <a:lnTo>
                        <a:pt x="24" y="231"/>
                      </a:lnTo>
                      <a:lnTo>
                        <a:pt x="25" y="231"/>
                      </a:lnTo>
                      <a:lnTo>
                        <a:pt x="25" y="231"/>
                      </a:lnTo>
                      <a:lnTo>
                        <a:pt x="25" y="230"/>
                      </a:lnTo>
                      <a:lnTo>
                        <a:pt x="25" y="229"/>
                      </a:lnTo>
                      <a:lnTo>
                        <a:pt x="25" y="229"/>
                      </a:lnTo>
                      <a:lnTo>
                        <a:pt x="25" y="229"/>
                      </a:lnTo>
                      <a:lnTo>
                        <a:pt x="25" y="228"/>
                      </a:lnTo>
                      <a:lnTo>
                        <a:pt x="25" y="227"/>
                      </a:lnTo>
                      <a:lnTo>
                        <a:pt x="25" y="227"/>
                      </a:lnTo>
                      <a:lnTo>
                        <a:pt x="26" y="227"/>
                      </a:lnTo>
                      <a:lnTo>
                        <a:pt x="27" y="227"/>
                      </a:lnTo>
                      <a:lnTo>
                        <a:pt x="27" y="227"/>
                      </a:lnTo>
                      <a:lnTo>
                        <a:pt x="28" y="227"/>
                      </a:lnTo>
                      <a:lnTo>
                        <a:pt x="29" y="227"/>
                      </a:lnTo>
                      <a:lnTo>
                        <a:pt x="29" y="227"/>
                      </a:lnTo>
                      <a:lnTo>
                        <a:pt x="29" y="227"/>
                      </a:lnTo>
                      <a:lnTo>
                        <a:pt x="30" y="227"/>
                      </a:lnTo>
                      <a:lnTo>
                        <a:pt x="31" y="227"/>
                      </a:lnTo>
                      <a:lnTo>
                        <a:pt x="31" y="226"/>
                      </a:lnTo>
                      <a:lnTo>
                        <a:pt x="31" y="225"/>
                      </a:lnTo>
                      <a:lnTo>
                        <a:pt x="30" y="225"/>
                      </a:lnTo>
                      <a:lnTo>
                        <a:pt x="30" y="224"/>
                      </a:lnTo>
                      <a:lnTo>
                        <a:pt x="29" y="224"/>
                      </a:lnTo>
                      <a:lnTo>
                        <a:pt x="29" y="224"/>
                      </a:lnTo>
                      <a:lnTo>
                        <a:pt x="29" y="223"/>
                      </a:lnTo>
                      <a:lnTo>
                        <a:pt x="28" y="223"/>
                      </a:lnTo>
                      <a:lnTo>
                        <a:pt x="29" y="223"/>
                      </a:lnTo>
                      <a:lnTo>
                        <a:pt x="29" y="222"/>
                      </a:lnTo>
                      <a:lnTo>
                        <a:pt x="28" y="221"/>
                      </a:lnTo>
                      <a:lnTo>
                        <a:pt x="28" y="221"/>
                      </a:lnTo>
                      <a:lnTo>
                        <a:pt x="27" y="221"/>
                      </a:lnTo>
                      <a:lnTo>
                        <a:pt x="27" y="221"/>
                      </a:lnTo>
                      <a:lnTo>
                        <a:pt x="27" y="220"/>
                      </a:lnTo>
                      <a:lnTo>
                        <a:pt x="27" y="219"/>
                      </a:lnTo>
                      <a:lnTo>
                        <a:pt x="27" y="219"/>
                      </a:lnTo>
                      <a:lnTo>
                        <a:pt x="27" y="219"/>
                      </a:lnTo>
                      <a:lnTo>
                        <a:pt x="28" y="219"/>
                      </a:lnTo>
                      <a:lnTo>
                        <a:pt x="28" y="218"/>
                      </a:lnTo>
                      <a:lnTo>
                        <a:pt x="28" y="217"/>
                      </a:lnTo>
                      <a:lnTo>
                        <a:pt x="28" y="217"/>
                      </a:lnTo>
                      <a:lnTo>
                        <a:pt x="27" y="216"/>
                      </a:lnTo>
                      <a:lnTo>
                        <a:pt x="27" y="215"/>
                      </a:lnTo>
                      <a:lnTo>
                        <a:pt x="28" y="215"/>
                      </a:lnTo>
                      <a:lnTo>
                        <a:pt x="28" y="215"/>
                      </a:lnTo>
                      <a:lnTo>
                        <a:pt x="29" y="215"/>
                      </a:lnTo>
                      <a:lnTo>
                        <a:pt x="29" y="214"/>
                      </a:lnTo>
                      <a:lnTo>
                        <a:pt x="29" y="213"/>
                      </a:lnTo>
                      <a:lnTo>
                        <a:pt x="29" y="212"/>
                      </a:lnTo>
                      <a:lnTo>
                        <a:pt x="29" y="212"/>
                      </a:lnTo>
                      <a:lnTo>
                        <a:pt x="30" y="212"/>
                      </a:lnTo>
                      <a:lnTo>
                        <a:pt x="30" y="211"/>
                      </a:lnTo>
                      <a:lnTo>
                        <a:pt x="31" y="211"/>
                      </a:lnTo>
                      <a:lnTo>
                        <a:pt x="31" y="210"/>
                      </a:lnTo>
                      <a:lnTo>
                        <a:pt x="31" y="210"/>
                      </a:lnTo>
                      <a:lnTo>
                        <a:pt x="32" y="210"/>
                      </a:lnTo>
                      <a:lnTo>
                        <a:pt x="32" y="210"/>
                      </a:lnTo>
                      <a:lnTo>
                        <a:pt x="32" y="209"/>
                      </a:lnTo>
                      <a:lnTo>
                        <a:pt x="33" y="209"/>
                      </a:lnTo>
                      <a:lnTo>
                        <a:pt x="34" y="209"/>
                      </a:lnTo>
                      <a:lnTo>
                        <a:pt x="34" y="209"/>
                      </a:lnTo>
                      <a:lnTo>
                        <a:pt x="34" y="208"/>
                      </a:lnTo>
                      <a:lnTo>
                        <a:pt x="34" y="208"/>
                      </a:lnTo>
                      <a:lnTo>
                        <a:pt x="34" y="207"/>
                      </a:lnTo>
                      <a:lnTo>
                        <a:pt x="34" y="206"/>
                      </a:lnTo>
                      <a:lnTo>
                        <a:pt x="35" y="206"/>
                      </a:lnTo>
                      <a:lnTo>
                        <a:pt x="36" y="206"/>
                      </a:lnTo>
                      <a:lnTo>
                        <a:pt x="36" y="206"/>
                      </a:lnTo>
                      <a:lnTo>
                        <a:pt x="35" y="206"/>
                      </a:lnTo>
                      <a:lnTo>
                        <a:pt x="35" y="205"/>
                      </a:lnTo>
                      <a:lnTo>
                        <a:pt x="34" y="205"/>
                      </a:lnTo>
                      <a:lnTo>
                        <a:pt x="34" y="205"/>
                      </a:lnTo>
                      <a:lnTo>
                        <a:pt x="34" y="204"/>
                      </a:lnTo>
                      <a:lnTo>
                        <a:pt x="34" y="204"/>
                      </a:lnTo>
                      <a:lnTo>
                        <a:pt x="34" y="204"/>
                      </a:lnTo>
                      <a:lnTo>
                        <a:pt x="35" y="204"/>
                      </a:lnTo>
                      <a:lnTo>
                        <a:pt x="36" y="204"/>
                      </a:lnTo>
                      <a:lnTo>
                        <a:pt x="36" y="204"/>
                      </a:lnTo>
                      <a:lnTo>
                        <a:pt x="36" y="203"/>
                      </a:lnTo>
                      <a:lnTo>
                        <a:pt x="36" y="202"/>
                      </a:lnTo>
                      <a:lnTo>
                        <a:pt x="37" y="202"/>
                      </a:lnTo>
                      <a:lnTo>
                        <a:pt x="37" y="202"/>
                      </a:lnTo>
                      <a:lnTo>
                        <a:pt x="38" y="202"/>
                      </a:lnTo>
                      <a:lnTo>
                        <a:pt x="38" y="201"/>
                      </a:lnTo>
                      <a:lnTo>
                        <a:pt x="38" y="200"/>
                      </a:lnTo>
                      <a:lnTo>
                        <a:pt x="38" y="200"/>
                      </a:lnTo>
                      <a:lnTo>
                        <a:pt x="38" y="199"/>
                      </a:lnTo>
                      <a:lnTo>
                        <a:pt x="37" y="199"/>
                      </a:lnTo>
                      <a:lnTo>
                        <a:pt x="37" y="198"/>
                      </a:lnTo>
                      <a:lnTo>
                        <a:pt x="37" y="198"/>
                      </a:lnTo>
                      <a:lnTo>
                        <a:pt x="37" y="197"/>
                      </a:lnTo>
                      <a:lnTo>
                        <a:pt x="37" y="196"/>
                      </a:lnTo>
                      <a:lnTo>
                        <a:pt x="38" y="196"/>
                      </a:lnTo>
                      <a:lnTo>
                        <a:pt x="38" y="195"/>
                      </a:lnTo>
                      <a:lnTo>
                        <a:pt x="37" y="195"/>
                      </a:lnTo>
                      <a:lnTo>
                        <a:pt x="37" y="194"/>
                      </a:lnTo>
                      <a:lnTo>
                        <a:pt x="38" y="194"/>
                      </a:lnTo>
                      <a:lnTo>
                        <a:pt x="38" y="194"/>
                      </a:lnTo>
                      <a:lnTo>
                        <a:pt x="38" y="193"/>
                      </a:lnTo>
                      <a:lnTo>
                        <a:pt x="38" y="192"/>
                      </a:lnTo>
                      <a:lnTo>
                        <a:pt x="39" y="192"/>
                      </a:lnTo>
                      <a:lnTo>
                        <a:pt x="40" y="192"/>
                      </a:lnTo>
                      <a:lnTo>
                        <a:pt x="40" y="191"/>
                      </a:lnTo>
                      <a:lnTo>
                        <a:pt x="40" y="191"/>
                      </a:lnTo>
                      <a:lnTo>
                        <a:pt x="40" y="190"/>
                      </a:lnTo>
                      <a:lnTo>
                        <a:pt x="40" y="189"/>
                      </a:lnTo>
                      <a:lnTo>
                        <a:pt x="40" y="189"/>
                      </a:lnTo>
                      <a:lnTo>
                        <a:pt x="40" y="189"/>
                      </a:lnTo>
                      <a:lnTo>
                        <a:pt x="40" y="188"/>
                      </a:lnTo>
                      <a:lnTo>
                        <a:pt x="40" y="187"/>
                      </a:lnTo>
                      <a:lnTo>
                        <a:pt x="40" y="187"/>
                      </a:lnTo>
                      <a:lnTo>
                        <a:pt x="40" y="187"/>
                      </a:lnTo>
                      <a:lnTo>
                        <a:pt x="40" y="186"/>
                      </a:lnTo>
                      <a:lnTo>
                        <a:pt x="40" y="186"/>
                      </a:lnTo>
                      <a:lnTo>
                        <a:pt x="40" y="185"/>
                      </a:lnTo>
                      <a:lnTo>
                        <a:pt x="40" y="185"/>
                      </a:lnTo>
                      <a:lnTo>
                        <a:pt x="41" y="185"/>
                      </a:lnTo>
                      <a:lnTo>
                        <a:pt x="41" y="184"/>
                      </a:lnTo>
                      <a:lnTo>
                        <a:pt x="42" y="184"/>
                      </a:lnTo>
                      <a:lnTo>
                        <a:pt x="42" y="183"/>
                      </a:lnTo>
                      <a:lnTo>
                        <a:pt x="42" y="183"/>
                      </a:lnTo>
                      <a:lnTo>
                        <a:pt x="42" y="182"/>
                      </a:lnTo>
                      <a:lnTo>
                        <a:pt x="42" y="181"/>
                      </a:lnTo>
                      <a:lnTo>
                        <a:pt x="41" y="181"/>
                      </a:lnTo>
                      <a:lnTo>
                        <a:pt x="42" y="181"/>
                      </a:lnTo>
                      <a:lnTo>
                        <a:pt x="42" y="180"/>
                      </a:lnTo>
                      <a:lnTo>
                        <a:pt x="42" y="179"/>
                      </a:lnTo>
                      <a:lnTo>
                        <a:pt x="41" y="179"/>
                      </a:lnTo>
                      <a:lnTo>
                        <a:pt x="41" y="178"/>
                      </a:lnTo>
                      <a:lnTo>
                        <a:pt x="40" y="178"/>
                      </a:lnTo>
                      <a:lnTo>
                        <a:pt x="40" y="177"/>
                      </a:lnTo>
                      <a:lnTo>
                        <a:pt x="40" y="177"/>
                      </a:lnTo>
                      <a:lnTo>
                        <a:pt x="41" y="177"/>
                      </a:lnTo>
                      <a:lnTo>
                        <a:pt x="42" y="177"/>
                      </a:lnTo>
                      <a:lnTo>
                        <a:pt x="42" y="176"/>
                      </a:lnTo>
                      <a:lnTo>
                        <a:pt x="42" y="175"/>
                      </a:lnTo>
                      <a:lnTo>
                        <a:pt x="41" y="175"/>
                      </a:lnTo>
                      <a:lnTo>
                        <a:pt x="41" y="175"/>
                      </a:lnTo>
                      <a:lnTo>
                        <a:pt x="41" y="174"/>
                      </a:lnTo>
                      <a:lnTo>
                        <a:pt x="42" y="174"/>
                      </a:lnTo>
                      <a:lnTo>
                        <a:pt x="42" y="173"/>
                      </a:lnTo>
                      <a:lnTo>
                        <a:pt x="41" y="173"/>
                      </a:lnTo>
                      <a:lnTo>
                        <a:pt x="41" y="172"/>
                      </a:lnTo>
                      <a:lnTo>
                        <a:pt x="42" y="172"/>
                      </a:lnTo>
                      <a:lnTo>
                        <a:pt x="42" y="172"/>
                      </a:lnTo>
                      <a:lnTo>
                        <a:pt x="42" y="171"/>
                      </a:lnTo>
                      <a:lnTo>
                        <a:pt x="41" y="171"/>
                      </a:lnTo>
                      <a:lnTo>
                        <a:pt x="40" y="170"/>
                      </a:lnTo>
                      <a:lnTo>
                        <a:pt x="40" y="170"/>
                      </a:lnTo>
                      <a:lnTo>
                        <a:pt x="40" y="170"/>
                      </a:lnTo>
                      <a:lnTo>
                        <a:pt x="40" y="169"/>
                      </a:lnTo>
                      <a:lnTo>
                        <a:pt x="40" y="168"/>
                      </a:lnTo>
                      <a:lnTo>
                        <a:pt x="40" y="168"/>
                      </a:lnTo>
                      <a:lnTo>
                        <a:pt x="41" y="168"/>
                      </a:lnTo>
                      <a:lnTo>
                        <a:pt x="41" y="167"/>
                      </a:lnTo>
                      <a:lnTo>
                        <a:pt x="42" y="167"/>
                      </a:lnTo>
                      <a:lnTo>
                        <a:pt x="42" y="166"/>
                      </a:lnTo>
                      <a:lnTo>
                        <a:pt x="42" y="166"/>
                      </a:lnTo>
                      <a:lnTo>
                        <a:pt x="42" y="165"/>
                      </a:lnTo>
                      <a:lnTo>
                        <a:pt x="42" y="164"/>
                      </a:lnTo>
                      <a:lnTo>
                        <a:pt x="41" y="164"/>
                      </a:lnTo>
                      <a:lnTo>
                        <a:pt x="41" y="164"/>
                      </a:lnTo>
                      <a:lnTo>
                        <a:pt x="41" y="163"/>
                      </a:lnTo>
                      <a:lnTo>
                        <a:pt x="41" y="162"/>
                      </a:lnTo>
                      <a:lnTo>
                        <a:pt x="41" y="162"/>
                      </a:lnTo>
                      <a:lnTo>
                        <a:pt x="40" y="162"/>
                      </a:lnTo>
                      <a:lnTo>
                        <a:pt x="40" y="161"/>
                      </a:lnTo>
                      <a:lnTo>
                        <a:pt x="40" y="160"/>
                      </a:lnTo>
                      <a:lnTo>
                        <a:pt x="41" y="160"/>
                      </a:lnTo>
                      <a:lnTo>
                        <a:pt x="41" y="160"/>
                      </a:lnTo>
                      <a:lnTo>
                        <a:pt x="41" y="159"/>
                      </a:lnTo>
                      <a:lnTo>
                        <a:pt x="41" y="158"/>
                      </a:lnTo>
                      <a:lnTo>
                        <a:pt x="40" y="158"/>
                      </a:lnTo>
                      <a:lnTo>
                        <a:pt x="40" y="158"/>
                      </a:lnTo>
                      <a:lnTo>
                        <a:pt x="40" y="157"/>
                      </a:lnTo>
                      <a:lnTo>
                        <a:pt x="40" y="156"/>
                      </a:lnTo>
                      <a:lnTo>
                        <a:pt x="41" y="156"/>
                      </a:lnTo>
                      <a:lnTo>
                        <a:pt x="42" y="156"/>
                      </a:lnTo>
                      <a:lnTo>
                        <a:pt x="42" y="156"/>
                      </a:lnTo>
                      <a:lnTo>
                        <a:pt x="42" y="155"/>
                      </a:lnTo>
                      <a:lnTo>
                        <a:pt x="42" y="154"/>
                      </a:lnTo>
                      <a:lnTo>
                        <a:pt x="42" y="154"/>
                      </a:lnTo>
                      <a:lnTo>
                        <a:pt x="42" y="153"/>
                      </a:lnTo>
                      <a:lnTo>
                        <a:pt x="42" y="153"/>
                      </a:lnTo>
                      <a:lnTo>
                        <a:pt x="42" y="152"/>
                      </a:lnTo>
                      <a:lnTo>
                        <a:pt x="42" y="151"/>
                      </a:lnTo>
                      <a:lnTo>
                        <a:pt x="42" y="151"/>
                      </a:lnTo>
                      <a:lnTo>
                        <a:pt x="42" y="150"/>
                      </a:lnTo>
                      <a:lnTo>
                        <a:pt x="42" y="150"/>
                      </a:lnTo>
                      <a:lnTo>
                        <a:pt x="42" y="149"/>
                      </a:lnTo>
                      <a:lnTo>
                        <a:pt x="42" y="149"/>
                      </a:lnTo>
                      <a:lnTo>
                        <a:pt x="42" y="148"/>
                      </a:lnTo>
                      <a:lnTo>
                        <a:pt x="42" y="147"/>
                      </a:lnTo>
                      <a:lnTo>
                        <a:pt x="42" y="147"/>
                      </a:lnTo>
                      <a:lnTo>
                        <a:pt x="42" y="147"/>
                      </a:lnTo>
                      <a:lnTo>
                        <a:pt x="43" y="146"/>
                      </a:lnTo>
                      <a:lnTo>
                        <a:pt x="44" y="146"/>
                      </a:lnTo>
                      <a:lnTo>
                        <a:pt x="44" y="145"/>
                      </a:lnTo>
                      <a:lnTo>
                        <a:pt x="44" y="145"/>
                      </a:lnTo>
                      <a:lnTo>
                        <a:pt x="44" y="144"/>
                      </a:lnTo>
                      <a:lnTo>
                        <a:pt x="43" y="144"/>
                      </a:lnTo>
                      <a:lnTo>
                        <a:pt x="44" y="143"/>
                      </a:lnTo>
                      <a:lnTo>
                        <a:pt x="43" y="143"/>
                      </a:lnTo>
                      <a:lnTo>
                        <a:pt x="43" y="143"/>
                      </a:lnTo>
                      <a:lnTo>
                        <a:pt x="43" y="142"/>
                      </a:lnTo>
                      <a:lnTo>
                        <a:pt x="44" y="142"/>
                      </a:lnTo>
                      <a:lnTo>
                        <a:pt x="44" y="141"/>
                      </a:lnTo>
                      <a:lnTo>
                        <a:pt x="44" y="141"/>
                      </a:lnTo>
                      <a:lnTo>
                        <a:pt x="43" y="141"/>
                      </a:lnTo>
                      <a:lnTo>
                        <a:pt x="43" y="140"/>
                      </a:lnTo>
                      <a:lnTo>
                        <a:pt x="44" y="140"/>
                      </a:lnTo>
                      <a:lnTo>
                        <a:pt x="44" y="139"/>
                      </a:lnTo>
                      <a:lnTo>
                        <a:pt x="45" y="139"/>
                      </a:lnTo>
                      <a:lnTo>
                        <a:pt x="44" y="139"/>
                      </a:lnTo>
                      <a:lnTo>
                        <a:pt x="45" y="138"/>
                      </a:lnTo>
                      <a:lnTo>
                        <a:pt x="44" y="138"/>
                      </a:lnTo>
                      <a:lnTo>
                        <a:pt x="44" y="137"/>
                      </a:lnTo>
                      <a:lnTo>
                        <a:pt x="44" y="137"/>
                      </a:lnTo>
                      <a:lnTo>
                        <a:pt x="44" y="137"/>
                      </a:lnTo>
                      <a:lnTo>
                        <a:pt x="44" y="136"/>
                      </a:lnTo>
                      <a:lnTo>
                        <a:pt x="44" y="136"/>
                      </a:lnTo>
                      <a:lnTo>
                        <a:pt x="44" y="135"/>
                      </a:lnTo>
                      <a:lnTo>
                        <a:pt x="45" y="135"/>
                      </a:lnTo>
                      <a:lnTo>
                        <a:pt x="45" y="135"/>
                      </a:lnTo>
                      <a:lnTo>
                        <a:pt x="44" y="135"/>
                      </a:lnTo>
                      <a:lnTo>
                        <a:pt x="44" y="134"/>
                      </a:lnTo>
                      <a:lnTo>
                        <a:pt x="44" y="133"/>
                      </a:lnTo>
                      <a:lnTo>
                        <a:pt x="44" y="132"/>
                      </a:lnTo>
                      <a:lnTo>
                        <a:pt x="44" y="132"/>
                      </a:lnTo>
                      <a:lnTo>
                        <a:pt x="44" y="131"/>
                      </a:lnTo>
                      <a:lnTo>
                        <a:pt x="44" y="130"/>
                      </a:lnTo>
                      <a:lnTo>
                        <a:pt x="44" y="130"/>
                      </a:lnTo>
                      <a:lnTo>
                        <a:pt x="45" y="130"/>
                      </a:lnTo>
                      <a:lnTo>
                        <a:pt x="45" y="129"/>
                      </a:lnTo>
                      <a:lnTo>
                        <a:pt x="45" y="128"/>
                      </a:lnTo>
                      <a:lnTo>
                        <a:pt x="46" y="128"/>
                      </a:lnTo>
                      <a:lnTo>
                        <a:pt x="45" y="128"/>
                      </a:lnTo>
                      <a:lnTo>
                        <a:pt x="46" y="127"/>
                      </a:lnTo>
                      <a:lnTo>
                        <a:pt x="46" y="127"/>
                      </a:lnTo>
                      <a:lnTo>
                        <a:pt x="46" y="126"/>
                      </a:lnTo>
                      <a:lnTo>
                        <a:pt x="46" y="126"/>
                      </a:lnTo>
                      <a:lnTo>
                        <a:pt x="46" y="126"/>
                      </a:lnTo>
                      <a:lnTo>
                        <a:pt x="46" y="125"/>
                      </a:lnTo>
                      <a:lnTo>
                        <a:pt x="45" y="124"/>
                      </a:lnTo>
                      <a:lnTo>
                        <a:pt x="45" y="124"/>
                      </a:lnTo>
                      <a:lnTo>
                        <a:pt x="45" y="123"/>
                      </a:lnTo>
                      <a:lnTo>
                        <a:pt x="46" y="123"/>
                      </a:lnTo>
                      <a:lnTo>
                        <a:pt x="46" y="122"/>
                      </a:lnTo>
                      <a:lnTo>
                        <a:pt x="45" y="122"/>
                      </a:lnTo>
                      <a:lnTo>
                        <a:pt x="45" y="122"/>
                      </a:lnTo>
                      <a:lnTo>
                        <a:pt x="46" y="122"/>
                      </a:lnTo>
                      <a:lnTo>
                        <a:pt x="46" y="122"/>
                      </a:lnTo>
                      <a:lnTo>
                        <a:pt x="47" y="122"/>
                      </a:lnTo>
                      <a:lnTo>
                        <a:pt x="47" y="121"/>
                      </a:lnTo>
                      <a:lnTo>
                        <a:pt x="47" y="120"/>
                      </a:lnTo>
                      <a:lnTo>
                        <a:pt x="47" y="120"/>
                      </a:lnTo>
                      <a:lnTo>
                        <a:pt x="46" y="120"/>
                      </a:lnTo>
                      <a:lnTo>
                        <a:pt x="46" y="120"/>
                      </a:lnTo>
                      <a:lnTo>
                        <a:pt x="46" y="119"/>
                      </a:lnTo>
                      <a:lnTo>
                        <a:pt x="46" y="118"/>
                      </a:lnTo>
                      <a:lnTo>
                        <a:pt x="47" y="118"/>
                      </a:lnTo>
                      <a:lnTo>
                        <a:pt x="47" y="118"/>
                      </a:lnTo>
                      <a:lnTo>
                        <a:pt x="48" y="118"/>
                      </a:lnTo>
                      <a:lnTo>
                        <a:pt x="48" y="117"/>
                      </a:lnTo>
                      <a:lnTo>
                        <a:pt x="47" y="117"/>
                      </a:lnTo>
                      <a:lnTo>
                        <a:pt x="47" y="116"/>
                      </a:lnTo>
                      <a:lnTo>
                        <a:pt x="47" y="116"/>
                      </a:lnTo>
                      <a:lnTo>
                        <a:pt x="48" y="116"/>
                      </a:lnTo>
                      <a:lnTo>
                        <a:pt x="48" y="115"/>
                      </a:lnTo>
                      <a:lnTo>
                        <a:pt x="48" y="114"/>
                      </a:lnTo>
                      <a:lnTo>
                        <a:pt x="47" y="114"/>
                      </a:lnTo>
                      <a:lnTo>
                        <a:pt x="48" y="114"/>
                      </a:lnTo>
                      <a:lnTo>
                        <a:pt x="48" y="113"/>
                      </a:lnTo>
                      <a:lnTo>
                        <a:pt x="48" y="113"/>
                      </a:lnTo>
                      <a:lnTo>
                        <a:pt x="47" y="113"/>
                      </a:lnTo>
                      <a:lnTo>
                        <a:pt x="47" y="112"/>
                      </a:lnTo>
                      <a:lnTo>
                        <a:pt x="48" y="112"/>
                      </a:lnTo>
                      <a:lnTo>
                        <a:pt x="48" y="111"/>
                      </a:lnTo>
                      <a:lnTo>
                        <a:pt x="48" y="111"/>
                      </a:lnTo>
                      <a:lnTo>
                        <a:pt x="48" y="111"/>
                      </a:lnTo>
                      <a:lnTo>
                        <a:pt x="48" y="110"/>
                      </a:lnTo>
                      <a:lnTo>
                        <a:pt x="49" y="110"/>
                      </a:lnTo>
                      <a:lnTo>
                        <a:pt x="49" y="109"/>
                      </a:lnTo>
                      <a:lnTo>
                        <a:pt x="48" y="109"/>
                      </a:lnTo>
                      <a:lnTo>
                        <a:pt x="48" y="109"/>
                      </a:lnTo>
                      <a:lnTo>
                        <a:pt x="48" y="109"/>
                      </a:lnTo>
                      <a:lnTo>
                        <a:pt x="48" y="108"/>
                      </a:lnTo>
                      <a:lnTo>
                        <a:pt x="48" y="107"/>
                      </a:lnTo>
                      <a:lnTo>
                        <a:pt x="48" y="107"/>
                      </a:lnTo>
                      <a:lnTo>
                        <a:pt x="48" y="107"/>
                      </a:lnTo>
                      <a:lnTo>
                        <a:pt x="48" y="106"/>
                      </a:lnTo>
                      <a:lnTo>
                        <a:pt x="48" y="105"/>
                      </a:lnTo>
                      <a:lnTo>
                        <a:pt x="48" y="105"/>
                      </a:lnTo>
                      <a:lnTo>
                        <a:pt x="48" y="105"/>
                      </a:lnTo>
                      <a:lnTo>
                        <a:pt x="47" y="105"/>
                      </a:lnTo>
                      <a:lnTo>
                        <a:pt x="47" y="104"/>
                      </a:lnTo>
                      <a:lnTo>
                        <a:pt x="47" y="103"/>
                      </a:lnTo>
                      <a:lnTo>
                        <a:pt x="47" y="103"/>
                      </a:lnTo>
                      <a:lnTo>
                        <a:pt x="47" y="102"/>
                      </a:lnTo>
                      <a:lnTo>
                        <a:pt x="47" y="103"/>
                      </a:lnTo>
                      <a:lnTo>
                        <a:pt x="48" y="103"/>
                      </a:lnTo>
                      <a:lnTo>
                        <a:pt x="48" y="102"/>
                      </a:lnTo>
                      <a:lnTo>
                        <a:pt x="48" y="101"/>
                      </a:lnTo>
                      <a:lnTo>
                        <a:pt x="47" y="101"/>
                      </a:lnTo>
                      <a:lnTo>
                        <a:pt x="46" y="101"/>
                      </a:lnTo>
                      <a:lnTo>
                        <a:pt x="46" y="101"/>
                      </a:lnTo>
                      <a:lnTo>
                        <a:pt x="46" y="101"/>
                      </a:lnTo>
                      <a:lnTo>
                        <a:pt x="46" y="100"/>
                      </a:lnTo>
                      <a:lnTo>
                        <a:pt x="46" y="100"/>
                      </a:lnTo>
                      <a:lnTo>
                        <a:pt x="46" y="99"/>
                      </a:lnTo>
                      <a:lnTo>
                        <a:pt x="47" y="99"/>
                      </a:lnTo>
                      <a:lnTo>
                        <a:pt x="48" y="100"/>
                      </a:lnTo>
                      <a:lnTo>
                        <a:pt x="48" y="101"/>
                      </a:lnTo>
                      <a:lnTo>
                        <a:pt x="48" y="101"/>
                      </a:lnTo>
                      <a:lnTo>
                        <a:pt x="48" y="101"/>
                      </a:lnTo>
                      <a:lnTo>
                        <a:pt x="48" y="101"/>
                      </a:lnTo>
                      <a:lnTo>
                        <a:pt x="49" y="101"/>
                      </a:lnTo>
                      <a:lnTo>
                        <a:pt x="49" y="100"/>
                      </a:lnTo>
                      <a:lnTo>
                        <a:pt x="48" y="99"/>
                      </a:lnTo>
                      <a:lnTo>
                        <a:pt x="48" y="99"/>
                      </a:lnTo>
                      <a:lnTo>
                        <a:pt x="48" y="98"/>
                      </a:lnTo>
                      <a:lnTo>
                        <a:pt x="48" y="97"/>
                      </a:lnTo>
                      <a:lnTo>
                        <a:pt x="49" y="97"/>
                      </a:lnTo>
                      <a:lnTo>
                        <a:pt x="50" y="97"/>
                      </a:lnTo>
                      <a:lnTo>
                        <a:pt x="50" y="96"/>
                      </a:lnTo>
                      <a:lnTo>
                        <a:pt x="49" y="96"/>
                      </a:lnTo>
                      <a:lnTo>
                        <a:pt x="48" y="95"/>
                      </a:lnTo>
                      <a:lnTo>
                        <a:pt x="48" y="95"/>
                      </a:lnTo>
                      <a:lnTo>
                        <a:pt x="49" y="95"/>
                      </a:lnTo>
                      <a:lnTo>
                        <a:pt x="49" y="94"/>
                      </a:lnTo>
                      <a:lnTo>
                        <a:pt x="49" y="93"/>
                      </a:lnTo>
                      <a:lnTo>
                        <a:pt x="50" y="93"/>
                      </a:lnTo>
                      <a:lnTo>
                        <a:pt x="50" y="92"/>
                      </a:lnTo>
                      <a:lnTo>
                        <a:pt x="50" y="92"/>
                      </a:lnTo>
                      <a:lnTo>
                        <a:pt x="50" y="92"/>
                      </a:lnTo>
                      <a:lnTo>
                        <a:pt x="50" y="91"/>
                      </a:lnTo>
                      <a:lnTo>
                        <a:pt x="51" y="91"/>
                      </a:lnTo>
                      <a:lnTo>
                        <a:pt x="52" y="91"/>
                      </a:lnTo>
                      <a:lnTo>
                        <a:pt x="52" y="90"/>
                      </a:lnTo>
                      <a:lnTo>
                        <a:pt x="52" y="90"/>
                      </a:lnTo>
                      <a:lnTo>
                        <a:pt x="51" y="90"/>
                      </a:lnTo>
                      <a:lnTo>
                        <a:pt x="51" y="89"/>
                      </a:lnTo>
                      <a:lnTo>
                        <a:pt x="50" y="89"/>
                      </a:lnTo>
                      <a:lnTo>
                        <a:pt x="50" y="88"/>
                      </a:lnTo>
                      <a:lnTo>
                        <a:pt x="50" y="88"/>
                      </a:lnTo>
                      <a:lnTo>
                        <a:pt x="50" y="88"/>
                      </a:lnTo>
                      <a:lnTo>
                        <a:pt x="50" y="88"/>
                      </a:lnTo>
                      <a:lnTo>
                        <a:pt x="50" y="87"/>
                      </a:lnTo>
                      <a:lnTo>
                        <a:pt x="51" y="87"/>
                      </a:lnTo>
                      <a:lnTo>
                        <a:pt x="52" y="87"/>
                      </a:lnTo>
                      <a:lnTo>
                        <a:pt x="52" y="86"/>
                      </a:lnTo>
                      <a:lnTo>
                        <a:pt x="51" y="86"/>
                      </a:lnTo>
                      <a:lnTo>
                        <a:pt x="51" y="86"/>
                      </a:lnTo>
                      <a:lnTo>
                        <a:pt x="50" y="85"/>
                      </a:lnTo>
                      <a:lnTo>
                        <a:pt x="50" y="84"/>
                      </a:lnTo>
                      <a:lnTo>
                        <a:pt x="49" y="84"/>
                      </a:lnTo>
                      <a:lnTo>
                        <a:pt x="48" y="84"/>
                      </a:lnTo>
                      <a:lnTo>
                        <a:pt x="48" y="84"/>
                      </a:lnTo>
                      <a:lnTo>
                        <a:pt x="48" y="83"/>
                      </a:lnTo>
                      <a:lnTo>
                        <a:pt x="49" y="83"/>
                      </a:lnTo>
                      <a:lnTo>
                        <a:pt x="49" y="82"/>
                      </a:lnTo>
                      <a:lnTo>
                        <a:pt x="50" y="82"/>
                      </a:lnTo>
                      <a:lnTo>
                        <a:pt x="50" y="82"/>
                      </a:lnTo>
                      <a:lnTo>
                        <a:pt x="50" y="82"/>
                      </a:lnTo>
                      <a:lnTo>
                        <a:pt x="50" y="81"/>
                      </a:lnTo>
                      <a:lnTo>
                        <a:pt x="50" y="80"/>
                      </a:lnTo>
                      <a:lnTo>
                        <a:pt x="50" y="80"/>
                      </a:lnTo>
                      <a:lnTo>
                        <a:pt x="50" y="80"/>
                      </a:lnTo>
                      <a:lnTo>
                        <a:pt x="50" y="80"/>
                      </a:lnTo>
                      <a:lnTo>
                        <a:pt x="50" y="79"/>
                      </a:lnTo>
                      <a:lnTo>
                        <a:pt x="51" y="79"/>
                      </a:lnTo>
                      <a:lnTo>
                        <a:pt x="51" y="78"/>
                      </a:lnTo>
                      <a:lnTo>
                        <a:pt x="52" y="78"/>
                      </a:lnTo>
                      <a:lnTo>
                        <a:pt x="53" y="78"/>
                      </a:lnTo>
                      <a:lnTo>
                        <a:pt x="53" y="78"/>
                      </a:lnTo>
                      <a:lnTo>
                        <a:pt x="53" y="77"/>
                      </a:lnTo>
                      <a:lnTo>
                        <a:pt x="54" y="76"/>
                      </a:lnTo>
                      <a:lnTo>
                        <a:pt x="54" y="76"/>
                      </a:lnTo>
                      <a:lnTo>
                        <a:pt x="55" y="76"/>
                      </a:lnTo>
                      <a:lnTo>
                        <a:pt x="55" y="75"/>
                      </a:lnTo>
                      <a:lnTo>
                        <a:pt x="54" y="75"/>
                      </a:lnTo>
                      <a:lnTo>
                        <a:pt x="54" y="74"/>
                      </a:lnTo>
                      <a:lnTo>
                        <a:pt x="54" y="73"/>
                      </a:lnTo>
                      <a:lnTo>
                        <a:pt x="54" y="73"/>
                      </a:lnTo>
                      <a:lnTo>
                        <a:pt x="53" y="73"/>
                      </a:lnTo>
                      <a:lnTo>
                        <a:pt x="53" y="72"/>
                      </a:lnTo>
                      <a:lnTo>
                        <a:pt x="53" y="72"/>
                      </a:lnTo>
                      <a:lnTo>
                        <a:pt x="53" y="71"/>
                      </a:lnTo>
                      <a:lnTo>
                        <a:pt x="53" y="71"/>
                      </a:lnTo>
                      <a:lnTo>
                        <a:pt x="53" y="71"/>
                      </a:lnTo>
                      <a:lnTo>
                        <a:pt x="54" y="71"/>
                      </a:lnTo>
                      <a:lnTo>
                        <a:pt x="54" y="70"/>
                      </a:lnTo>
                      <a:lnTo>
                        <a:pt x="54" y="69"/>
                      </a:lnTo>
                      <a:lnTo>
                        <a:pt x="53" y="69"/>
                      </a:lnTo>
                      <a:lnTo>
                        <a:pt x="53" y="69"/>
                      </a:lnTo>
                      <a:lnTo>
                        <a:pt x="53" y="70"/>
                      </a:lnTo>
                      <a:lnTo>
                        <a:pt x="52" y="70"/>
                      </a:lnTo>
                      <a:lnTo>
                        <a:pt x="51" y="69"/>
                      </a:lnTo>
                      <a:lnTo>
                        <a:pt x="51" y="69"/>
                      </a:lnTo>
                      <a:lnTo>
                        <a:pt x="51" y="68"/>
                      </a:lnTo>
                      <a:lnTo>
                        <a:pt x="52" y="68"/>
                      </a:lnTo>
                      <a:lnTo>
                        <a:pt x="52" y="67"/>
                      </a:lnTo>
                      <a:lnTo>
                        <a:pt x="51" y="67"/>
                      </a:lnTo>
                      <a:lnTo>
                        <a:pt x="51" y="67"/>
                      </a:lnTo>
                      <a:lnTo>
                        <a:pt x="52" y="67"/>
                      </a:lnTo>
                      <a:lnTo>
                        <a:pt x="51" y="66"/>
                      </a:lnTo>
                      <a:lnTo>
                        <a:pt x="51" y="65"/>
                      </a:lnTo>
                      <a:lnTo>
                        <a:pt x="51" y="65"/>
                      </a:lnTo>
                      <a:lnTo>
                        <a:pt x="51" y="64"/>
                      </a:lnTo>
                      <a:lnTo>
                        <a:pt x="52" y="64"/>
                      </a:lnTo>
                      <a:lnTo>
                        <a:pt x="52" y="63"/>
                      </a:lnTo>
                      <a:lnTo>
                        <a:pt x="52" y="63"/>
                      </a:lnTo>
                      <a:lnTo>
                        <a:pt x="52" y="62"/>
                      </a:lnTo>
                      <a:lnTo>
                        <a:pt x="51" y="62"/>
                      </a:lnTo>
                      <a:lnTo>
                        <a:pt x="51" y="61"/>
                      </a:lnTo>
                      <a:lnTo>
                        <a:pt x="52" y="61"/>
                      </a:lnTo>
                      <a:lnTo>
                        <a:pt x="52" y="61"/>
                      </a:lnTo>
                      <a:lnTo>
                        <a:pt x="52" y="60"/>
                      </a:lnTo>
                      <a:lnTo>
                        <a:pt x="52" y="59"/>
                      </a:lnTo>
                      <a:lnTo>
                        <a:pt x="51" y="59"/>
                      </a:lnTo>
                      <a:lnTo>
                        <a:pt x="50" y="59"/>
                      </a:lnTo>
                      <a:lnTo>
                        <a:pt x="51" y="58"/>
                      </a:lnTo>
                      <a:lnTo>
                        <a:pt x="51" y="57"/>
                      </a:lnTo>
                      <a:lnTo>
                        <a:pt x="52" y="57"/>
                      </a:lnTo>
                      <a:lnTo>
                        <a:pt x="51" y="57"/>
                      </a:lnTo>
                      <a:lnTo>
                        <a:pt x="51" y="56"/>
                      </a:lnTo>
                      <a:lnTo>
                        <a:pt x="50" y="56"/>
                      </a:lnTo>
                      <a:lnTo>
                        <a:pt x="50" y="55"/>
                      </a:lnTo>
                      <a:lnTo>
                        <a:pt x="50" y="54"/>
                      </a:lnTo>
                      <a:lnTo>
                        <a:pt x="50" y="54"/>
                      </a:lnTo>
                      <a:lnTo>
                        <a:pt x="50" y="53"/>
                      </a:lnTo>
                      <a:lnTo>
                        <a:pt x="50" y="52"/>
                      </a:lnTo>
                      <a:lnTo>
                        <a:pt x="50" y="52"/>
                      </a:lnTo>
                      <a:lnTo>
                        <a:pt x="50" y="51"/>
                      </a:lnTo>
                      <a:lnTo>
                        <a:pt x="51" y="51"/>
                      </a:lnTo>
                      <a:lnTo>
                        <a:pt x="51" y="50"/>
                      </a:lnTo>
                      <a:lnTo>
                        <a:pt x="51" y="50"/>
                      </a:lnTo>
                      <a:lnTo>
                        <a:pt x="51" y="49"/>
                      </a:lnTo>
                      <a:lnTo>
                        <a:pt x="51" y="48"/>
                      </a:lnTo>
                      <a:lnTo>
                        <a:pt x="51" y="48"/>
                      </a:lnTo>
                      <a:lnTo>
                        <a:pt x="52" y="48"/>
                      </a:lnTo>
                      <a:lnTo>
                        <a:pt x="52" y="47"/>
                      </a:lnTo>
                      <a:lnTo>
                        <a:pt x="52" y="46"/>
                      </a:lnTo>
                      <a:lnTo>
                        <a:pt x="52" y="46"/>
                      </a:lnTo>
                      <a:lnTo>
                        <a:pt x="52" y="45"/>
                      </a:lnTo>
                      <a:lnTo>
                        <a:pt x="52" y="44"/>
                      </a:lnTo>
                      <a:lnTo>
                        <a:pt x="52" y="44"/>
                      </a:lnTo>
                      <a:lnTo>
                        <a:pt x="51" y="44"/>
                      </a:lnTo>
                      <a:lnTo>
                        <a:pt x="51" y="43"/>
                      </a:lnTo>
                      <a:lnTo>
                        <a:pt x="52" y="43"/>
                      </a:lnTo>
                      <a:lnTo>
                        <a:pt x="52" y="42"/>
                      </a:lnTo>
                      <a:lnTo>
                        <a:pt x="51" y="42"/>
                      </a:lnTo>
                      <a:lnTo>
                        <a:pt x="52" y="42"/>
                      </a:lnTo>
                      <a:lnTo>
                        <a:pt x="52" y="42"/>
                      </a:lnTo>
                      <a:lnTo>
                        <a:pt x="52" y="41"/>
                      </a:lnTo>
                      <a:lnTo>
                        <a:pt x="52" y="40"/>
                      </a:lnTo>
                      <a:lnTo>
                        <a:pt x="52" y="40"/>
                      </a:lnTo>
                      <a:lnTo>
                        <a:pt x="53" y="40"/>
                      </a:lnTo>
                      <a:lnTo>
                        <a:pt x="53" y="39"/>
                      </a:lnTo>
                      <a:lnTo>
                        <a:pt x="53" y="38"/>
                      </a:lnTo>
                      <a:lnTo>
                        <a:pt x="53" y="38"/>
                      </a:lnTo>
                      <a:lnTo>
                        <a:pt x="53" y="38"/>
                      </a:lnTo>
                      <a:lnTo>
                        <a:pt x="53" y="37"/>
                      </a:lnTo>
                      <a:lnTo>
                        <a:pt x="54" y="36"/>
                      </a:lnTo>
                      <a:lnTo>
                        <a:pt x="54" y="36"/>
                      </a:lnTo>
                      <a:lnTo>
                        <a:pt x="53" y="36"/>
                      </a:lnTo>
                      <a:lnTo>
                        <a:pt x="53" y="35"/>
                      </a:lnTo>
                      <a:lnTo>
                        <a:pt x="53" y="34"/>
                      </a:lnTo>
                      <a:lnTo>
                        <a:pt x="53" y="33"/>
                      </a:lnTo>
                      <a:lnTo>
                        <a:pt x="53" y="33"/>
                      </a:lnTo>
                      <a:lnTo>
                        <a:pt x="53" y="32"/>
                      </a:lnTo>
                      <a:lnTo>
                        <a:pt x="53" y="32"/>
                      </a:lnTo>
                      <a:lnTo>
                        <a:pt x="53" y="32"/>
                      </a:lnTo>
                      <a:lnTo>
                        <a:pt x="53" y="31"/>
                      </a:lnTo>
                      <a:lnTo>
                        <a:pt x="53" y="31"/>
                      </a:lnTo>
                      <a:lnTo>
                        <a:pt x="53" y="31"/>
                      </a:lnTo>
                      <a:lnTo>
                        <a:pt x="53" y="31"/>
                      </a:lnTo>
                      <a:lnTo>
                        <a:pt x="53" y="30"/>
                      </a:lnTo>
                      <a:lnTo>
                        <a:pt x="53" y="29"/>
                      </a:lnTo>
                      <a:lnTo>
                        <a:pt x="53" y="29"/>
                      </a:lnTo>
                      <a:lnTo>
                        <a:pt x="53" y="29"/>
                      </a:lnTo>
                      <a:lnTo>
                        <a:pt x="53" y="28"/>
                      </a:lnTo>
                      <a:lnTo>
                        <a:pt x="53" y="28"/>
                      </a:lnTo>
                      <a:lnTo>
                        <a:pt x="53" y="27"/>
                      </a:lnTo>
                      <a:lnTo>
                        <a:pt x="54" y="27"/>
                      </a:lnTo>
                      <a:lnTo>
                        <a:pt x="54" y="27"/>
                      </a:lnTo>
                      <a:lnTo>
                        <a:pt x="53" y="26"/>
                      </a:lnTo>
                      <a:lnTo>
                        <a:pt x="54" y="26"/>
                      </a:lnTo>
                      <a:lnTo>
                        <a:pt x="54" y="25"/>
                      </a:lnTo>
                      <a:lnTo>
                        <a:pt x="54" y="25"/>
                      </a:lnTo>
                      <a:lnTo>
                        <a:pt x="54" y="24"/>
                      </a:lnTo>
                      <a:lnTo>
                        <a:pt x="55" y="24"/>
                      </a:lnTo>
                      <a:lnTo>
                        <a:pt x="55" y="23"/>
                      </a:lnTo>
                      <a:lnTo>
                        <a:pt x="55" y="23"/>
                      </a:lnTo>
                      <a:lnTo>
                        <a:pt x="54" y="23"/>
                      </a:lnTo>
                      <a:lnTo>
                        <a:pt x="55" y="23"/>
                      </a:lnTo>
                      <a:lnTo>
                        <a:pt x="55" y="22"/>
                      </a:lnTo>
                      <a:lnTo>
                        <a:pt x="55" y="22"/>
                      </a:lnTo>
                      <a:lnTo>
                        <a:pt x="55" y="21"/>
                      </a:lnTo>
                      <a:lnTo>
                        <a:pt x="55" y="21"/>
                      </a:lnTo>
                      <a:lnTo>
                        <a:pt x="56" y="21"/>
                      </a:lnTo>
                      <a:lnTo>
                        <a:pt x="57" y="21"/>
                      </a:lnTo>
                      <a:lnTo>
                        <a:pt x="57" y="21"/>
                      </a:lnTo>
                      <a:lnTo>
                        <a:pt x="57" y="21"/>
                      </a:lnTo>
                      <a:lnTo>
                        <a:pt x="57" y="21"/>
                      </a:lnTo>
                      <a:lnTo>
                        <a:pt x="57" y="20"/>
                      </a:lnTo>
                      <a:lnTo>
                        <a:pt x="57" y="19"/>
                      </a:lnTo>
                      <a:lnTo>
                        <a:pt x="57" y="19"/>
                      </a:lnTo>
                      <a:lnTo>
                        <a:pt x="57" y="19"/>
                      </a:lnTo>
                      <a:lnTo>
                        <a:pt x="58" y="19"/>
                      </a:lnTo>
                      <a:lnTo>
                        <a:pt x="58" y="19"/>
                      </a:lnTo>
                      <a:lnTo>
                        <a:pt x="59" y="19"/>
                      </a:lnTo>
                      <a:lnTo>
                        <a:pt x="59" y="19"/>
                      </a:lnTo>
                      <a:lnTo>
                        <a:pt x="59" y="19"/>
                      </a:lnTo>
                      <a:lnTo>
                        <a:pt x="59" y="18"/>
                      </a:lnTo>
                      <a:lnTo>
                        <a:pt x="60" y="18"/>
                      </a:lnTo>
                      <a:lnTo>
                        <a:pt x="61" y="18"/>
                      </a:lnTo>
                      <a:lnTo>
                        <a:pt x="61" y="18"/>
                      </a:lnTo>
                      <a:lnTo>
                        <a:pt x="61" y="19"/>
                      </a:lnTo>
                      <a:lnTo>
                        <a:pt x="61" y="19"/>
                      </a:lnTo>
                      <a:lnTo>
                        <a:pt x="61" y="19"/>
                      </a:lnTo>
                      <a:lnTo>
                        <a:pt x="61" y="19"/>
                      </a:lnTo>
                      <a:lnTo>
                        <a:pt x="61" y="20"/>
                      </a:lnTo>
                      <a:lnTo>
                        <a:pt x="61" y="21"/>
                      </a:lnTo>
                      <a:lnTo>
                        <a:pt x="61" y="21"/>
                      </a:lnTo>
                      <a:lnTo>
                        <a:pt x="61" y="22"/>
                      </a:lnTo>
                      <a:lnTo>
                        <a:pt x="62" y="22"/>
                      </a:lnTo>
                      <a:lnTo>
                        <a:pt x="62" y="23"/>
                      </a:lnTo>
                      <a:lnTo>
                        <a:pt x="63" y="23"/>
                      </a:lnTo>
                      <a:lnTo>
                        <a:pt x="63" y="23"/>
                      </a:lnTo>
                      <a:lnTo>
                        <a:pt x="63" y="22"/>
                      </a:lnTo>
                      <a:lnTo>
                        <a:pt x="63" y="21"/>
                      </a:lnTo>
                      <a:lnTo>
                        <a:pt x="63" y="21"/>
                      </a:lnTo>
                      <a:lnTo>
                        <a:pt x="63" y="21"/>
                      </a:lnTo>
                      <a:lnTo>
                        <a:pt x="63" y="20"/>
                      </a:lnTo>
                      <a:lnTo>
                        <a:pt x="64" y="20"/>
                      </a:lnTo>
                      <a:lnTo>
                        <a:pt x="64" y="21"/>
                      </a:lnTo>
                      <a:lnTo>
                        <a:pt x="65" y="21"/>
                      </a:lnTo>
                      <a:lnTo>
                        <a:pt x="65" y="21"/>
                      </a:lnTo>
                      <a:lnTo>
                        <a:pt x="65" y="22"/>
                      </a:lnTo>
                      <a:lnTo>
                        <a:pt x="65" y="22"/>
                      </a:lnTo>
                      <a:lnTo>
                        <a:pt x="65" y="23"/>
                      </a:lnTo>
                      <a:lnTo>
                        <a:pt x="65" y="23"/>
                      </a:lnTo>
                      <a:lnTo>
                        <a:pt x="66" y="23"/>
                      </a:lnTo>
                      <a:lnTo>
                        <a:pt x="67" y="23"/>
                      </a:lnTo>
                      <a:lnTo>
                        <a:pt x="67" y="23"/>
                      </a:lnTo>
                      <a:lnTo>
                        <a:pt x="67" y="23"/>
                      </a:lnTo>
                      <a:lnTo>
                        <a:pt x="67" y="22"/>
                      </a:lnTo>
                      <a:lnTo>
                        <a:pt x="68" y="21"/>
                      </a:lnTo>
                      <a:lnTo>
                        <a:pt x="69" y="21"/>
                      </a:lnTo>
                      <a:lnTo>
                        <a:pt x="69" y="22"/>
                      </a:lnTo>
                      <a:lnTo>
                        <a:pt x="69" y="22"/>
                      </a:lnTo>
                      <a:lnTo>
                        <a:pt x="69" y="23"/>
                      </a:lnTo>
                      <a:lnTo>
                        <a:pt x="69" y="23"/>
                      </a:lnTo>
                      <a:lnTo>
                        <a:pt x="69" y="24"/>
                      </a:lnTo>
                      <a:lnTo>
                        <a:pt x="70" y="24"/>
                      </a:lnTo>
                      <a:lnTo>
                        <a:pt x="71" y="24"/>
                      </a:lnTo>
                      <a:lnTo>
                        <a:pt x="72" y="24"/>
                      </a:lnTo>
                      <a:lnTo>
                        <a:pt x="72" y="25"/>
                      </a:lnTo>
                      <a:lnTo>
                        <a:pt x="72" y="25"/>
                      </a:lnTo>
                      <a:lnTo>
                        <a:pt x="72" y="24"/>
                      </a:lnTo>
                      <a:lnTo>
                        <a:pt x="73" y="24"/>
                      </a:lnTo>
                      <a:lnTo>
                        <a:pt x="74" y="25"/>
                      </a:lnTo>
                      <a:lnTo>
                        <a:pt x="74" y="25"/>
                      </a:lnTo>
                      <a:lnTo>
                        <a:pt x="73" y="25"/>
                      </a:lnTo>
                      <a:lnTo>
                        <a:pt x="72" y="25"/>
                      </a:lnTo>
                      <a:lnTo>
                        <a:pt x="72" y="26"/>
                      </a:lnTo>
                      <a:lnTo>
                        <a:pt x="72" y="27"/>
                      </a:lnTo>
                      <a:lnTo>
                        <a:pt x="72" y="27"/>
                      </a:lnTo>
                      <a:lnTo>
                        <a:pt x="73" y="27"/>
                      </a:lnTo>
                      <a:lnTo>
                        <a:pt x="74" y="27"/>
                      </a:lnTo>
                      <a:lnTo>
                        <a:pt x="74" y="27"/>
                      </a:lnTo>
                      <a:lnTo>
                        <a:pt x="75" y="27"/>
                      </a:lnTo>
                      <a:lnTo>
                        <a:pt x="76" y="26"/>
                      </a:lnTo>
                      <a:lnTo>
                        <a:pt x="76" y="25"/>
                      </a:lnTo>
                      <a:lnTo>
                        <a:pt x="75" y="25"/>
                      </a:lnTo>
                      <a:lnTo>
                        <a:pt x="74" y="25"/>
                      </a:lnTo>
                      <a:lnTo>
                        <a:pt x="74" y="25"/>
                      </a:lnTo>
                      <a:lnTo>
                        <a:pt x="75" y="25"/>
                      </a:lnTo>
                      <a:lnTo>
                        <a:pt x="75" y="24"/>
                      </a:lnTo>
                      <a:lnTo>
                        <a:pt x="76" y="24"/>
                      </a:lnTo>
                      <a:lnTo>
                        <a:pt x="76" y="24"/>
                      </a:lnTo>
                      <a:lnTo>
                        <a:pt x="76" y="25"/>
                      </a:lnTo>
                      <a:lnTo>
                        <a:pt x="77" y="25"/>
                      </a:lnTo>
                      <a:lnTo>
                        <a:pt x="77" y="25"/>
                      </a:lnTo>
                      <a:lnTo>
                        <a:pt x="77" y="26"/>
                      </a:lnTo>
                      <a:lnTo>
                        <a:pt x="78" y="26"/>
                      </a:lnTo>
                      <a:lnTo>
                        <a:pt x="78" y="26"/>
                      </a:lnTo>
                      <a:lnTo>
                        <a:pt x="79" y="26"/>
                      </a:lnTo>
                      <a:lnTo>
                        <a:pt x="79" y="25"/>
                      </a:lnTo>
                      <a:lnTo>
                        <a:pt x="79" y="25"/>
                      </a:lnTo>
                      <a:lnTo>
                        <a:pt x="79" y="24"/>
                      </a:lnTo>
                      <a:lnTo>
                        <a:pt x="78" y="24"/>
                      </a:lnTo>
                      <a:lnTo>
                        <a:pt x="78" y="23"/>
                      </a:lnTo>
                      <a:lnTo>
                        <a:pt x="78" y="23"/>
                      </a:lnTo>
                      <a:lnTo>
                        <a:pt x="79" y="23"/>
                      </a:lnTo>
                      <a:lnTo>
                        <a:pt x="79" y="22"/>
                      </a:lnTo>
                      <a:lnTo>
                        <a:pt x="80" y="22"/>
                      </a:lnTo>
                      <a:lnTo>
                        <a:pt x="80" y="22"/>
                      </a:lnTo>
                      <a:lnTo>
                        <a:pt x="80" y="23"/>
                      </a:lnTo>
                      <a:lnTo>
                        <a:pt x="81" y="23"/>
                      </a:lnTo>
                      <a:lnTo>
                        <a:pt x="82" y="23"/>
                      </a:lnTo>
                      <a:lnTo>
                        <a:pt x="82" y="23"/>
                      </a:lnTo>
                      <a:lnTo>
                        <a:pt x="82" y="22"/>
                      </a:lnTo>
                      <a:lnTo>
                        <a:pt x="82" y="21"/>
                      </a:lnTo>
                      <a:lnTo>
                        <a:pt x="83" y="21"/>
                      </a:lnTo>
                      <a:lnTo>
                        <a:pt x="83" y="22"/>
                      </a:lnTo>
                      <a:lnTo>
                        <a:pt x="83" y="23"/>
                      </a:lnTo>
                      <a:lnTo>
                        <a:pt x="83" y="23"/>
                      </a:lnTo>
                      <a:lnTo>
                        <a:pt x="83" y="24"/>
                      </a:lnTo>
                      <a:lnTo>
                        <a:pt x="83" y="25"/>
                      </a:lnTo>
                      <a:lnTo>
                        <a:pt x="84" y="25"/>
                      </a:lnTo>
                      <a:lnTo>
                        <a:pt x="84" y="25"/>
                      </a:lnTo>
                      <a:lnTo>
                        <a:pt x="85" y="25"/>
                      </a:lnTo>
                      <a:lnTo>
                        <a:pt x="85" y="25"/>
                      </a:lnTo>
                      <a:lnTo>
                        <a:pt x="85" y="26"/>
                      </a:lnTo>
                      <a:lnTo>
                        <a:pt x="85" y="27"/>
                      </a:lnTo>
                      <a:lnTo>
                        <a:pt x="85" y="27"/>
                      </a:lnTo>
                      <a:lnTo>
                        <a:pt x="86" y="27"/>
                      </a:lnTo>
                      <a:lnTo>
                        <a:pt x="86" y="27"/>
                      </a:lnTo>
                      <a:lnTo>
                        <a:pt x="86" y="27"/>
                      </a:lnTo>
                      <a:lnTo>
                        <a:pt x="86" y="28"/>
                      </a:lnTo>
                      <a:lnTo>
                        <a:pt x="86" y="29"/>
                      </a:lnTo>
                      <a:lnTo>
                        <a:pt x="86" y="29"/>
                      </a:lnTo>
                      <a:lnTo>
                        <a:pt x="86" y="29"/>
                      </a:lnTo>
                      <a:lnTo>
                        <a:pt x="87" y="30"/>
                      </a:lnTo>
                      <a:lnTo>
                        <a:pt x="87" y="31"/>
                      </a:lnTo>
                      <a:lnTo>
                        <a:pt x="87" y="31"/>
                      </a:lnTo>
                      <a:lnTo>
                        <a:pt x="88" y="31"/>
                      </a:lnTo>
                      <a:lnTo>
                        <a:pt x="89" y="31"/>
                      </a:lnTo>
                      <a:lnTo>
                        <a:pt x="89" y="32"/>
                      </a:lnTo>
                      <a:lnTo>
                        <a:pt x="89" y="32"/>
                      </a:lnTo>
                      <a:lnTo>
                        <a:pt x="90" y="32"/>
                      </a:lnTo>
                      <a:lnTo>
                        <a:pt x="90" y="33"/>
                      </a:lnTo>
                      <a:lnTo>
                        <a:pt x="90" y="33"/>
                      </a:lnTo>
                      <a:lnTo>
                        <a:pt x="89" y="33"/>
                      </a:lnTo>
                      <a:lnTo>
                        <a:pt x="89" y="33"/>
                      </a:lnTo>
                      <a:lnTo>
                        <a:pt x="89" y="33"/>
                      </a:lnTo>
                      <a:lnTo>
                        <a:pt x="88" y="33"/>
                      </a:lnTo>
                      <a:lnTo>
                        <a:pt x="88" y="34"/>
                      </a:lnTo>
                      <a:lnTo>
                        <a:pt x="88" y="35"/>
                      </a:lnTo>
                      <a:lnTo>
                        <a:pt x="89" y="35"/>
                      </a:lnTo>
                      <a:lnTo>
                        <a:pt x="89" y="35"/>
                      </a:lnTo>
                      <a:lnTo>
                        <a:pt x="89" y="34"/>
                      </a:lnTo>
                      <a:lnTo>
                        <a:pt x="90" y="34"/>
                      </a:lnTo>
                      <a:lnTo>
                        <a:pt x="90" y="35"/>
                      </a:lnTo>
                      <a:lnTo>
                        <a:pt x="91" y="35"/>
                      </a:lnTo>
                      <a:lnTo>
                        <a:pt x="91" y="36"/>
                      </a:lnTo>
                      <a:lnTo>
                        <a:pt x="91" y="36"/>
                      </a:lnTo>
                      <a:lnTo>
                        <a:pt x="91" y="36"/>
                      </a:lnTo>
                      <a:lnTo>
                        <a:pt x="91" y="36"/>
                      </a:lnTo>
                      <a:lnTo>
                        <a:pt x="92" y="36"/>
                      </a:lnTo>
                      <a:lnTo>
                        <a:pt x="93" y="36"/>
                      </a:lnTo>
                      <a:lnTo>
                        <a:pt x="93" y="36"/>
                      </a:lnTo>
                      <a:lnTo>
                        <a:pt x="93" y="37"/>
                      </a:lnTo>
                      <a:lnTo>
                        <a:pt x="94" y="37"/>
                      </a:lnTo>
                      <a:lnTo>
                        <a:pt x="94" y="36"/>
                      </a:lnTo>
                      <a:lnTo>
                        <a:pt x="94" y="36"/>
                      </a:lnTo>
                      <a:lnTo>
                        <a:pt x="93" y="36"/>
                      </a:lnTo>
                      <a:lnTo>
                        <a:pt x="93" y="35"/>
                      </a:lnTo>
                      <a:lnTo>
                        <a:pt x="93" y="35"/>
                      </a:lnTo>
                      <a:lnTo>
                        <a:pt x="93" y="34"/>
                      </a:lnTo>
                      <a:lnTo>
                        <a:pt x="93" y="33"/>
                      </a:lnTo>
                      <a:lnTo>
                        <a:pt x="93" y="34"/>
                      </a:lnTo>
                      <a:lnTo>
                        <a:pt x="94" y="34"/>
                      </a:lnTo>
                      <a:lnTo>
                        <a:pt x="95" y="35"/>
                      </a:lnTo>
                      <a:lnTo>
                        <a:pt x="95" y="36"/>
                      </a:lnTo>
                      <a:lnTo>
                        <a:pt x="95" y="36"/>
                      </a:lnTo>
                      <a:lnTo>
                        <a:pt x="95" y="37"/>
                      </a:lnTo>
                      <a:lnTo>
                        <a:pt x="95" y="38"/>
                      </a:lnTo>
                      <a:lnTo>
                        <a:pt x="95" y="38"/>
                      </a:lnTo>
                      <a:lnTo>
                        <a:pt x="95" y="38"/>
                      </a:lnTo>
                      <a:lnTo>
                        <a:pt x="94" y="38"/>
                      </a:lnTo>
                      <a:lnTo>
                        <a:pt x="94" y="39"/>
                      </a:lnTo>
                      <a:lnTo>
                        <a:pt x="94" y="40"/>
                      </a:lnTo>
                      <a:lnTo>
                        <a:pt x="95" y="40"/>
                      </a:lnTo>
                      <a:lnTo>
                        <a:pt x="95" y="39"/>
                      </a:lnTo>
                      <a:lnTo>
                        <a:pt x="95" y="39"/>
                      </a:lnTo>
                      <a:lnTo>
                        <a:pt x="95" y="38"/>
                      </a:lnTo>
                      <a:lnTo>
                        <a:pt x="96" y="38"/>
                      </a:lnTo>
                      <a:lnTo>
                        <a:pt x="96" y="38"/>
                      </a:lnTo>
                      <a:lnTo>
                        <a:pt x="97" y="38"/>
                      </a:lnTo>
                      <a:lnTo>
                        <a:pt x="97" y="38"/>
                      </a:lnTo>
                      <a:lnTo>
                        <a:pt x="97" y="38"/>
                      </a:lnTo>
                      <a:lnTo>
                        <a:pt x="97" y="39"/>
                      </a:lnTo>
                      <a:lnTo>
                        <a:pt x="97" y="40"/>
                      </a:lnTo>
                      <a:lnTo>
                        <a:pt x="98" y="40"/>
                      </a:lnTo>
                      <a:lnTo>
                        <a:pt x="99" y="40"/>
                      </a:lnTo>
                      <a:lnTo>
                        <a:pt x="99" y="40"/>
                      </a:lnTo>
                      <a:lnTo>
                        <a:pt x="100" y="39"/>
                      </a:lnTo>
                      <a:lnTo>
                        <a:pt x="101" y="39"/>
                      </a:lnTo>
                      <a:lnTo>
                        <a:pt x="101" y="38"/>
                      </a:lnTo>
                      <a:lnTo>
                        <a:pt x="100" y="38"/>
                      </a:lnTo>
                      <a:lnTo>
                        <a:pt x="100" y="38"/>
                      </a:lnTo>
                      <a:lnTo>
                        <a:pt x="99" y="38"/>
                      </a:lnTo>
                      <a:lnTo>
                        <a:pt x="99" y="37"/>
                      </a:lnTo>
                      <a:lnTo>
                        <a:pt x="99" y="36"/>
                      </a:lnTo>
                      <a:lnTo>
                        <a:pt x="100" y="36"/>
                      </a:lnTo>
                      <a:lnTo>
                        <a:pt x="100" y="36"/>
                      </a:lnTo>
                      <a:lnTo>
                        <a:pt x="101" y="36"/>
                      </a:lnTo>
                      <a:lnTo>
                        <a:pt x="101" y="36"/>
                      </a:lnTo>
                      <a:lnTo>
                        <a:pt x="101" y="37"/>
                      </a:lnTo>
                      <a:lnTo>
                        <a:pt x="101" y="38"/>
                      </a:lnTo>
                      <a:lnTo>
                        <a:pt x="101" y="38"/>
                      </a:lnTo>
                      <a:lnTo>
                        <a:pt x="102" y="38"/>
                      </a:lnTo>
                      <a:lnTo>
                        <a:pt x="103" y="38"/>
                      </a:lnTo>
                      <a:lnTo>
                        <a:pt x="103" y="37"/>
                      </a:lnTo>
                      <a:lnTo>
                        <a:pt x="103" y="36"/>
                      </a:lnTo>
                      <a:lnTo>
                        <a:pt x="103" y="36"/>
                      </a:lnTo>
                      <a:lnTo>
                        <a:pt x="103" y="35"/>
                      </a:lnTo>
                      <a:lnTo>
                        <a:pt x="103" y="34"/>
                      </a:lnTo>
                      <a:lnTo>
                        <a:pt x="103" y="34"/>
                      </a:lnTo>
                      <a:lnTo>
                        <a:pt x="104" y="34"/>
                      </a:lnTo>
                      <a:lnTo>
                        <a:pt x="104" y="35"/>
                      </a:lnTo>
                      <a:lnTo>
                        <a:pt x="104" y="36"/>
                      </a:lnTo>
                      <a:lnTo>
                        <a:pt x="104" y="36"/>
                      </a:lnTo>
                      <a:lnTo>
                        <a:pt x="105" y="36"/>
                      </a:lnTo>
                      <a:lnTo>
                        <a:pt x="105" y="36"/>
                      </a:lnTo>
                      <a:lnTo>
                        <a:pt x="106" y="36"/>
                      </a:lnTo>
                      <a:lnTo>
                        <a:pt x="106" y="37"/>
                      </a:lnTo>
                      <a:lnTo>
                        <a:pt x="107" y="36"/>
                      </a:lnTo>
                      <a:lnTo>
                        <a:pt x="108" y="36"/>
                      </a:lnTo>
                      <a:lnTo>
                        <a:pt x="108" y="37"/>
                      </a:lnTo>
                      <a:lnTo>
                        <a:pt x="108" y="37"/>
                      </a:lnTo>
                      <a:lnTo>
                        <a:pt x="108" y="38"/>
                      </a:lnTo>
                      <a:lnTo>
                        <a:pt x="108" y="38"/>
                      </a:lnTo>
                      <a:lnTo>
                        <a:pt x="108" y="38"/>
                      </a:lnTo>
                      <a:lnTo>
                        <a:pt x="107" y="38"/>
                      </a:lnTo>
                      <a:lnTo>
                        <a:pt x="106" y="38"/>
                      </a:lnTo>
                      <a:lnTo>
                        <a:pt x="106" y="39"/>
                      </a:lnTo>
                      <a:lnTo>
                        <a:pt x="107" y="39"/>
                      </a:lnTo>
                      <a:lnTo>
                        <a:pt x="108" y="39"/>
                      </a:lnTo>
                      <a:lnTo>
                        <a:pt x="108" y="39"/>
                      </a:lnTo>
                      <a:lnTo>
                        <a:pt x="109" y="39"/>
                      </a:lnTo>
                      <a:lnTo>
                        <a:pt x="110" y="39"/>
                      </a:lnTo>
                      <a:lnTo>
                        <a:pt x="110" y="40"/>
                      </a:lnTo>
                      <a:lnTo>
                        <a:pt x="110" y="40"/>
                      </a:lnTo>
                      <a:lnTo>
                        <a:pt x="110" y="40"/>
                      </a:lnTo>
                      <a:lnTo>
                        <a:pt x="110" y="40"/>
                      </a:lnTo>
                      <a:lnTo>
                        <a:pt x="111" y="40"/>
                      </a:lnTo>
                      <a:lnTo>
                        <a:pt x="110" y="39"/>
                      </a:lnTo>
                      <a:lnTo>
                        <a:pt x="110" y="38"/>
                      </a:lnTo>
                      <a:lnTo>
                        <a:pt x="111" y="38"/>
                      </a:lnTo>
                      <a:lnTo>
                        <a:pt x="112" y="38"/>
                      </a:lnTo>
                      <a:lnTo>
                        <a:pt x="112" y="39"/>
                      </a:lnTo>
                      <a:lnTo>
                        <a:pt x="112" y="39"/>
                      </a:lnTo>
                      <a:lnTo>
                        <a:pt x="112" y="40"/>
                      </a:lnTo>
                      <a:lnTo>
                        <a:pt x="112" y="40"/>
                      </a:lnTo>
                      <a:lnTo>
                        <a:pt x="112" y="41"/>
                      </a:lnTo>
                      <a:lnTo>
                        <a:pt x="112" y="40"/>
                      </a:lnTo>
                      <a:lnTo>
                        <a:pt x="113" y="40"/>
                      </a:lnTo>
                      <a:lnTo>
                        <a:pt x="114" y="40"/>
                      </a:lnTo>
                      <a:lnTo>
                        <a:pt x="114" y="41"/>
                      </a:lnTo>
                      <a:lnTo>
                        <a:pt x="114" y="42"/>
                      </a:lnTo>
                      <a:lnTo>
                        <a:pt x="114" y="42"/>
                      </a:lnTo>
                      <a:lnTo>
                        <a:pt x="113" y="42"/>
                      </a:lnTo>
                      <a:lnTo>
                        <a:pt x="113" y="43"/>
                      </a:lnTo>
                      <a:lnTo>
                        <a:pt x="114" y="43"/>
                      </a:lnTo>
                      <a:lnTo>
                        <a:pt x="114" y="42"/>
                      </a:lnTo>
                      <a:lnTo>
                        <a:pt x="114" y="42"/>
                      </a:lnTo>
                      <a:lnTo>
                        <a:pt x="114" y="42"/>
                      </a:lnTo>
                      <a:lnTo>
                        <a:pt x="115" y="42"/>
                      </a:lnTo>
                      <a:lnTo>
                        <a:pt x="115" y="42"/>
                      </a:lnTo>
                      <a:lnTo>
                        <a:pt x="115" y="42"/>
                      </a:lnTo>
                      <a:lnTo>
                        <a:pt x="116" y="42"/>
                      </a:lnTo>
                      <a:lnTo>
                        <a:pt x="115" y="41"/>
                      </a:lnTo>
                      <a:lnTo>
                        <a:pt x="115" y="40"/>
                      </a:lnTo>
                      <a:lnTo>
                        <a:pt x="114" y="40"/>
                      </a:lnTo>
                      <a:lnTo>
                        <a:pt x="114" y="40"/>
                      </a:lnTo>
                      <a:lnTo>
                        <a:pt x="115" y="40"/>
                      </a:lnTo>
                      <a:lnTo>
                        <a:pt x="115" y="39"/>
                      </a:lnTo>
                      <a:lnTo>
                        <a:pt x="114" y="39"/>
                      </a:lnTo>
                      <a:lnTo>
                        <a:pt x="114" y="38"/>
                      </a:lnTo>
                      <a:lnTo>
                        <a:pt x="115" y="38"/>
                      </a:lnTo>
                      <a:lnTo>
                        <a:pt x="116" y="39"/>
                      </a:lnTo>
                      <a:lnTo>
                        <a:pt x="116" y="39"/>
                      </a:lnTo>
                      <a:lnTo>
                        <a:pt x="117" y="39"/>
                      </a:lnTo>
                      <a:lnTo>
                        <a:pt x="118" y="39"/>
                      </a:lnTo>
                      <a:lnTo>
                        <a:pt x="118" y="40"/>
                      </a:lnTo>
                      <a:lnTo>
                        <a:pt x="118" y="40"/>
                      </a:lnTo>
                      <a:lnTo>
                        <a:pt x="118" y="40"/>
                      </a:lnTo>
                      <a:lnTo>
                        <a:pt x="119" y="40"/>
                      </a:lnTo>
                      <a:lnTo>
                        <a:pt x="119" y="41"/>
                      </a:lnTo>
                      <a:lnTo>
                        <a:pt x="119" y="42"/>
                      </a:lnTo>
                      <a:lnTo>
                        <a:pt x="119" y="42"/>
                      </a:lnTo>
                      <a:lnTo>
                        <a:pt x="119" y="43"/>
                      </a:lnTo>
                      <a:lnTo>
                        <a:pt x="120" y="43"/>
                      </a:lnTo>
                      <a:lnTo>
                        <a:pt x="120" y="44"/>
                      </a:lnTo>
                      <a:lnTo>
                        <a:pt x="120" y="44"/>
                      </a:lnTo>
                      <a:lnTo>
                        <a:pt x="120" y="45"/>
                      </a:lnTo>
                      <a:lnTo>
                        <a:pt x="119" y="45"/>
                      </a:lnTo>
                      <a:lnTo>
                        <a:pt x="119" y="46"/>
                      </a:lnTo>
                      <a:lnTo>
                        <a:pt x="120" y="46"/>
                      </a:lnTo>
                      <a:lnTo>
                        <a:pt x="120" y="46"/>
                      </a:lnTo>
                      <a:lnTo>
                        <a:pt x="120" y="46"/>
                      </a:lnTo>
                      <a:lnTo>
                        <a:pt x="120" y="47"/>
                      </a:lnTo>
                      <a:lnTo>
                        <a:pt x="121" y="47"/>
                      </a:lnTo>
                      <a:lnTo>
                        <a:pt x="121" y="48"/>
                      </a:lnTo>
                      <a:lnTo>
                        <a:pt x="122" y="48"/>
                      </a:lnTo>
                      <a:lnTo>
                        <a:pt x="122" y="47"/>
                      </a:lnTo>
                      <a:lnTo>
                        <a:pt x="123" y="47"/>
                      </a:lnTo>
                      <a:lnTo>
                        <a:pt x="124" y="47"/>
                      </a:lnTo>
                      <a:lnTo>
                        <a:pt x="124" y="46"/>
                      </a:lnTo>
                      <a:lnTo>
                        <a:pt x="124" y="46"/>
                      </a:lnTo>
                      <a:lnTo>
                        <a:pt x="125" y="46"/>
                      </a:lnTo>
                      <a:lnTo>
                        <a:pt x="126" y="46"/>
                      </a:lnTo>
                      <a:lnTo>
                        <a:pt x="127" y="46"/>
                      </a:lnTo>
                      <a:lnTo>
                        <a:pt x="127" y="46"/>
                      </a:lnTo>
                      <a:lnTo>
                        <a:pt x="128" y="46"/>
                      </a:lnTo>
                      <a:lnTo>
                        <a:pt x="129" y="47"/>
                      </a:lnTo>
                      <a:lnTo>
                        <a:pt x="129" y="48"/>
                      </a:lnTo>
                      <a:lnTo>
                        <a:pt x="129" y="48"/>
                      </a:lnTo>
                      <a:lnTo>
                        <a:pt x="129" y="48"/>
                      </a:lnTo>
                      <a:lnTo>
                        <a:pt x="130" y="48"/>
                      </a:lnTo>
                      <a:lnTo>
                        <a:pt x="129" y="49"/>
                      </a:lnTo>
                      <a:lnTo>
                        <a:pt x="129" y="49"/>
                      </a:lnTo>
                      <a:lnTo>
                        <a:pt x="129" y="50"/>
                      </a:lnTo>
                      <a:lnTo>
                        <a:pt x="128" y="50"/>
                      </a:lnTo>
                      <a:lnTo>
                        <a:pt x="127" y="50"/>
                      </a:lnTo>
                      <a:lnTo>
                        <a:pt x="127" y="50"/>
                      </a:lnTo>
                      <a:lnTo>
                        <a:pt x="127" y="50"/>
                      </a:lnTo>
                      <a:lnTo>
                        <a:pt x="127" y="51"/>
                      </a:lnTo>
                      <a:lnTo>
                        <a:pt x="127" y="51"/>
                      </a:lnTo>
                      <a:lnTo>
                        <a:pt x="128" y="51"/>
                      </a:lnTo>
                      <a:lnTo>
                        <a:pt x="128" y="52"/>
                      </a:lnTo>
                      <a:lnTo>
                        <a:pt x="129" y="52"/>
                      </a:lnTo>
                      <a:lnTo>
                        <a:pt x="129" y="52"/>
                      </a:lnTo>
                      <a:lnTo>
                        <a:pt x="130" y="52"/>
                      </a:lnTo>
                      <a:lnTo>
                        <a:pt x="131" y="52"/>
                      </a:lnTo>
                      <a:lnTo>
                        <a:pt x="131" y="52"/>
                      </a:lnTo>
                      <a:lnTo>
                        <a:pt x="132" y="52"/>
                      </a:lnTo>
                      <a:lnTo>
                        <a:pt x="133" y="52"/>
                      </a:lnTo>
                      <a:lnTo>
                        <a:pt x="133" y="52"/>
                      </a:lnTo>
                      <a:lnTo>
                        <a:pt x="134" y="52"/>
                      </a:lnTo>
                      <a:lnTo>
                        <a:pt x="134" y="53"/>
                      </a:lnTo>
                      <a:lnTo>
                        <a:pt x="135" y="53"/>
                      </a:lnTo>
                      <a:lnTo>
                        <a:pt x="135" y="54"/>
                      </a:lnTo>
                      <a:lnTo>
                        <a:pt x="136" y="54"/>
                      </a:lnTo>
                      <a:lnTo>
                        <a:pt x="136" y="54"/>
                      </a:lnTo>
                      <a:lnTo>
                        <a:pt x="137" y="54"/>
                      </a:lnTo>
                      <a:lnTo>
                        <a:pt x="137" y="55"/>
                      </a:lnTo>
                      <a:lnTo>
                        <a:pt x="137" y="55"/>
                      </a:lnTo>
                      <a:lnTo>
                        <a:pt x="138" y="55"/>
                      </a:lnTo>
                      <a:lnTo>
                        <a:pt x="138" y="56"/>
                      </a:lnTo>
                      <a:lnTo>
                        <a:pt x="138" y="57"/>
                      </a:lnTo>
                      <a:lnTo>
                        <a:pt x="137" y="57"/>
                      </a:lnTo>
                      <a:lnTo>
                        <a:pt x="137" y="57"/>
                      </a:lnTo>
                      <a:lnTo>
                        <a:pt x="137" y="57"/>
                      </a:lnTo>
                      <a:lnTo>
                        <a:pt x="137" y="58"/>
                      </a:lnTo>
                      <a:lnTo>
                        <a:pt x="137" y="59"/>
                      </a:lnTo>
                      <a:lnTo>
                        <a:pt x="137" y="59"/>
                      </a:lnTo>
                      <a:lnTo>
                        <a:pt x="137" y="60"/>
                      </a:lnTo>
                      <a:lnTo>
                        <a:pt x="137" y="60"/>
                      </a:lnTo>
                      <a:lnTo>
                        <a:pt x="138" y="59"/>
                      </a:lnTo>
                      <a:lnTo>
                        <a:pt x="139" y="59"/>
                      </a:lnTo>
                      <a:lnTo>
                        <a:pt x="139" y="59"/>
                      </a:lnTo>
                      <a:lnTo>
                        <a:pt x="140" y="59"/>
                      </a:lnTo>
                      <a:lnTo>
                        <a:pt x="141" y="59"/>
                      </a:lnTo>
                      <a:lnTo>
                        <a:pt x="141" y="59"/>
                      </a:lnTo>
                      <a:lnTo>
                        <a:pt x="142" y="59"/>
                      </a:lnTo>
                      <a:lnTo>
                        <a:pt x="141" y="59"/>
                      </a:lnTo>
                      <a:lnTo>
                        <a:pt x="141" y="58"/>
                      </a:lnTo>
                      <a:lnTo>
                        <a:pt x="141" y="58"/>
                      </a:lnTo>
                      <a:lnTo>
                        <a:pt x="141" y="57"/>
                      </a:lnTo>
                      <a:lnTo>
                        <a:pt x="141" y="57"/>
                      </a:lnTo>
                      <a:lnTo>
                        <a:pt x="141" y="57"/>
                      </a:lnTo>
                      <a:lnTo>
                        <a:pt x="141" y="56"/>
                      </a:lnTo>
                      <a:lnTo>
                        <a:pt x="142" y="56"/>
                      </a:lnTo>
                      <a:lnTo>
                        <a:pt x="143" y="56"/>
                      </a:lnTo>
                      <a:lnTo>
                        <a:pt x="143" y="57"/>
                      </a:lnTo>
                      <a:lnTo>
                        <a:pt x="143" y="57"/>
                      </a:lnTo>
                      <a:lnTo>
                        <a:pt x="144" y="56"/>
                      </a:lnTo>
                      <a:lnTo>
                        <a:pt x="145" y="56"/>
                      </a:lnTo>
                      <a:lnTo>
                        <a:pt x="145" y="57"/>
                      </a:lnTo>
                      <a:lnTo>
                        <a:pt x="146" y="56"/>
                      </a:lnTo>
                      <a:lnTo>
                        <a:pt x="146" y="56"/>
                      </a:lnTo>
                      <a:lnTo>
                        <a:pt x="147" y="57"/>
                      </a:lnTo>
                      <a:lnTo>
                        <a:pt x="148" y="57"/>
                      </a:lnTo>
                      <a:lnTo>
                        <a:pt x="148" y="57"/>
                      </a:lnTo>
                      <a:lnTo>
                        <a:pt x="149" y="57"/>
                      </a:lnTo>
                      <a:lnTo>
                        <a:pt x="150" y="57"/>
                      </a:lnTo>
                      <a:lnTo>
                        <a:pt x="150" y="57"/>
                      </a:lnTo>
                      <a:lnTo>
                        <a:pt x="150" y="57"/>
                      </a:lnTo>
                      <a:lnTo>
                        <a:pt x="151" y="57"/>
                      </a:lnTo>
                      <a:lnTo>
                        <a:pt x="152" y="56"/>
                      </a:lnTo>
                      <a:lnTo>
                        <a:pt x="152" y="55"/>
                      </a:lnTo>
                      <a:lnTo>
                        <a:pt x="152" y="54"/>
                      </a:lnTo>
                      <a:lnTo>
                        <a:pt x="152" y="54"/>
                      </a:lnTo>
                      <a:lnTo>
                        <a:pt x="152" y="53"/>
                      </a:lnTo>
                      <a:lnTo>
                        <a:pt x="152" y="52"/>
                      </a:lnTo>
                      <a:lnTo>
                        <a:pt x="153" y="52"/>
                      </a:lnTo>
                      <a:lnTo>
                        <a:pt x="153" y="51"/>
                      </a:lnTo>
                      <a:lnTo>
                        <a:pt x="153" y="50"/>
                      </a:lnTo>
                      <a:lnTo>
                        <a:pt x="153" y="50"/>
                      </a:lnTo>
                      <a:lnTo>
                        <a:pt x="152" y="50"/>
                      </a:lnTo>
                      <a:lnTo>
                        <a:pt x="152" y="49"/>
                      </a:lnTo>
                      <a:lnTo>
                        <a:pt x="153" y="49"/>
                      </a:lnTo>
                      <a:lnTo>
                        <a:pt x="153" y="48"/>
                      </a:lnTo>
                      <a:lnTo>
                        <a:pt x="154" y="48"/>
                      </a:lnTo>
                      <a:lnTo>
                        <a:pt x="154" y="48"/>
                      </a:lnTo>
                      <a:lnTo>
                        <a:pt x="155" y="48"/>
                      </a:lnTo>
                      <a:lnTo>
                        <a:pt x="156" y="48"/>
                      </a:lnTo>
                      <a:lnTo>
                        <a:pt x="156" y="47"/>
                      </a:lnTo>
                      <a:lnTo>
                        <a:pt x="156" y="47"/>
                      </a:lnTo>
                      <a:lnTo>
                        <a:pt x="156" y="46"/>
                      </a:lnTo>
                      <a:lnTo>
                        <a:pt x="157" y="46"/>
                      </a:lnTo>
                      <a:lnTo>
                        <a:pt x="157" y="46"/>
                      </a:lnTo>
                      <a:lnTo>
                        <a:pt x="157" y="45"/>
                      </a:lnTo>
                      <a:lnTo>
                        <a:pt x="156" y="45"/>
                      </a:lnTo>
                      <a:lnTo>
                        <a:pt x="156" y="44"/>
                      </a:lnTo>
                      <a:lnTo>
                        <a:pt x="156" y="44"/>
                      </a:lnTo>
                      <a:lnTo>
                        <a:pt x="156" y="43"/>
                      </a:lnTo>
                      <a:lnTo>
                        <a:pt x="155" y="43"/>
                      </a:lnTo>
                      <a:lnTo>
                        <a:pt x="155" y="42"/>
                      </a:lnTo>
                      <a:lnTo>
                        <a:pt x="155" y="42"/>
                      </a:lnTo>
                      <a:lnTo>
                        <a:pt x="155" y="41"/>
                      </a:lnTo>
                      <a:lnTo>
                        <a:pt x="155" y="40"/>
                      </a:lnTo>
                      <a:lnTo>
                        <a:pt x="156" y="40"/>
                      </a:lnTo>
                      <a:lnTo>
                        <a:pt x="156" y="40"/>
                      </a:lnTo>
                      <a:lnTo>
                        <a:pt x="156" y="39"/>
                      </a:lnTo>
                      <a:lnTo>
                        <a:pt x="156" y="39"/>
                      </a:lnTo>
                      <a:lnTo>
                        <a:pt x="157" y="39"/>
                      </a:lnTo>
                      <a:lnTo>
                        <a:pt x="158" y="39"/>
                      </a:lnTo>
                      <a:lnTo>
                        <a:pt x="158" y="38"/>
                      </a:lnTo>
                      <a:lnTo>
                        <a:pt x="158" y="38"/>
                      </a:lnTo>
                      <a:lnTo>
                        <a:pt x="158" y="37"/>
                      </a:lnTo>
                      <a:lnTo>
                        <a:pt x="158" y="36"/>
                      </a:lnTo>
                      <a:lnTo>
                        <a:pt x="158" y="36"/>
                      </a:lnTo>
                      <a:lnTo>
                        <a:pt x="158" y="35"/>
                      </a:lnTo>
                      <a:lnTo>
                        <a:pt x="158" y="34"/>
                      </a:lnTo>
                      <a:lnTo>
                        <a:pt x="158" y="33"/>
                      </a:lnTo>
                      <a:lnTo>
                        <a:pt x="159" y="33"/>
                      </a:lnTo>
                      <a:lnTo>
                        <a:pt x="159" y="33"/>
                      </a:lnTo>
                      <a:lnTo>
                        <a:pt x="160" y="32"/>
                      </a:lnTo>
                      <a:lnTo>
                        <a:pt x="160" y="31"/>
                      </a:lnTo>
                      <a:lnTo>
                        <a:pt x="160" y="31"/>
                      </a:lnTo>
                      <a:lnTo>
                        <a:pt x="160" y="30"/>
                      </a:lnTo>
                      <a:lnTo>
                        <a:pt x="161" y="30"/>
                      </a:lnTo>
                      <a:lnTo>
                        <a:pt x="161" y="29"/>
                      </a:lnTo>
                      <a:lnTo>
                        <a:pt x="161" y="29"/>
                      </a:lnTo>
                      <a:lnTo>
                        <a:pt x="161" y="28"/>
                      </a:lnTo>
                      <a:lnTo>
                        <a:pt x="161" y="27"/>
                      </a:lnTo>
                      <a:lnTo>
                        <a:pt x="160" y="27"/>
                      </a:lnTo>
                      <a:lnTo>
                        <a:pt x="160" y="27"/>
                      </a:lnTo>
                      <a:lnTo>
                        <a:pt x="160" y="27"/>
                      </a:lnTo>
                      <a:lnTo>
                        <a:pt x="160" y="26"/>
                      </a:lnTo>
                      <a:lnTo>
                        <a:pt x="160" y="26"/>
                      </a:lnTo>
                      <a:lnTo>
                        <a:pt x="161" y="25"/>
                      </a:lnTo>
                      <a:lnTo>
                        <a:pt x="162" y="25"/>
                      </a:lnTo>
                      <a:lnTo>
                        <a:pt x="163" y="25"/>
                      </a:lnTo>
                      <a:lnTo>
                        <a:pt x="164" y="25"/>
                      </a:lnTo>
                      <a:lnTo>
                        <a:pt x="165" y="25"/>
                      </a:lnTo>
                      <a:lnTo>
                        <a:pt x="165" y="24"/>
                      </a:lnTo>
                      <a:lnTo>
                        <a:pt x="166" y="23"/>
                      </a:lnTo>
                      <a:lnTo>
                        <a:pt x="167" y="23"/>
                      </a:lnTo>
                      <a:lnTo>
                        <a:pt x="167" y="22"/>
                      </a:lnTo>
                      <a:lnTo>
                        <a:pt x="167" y="21"/>
                      </a:lnTo>
                      <a:lnTo>
                        <a:pt x="167" y="21"/>
                      </a:lnTo>
                      <a:lnTo>
                        <a:pt x="167" y="20"/>
                      </a:lnTo>
                      <a:lnTo>
                        <a:pt x="167" y="19"/>
                      </a:lnTo>
                      <a:lnTo>
                        <a:pt x="167" y="19"/>
                      </a:lnTo>
                      <a:lnTo>
                        <a:pt x="167" y="19"/>
                      </a:lnTo>
                      <a:lnTo>
                        <a:pt x="167" y="18"/>
                      </a:lnTo>
                      <a:lnTo>
                        <a:pt x="167" y="17"/>
                      </a:lnTo>
                      <a:lnTo>
                        <a:pt x="167" y="17"/>
                      </a:lnTo>
                      <a:lnTo>
                        <a:pt x="168" y="17"/>
                      </a:lnTo>
                      <a:lnTo>
                        <a:pt x="168" y="16"/>
                      </a:lnTo>
                      <a:lnTo>
                        <a:pt x="169" y="16"/>
                      </a:lnTo>
                      <a:lnTo>
                        <a:pt x="169" y="15"/>
                      </a:lnTo>
                      <a:lnTo>
                        <a:pt x="170" y="14"/>
                      </a:lnTo>
                      <a:lnTo>
                        <a:pt x="171" y="14"/>
                      </a:lnTo>
                      <a:lnTo>
                        <a:pt x="171" y="14"/>
                      </a:lnTo>
                      <a:lnTo>
                        <a:pt x="172" y="14"/>
                      </a:lnTo>
                      <a:lnTo>
                        <a:pt x="172" y="14"/>
                      </a:lnTo>
                      <a:lnTo>
                        <a:pt x="173" y="14"/>
                      </a:lnTo>
                      <a:lnTo>
                        <a:pt x="173" y="14"/>
                      </a:lnTo>
                      <a:lnTo>
                        <a:pt x="174" y="13"/>
                      </a:lnTo>
                      <a:lnTo>
                        <a:pt x="175" y="13"/>
                      </a:lnTo>
                      <a:lnTo>
                        <a:pt x="175" y="13"/>
                      </a:lnTo>
                      <a:lnTo>
                        <a:pt x="176" y="13"/>
                      </a:lnTo>
                      <a:lnTo>
                        <a:pt x="176" y="14"/>
                      </a:lnTo>
                      <a:lnTo>
                        <a:pt x="177" y="14"/>
                      </a:lnTo>
                      <a:lnTo>
                        <a:pt x="177" y="14"/>
                      </a:lnTo>
                      <a:lnTo>
                        <a:pt x="177" y="14"/>
                      </a:lnTo>
                      <a:lnTo>
                        <a:pt x="177" y="15"/>
                      </a:lnTo>
                      <a:lnTo>
                        <a:pt x="178" y="15"/>
                      </a:lnTo>
                      <a:lnTo>
                        <a:pt x="179" y="16"/>
                      </a:lnTo>
                      <a:lnTo>
                        <a:pt x="179" y="16"/>
                      </a:lnTo>
                      <a:lnTo>
                        <a:pt x="180" y="16"/>
                      </a:lnTo>
                      <a:lnTo>
                        <a:pt x="181" y="16"/>
                      </a:lnTo>
                      <a:lnTo>
                        <a:pt x="181" y="16"/>
                      </a:lnTo>
                      <a:lnTo>
                        <a:pt x="182" y="16"/>
                      </a:lnTo>
                      <a:lnTo>
                        <a:pt x="183" y="15"/>
                      </a:lnTo>
                      <a:lnTo>
                        <a:pt x="184" y="15"/>
                      </a:lnTo>
                      <a:lnTo>
                        <a:pt x="184" y="16"/>
                      </a:lnTo>
                      <a:lnTo>
                        <a:pt x="185" y="16"/>
                      </a:lnTo>
                      <a:lnTo>
                        <a:pt x="185" y="17"/>
                      </a:lnTo>
                      <a:lnTo>
                        <a:pt x="186" y="17"/>
                      </a:lnTo>
                      <a:lnTo>
                        <a:pt x="186" y="17"/>
                      </a:lnTo>
                      <a:lnTo>
                        <a:pt x="186" y="17"/>
                      </a:lnTo>
                      <a:lnTo>
                        <a:pt x="186" y="18"/>
                      </a:lnTo>
                      <a:lnTo>
                        <a:pt x="186" y="19"/>
                      </a:lnTo>
                      <a:lnTo>
                        <a:pt x="187" y="19"/>
                      </a:lnTo>
                      <a:lnTo>
                        <a:pt x="188" y="19"/>
                      </a:lnTo>
                      <a:lnTo>
                        <a:pt x="188" y="19"/>
                      </a:lnTo>
                      <a:lnTo>
                        <a:pt x="189" y="19"/>
                      </a:lnTo>
                      <a:lnTo>
                        <a:pt x="189" y="20"/>
                      </a:lnTo>
                      <a:lnTo>
                        <a:pt x="189" y="21"/>
                      </a:lnTo>
                      <a:lnTo>
                        <a:pt x="189" y="21"/>
                      </a:lnTo>
                      <a:lnTo>
                        <a:pt x="189" y="22"/>
                      </a:lnTo>
                      <a:lnTo>
                        <a:pt x="190" y="23"/>
                      </a:lnTo>
                      <a:lnTo>
                        <a:pt x="190" y="23"/>
                      </a:lnTo>
                      <a:lnTo>
                        <a:pt x="190" y="23"/>
                      </a:lnTo>
                      <a:lnTo>
                        <a:pt x="191" y="23"/>
                      </a:lnTo>
                      <a:lnTo>
                        <a:pt x="192" y="24"/>
                      </a:lnTo>
                      <a:lnTo>
                        <a:pt x="192" y="24"/>
                      </a:lnTo>
                      <a:lnTo>
                        <a:pt x="193" y="24"/>
                      </a:lnTo>
                      <a:lnTo>
                        <a:pt x="193" y="25"/>
                      </a:lnTo>
                      <a:lnTo>
                        <a:pt x="194" y="25"/>
                      </a:lnTo>
                      <a:lnTo>
                        <a:pt x="194" y="25"/>
                      </a:lnTo>
                      <a:lnTo>
                        <a:pt x="194" y="25"/>
                      </a:lnTo>
                      <a:lnTo>
                        <a:pt x="194" y="26"/>
                      </a:lnTo>
                      <a:lnTo>
                        <a:pt x="195" y="26"/>
                      </a:lnTo>
                      <a:lnTo>
                        <a:pt x="196" y="26"/>
                      </a:lnTo>
                      <a:lnTo>
                        <a:pt x="196" y="25"/>
                      </a:lnTo>
                      <a:lnTo>
                        <a:pt x="196" y="25"/>
                      </a:lnTo>
                      <a:lnTo>
                        <a:pt x="197" y="25"/>
                      </a:lnTo>
                      <a:lnTo>
                        <a:pt x="198" y="25"/>
                      </a:lnTo>
                      <a:lnTo>
                        <a:pt x="198" y="26"/>
                      </a:lnTo>
                      <a:lnTo>
                        <a:pt x="199" y="26"/>
                      </a:lnTo>
                      <a:lnTo>
                        <a:pt x="199" y="27"/>
                      </a:lnTo>
                      <a:lnTo>
                        <a:pt x="199" y="27"/>
                      </a:lnTo>
                      <a:lnTo>
                        <a:pt x="200" y="27"/>
                      </a:lnTo>
                      <a:lnTo>
                        <a:pt x="200" y="28"/>
                      </a:lnTo>
                      <a:lnTo>
                        <a:pt x="200" y="29"/>
                      </a:lnTo>
                      <a:lnTo>
                        <a:pt x="200" y="29"/>
                      </a:lnTo>
                      <a:lnTo>
                        <a:pt x="200" y="30"/>
                      </a:lnTo>
                      <a:lnTo>
                        <a:pt x="200" y="31"/>
                      </a:lnTo>
                      <a:lnTo>
                        <a:pt x="200" y="31"/>
                      </a:lnTo>
                      <a:lnTo>
                        <a:pt x="200" y="31"/>
                      </a:lnTo>
                      <a:lnTo>
                        <a:pt x="201" y="32"/>
                      </a:lnTo>
                      <a:lnTo>
                        <a:pt x="202" y="33"/>
                      </a:lnTo>
                      <a:lnTo>
                        <a:pt x="203" y="33"/>
                      </a:lnTo>
                      <a:lnTo>
                        <a:pt x="203" y="32"/>
                      </a:lnTo>
                      <a:lnTo>
                        <a:pt x="203" y="32"/>
                      </a:lnTo>
                      <a:lnTo>
                        <a:pt x="204" y="33"/>
                      </a:lnTo>
                      <a:lnTo>
                        <a:pt x="204" y="33"/>
                      </a:lnTo>
                      <a:lnTo>
                        <a:pt x="204" y="34"/>
                      </a:lnTo>
                      <a:lnTo>
                        <a:pt x="204" y="35"/>
                      </a:lnTo>
                      <a:lnTo>
                        <a:pt x="204" y="36"/>
                      </a:lnTo>
                      <a:lnTo>
                        <a:pt x="205" y="36"/>
                      </a:lnTo>
                      <a:lnTo>
                        <a:pt x="205" y="36"/>
                      </a:lnTo>
                      <a:lnTo>
                        <a:pt x="205" y="36"/>
                      </a:lnTo>
                      <a:lnTo>
                        <a:pt x="205" y="37"/>
                      </a:lnTo>
                      <a:lnTo>
                        <a:pt x="205" y="38"/>
                      </a:lnTo>
                      <a:lnTo>
                        <a:pt x="205" y="38"/>
                      </a:lnTo>
                      <a:lnTo>
                        <a:pt x="205" y="39"/>
                      </a:lnTo>
                      <a:lnTo>
                        <a:pt x="206" y="39"/>
                      </a:lnTo>
                      <a:lnTo>
                        <a:pt x="206" y="40"/>
                      </a:lnTo>
                      <a:lnTo>
                        <a:pt x="207" y="40"/>
                      </a:lnTo>
                      <a:lnTo>
                        <a:pt x="207" y="39"/>
                      </a:lnTo>
                      <a:lnTo>
                        <a:pt x="207" y="40"/>
                      </a:lnTo>
                      <a:lnTo>
                        <a:pt x="208" y="40"/>
                      </a:lnTo>
                      <a:lnTo>
                        <a:pt x="209" y="40"/>
                      </a:lnTo>
                      <a:lnTo>
                        <a:pt x="209" y="41"/>
                      </a:lnTo>
                      <a:lnTo>
                        <a:pt x="208" y="42"/>
                      </a:lnTo>
                      <a:lnTo>
                        <a:pt x="208" y="42"/>
                      </a:lnTo>
                      <a:lnTo>
                        <a:pt x="209" y="42"/>
                      </a:lnTo>
                      <a:lnTo>
                        <a:pt x="209" y="43"/>
                      </a:lnTo>
                      <a:lnTo>
                        <a:pt x="209" y="43"/>
                      </a:lnTo>
                      <a:lnTo>
                        <a:pt x="209" y="44"/>
                      </a:lnTo>
                      <a:lnTo>
                        <a:pt x="209" y="44"/>
                      </a:lnTo>
                      <a:lnTo>
                        <a:pt x="209" y="45"/>
                      </a:lnTo>
                      <a:lnTo>
                        <a:pt x="210" y="45"/>
                      </a:lnTo>
                      <a:lnTo>
                        <a:pt x="211" y="45"/>
                      </a:lnTo>
                      <a:lnTo>
                        <a:pt x="211" y="46"/>
                      </a:lnTo>
                      <a:lnTo>
                        <a:pt x="211" y="46"/>
                      </a:lnTo>
                      <a:lnTo>
                        <a:pt x="211" y="46"/>
                      </a:lnTo>
                      <a:lnTo>
                        <a:pt x="211" y="47"/>
                      </a:lnTo>
                      <a:lnTo>
                        <a:pt x="211" y="48"/>
                      </a:lnTo>
                      <a:lnTo>
                        <a:pt x="212" y="48"/>
                      </a:lnTo>
                      <a:lnTo>
                        <a:pt x="212" y="48"/>
                      </a:lnTo>
                      <a:lnTo>
                        <a:pt x="213" y="48"/>
                      </a:lnTo>
                      <a:lnTo>
                        <a:pt x="213" y="49"/>
                      </a:lnTo>
                      <a:lnTo>
                        <a:pt x="213" y="50"/>
                      </a:lnTo>
                      <a:lnTo>
                        <a:pt x="213" y="50"/>
                      </a:lnTo>
                      <a:lnTo>
                        <a:pt x="213" y="51"/>
                      </a:lnTo>
                      <a:lnTo>
                        <a:pt x="213" y="52"/>
                      </a:lnTo>
                      <a:lnTo>
                        <a:pt x="213" y="52"/>
                      </a:lnTo>
                      <a:lnTo>
                        <a:pt x="214" y="52"/>
                      </a:lnTo>
                      <a:lnTo>
                        <a:pt x="215" y="52"/>
                      </a:lnTo>
                      <a:lnTo>
                        <a:pt x="215" y="52"/>
                      </a:lnTo>
                      <a:lnTo>
                        <a:pt x="216" y="52"/>
                      </a:lnTo>
                      <a:lnTo>
                        <a:pt x="216" y="53"/>
                      </a:lnTo>
                      <a:lnTo>
                        <a:pt x="216" y="54"/>
                      </a:lnTo>
                      <a:lnTo>
                        <a:pt x="216" y="54"/>
                      </a:lnTo>
                      <a:lnTo>
                        <a:pt x="217" y="54"/>
                      </a:lnTo>
                      <a:lnTo>
                        <a:pt x="217" y="55"/>
                      </a:lnTo>
                      <a:lnTo>
                        <a:pt x="218" y="56"/>
                      </a:lnTo>
                      <a:lnTo>
                        <a:pt x="218" y="57"/>
                      </a:lnTo>
                      <a:lnTo>
                        <a:pt x="219" y="57"/>
                      </a:lnTo>
                      <a:lnTo>
                        <a:pt x="219" y="57"/>
                      </a:lnTo>
                      <a:lnTo>
                        <a:pt x="220" y="57"/>
                      </a:lnTo>
                      <a:lnTo>
                        <a:pt x="221" y="57"/>
                      </a:lnTo>
                      <a:lnTo>
                        <a:pt x="221" y="57"/>
                      </a:lnTo>
                      <a:lnTo>
                        <a:pt x="222" y="57"/>
                      </a:lnTo>
                      <a:lnTo>
                        <a:pt x="222" y="57"/>
                      </a:lnTo>
                      <a:lnTo>
                        <a:pt x="223" y="57"/>
                      </a:lnTo>
                      <a:lnTo>
                        <a:pt x="224" y="57"/>
                      </a:lnTo>
                      <a:lnTo>
                        <a:pt x="224" y="56"/>
                      </a:lnTo>
                      <a:lnTo>
                        <a:pt x="224" y="56"/>
                      </a:lnTo>
                      <a:lnTo>
                        <a:pt x="225" y="56"/>
                      </a:lnTo>
                      <a:lnTo>
                        <a:pt x="226" y="56"/>
                      </a:lnTo>
                      <a:lnTo>
                        <a:pt x="226" y="56"/>
                      </a:lnTo>
                      <a:lnTo>
                        <a:pt x="227" y="55"/>
                      </a:lnTo>
                      <a:lnTo>
                        <a:pt x="228" y="55"/>
                      </a:lnTo>
                      <a:lnTo>
                        <a:pt x="228" y="55"/>
                      </a:lnTo>
                      <a:lnTo>
                        <a:pt x="229" y="55"/>
                      </a:lnTo>
                      <a:lnTo>
                        <a:pt x="230" y="55"/>
                      </a:lnTo>
                      <a:lnTo>
                        <a:pt x="230" y="54"/>
                      </a:lnTo>
                      <a:lnTo>
                        <a:pt x="230" y="54"/>
                      </a:lnTo>
                      <a:lnTo>
                        <a:pt x="230" y="53"/>
                      </a:lnTo>
                      <a:lnTo>
                        <a:pt x="231" y="53"/>
                      </a:lnTo>
                      <a:lnTo>
                        <a:pt x="232" y="53"/>
                      </a:lnTo>
                      <a:lnTo>
                        <a:pt x="232" y="53"/>
                      </a:lnTo>
                      <a:lnTo>
                        <a:pt x="233" y="54"/>
                      </a:lnTo>
                      <a:lnTo>
                        <a:pt x="233" y="53"/>
                      </a:lnTo>
                      <a:lnTo>
                        <a:pt x="234" y="53"/>
                      </a:lnTo>
                      <a:lnTo>
                        <a:pt x="234" y="53"/>
                      </a:lnTo>
                      <a:lnTo>
                        <a:pt x="235" y="53"/>
                      </a:lnTo>
                      <a:lnTo>
                        <a:pt x="235" y="52"/>
                      </a:lnTo>
                      <a:lnTo>
                        <a:pt x="236" y="52"/>
                      </a:lnTo>
                      <a:lnTo>
                        <a:pt x="236" y="52"/>
                      </a:lnTo>
                      <a:lnTo>
                        <a:pt x="236" y="53"/>
                      </a:lnTo>
                      <a:lnTo>
                        <a:pt x="237" y="53"/>
                      </a:lnTo>
                      <a:lnTo>
                        <a:pt x="238" y="53"/>
                      </a:lnTo>
                      <a:lnTo>
                        <a:pt x="238" y="54"/>
                      </a:lnTo>
                      <a:lnTo>
                        <a:pt x="239" y="54"/>
                      </a:lnTo>
                      <a:lnTo>
                        <a:pt x="239" y="54"/>
                      </a:lnTo>
                      <a:lnTo>
                        <a:pt x="240" y="55"/>
                      </a:lnTo>
                      <a:lnTo>
                        <a:pt x="241" y="56"/>
                      </a:lnTo>
                      <a:lnTo>
                        <a:pt x="241" y="56"/>
                      </a:lnTo>
                      <a:lnTo>
                        <a:pt x="241" y="57"/>
                      </a:lnTo>
                      <a:lnTo>
                        <a:pt x="242" y="57"/>
                      </a:lnTo>
                      <a:lnTo>
                        <a:pt x="242" y="57"/>
                      </a:lnTo>
                      <a:lnTo>
                        <a:pt x="243" y="57"/>
                      </a:lnTo>
                      <a:lnTo>
                        <a:pt x="243" y="58"/>
                      </a:lnTo>
                      <a:lnTo>
                        <a:pt x="243" y="58"/>
                      </a:lnTo>
                      <a:lnTo>
                        <a:pt x="243" y="57"/>
                      </a:lnTo>
                      <a:lnTo>
                        <a:pt x="244" y="57"/>
                      </a:lnTo>
                      <a:lnTo>
                        <a:pt x="245" y="57"/>
                      </a:lnTo>
                      <a:lnTo>
                        <a:pt x="245" y="57"/>
                      </a:lnTo>
                      <a:lnTo>
                        <a:pt x="245" y="57"/>
                      </a:lnTo>
                      <a:lnTo>
                        <a:pt x="246" y="57"/>
                      </a:lnTo>
                      <a:lnTo>
                        <a:pt x="247" y="57"/>
                      </a:lnTo>
                      <a:lnTo>
                        <a:pt x="247" y="57"/>
                      </a:lnTo>
                      <a:lnTo>
                        <a:pt x="247" y="58"/>
                      </a:lnTo>
                      <a:lnTo>
                        <a:pt x="247" y="59"/>
                      </a:lnTo>
                      <a:lnTo>
                        <a:pt x="247" y="59"/>
                      </a:lnTo>
                      <a:lnTo>
                        <a:pt x="247" y="59"/>
                      </a:lnTo>
                      <a:lnTo>
                        <a:pt x="248" y="59"/>
                      </a:lnTo>
                      <a:lnTo>
                        <a:pt x="249" y="59"/>
                      </a:lnTo>
                      <a:lnTo>
                        <a:pt x="249" y="60"/>
                      </a:lnTo>
                      <a:lnTo>
                        <a:pt x="249" y="60"/>
                      </a:lnTo>
                      <a:lnTo>
                        <a:pt x="249" y="61"/>
                      </a:lnTo>
                      <a:lnTo>
                        <a:pt x="250" y="61"/>
                      </a:lnTo>
                      <a:lnTo>
                        <a:pt x="250" y="61"/>
                      </a:lnTo>
                      <a:lnTo>
                        <a:pt x="251" y="62"/>
                      </a:lnTo>
                      <a:lnTo>
                        <a:pt x="251" y="62"/>
                      </a:lnTo>
                      <a:lnTo>
                        <a:pt x="252" y="63"/>
                      </a:lnTo>
                      <a:lnTo>
                        <a:pt x="252" y="63"/>
                      </a:lnTo>
                      <a:lnTo>
                        <a:pt x="253" y="63"/>
                      </a:lnTo>
                      <a:lnTo>
                        <a:pt x="253" y="63"/>
                      </a:lnTo>
                      <a:lnTo>
                        <a:pt x="254" y="64"/>
                      </a:lnTo>
                      <a:lnTo>
                        <a:pt x="255" y="64"/>
                      </a:lnTo>
                      <a:lnTo>
                        <a:pt x="255" y="65"/>
                      </a:lnTo>
                      <a:lnTo>
                        <a:pt x="255" y="65"/>
                      </a:lnTo>
                      <a:lnTo>
                        <a:pt x="255" y="66"/>
                      </a:lnTo>
                      <a:lnTo>
                        <a:pt x="255" y="67"/>
                      </a:lnTo>
                      <a:lnTo>
                        <a:pt x="255" y="67"/>
                      </a:lnTo>
                      <a:lnTo>
                        <a:pt x="255" y="66"/>
                      </a:lnTo>
                      <a:lnTo>
                        <a:pt x="256" y="66"/>
                      </a:lnTo>
                      <a:lnTo>
                        <a:pt x="256" y="67"/>
                      </a:lnTo>
                      <a:lnTo>
                        <a:pt x="257" y="67"/>
                      </a:lnTo>
                      <a:lnTo>
                        <a:pt x="257" y="67"/>
                      </a:lnTo>
                      <a:lnTo>
                        <a:pt x="257" y="67"/>
                      </a:lnTo>
                      <a:lnTo>
                        <a:pt x="258" y="67"/>
                      </a:lnTo>
                      <a:lnTo>
                        <a:pt x="258" y="68"/>
                      </a:lnTo>
                      <a:lnTo>
                        <a:pt x="259" y="68"/>
                      </a:lnTo>
                      <a:lnTo>
                        <a:pt x="260" y="68"/>
                      </a:lnTo>
                      <a:lnTo>
                        <a:pt x="260" y="68"/>
                      </a:lnTo>
                      <a:lnTo>
                        <a:pt x="261" y="68"/>
                      </a:lnTo>
                      <a:lnTo>
                        <a:pt x="261" y="69"/>
                      </a:lnTo>
                      <a:lnTo>
                        <a:pt x="262" y="69"/>
                      </a:lnTo>
                      <a:lnTo>
                        <a:pt x="262" y="68"/>
                      </a:lnTo>
                      <a:lnTo>
                        <a:pt x="262" y="69"/>
                      </a:lnTo>
                      <a:lnTo>
                        <a:pt x="263" y="69"/>
                      </a:lnTo>
                      <a:lnTo>
                        <a:pt x="264" y="69"/>
                      </a:lnTo>
                      <a:lnTo>
                        <a:pt x="264" y="69"/>
                      </a:lnTo>
                      <a:lnTo>
                        <a:pt x="265" y="69"/>
                      </a:lnTo>
                      <a:lnTo>
                        <a:pt x="265" y="68"/>
                      </a:lnTo>
                      <a:lnTo>
                        <a:pt x="266" y="68"/>
                      </a:lnTo>
                      <a:lnTo>
                        <a:pt x="266" y="67"/>
                      </a:lnTo>
                      <a:lnTo>
                        <a:pt x="266" y="67"/>
                      </a:lnTo>
                      <a:lnTo>
                        <a:pt x="267" y="67"/>
                      </a:lnTo>
                      <a:lnTo>
                        <a:pt x="267" y="68"/>
                      </a:lnTo>
                      <a:lnTo>
                        <a:pt x="268" y="67"/>
                      </a:lnTo>
                      <a:lnTo>
                        <a:pt x="268" y="67"/>
                      </a:lnTo>
                      <a:lnTo>
                        <a:pt x="268" y="67"/>
                      </a:lnTo>
                      <a:lnTo>
                        <a:pt x="269" y="67"/>
                      </a:lnTo>
                      <a:lnTo>
                        <a:pt x="269" y="66"/>
                      </a:lnTo>
                      <a:lnTo>
                        <a:pt x="270" y="66"/>
                      </a:lnTo>
                      <a:lnTo>
                        <a:pt x="270" y="66"/>
                      </a:lnTo>
                      <a:lnTo>
                        <a:pt x="271" y="66"/>
                      </a:lnTo>
                      <a:lnTo>
                        <a:pt x="272" y="66"/>
                      </a:lnTo>
                      <a:lnTo>
                        <a:pt x="272" y="67"/>
                      </a:lnTo>
                      <a:lnTo>
                        <a:pt x="272" y="66"/>
                      </a:lnTo>
                      <a:lnTo>
                        <a:pt x="273" y="66"/>
                      </a:lnTo>
                      <a:lnTo>
                        <a:pt x="274" y="66"/>
                      </a:lnTo>
                      <a:lnTo>
                        <a:pt x="274" y="65"/>
                      </a:lnTo>
                      <a:lnTo>
                        <a:pt x="274" y="66"/>
                      </a:lnTo>
                      <a:lnTo>
                        <a:pt x="274" y="66"/>
                      </a:lnTo>
                      <a:lnTo>
                        <a:pt x="275" y="66"/>
                      </a:lnTo>
                      <a:lnTo>
                        <a:pt x="276" y="66"/>
                      </a:lnTo>
                      <a:lnTo>
                        <a:pt x="276" y="66"/>
                      </a:lnTo>
                      <a:lnTo>
                        <a:pt x="277" y="65"/>
                      </a:lnTo>
                      <a:lnTo>
                        <a:pt x="278" y="65"/>
                      </a:lnTo>
                      <a:lnTo>
                        <a:pt x="279" y="65"/>
                      </a:lnTo>
                      <a:lnTo>
                        <a:pt x="279" y="65"/>
                      </a:lnTo>
                      <a:lnTo>
                        <a:pt x="280" y="65"/>
                      </a:lnTo>
                      <a:lnTo>
                        <a:pt x="281" y="65"/>
                      </a:lnTo>
                      <a:lnTo>
                        <a:pt x="281" y="66"/>
                      </a:lnTo>
                      <a:lnTo>
                        <a:pt x="281" y="66"/>
                      </a:lnTo>
                      <a:lnTo>
                        <a:pt x="281" y="67"/>
                      </a:lnTo>
                      <a:lnTo>
                        <a:pt x="282" y="67"/>
                      </a:lnTo>
                      <a:lnTo>
                        <a:pt x="283" y="66"/>
                      </a:lnTo>
                      <a:lnTo>
                        <a:pt x="283" y="67"/>
                      </a:lnTo>
                      <a:lnTo>
                        <a:pt x="283" y="67"/>
                      </a:lnTo>
                      <a:lnTo>
                        <a:pt x="284" y="67"/>
                      </a:lnTo>
                      <a:lnTo>
                        <a:pt x="285" y="67"/>
                      </a:lnTo>
                      <a:lnTo>
                        <a:pt x="285" y="67"/>
                      </a:lnTo>
                      <a:lnTo>
                        <a:pt x="285" y="67"/>
                      </a:lnTo>
                      <a:lnTo>
                        <a:pt x="286" y="68"/>
                      </a:lnTo>
                      <a:lnTo>
                        <a:pt x="287" y="68"/>
                      </a:lnTo>
                      <a:lnTo>
                        <a:pt x="287" y="68"/>
                      </a:lnTo>
                      <a:lnTo>
                        <a:pt x="288" y="68"/>
                      </a:lnTo>
                      <a:lnTo>
                        <a:pt x="288" y="69"/>
                      </a:lnTo>
                      <a:lnTo>
                        <a:pt x="289" y="69"/>
                      </a:lnTo>
                      <a:lnTo>
                        <a:pt x="289" y="69"/>
                      </a:lnTo>
                      <a:lnTo>
                        <a:pt x="289" y="69"/>
                      </a:lnTo>
                      <a:lnTo>
                        <a:pt x="289" y="70"/>
                      </a:lnTo>
                      <a:lnTo>
                        <a:pt x="290" y="70"/>
                      </a:lnTo>
                      <a:lnTo>
                        <a:pt x="291" y="70"/>
                      </a:lnTo>
                      <a:lnTo>
                        <a:pt x="291" y="70"/>
                      </a:lnTo>
                      <a:lnTo>
                        <a:pt x="292" y="70"/>
                      </a:lnTo>
                      <a:lnTo>
                        <a:pt x="293" y="70"/>
                      </a:lnTo>
                      <a:lnTo>
                        <a:pt x="293" y="70"/>
                      </a:lnTo>
                      <a:lnTo>
                        <a:pt x="294" y="69"/>
                      </a:lnTo>
                      <a:lnTo>
                        <a:pt x="295" y="69"/>
                      </a:lnTo>
                      <a:lnTo>
                        <a:pt x="295" y="69"/>
                      </a:lnTo>
                      <a:lnTo>
                        <a:pt x="295" y="68"/>
                      </a:lnTo>
                      <a:lnTo>
                        <a:pt x="295" y="68"/>
                      </a:lnTo>
                      <a:lnTo>
                        <a:pt x="296" y="68"/>
                      </a:lnTo>
                      <a:lnTo>
                        <a:pt x="296" y="67"/>
                      </a:lnTo>
                      <a:lnTo>
                        <a:pt x="297" y="67"/>
                      </a:lnTo>
                      <a:lnTo>
                        <a:pt x="298" y="67"/>
                      </a:lnTo>
                      <a:lnTo>
                        <a:pt x="298" y="67"/>
                      </a:lnTo>
                      <a:lnTo>
                        <a:pt x="299" y="67"/>
                      </a:lnTo>
                      <a:lnTo>
                        <a:pt x="300" y="67"/>
                      </a:lnTo>
                      <a:lnTo>
                        <a:pt x="299" y="66"/>
                      </a:lnTo>
                      <a:lnTo>
                        <a:pt x="299" y="65"/>
                      </a:lnTo>
                      <a:lnTo>
                        <a:pt x="300" y="65"/>
                      </a:lnTo>
                      <a:lnTo>
                        <a:pt x="300" y="65"/>
                      </a:lnTo>
                      <a:lnTo>
                        <a:pt x="300" y="64"/>
                      </a:lnTo>
                      <a:lnTo>
                        <a:pt x="300" y="63"/>
                      </a:lnTo>
                      <a:lnTo>
                        <a:pt x="300" y="63"/>
                      </a:lnTo>
                      <a:lnTo>
                        <a:pt x="300" y="62"/>
                      </a:lnTo>
                      <a:lnTo>
                        <a:pt x="300" y="62"/>
                      </a:lnTo>
                      <a:lnTo>
                        <a:pt x="300" y="61"/>
                      </a:lnTo>
                      <a:lnTo>
                        <a:pt x="300" y="61"/>
                      </a:lnTo>
                      <a:lnTo>
                        <a:pt x="300" y="60"/>
                      </a:lnTo>
                      <a:lnTo>
                        <a:pt x="300" y="59"/>
                      </a:lnTo>
                      <a:lnTo>
                        <a:pt x="301" y="59"/>
                      </a:lnTo>
                      <a:lnTo>
                        <a:pt x="301" y="59"/>
                      </a:lnTo>
                      <a:lnTo>
                        <a:pt x="301" y="58"/>
                      </a:lnTo>
                      <a:lnTo>
                        <a:pt x="301" y="57"/>
                      </a:lnTo>
                      <a:lnTo>
                        <a:pt x="302" y="57"/>
                      </a:lnTo>
                      <a:lnTo>
                        <a:pt x="302" y="57"/>
                      </a:lnTo>
                      <a:lnTo>
                        <a:pt x="302" y="56"/>
                      </a:lnTo>
                      <a:lnTo>
                        <a:pt x="302" y="55"/>
                      </a:lnTo>
                      <a:lnTo>
                        <a:pt x="302" y="54"/>
                      </a:lnTo>
                      <a:lnTo>
                        <a:pt x="302" y="54"/>
                      </a:lnTo>
                      <a:lnTo>
                        <a:pt x="302" y="53"/>
                      </a:lnTo>
                      <a:lnTo>
                        <a:pt x="302" y="53"/>
                      </a:lnTo>
                      <a:lnTo>
                        <a:pt x="302" y="52"/>
                      </a:lnTo>
                      <a:lnTo>
                        <a:pt x="302" y="52"/>
                      </a:lnTo>
                      <a:lnTo>
                        <a:pt x="302" y="51"/>
                      </a:lnTo>
                      <a:lnTo>
                        <a:pt x="302" y="50"/>
                      </a:lnTo>
                      <a:lnTo>
                        <a:pt x="301" y="50"/>
                      </a:lnTo>
                      <a:lnTo>
                        <a:pt x="301" y="49"/>
                      </a:lnTo>
                      <a:lnTo>
                        <a:pt x="301" y="48"/>
                      </a:lnTo>
                      <a:lnTo>
                        <a:pt x="300" y="48"/>
                      </a:lnTo>
                      <a:lnTo>
                        <a:pt x="300" y="48"/>
                      </a:lnTo>
                      <a:lnTo>
                        <a:pt x="300" y="48"/>
                      </a:lnTo>
                      <a:lnTo>
                        <a:pt x="300" y="47"/>
                      </a:lnTo>
                      <a:lnTo>
                        <a:pt x="300" y="46"/>
                      </a:lnTo>
                      <a:lnTo>
                        <a:pt x="300" y="46"/>
                      </a:lnTo>
                      <a:lnTo>
                        <a:pt x="300" y="46"/>
                      </a:lnTo>
                      <a:lnTo>
                        <a:pt x="301" y="46"/>
                      </a:lnTo>
                      <a:lnTo>
                        <a:pt x="301" y="45"/>
                      </a:lnTo>
                      <a:lnTo>
                        <a:pt x="301" y="44"/>
                      </a:lnTo>
                      <a:lnTo>
                        <a:pt x="301" y="44"/>
                      </a:lnTo>
                      <a:lnTo>
                        <a:pt x="301" y="43"/>
                      </a:lnTo>
                      <a:lnTo>
                        <a:pt x="301" y="42"/>
                      </a:lnTo>
                      <a:lnTo>
                        <a:pt x="301" y="42"/>
                      </a:lnTo>
                      <a:lnTo>
                        <a:pt x="300" y="42"/>
                      </a:lnTo>
                      <a:lnTo>
                        <a:pt x="300" y="41"/>
                      </a:lnTo>
                      <a:lnTo>
                        <a:pt x="300" y="41"/>
                      </a:lnTo>
                      <a:lnTo>
                        <a:pt x="300" y="40"/>
                      </a:lnTo>
                      <a:lnTo>
                        <a:pt x="300" y="40"/>
                      </a:lnTo>
                      <a:lnTo>
                        <a:pt x="300" y="39"/>
                      </a:lnTo>
                      <a:lnTo>
                        <a:pt x="300" y="39"/>
                      </a:lnTo>
                      <a:lnTo>
                        <a:pt x="301" y="39"/>
                      </a:lnTo>
                      <a:lnTo>
                        <a:pt x="302" y="39"/>
                      </a:lnTo>
                      <a:lnTo>
                        <a:pt x="302" y="39"/>
                      </a:lnTo>
                      <a:lnTo>
                        <a:pt x="303" y="39"/>
                      </a:lnTo>
                      <a:lnTo>
                        <a:pt x="303" y="38"/>
                      </a:lnTo>
                      <a:lnTo>
                        <a:pt x="304" y="38"/>
                      </a:lnTo>
                      <a:lnTo>
                        <a:pt x="304" y="38"/>
                      </a:lnTo>
                      <a:lnTo>
                        <a:pt x="304" y="38"/>
                      </a:lnTo>
                      <a:lnTo>
                        <a:pt x="305" y="38"/>
                      </a:lnTo>
                      <a:lnTo>
                        <a:pt x="305" y="37"/>
                      </a:lnTo>
                      <a:lnTo>
                        <a:pt x="304" y="37"/>
                      </a:lnTo>
                      <a:lnTo>
                        <a:pt x="304" y="36"/>
                      </a:lnTo>
                      <a:lnTo>
                        <a:pt x="304" y="36"/>
                      </a:lnTo>
                      <a:lnTo>
                        <a:pt x="304" y="36"/>
                      </a:lnTo>
                      <a:lnTo>
                        <a:pt x="304" y="35"/>
                      </a:lnTo>
                      <a:lnTo>
                        <a:pt x="304" y="35"/>
                      </a:lnTo>
                      <a:lnTo>
                        <a:pt x="304" y="34"/>
                      </a:lnTo>
                      <a:lnTo>
                        <a:pt x="303" y="33"/>
                      </a:lnTo>
                      <a:lnTo>
                        <a:pt x="303" y="33"/>
                      </a:lnTo>
                      <a:lnTo>
                        <a:pt x="302" y="33"/>
                      </a:lnTo>
                      <a:lnTo>
                        <a:pt x="302" y="33"/>
                      </a:lnTo>
                      <a:lnTo>
                        <a:pt x="301" y="33"/>
                      </a:lnTo>
                      <a:lnTo>
                        <a:pt x="301" y="32"/>
                      </a:lnTo>
                      <a:lnTo>
                        <a:pt x="301" y="31"/>
                      </a:lnTo>
                      <a:lnTo>
                        <a:pt x="302" y="31"/>
                      </a:lnTo>
                      <a:lnTo>
                        <a:pt x="302" y="31"/>
                      </a:lnTo>
                      <a:lnTo>
                        <a:pt x="303" y="31"/>
                      </a:lnTo>
                      <a:lnTo>
                        <a:pt x="303" y="30"/>
                      </a:lnTo>
                      <a:lnTo>
                        <a:pt x="303" y="29"/>
                      </a:lnTo>
                      <a:lnTo>
                        <a:pt x="304" y="29"/>
                      </a:lnTo>
                      <a:lnTo>
                        <a:pt x="304" y="28"/>
                      </a:lnTo>
                      <a:lnTo>
                        <a:pt x="304" y="27"/>
                      </a:lnTo>
                      <a:lnTo>
                        <a:pt x="303" y="27"/>
                      </a:lnTo>
                      <a:lnTo>
                        <a:pt x="303" y="27"/>
                      </a:lnTo>
                      <a:lnTo>
                        <a:pt x="302" y="27"/>
                      </a:lnTo>
                      <a:lnTo>
                        <a:pt x="302" y="26"/>
                      </a:lnTo>
                      <a:lnTo>
                        <a:pt x="302" y="25"/>
                      </a:lnTo>
                      <a:lnTo>
                        <a:pt x="302" y="25"/>
                      </a:lnTo>
                      <a:lnTo>
                        <a:pt x="302" y="25"/>
                      </a:lnTo>
                      <a:lnTo>
                        <a:pt x="302" y="24"/>
                      </a:lnTo>
                      <a:lnTo>
                        <a:pt x="302" y="23"/>
                      </a:lnTo>
                      <a:lnTo>
                        <a:pt x="302" y="23"/>
                      </a:lnTo>
                      <a:lnTo>
                        <a:pt x="302" y="22"/>
                      </a:lnTo>
                      <a:lnTo>
                        <a:pt x="302" y="21"/>
                      </a:lnTo>
                      <a:lnTo>
                        <a:pt x="302" y="21"/>
                      </a:lnTo>
                      <a:lnTo>
                        <a:pt x="303" y="21"/>
                      </a:lnTo>
                      <a:lnTo>
                        <a:pt x="304" y="21"/>
                      </a:lnTo>
                      <a:lnTo>
                        <a:pt x="304" y="21"/>
                      </a:lnTo>
                      <a:lnTo>
                        <a:pt x="304" y="20"/>
                      </a:lnTo>
                      <a:lnTo>
                        <a:pt x="304" y="19"/>
                      </a:lnTo>
                      <a:lnTo>
                        <a:pt x="304" y="19"/>
                      </a:lnTo>
                      <a:lnTo>
                        <a:pt x="304" y="19"/>
                      </a:lnTo>
                      <a:lnTo>
                        <a:pt x="303" y="19"/>
                      </a:lnTo>
                      <a:lnTo>
                        <a:pt x="302" y="19"/>
                      </a:lnTo>
                      <a:lnTo>
                        <a:pt x="302" y="19"/>
                      </a:lnTo>
                      <a:lnTo>
                        <a:pt x="302" y="19"/>
                      </a:lnTo>
                      <a:lnTo>
                        <a:pt x="301" y="19"/>
                      </a:lnTo>
                      <a:lnTo>
                        <a:pt x="300" y="19"/>
                      </a:lnTo>
                      <a:lnTo>
                        <a:pt x="300" y="19"/>
                      </a:lnTo>
                      <a:lnTo>
                        <a:pt x="301" y="19"/>
                      </a:lnTo>
                      <a:lnTo>
                        <a:pt x="302" y="18"/>
                      </a:lnTo>
                      <a:lnTo>
                        <a:pt x="302" y="18"/>
                      </a:lnTo>
                      <a:lnTo>
                        <a:pt x="302" y="17"/>
                      </a:lnTo>
                      <a:lnTo>
                        <a:pt x="303" y="17"/>
                      </a:lnTo>
                      <a:lnTo>
                        <a:pt x="303" y="16"/>
                      </a:lnTo>
                      <a:lnTo>
                        <a:pt x="302" y="15"/>
                      </a:lnTo>
                      <a:lnTo>
                        <a:pt x="303" y="15"/>
                      </a:lnTo>
                      <a:lnTo>
                        <a:pt x="303" y="14"/>
                      </a:lnTo>
                      <a:lnTo>
                        <a:pt x="304" y="14"/>
                      </a:lnTo>
                      <a:lnTo>
                        <a:pt x="304" y="14"/>
                      </a:lnTo>
                      <a:lnTo>
                        <a:pt x="304" y="13"/>
                      </a:lnTo>
                      <a:lnTo>
                        <a:pt x="303" y="13"/>
                      </a:lnTo>
                      <a:lnTo>
                        <a:pt x="303" y="12"/>
                      </a:lnTo>
                      <a:lnTo>
                        <a:pt x="302" y="12"/>
                      </a:lnTo>
                      <a:lnTo>
                        <a:pt x="302" y="12"/>
                      </a:lnTo>
                      <a:lnTo>
                        <a:pt x="303" y="12"/>
                      </a:lnTo>
                      <a:lnTo>
                        <a:pt x="303" y="11"/>
                      </a:lnTo>
                      <a:lnTo>
                        <a:pt x="303" y="10"/>
                      </a:lnTo>
                      <a:lnTo>
                        <a:pt x="304" y="10"/>
                      </a:lnTo>
                      <a:lnTo>
                        <a:pt x="304" y="10"/>
                      </a:lnTo>
                      <a:lnTo>
                        <a:pt x="304" y="9"/>
                      </a:lnTo>
                      <a:lnTo>
                        <a:pt x="304" y="9"/>
                      </a:lnTo>
                      <a:lnTo>
                        <a:pt x="304" y="8"/>
                      </a:lnTo>
                      <a:lnTo>
                        <a:pt x="304" y="8"/>
                      </a:lnTo>
                      <a:lnTo>
                        <a:pt x="304" y="7"/>
                      </a:lnTo>
                      <a:lnTo>
                        <a:pt x="304" y="6"/>
                      </a:lnTo>
                      <a:lnTo>
                        <a:pt x="304" y="6"/>
                      </a:lnTo>
                      <a:lnTo>
                        <a:pt x="304" y="5"/>
                      </a:lnTo>
                      <a:lnTo>
                        <a:pt x="305" y="4"/>
                      </a:lnTo>
                      <a:lnTo>
                        <a:pt x="306" y="4"/>
                      </a:lnTo>
                      <a:lnTo>
                        <a:pt x="306" y="3"/>
                      </a:lnTo>
                      <a:lnTo>
                        <a:pt x="305" y="2"/>
                      </a:lnTo>
                      <a:lnTo>
                        <a:pt x="304" y="2"/>
                      </a:lnTo>
                      <a:lnTo>
                        <a:pt x="304" y="1"/>
                      </a:lnTo>
                      <a:lnTo>
                        <a:pt x="304" y="0"/>
                      </a:lnTo>
                      <a:lnTo>
                        <a:pt x="305" y="0"/>
                      </a:lnTo>
                      <a:lnTo>
                        <a:pt x="305" y="0"/>
                      </a:lnTo>
                      <a:lnTo>
                        <a:pt x="306" y="0"/>
                      </a:lnTo>
                      <a:lnTo>
                        <a:pt x="306" y="0"/>
                      </a:lnTo>
                      <a:lnTo>
                        <a:pt x="307"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8" name="Santa Cruz">
                  <a:extLst>
                    <a:ext uri="{FF2B5EF4-FFF2-40B4-BE49-F238E27FC236}">
                      <a16:creationId xmlns:a16="http://schemas.microsoft.com/office/drawing/2014/main" xmlns="" id="{261604E3-0B81-185C-40F3-847144A0D3E6}"/>
                    </a:ext>
                  </a:extLst>
                </p:cNvPr>
                <p:cNvSpPr>
                  <a:spLocks/>
                </p:cNvSpPr>
                <p:nvPr/>
              </p:nvSpPr>
              <p:spPr bwMode="auto">
                <a:xfrm>
                  <a:off x="3238" y="1729"/>
                  <a:ext cx="1874" cy="1849"/>
                </a:xfrm>
                <a:custGeom>
                  <a:avLst/>
                  <a:gdLst>
                    <a:gd name="T0" fmla="*/ 1019 w 1874"/>
                    <a:gd name="T1" fmla="*/ 37 h 1849"/>
                    <a:gd name="T2" fmla="*/ 1074 w 1874"/>
                    <a:gd name="T3" fmla="*/ 67 h 1849"/>
                    <a:gd name="T4" fmla="*/ 1115 w 1874"/>
                    <a:gd name="T5" fmla="*/ 86 h 1849"/>
                    <a:gd name="T6" fmla="*/ 1133 w 1874"/>
                    <a:gd name="T7" fmla="*/ 158 h 1849"/>
                    <a:gd name="T8" fmla="*/ 1147 w 1874"/>
                    <a:gd name="T9" fmla="*/ 260 h 1849"/>
                    <a:gd name="T10" fmla="*/ 1177 w 1874"/>
                    <a:gd name="T11" fmla="*/ 390 h 1849"/>
                    <a:gd name="T12" fmla="*/ 1265 w 1874"/>
                    <a:gd name="T13" fmla="*/ 743 h 1849"/>
                    <a:gd name="T14" fmla="*/ 1369 w 1874"/>
                    <a:gd name="T15" fmla="*/ 747 h 1849"/>
                    <a:gd name="T16" fmla="*/ 1464 w 1874"/>
                    <a:gd name="T17" fmla="*/ 753 h 1849"/>
                    <a:gd name="T18" fmla="*/ 1614 w 1874"/>
                    <a:gd name="T19" fmla="*/ 762 h 1849"/>
                    <a:gd name="T20" fmla="*/ 1663 w 1874"/>
                    <a:gd name="T21" fmla="*/ 809 h 1849"/>
                    <a:gd name="T22" fmla="*/ 1627 w 1874"/>
                    <a:gd name="T23" fmla="*/ 902 h 1849"/>
                    <a:gd name="T24" fmla="*/ 1636 w 1874"/>
                    <a:gd name="T25" fmla="*/ 951 h 1849"/>
                    <a:gd name="T26" fmla="*/ 1668 w 1874"/>
                    <a:gd name="T27" fmla="*/ 1021 h 1849"/>
                    <a:gd name="T28" fmla="*/ 1711 w 1874"/>
                    <a:gd name="T29" fmla="*/ 1058 h 1849"/>
                    <a:gd name="T30" fmla="*/ 1803 w 1874"/>
                    <a:gd name="T31" fmla="*/ 1103 h 1849"/>
                    <a:gd name="T32" fmla="*/ 1819 w 1874"/>
                    <a:gd name="T33" fmla="*/ 1187 h 1849"/>
                    <a:gd name="T34" fmla="*/ 1855 w 1874"/>
                    <a:gd name="T35" fmla="*/ 1278 h 1849"/>
                    <a:gd name="T36" fmla="*/ 1797 w 1874"/>
                    <a:gd name="T37" fmla="*/ 1452 h 1849"/>
                    <a:gd name="T38" fmla="*/ 1745 w 1874"/>
                    <a:gd name="T39" fmla="*/ 1567 h 1849"/>
                    <a:gd name="T40" fmla="*/ 1756 w 1874"/>
                    <a:gd name="T41" fmla="*/ 1733 h 1849"/>
                    <a:gd name="T42" fmla="*/ 1686 w 1874"/>
                    <a:gd name="T43" fmla="*/ 1767 h 1849"/>
                    <a:gd name="T44" fmla="*/ 1644 w 1874"/>
                    <a:gd name="T45" fmla="*/ 1670 h 1849"/>
                    <a:gd name="T46" fmla="*/ 1055 w 1874"/>
                    <a:gd name="T47" fmla="*/ 1586 h 1849"/>
                    <a:gd name="T48" fmla="*/ 382 w 1874"/>
                    <a:gd name="T49" fmla="*/ 1836 h 1849"/>
                    <a:gd name="T50" fmla="*/ 322 w 1874"/>
                    <a:gd name="T51" fmla="*/ 1842 h 1849"/>
                    <a:gd name="T52" fmla="*/ 298 w 1874"/>
                    <a:gd name="T53" fmla="*/ 1783 h 1849"/>
                    <a:gd name="T54" fmla="*/ 290 w 1874"/>
                    <a:gd name="T55" fmla="*/ 1702 h 1849"/>
                    <a:gd name="T56" fmla="*/ 293 w 1874"/>
                    <a:gd name="T57" fmla="*/ 1623 h 1849"/>
                    <a:gd name="T58" fmla="*/ 288 w 1874"/>
                    <a:gd name="T59" fmla="*/ 1523 h 1849"/>
                    <a:gd name="T60" fmla="*/ 268 w 1874"/>
                    <a:gd name="T61" fmla="*/ 1472 h 1849"/>
                    <a:gd name="T62" fmla="*/ 234 w 1874"/>
                    <a:gd name="T63" fmla="*/ 1507 h 1849"/>
                    <a:gd name="T64" fmla="*/ 198 w 1874"/>
                    <a:gd name="T65" fmla="*/ 1459 h 1849"/>
                    <a:gd name="T66" fmla="*/ 145 w 1874"/>
                    <a:gd name="T67" fmla="*/ 1411 h 1849"/>
                    <a:gd name="T68" fmla="*/ 145 w 1874"/>
                    <a:gd name="T69" fmla="*/ 1341 h 1849"/>
                    <a:gd name="T70" fmla="*/ 104 w 1874"/>
                    <a:gd name="T71" fmla="*/ 1294 h 1849"/>
                    <a:gd name="T72" fmla="*/ 86 w 1874"/>
                    <a:gd name="T73" fmla="*/ 1245 h 1849"/>
                    <a:gd name="T74" fmla="*/ 35 w 1874"/>
                    <a:gd name="T75" fmla="*/ 1211 h 1849"/>
                    <a:gd name="T76" fmla="*/ 26 w 1874"/>
                    <a:gd name="T77" fmla="*/ 1127 h 1849"/>
                    <a:gd name="T78" fmla="*/ 64 w 1874"/>
                    <a:gd name="T79" fmla="*/ 1084 h 1849"/>
                    <a:gd name="T80" fmla="*/ 120 w 1874"/>
                    <a:gd name="T81" fmla="*/ 1051 h 1849"/>
                    <a:gd name="T82" fmla="*/ 155 w 1874"/>
                    <a:gd name="T83" fmla="*/ 1015 h 1849"/>
                    <a:gd name="T84" fmla="*/ 121 w 1874"/>
                    <a:gd name="T85" fmla="*/ 990 h 1849"/>
                    <a:gd name="T86" fmla="*/ 94 w 1874"/>
                    <a:gd name="T87" fmla="*/ 962 h 1849"/>
                    <a:gd name="T88" fmla="*/ 58 w 1874"/>
                    <a:gd name="T89" fmla="*/ 938 h 1849"/>
                    <a:gd name="T90" fmla="*/ 32 w 1874"/>
                    <a:gd name="T91" fmla="*/ 922 h 1849"/>
                    <a:gd name="T92" fmla="*/ 14 w 1874"/>
                    <a:gd name="T93" fmla="*/ 891 h 1849"/>
                    <a:gd name="T94" fmla="*/ 19 w 1874"/>
                    <a:gd name="T95" fmla="*/ 843 h 1849"/>
                    <a:gd name="T96" fmla="*/ 32 w 1874"/>
                    <a:gd name="T97" fmla="*/ 794 h 1849"/>
                    <a:gd name="T98" fmla="*/ 49 w 1874"/>
                    <a:gd name="T99" fmla="*/ 751 h 1849"/>
                    <a:gd name="T100" fmla="*/ 41 w 1874"/>
                    <a:gd name="T101" fmla="*/ 699 h 1849"/>
                    <a:gd name="T102" fmla="*/ 34 w 1874"/>
                    <a:gd name="T103" fmla="*/ 667 h 1849"/>
                    <a:gd name="T104" fmla="*/ 371 w 1874"/>
                    <a:gd name="T105" fmla="*/ 629 h 1849"/>
                    <a:gd name="T106" fmla="*/ 359 w 1874"/>
                    <a:gd name="T107" fmla="*/ 601 h 1849"/>
                    <a:gd name="T108" fmla="*/ 328 w 1874"/>
                    <a:gd name="T109" fmla="*/ 575 h 1849"/>
                    <a:gd name="T110" fmla="*/ 293 w 1874"/>
                    <a:gd name="T111" fmla="*/ 553 h 1849"/>
                    <a:gd name="T112" fmla="*/ 278 w 1874"/>
                    <a:gd name="T113" fmla="*/ 526 h 1849"/>
                    <a:gd name="T114" fmla="*/ 256 w 1874"/>
                    <a:gd name="T115" fmla="*/ 488 h 1849"/>
                    <a:gd name="T116" fmla="*/ 240 w 1874"/>
                    <a:gd name="T117" fmla="*/ 448 h 1849"/>
                    <a:gd name="T118" fmla="*/ 229 w 1874"/>
                    <a:gd name="T119" fmla="*/ 404 h 1849"/>
                    <a:gd name="T120" fmla="*/ 231 w 1874"/>
                    <a:gd name="T121" fmla="*/ 341 h 1849"/>
                    <a:gd name="T122" fmla="*/ 900 w 1874"/>
                    <a:gd name="T123" fmla="*/ 10 h 1849"/>
                    <a:gd name="T124" fmla="*/ 950 w 1874"/>
                    <a:gd name="T125" fmla="*/ 12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4" h="1849">
                      <a:moveTo>
                        <a:pt x="991" y="7"/>
                      </a:moveTo>
                      <a:lnTo>
                        <a:pt x="991" y="8"/>
                      </a:lnTo>
                      <a:lnTo>
                        <a:pt x="990" y="8"/>
                      </a:lnTo>
                      <a:lnTo>
                        <a:pt x="989" y="8"/>
                      </a:lnTo>
                      <a:lnTo>
                        <a:pt x="989" y="7"/>
                      </a:lnTo>
                      <a:lnTo>
                        <a:pt x="989" y="7"/>
                      </a:lnTo>
                      <a:lnTo>
                        <a:pt x="988" y="7"/>
                      </a:lnTo>
                      <a:lnTo>
                        <a:pt x="987" y="7"/>
                      </a:lnTo>
                      <a:lnTo>
                        <a:pt x="987" y="7"/>
                      </a:lnTo>
                      <a:lnTo>
                        <a:pt x="986" y="7"/>
                      </a:lnTo>
                      <a:lnTo>
                        <a:pt x="986" y="8"/>
                      </a:lnTo>
                      <a:lnTo>
                        <a:pt x="985" y="8"/>
                      </a:lnTo>
                      <a:lnTo>
                        <a:pt x="985" y="8"/>
                      </a:lnTo>
                      <a:lnTo>
                        <a:pt x="985" y="9"/>
                      </a:lnTo>
                      <a:lnTo>
                        <a:pt x="985" y="10"/>
                      </a:lnTo>
                      <a:lnTo>
                        <a:pt x="985" y="10"/>
                      </a:lnTo>
                      <a:lnTo>
                        <a:pt x="986" y="11"/>
                      </a:lnTo>
                      <a:lnTo>
                        <a:pt x="987" y="11"/>
                      </a:lnTo>
                      <a:lnTo>
                        <a:pt x="987" y="12"/>
                      </a:lnTo>
                      <a:lnTo>
                        <a:pt x="987" y="12"/>
                      </a:lnTo>
                      <a:lnTo>
                        <a:pt x="987" y="13"/>
                      </a:lnTo>
                      <a:lnTo>
                        <a:pt x="988" y="13"/>
                      </a:lnTo>
                      <a:lnTo>
                        <a:pt x="988" y="14"/>
                      </a:lnTo>
                      <a:lnTo>
                        <a:pt x="988" y="14"/>
                      </a:lnTo>
                      <a:lnTo>
                        <a:pt x="988" y="15"/>
                      </a:lnTo>
                      <a:lnTo>
                        <a:pt x="987" y="15"/>
                      </a:lnTo>
                      <a:lnTo>
                        <a:pt x="987" y="14"/>
                      </a:lnTo>
                      <a:lnTo>
                        <a:pt x="987" y="14"/>
                      </a:lnTo>
                      <a:lnTo>
                        <a:pt x="987" y="14"/>
                      </a:lnTo>
                      <a:lnTo>
                        <a:pt x="987" y="13"/>
                      </a:lnTo>
                      <a:lnTo>
                        <a:pt x="986" y="13"/>
                      </a:lnTo>
                      <a:lnTo>
                        <a:pt x="985" y="13"/>
                      </a:lnTo>
                      <a:lnTo>
                        <a:pt x="985" y="13"/>
                      </a:lnTo>
                      <a:lnTo>
                        <a:pt x="985" y="14"/>
                      </a:lnTo>
                      <a:lnTo>
                        <a:pt x="985" y="14"/>
                      </a:lnTo>
                      <a:lnTo>
                        <a:pt x="985" y="15"/>
                      </a:lnTo>
                      <a:lnTo>
                        <a:pt x="985" y="15"/>
                      </a:lnTo>
                      <a:lnTo>
                        <a:pt x="985" y="16"/>
                      </a:lnTo>
                      <a:lnTo>
                        <a:pt x="986" y="16"/>
                      </a:lnTo>
                      <a:lnTo>
                        <a:pt x="986" y="17"/>
                      </a:lnTo>
                      <a:lnTo>
                        <a:pt x="986" y="18"/>
                      </a:lnTo>
                      <a:lnTo>
                        <a:pt x="986" y="18"/>
                      </a:lnTo>
                      <a:lnTo>
                        <a:pt x="986" y="19"/>
                      </a:lnTo>
                      <a:lnTo>
                        <a:pt x="986" y="20"/>
                      </a:lnTo>
                      <a:lnTo>
                        <a:pt x="987" y="20"/>
                      </a:lnTo>
                      <a:lnTo>
                        <a:pt x="987" y="20"/>
                      </a:lnTo>
                      <a:lnTo>
                        <a:pt x="988" y="20"/>
                      </a:lnTo>
                      <a:lnTo>
                        <a:pt x="989" y="19"/>
                      </a:lnTo>
                      <a:lnTo>
                        <a:pt x="989" y="19"/>
                      </a:lnTo>
                      <a:lnTo>
                        <a:pt x="989" y="18"/>
                      </a:lnTo>
                      <a:lnTo>
                        <a:pt x="990" y="18"/>
                      </a:lnTo>
                      <a:lnTo>
                        <a:pt x="991" y="18"/>
                      </a:lnTo>
                      <a:lnTo>
                        <a:pt x="991" y="18"/>
                      </a:lnTo>
                      <a:lnTo>
                        <a:pt x="991" y="18"/>
                      </a:lnTo>
                      <a:lnTo>
                        <a:pt x="991" y="17"/>
                      </a:lnTo>
                      <a:lnTo>
                        <a:pt x="991" y="16"/>
                      </a:lnTo>
                      <a:lnTo>
                        <a:pt x="991" y="16"/>
                      </a:lnTo>
                      <a:lnTo>
                        <a:pt x="991" y="16"/>
                      </a:lnTo>
                      <a:lnTo>
                        <a:pt x="992" y="16"/>
                      </a:lnTo>
                      <a:lnTo>
                        <a:pt x="992" y="16"/>
                      </a:lnTo>
                      <a:lnTo>
                        <a:pt x="993" y="16"/>
                      </a:lnTo>
                      <a:lnTo>
                        <a:pt x="993" y="16"/>
                      </a:lnTo>
                      <a:lnTo>
                        <a:pt x="994" y="16"/>
                      </a:lnTo>
                      <a:lnTo>
                        <a:pt x="994" y="16"/>
                      </a:lnTo>
                      <a:lnTo>
                        <a:pt x="995" y="16"/>
                      </a:lnTo>
                      <a:lnTo>
                        <a:pt x="995" y="16"/>
                      </a:lnTo>
                      <a:lnTo>
                        <a:pt x="996" y="16"/>
                      </a:lnTo>
                      <a:lnTo>
                        <a:pt x="997" y="16"/>
                      </a:lnTo>
                      <a:lnTo>
                        <a:pt x="997" y="16"/>
                      </a:lnTo>
                      <a:lnTo>
                        <a:pt x="998" y="16"/>
                      </a:lnTo>
                      <a:lnTo>
                        <a:pt x="998" y="17"/>
                      </a:lnTo>
                      <a:lnTo>
                        <a:pt x="998" y="18"/>
                      </a:lnTo>
                      <a:lnTo>
                        <a:pt x="998" y="18"/>
                      </a:lnTo>
                      <a:lnTo>
                        <a:pt x="998" y="18"/>
                      </a:lnTo>
                      <a:lnTo>
                        <a:pt x="998" y="19"/>
                      </a:lnTo>
                      <a:lnTo>
                        <a:pt x="998" y="20"/>
                      </a:lnTo>
                      <a:lnTo>
                        <a:pt x="999" y="20"/>
                      </a:lnTo>
                      <a:lnTo>
                        <a:pt x="1000" y="20"/>
                      </a:lnTo>
                      <a:lnTo>
                        <a:pt x="1000" y="20"/>
                      </a:lnTo>
                      <a:lnTo>
                        <a:pt x="1001" y="20"/>
                      </a:lnTo>
                      <a:lnTo>
                        <a:pt x="1002" y="20"/>
                      </a:lnTo>
                      <a:lnTo>
                        <a:pt x="1002" y="20"/>
                      </a:lnTo>
                      <a:lnTo>
                        <a:pt x="1002" y="19"/>
                      </a:lnTo>
                      <a:lnTo>
                        <a:pt x="1003" y="19"/>
                      </a:lnTo>
                      <a:lnTo>
                        <a:pt x="1003" y="18"/>
                      </a:lnTo>
                      <a:lnTo>
                        <a:pt x="1004" y="18"/>
                      </a:lnTo>
                      <a:lnTo>
                        <a:pt x="1004" y="18"/>
                      </a:lnTo>
                      <a:lnTo>
                        <a:pt x="1004" y="17"/>
                      </a:lnTo>
                      <a:lnTo>
                        <a:pt x="1005" y="17"/>
                      </a:lnTo>
                      <a:lnTo>
                        <a:pt x="1005" y="16"/>
                      </a:lnTo>
                      <a:lnTo>
                        <a:pt x="1006" y="16"/>
                      </a:lnTo>
                      <a:lnTo>
                        <a:pt x="1006" y="16"/>
                      </a:lnTo>
                      <a:lnTo>
                        <a:pt x="1007" y="16"/>
                      </a:lnTo>
                      <a:lnTo>
                        <a:pt x="1008" y="17"/>
                      </a:lnTo>
                      <a:lnTo>
                        <a:pt x="1008" y="17"/>
                      </a:lnTo>
                      <a:lnTo>
                        <a:pt x="1008" y="18"/>
                      </a:lnTo>
                      <a:lnTo>
                        <a:pt x="1009" y="18"/>
                      </a:lnTo>
                      <a:lnTo>
                        <a:pt x="1009" y="18"/>
                      </a:lnTo>
                      <a:lnTo>
                        <a:pt x="1009" y="19"/>
                      </a:lnTo>
                      <a:lnTo>
                        <a:pt x="1008" y="20"/>
                      </a:lnTo>
                      <a:lnTo>
                        <a:pt x="1008" y="20"/>
                      </a:lnTo>
                      <a:lnTo>
                        <a:pt x="1008" y="21"/>
                      </a:lnTo>
                      <a:lnTo>
                        <a:pt x="1008" y="21"/>
                      </a:lnTo>
                      <a:lnTo>
                        <a:pt x="1007" y="21"/>
                      </a:lnTo>
                      <a:lnTo>
                        <a:pt x="1007" y="22"/>
                      </a:lnTo>
                      <a:lnTo>
                        <a:pt x="1007" y="23"/>
                      </a:lnTo>
                      <a:lnTo>
                        <a:pt x="1008" y="23"/>
                      </a:lnTo>
                      <a:lnTo>
                        <a:pt x="1008" y="24"/>
                      </a:lnTo>
                      <a:lnTo>
                        <a:pt x="1008" y="25"/>
                      </a:lnTo>
                      <a:lnTo>
                        <a:pt x="1008" y="25"/>
                      </a:lnTo>
                      <a:lnTo>
                        <a:pt x="1008" y="25"/>
                      </a:lnTo>
                      <a:lnTo>
                        <a:pt x="1009" y="25"/>
                      </a:lnTo>
                      <a:lnTo>
                        <a:pt x="1009" y="26"/>
                      </a:lnTo>
                      <a:lnTo>
                        <a:pt x="1009" y="27"/>
                      </a:lnTo>
                      <a:lnTo>
                        <a:pt x="1010" y="27"/>
                      </a:lnTo>
                      <a:lnTo>
                        <a:pt x="1010" y="27"/>
                      </a:lnTo>
                      <a:lnTo>
                        <a:pt x="1010" y="28"/>
                      </a:lnTo>
                      <a:lnTo>
                        <a:pt x="1011" y="28"/>
                      </a:lnTo>
                      <a:lnTo>
                        <a:pt x="1011" y="29"/>
                      </a:lnTo>
                      <a:lnTo>
                        <a:pt x="1012" y="29"/>
                      </a:lnTo>
                      <a:lnTo>
                        <a:pt x="1012" y="30"/>
                      </a:lnTo>
                      <a:lnTo>
                        <a:pt x="1013" y="30"/>
                      </a:lnTo>
                      <a:lnTo>
                        <a:pt x="1013" y="31"/>
                      </a:lnTo>
                      <a:lnTo>
                        <a:pt x="1014" y="31"/>
                      </a:lnTo>
                      <a:lnTo>
                        <a:pt x="1014" y="31"/>
                      </a:lnTo>
                      <a:lnTo>
                        <a:pt x="1014" y="31"/>
                      </a:lnTo>
                      <a:lnTo>
                        <a:pt x="1015" y="31"/>
                      </a:lnTo>
                      <a:lnTo>
                        <a:pt x="1015" y="32"/>
                      </a:lnTo>
                      <a:lnTo>
                        <a:pt x="1016" y="32"/>
                      </a:lnTo>
                      <a:lnTo>
                        <a:pt x="1017" y="32"/>
                      </a:lnTo>
                      <a:lnTo>
                        <a:pt x="1017" y="33"/>
                      </a:lnTo>
                      <a:lnTo>
                        <a:pt x="1017" y="33"/>
                      </a:lnTo>
                      <a:lnTo>
                        <a:pt x="1017" y="33"/>
                      </a:lnTo>
                      <a:lnTo>
                        <a:pt x="1017" y="34"/>
                      </a:lnTo>
                      <a:lnTo>
                        <a:pt x="1017" y="35"/>
                      </a:lnTo>
                      <a:lnTo>
                        <a:pt x="1018" y="35"/>
                      </a:lnTo>
                      <a:lnTo>
                        <a:pt x="1018" y="35"/>
                      </a:lnTo>
                      <a:lnTo>
                        <a:pt x="1018" y="36"/>
                      </a:lnTo>
                      <a:lnTo>
                        <a:pt x="1019" y="37"/>
                      </a:lnTo>
                      <a:lnTo>
                        <a:pt x="1019" y="37"/>
                      </a:lnTo>
                      <a:lnTo>
                        <a:pt x="1019" y="37"/>
                      </a:lnTo>
                      <a:lnTo>
                        <a:pt x="1019" y="38"/>
                      </a:lnTo>
                      <a:lnTo>
                        <a:pt x="1020" y="38"/>
                      </a:lnTo>
                      <a:lnTo>
                        <a:pt x="1021" y="39"/>
                      </a:lnTo>
                      <a:lnTo>
                        <a:pt x="1021" y="39"/>
                      </a:lnTo>
                      <a:lnTo>
                        <a:pt x="1022" y="39"/>
                      </a:lnTo>
                      <a:lnTo>
                        <a:pt x="1023" y="39"/>
                      </a:lnTo>
                      <a:lnTo>
                        <a:pt x="1023" y="40"/>
                      </a:lnTo>
                      <a:lnTo>
                        <a:pt x="1023" y="40"/>
                      </a:lnTo>
                      <a:lnTo>
                        <a:pt x="1024" y="40"/>
                      </a:lnTo>
                      <a:lnTo>
                        <a:pt x="1025" y="40"/>
                      </a:lnTo>
                      <a:lnTo>
                        <a:pt x="1025" y="40"/>
                      </a:lnTo>
                      <a:lnTo>
                        <a:pt x="1025" y="41"/>
                      </a:lnTo>
                      <a:lnTo>
                        <a:pt x="1026" y="41"/>
                      </a:lnTo>
                      <a:lnTo>
                        <a:pt x="1026" y="42"/>
                      </a:lnTo>
                      <a:lnTo>
                        <a:pt x="1027" y="42"/>
                      </a:lnTo>
                      <a:lnTo>
                        <a:pt x="1027" y="42"/>
                      </a:lnTo>
                      <a:lnTo>
                        <a:pt x="1028" y="41"/>
                      </a:lnTo>
                      <a:lnTo>
                        <a:pt x="1029" y="41"/>
                      </a:lnTo>
                      <a:lnTo>
                        <a:pt x="1029" y="40"/>
                      </a:lnTo>
                      <a:lnTo>
                        <a:pt x="1029" y="40"/>
                      </a:lnTo>
                      <a:lnTo>
                        <a:pt x="1030" y="40"/>
                      </a:lnTo>
                      <a:lnTo>
                        <a:pt x="1031" y="40"/>
                      </a:lnTo>
                      <a:lnTo>
                        <a:pt x="1031" y="40"/>
                      </a:lnTo>
                      <a:lnTo>
                        <a:pt x="1031" y="41"/>
                      </a:lnTo>
                      <a:lnTo>
                        <a:pt x="1032" y="41"/>
                      </a:lnTo>
                      <a:lnTo>
                        <a:pt x="1033" y="41"/>
                      </a:lnTo>
                      <a:lnTo>
                        <a:pt x="1033" y="41"/>
                      </a:lnTo>
                      <a:lnTo>
                        <a:pt x="1033" y="42"/>
                      </a:lnTo>
                      <a:lnTo>
                        <a:pt x="1034" y="42"/>
                      </a:lnTo>
                      <a:lnTo>
                        <a:pt x="1034" y="42"/>
                      </a:lnTo>
                      <a:lnTo>
                        <a:pt x="1035" y="42"/>
                      </a:lnTo>
                      <a:lnTo>
                        <a:pt x="1035" y="43"/>
                      </a:lnTo>
                      <a:lnTo>
                        <a:pt x="1036" y="43"/>
                      </a:lnTo>
                      <a:lnTo>
                        <a:pt x="1036" y="44"/>
                      </a:lnTo>
                      <a:lnTo>
                        <a:pt x="1036" y="44"/>
                      </a:lnTo>
                      <a:lnTo>
                        <a:pt x="1036" y="45"/>
                      </a:lnTo>
                      <a:lnTo>
                        <a:pt x="1036" y="45"/>
                      </a:lnTo>
                      <a:lnTo>
                        <a:pt x="1036" y="46"/>
                      </a:lnTo>
                      <a:lnTo>
                        <a:pt x="1036" y="46"/>
                      </a:lnTo>
                      <a:lnTo>
                        <a:pt x="1036" y="47"/>
                      </a:lnTo>
                      <a:lnTo>
                        <a:pt x="1037" y="48"/>
                      </a:lnTo>
                      <a:lnTo>
                        <a:pt x="1038" y="48"/>
                      </a:lnTo>
                      <a:lnTo>
                        <a:pt x="1038" y="48"/>
                      </a:lnTo>
                      <a:lnTo>
                        <a:pt x="1039" y="48"/>
                      </a:lnTo>
                      <a:lnTo>
                        <a:pt x="1039" y="48"/>
                      </a:lnTo>
                      <a:lnTo>
                        <a:pt x="1040" y="48"/>
                      </a:lnTo>
                      <a:lnTo>
                        <a:pt x="1040" y="48"/>
                      </a:lnTo>
                      <a:lnTo>
                        <a:pt x="1040" y="48"/>
                      </a:lnTo>
                      <a:lnTo>
                        <a:pt x="1041" y="48"/>
                      </a:lnTo>
                      <a:lnTo>
                        <a:pt x="1042" y="48"/>
                      </a:lnTo>
                      <a:lnTo>
                        <a:pt x="1042" y="48"/>
                      </a:lnTo>
                      <a:lnTo>
                        <a:pt x="1043" y="48"/>
                      </a:lnTo>
                      <a:lnTo>
                        <a:pt x="1043" y="48"/>
                      </a:lnTo>
                      <a:lnTo>
                        <a:pt x="1044" y="48"/>
                      </a:lnTo>
                      <a:lnTo>
                        <a:pt x="1044" y="48"/>
                      </a:lnTo>
                      <a:lnTo>
                        <a:pt x="1044" y="49"/>
                      </a:lnTo>
                      <a:lnTo>
                        <a:pt x="1045" y="49"/>
                      </a:lnTo>
                      <a:lnTo>
                        <a:pt x="1046" y="49"/>
                      </a:lnTo>
                      <a:lnTo>
                        <a:pt x="1046" y="49"/>
                      </a:lnTo>
                      <a:lnTo>
                        <a:pt x="1046" y="50"/>
                      </a:lnTo>
                      <a:lnTo>
                        <a:pt x="1047" y="50"/>
                      </a:lnTo>
                      <a:lnTo>
                        <a:pt x="1047" y="50"/>
                      </a:lnTo>
                      <a:lnTo>
                        <a:pt x="1047" y="51"/>
                      </a:lnTo>
                      <a:lnTo>
                        <a:pt x="1047" y="52"/>
                      </a:lnTo>
                      <a:lnTo>
                        <a:pt x="1047" y="52"/>
                      </a:lnTo>
                      <a:lnTo>
                        <a:pt x="1047" y="53"/>
                      </a:lnTo>
                      <a:lnTo>
                        <a:pt x="1047" y="54"/>
                      </a:lnTo>
                      <a:lnTo>
                        <a:pt x="1047" y="54"/>
                      </a:lnTo>
                      <a:lnTo>
                        <a:pt x="1047" y="55"/>
                      </a:lnTo>
                      <a:lnTo>
                        <a:pt x="1048" y="55"/>
                      </a:lnTo>
                      <a:lnTo>
                        <a:pt x="1048" y="56"/>
                      </a:lnTo>
                      <a:lnTo>
                        <a:pt x="1049" y="56"/>
                      </a:lnTo>
                      <a:lnTo>
                        <a:pt x="1049" y="56"/>
                      </a:lnTo>
                      <a:lnTo>
                        <a:pt x="1050" y="56"/>
                      </a:lnTo>
                      <a:lnTo>
                        <a:pt x="1050" y="56"/>
                      </a:lnTo>
                      <a:lnTo>
                        <a:pt x="1051" y="56"/>
                      </a:lnTo>
                      <a:lnTo>
                        <a:pt x="1052" y="56"/>
                      </a:lnTo>
                      <a:lnTo>
                        <a:pt x="1052" y="56"/>
                      </a:lnTo>
                      <a:lnTo>
                        <a:pt x="1053" y="56"/>
                      </a:lnTo>
                      <a:lnTo>
                        <a:pt x="1054" y="55"/>
                      </a:lnTo>
                      <a:lnTo>
                        <a:pt x="1055" y="55"/>
                      </a:lnTo>
                      <a:lnTo>
                        <a:pt x="1055" y="55"/>
                      </a:lnTo>
                      <a:lnTo>
                        <a:pt x="1056" y="55"/>
                      </a:lnTo>
                      <a:lnTo>
                        <a:pt x="1056" y="56"/>
                      </a:lnTo>
                      <a:lnTo>
                        <a:pt x="1057" y="56"/>
                      </a:lnTo>
                      <a:lnTo>
                        <a:pt x="1057" y="56"/>
                      </a:lnTo>
                      <a:lnTo>
                        <a:pt x="1057" y="56"/>
                      </a:lnTo>
                      <a:lnTo>
                        <a:pt x="1058" y="56"/>
                      </a:lnTo>
                      <a:lnTo>
                        <a:pt x="1059" y="56"/>
                      </a:lnTo>
                      <a:lnTo>
                        <a:pt x="1059" y="57"/>
                      </a:lnTo>
                      <a:lnTo>
                        <a:pt x="1059" y="57"/>
                      </a:lnTo>
                      <a:lnTo>
                        <a:pt x="1060" y="57"/>
                      </a:lnTo>
                      <a:lnTo>
                        <a:pt x="1061" y="57"/>
                      </a:lnTo>
                      <a:lnTo>
                        <a:pt x="1061" y="57"/>
                      </a:lnTo>
                      <a:lnTo>
                        <a:pt x="1062" y="57"/>
                      </a:lnTo>
                      <a:lnTo>
                        <a:pt x="1063" y="57"/>
                      </a:lnTo>
                      <a:lnTo>
                        <a:pt x="1063" y="57"/>
                      </a:lnTo>
                      <a:lnTo>
                        <a:pt x="1063" y="58"/>
                      </a:lnTo>
                      <a:lnTo>
                        <a:pt x="1063" y="58"/>
                      </a:lnTo>
                      <a:lnTo>
                        <a:pt x="1063" y="59"/>
                      </a:lnTo>
                      <a:lnTo>
                        <a:pt x="1064" y="60"/>
                      </a:lnTo>
                      <a:lnTo>
                        <a:pt x="1064" y="61"/>
                      </a:lnTo>
                      <a:lnTo>
                        <a:pt x="1065" y="61"/>
                      </a:lnTo>
                      <a:lnTo>
                        <a:pt x="1065" y="62"/>
                      </a:lnTo>
                      <a:lnTo>
                        <a:pt x="1065" y="62"/>
                      </a:lnTo>
                      <a:lnTo>
                        <a:pt x="1065" y="63"/>
                      </a:lnTo>
                      <a:lnTo>
                        <a:pt x="1066" y="63"/>
                      </a:lnTo>
                      <a:lnTo>
                        <a:pt x="1067" y="63"/>
                      </a:lnTo>
                      <a:lnTo>
                        <a:pt x="1067" y="63"/>
                      </a:lnTo>
                      <a:lnTo>
                        <a:pt x="1067" y="62"/>
                      </a:lnTo>
                      <a:lnTo>
                        <a:pt x="1067" y="61"/>
                      </a:lnTo>
                      <a:lnTo>
                        <a:pt x="1067" y="61"/>
                      </a:lnTo>
                      <a:lnTo>
                        <a:pt x="1066" y="61"/>
                      </a:lnTo>
                      <a:lnTo>
                        <a:pt x="1066" y="60"/>
                      </a:lnTo>
                      <a:lnTo>
                        <a:pt x="1066" y="59"/>
                      </a:lnTo>
                      <a:lnTo>
                        <a:pt x="1067" y="59"/>
                      </a:lnTo>
                      <a:lnTo>
                        <a:pt x="1067" y="59"/>
                      </a:lnTo>
                      <a:lnTo>
                        <a:pt x="1068" y="59"/>
                      </a:lnTo>
                      <a:lnTo>
                        <a:pt x="1068" y="60"/>
                      </a:lnTo>
                      <a:lnTo>
                        <a:pt x="1069" y="60"/>
                      </a:lnTo>
                      <a:lnTo>
                        <a:pt x="1069" y="61"/>
                      </a:lnTo>
                      <a:lnTo>
                        <a:pt x="1069" y="61"/>
                      </a:lnTo>
                      <a:lnTo>
                        <a:pt x="1069" y="62"/>
                      </a:lnTo>
                      <a:lnTo>
                        <a:pt x="1069" y="63"/>
                      </a:lnTo>
                      <a:lnTo>
                        <a:pt x="1069" y="63"/>
                      </a:lnTo>
                      <a:lnTo>
                        <a:pt x="1069" y="63"/>
                      </a:lnTo>
                      <a:lnTo>
                        <a:pt x="1069" y="64"/>
                      </a:lnTo>
                      <a:lnTo>
                        <a:pt x="1070" y="65"/>
                      </a:lnTo>
                      <a:lnTo>
                        <a:pt x="1071" y="65"/>
                      </a:lnTo>
                      <a:lnTo>
                        <a:pt x="1071" y="65"/>
                      </a:lnTo>
                      <a:lnTo>
                        <a:pt x="1071" y="65"/>
                      </a:lnTo>
                      <a:lnTo>
                        <a:pt x="1072" y="65"/>
                      </a:lnTo>
                      <a:lnTo>
                        <a:pt x="1072" y="66"/>
                      </a:lnTo>
                      <a:lnTo>
                        <a:pt x="1073" y="66"/>
                      </a:lnTo>
                      <a:lnTo>
                        <a:pt x="1073" y="67"/>
                      </a:lnTo>
                      <a:lnTo>
                        <a:pt x="1074" y="67"/>
                      </a:lnTo>
                      <a:lnTo>
                        <a:pt x="1074" y="67"/>
                      </a:lnTo>
                      <a:lnTo>
                        <a:pt x="1074" y="67"/>
                      </a:lnTo>
                      <a:lnTo>
                        <a:pt x="1075" y="68"/>
                      </a:lnTo>
                      <a:lnTo>
                        <a:pt x="1076" y="68"/>
                      </a:lnTo>
                      <a:lnTo>
                        <a:pt x="1076" y="69"/>
                      </a:lnTo>
                      <a:lnTo>
                        <a:pt x="1076" y="69"/>
                      </a:lnTo>
                      <a:lnTo>
                        <a:pt x="1076" y="69"/>
                      </a:lnTo>
                      <a:lnTo>
                        <a:pt x="1077" y="69"/>
                      </a:lnTo>
                      <a:lnTo>
                        <a:pt x="1077" y="69"/>
                      </a:lnTo>
                      <a:lnTo>
                        <a:pt x="1077" y="68"/>
                      </a:lnTo>
                      <a:lnTo>
                        <a:pt x="1077" y="67"/>
                      </a:lnTo>
                      <a:lnTo>
                        <a:pt x="1078" y="67"/>
                      </a:lnTo>
                      <a:lnTo>
                        <a:pt x="1078" y="68"/>
                      </a:lnTo>
                      <a:lnTo>
                        <a:pt x="1078" y="68"/>
                      </a:lnTo>
                      <a:lnTo>
                        <a:pt x="1078" y="69"/>
                      </a:lnTo>
                      <a:lnTo>
                        <a:pt x="1078" y="69"/>
                      </a:lnTo>
                      <a:lnTo>
                        <a:pt x="1079" y="69"/>
                      </a:lnTo>
                      <a:lnTo>
                        <a:pt x="1080" y="69"/>
                      </a:lnTo>
                      <a:lnTo>
                        <a:pt x="1080" y="69"/>
                      </a:lnTo>
                      <a:lnTo>
                        <a:pt x="1080" y="69"/>
                      </a:lnTo>
                      <a:lnTo>
                        <a:pt x="1080" y="68"/>
                      </a:lnTo>
                      <a:lnTo>
                        <a:pt x="1080" y="67"/>
                      </a:lnTo>
                      <a:lnTo>
                        <a:pt x="1081" y="67"/>
                      </a:lnTo>
                      <a:lnTo>
                        <a:pt x="1082" y="67"/>
                      </a:lnTo>
                      <a:lnTo>
                        <a:pt x="1082" y="67"/>
                      </a:lnTo>
                      <a:lnTo>
                        <a:pt x="1083" y="67"/>
                      </a:lnTo>
                      <a:lnTo>
                        <a:pt x="1084" y="67"/>
                      </a:lnTo>
                      <a:lnTo>
                        <a:pt x="1084" y="66"/>
                      </a:lnTo>
                      <a:lnTo>
                        <a:pt x="1084" y="65"/>
                      </a:lnTo>
                      <a:lnTo>
                        <a:pt x="1085" y="65"/>
                      </a:lnTo>
                      <a:lnTo>
                        <a:pt x="1086" y="65"/>
                      </a:lnTo>
                      <a:lnTo>
                        <a:pt x="1086" y="65"/>
                      </a:lnTo>
                      <a:lnTo>
                        <a:pt x="1086" y="66"/>
                      </a:lnTo>
                      <a:lnTo>
                        <a:pt x="1086" y="67"/>
                      </a:lnTo>
                      <a:lnTo>
                        <a:pt x="1087" y="67"/>
                      </a:lnTo>
                      <a:lnTo>
                        <a:pt x="1088" y="67"/>
                      </a:lnTo>
                      <a:lnTo>
                        <a:pt x="1088" y="67"/>
                      </a:lnTo>
                      <a:lnTo>
                        <a:pt x="1088" y="67"/>
                      </a:lnTo>
                      <a:lnTo>
                        <a:pt x="1088" y="68"/>
                      </a:lnTo>
                      <a:lnTo>
                        <a:pt x="1088" y="69"/>
                      </a:lnTo>
                      <a:lnTo>
                        <a:pt x="1088" y="69"/>
                      </a:lnTo>
                      <a:lnTo>
                        <a:pt x="1088" y="69"/>
                      </a:lnTo>
                      <a:lnTo>
                        <a:pt x="1088" y="70"/>
                      </a:lnTo>
                      <a:lnTo>
                        <a:pt x="1088" y="71"/>
                      </a:lnTo>
                      <a:lnTo>
                        <a:pt x="1088" y="70"/>
                      </a:lnTo>
                      <a:lnTo>
                        <a:pt x="1089" y="70"/>
                      </a:lnTo>
                      <a:lnTo>
                        <a:pt x="1089" y="69"/>
                      </a:lnTo>
                      <a:lnTo>
                        <a:pt x="1090" y="70"/>
                      </a:lnTo>
                      <a:lnTo>
                        <a:pt x="1089" y="71"/>
                      </a:lnTo>
                      <a:lnTo>
                        <a:pt x="1089" y="71"/>
                      </a:lnTo>
                      <a:lnTo>
                        <a:pt x="1090" y="71"/>
                      </a:lnTo>
                      <a:lnTo>
                        <a:pt x="1090" y="72"/>
                      </a:lnTo>
                      <a:lnTo>
                        <a:pt x="1089" y="72"/>
                      </a:lnTo>
                      <a:lnTo>
                        <a:pt x="1089" y="73"/>
                      </a:lnTo>
                      <a:lnTo>
                        <a:pt x="1090" y="73"/>
                      </a:lnTo>
                      <a:lnTo>
                        <a:pt x="1090" y="73"/>
                      </a:lnTo>
                      <a:lnTo>
                        <a:pt x="1091" y="73"/>
                      </a:lnTo>
                      <a:lnTo>
                        <a:pt x="1092" y="73"/>
                      </a:lnTo>
                      <a:lnTo>
                        <a:pt x="1092" y="72"/>
                      </a:lnTo>
                      <a:lnTo>
                        <a:pt x="1093" y="72"/>
                      </a:lnTo>
                      <a:lnTo>
                        <a:pt x="1093" y="71"/>
                      </a:lnTo>
                      <a:lnTo>
                        <a:pt x="1093" y="71"/>
                      </a:lnTo>
                      <a:lnTo>
                        <a:pt x="1094" y="71"/>
                      </a:lnTo>
                      <a:lnTo>
                        <a:pt x="1094" y="72"/>
                      </a:lnTo>
                      <a:lnTo>
                        <a:pt x="1094" y="73"/>
                      </a:lnTo>
                      <a:lnTo>
                        <a:pt x="1095" y="73"/>
                      </a:lnTo>
                      <a:lnTo>
                        <a:pt x="1095" y="73"/>
                      </a:lnTo>
                      <a:lnTo>
                        <a:pt x="1096" y="73"/>
                      </a:lnTo>
                      <a:lnTo>
                        <a:pt x="1097" y="73"/>
                      </a:lnTo>
                      <a:lnTo>
                        <a:pt x="1097" y="72"/>
                      </a:lnTo>
                      <a:lnTo>
                        <a:pt x="1097" y="73"/>
                      </a:lnTo>
                      <a:lnTo>
                        <a:pt x="1097" y="74"/>
                      </a:lnTo>
                      <a:lnTo>
                        <a:pt x="1097" y="74"/>
                      </a:lnTo>
                      <a:lnTo>
                        <a:pt x="1097" y="75"/>
                      </a:lnTo>
                      <a:lnTo>
                        <a:pt x="1097" y="75"/>
                      </a:lnTo>
                      <a:lnTo>
                        <a:pt x="1097" y="75"/>
                      </a:lnTo>
                      <a:lnTo>
                        <a:pt x="1097" y="76"/>
                      </a:lnTo>
                      <a:lnTo>
                        <a:pt x="1098" y="76"/>
                      </a:lnTo>
                      <a:lnTo>
                        <a:pt x="1098" y="75"/>
                      </a:lnTo>
                      <a:lnTo>
                        <a:pt x="1099" y="75"/>
                      </a:lnTo>
                      <a:lnTo>
                        <a:pt x="1099" y="75"/>
                      </a:lnTo>
                      <a:lnTo>
                        <a:pt x="1099" y="76"/>
                      </a:lnTo>
                      <a:lnTo>
                        <a:pt x="1099" y="77"/>
                      </a:lnTo>
                      <a:lnTo>
                        <a:pt x="1099" y="77"/>
                      </a:lnTo>
                      <a:lnTo>
                        <a:pt x="1099" y="77"/>
                      </a:lnTo>
                      <a:lnTo>
                        <a:pt x="1099" y="78"/>
                      </a:lnTo>
                      <a:lnTo>
                        <a:pt x="1099" y="79"/>
                      </a:lnTo>
                      <a:lnTo>
                        <a:pt x="1099" y="79"/>
                      </a:lnTo>
                      <a:lnTo>
                        <a:pt x="1100" y="79"/>
                      </a:lnTo>
                      <a:lnTo>
                        <a:pt x="1101" y="79"/>
                      </a:lnTo>
                      <a:lnTo>
                        <a:pt x="1101" y="79"/>
                      </a:lnTo>
                      <a:lnTo>
                        <a:pt x="1102" y="79"/>
                      </a:lnTo>
                      <a:lnTo>
                        <a:pt x="1102" y="80"/>
                      </a:lnTo>
                      <a:lnTo>
                        <a:pt x="1103" y="80"/>
                      </a:lnTo>
                      <a:lnTo>
                        <a:pt x="1103" y="81"/>
                      </a:lnTo>
                      <a:lnTo>
                        <a:pt x="1103" y="82"/>
                      </a:lnTo>
                      <a:lnTo>
                        <a:pt x="1103" y="82"/>
                      </a:lnTo>
                      <a:lnTo>
                        <a:pt x="1103" y="82"/>
                      </a:lnTo>
                      <a:lnTo>
                        <a:pt x="1104" y="82"/>
                      </a:lnTo>
                      <a:lnTo>
                        <a:pt x="1105" y="82"/>
                      </a:lnTo>
                      <a:lnTo>
                        <a:pt x="1105" y="82"/>
                      </a:lnTo>
                      <a:lnTo>
                        <a:pt x="1105" y="81"/>
                      </a:lnTo>
                      <a:lnTo>
                        <a:pt x="1105" y="80"/>
                      </a:lnTo>
                      <a:lnTo>
                        <a:pt x="1104" y="80"/>
                      </a:lnTo>
                      <a:lnTo>
                        <a:pt x="1104" y="80"/>
                      </a:lnTo>
                      <a:lnTo>
                        <a:pt x="1104" y="79"/>
                      </a:lnTo>
                      <a:lnTo>
                        <a:pt x="1105" y="79"/>
                      </a:lnTo>
                      <a:lnTo>
                        <a:pt x="1105" y="79"/>
                      </a:lnTo>
                      <a:lnTo>
                        <a:pt x="1106" y="79"/>
                      </a:lnTo>
                      <a:lnTo>
                        <a:pt x="1107" y="80"/>
                      </a:lnTo>
                      <a:lnTo>
                        <a:pt x="1107" y="80"/>
                      </a:lnTo>
                      <a:lnTo>
                        <a:pt x="1108" y="80"/>
                      </a:lnTo>
                      <a:lnTo>
                        <a:pt x="1109" y="80"/>
                      </a:lnTo>
                      <a:lnTo>
                        <a:pt x="1109" y="80"/>
                      </a:lnTo>
                      <a:lnTo>
                        <a:pt x="1109" y="79"/>
                      </a:lnTo>
                      <a:lnTo>
                        <a:pt x="1110" y="79"/>
                      </a:lnTo>
                      <a:lnTo>
                        <a:pt x="1111" y="79"/>
                      </a:lnTo>
                      <a:lnTo>
                        <a:pt x="1112" y="79"/>
                      </a:lnTo>
                      <a:lnTo>
                        <a:pt x="1112" y="80"/>
                      </a:lnTo>
                      <a:lnTo>
                        <a:pt x="1112" y="80"/>
                      </a:lnTo>
                      <a:lnTo>
                        <a:pt x="1112" y="81"/>
                      </a:lnTo>
                      <a:lnTo>
                        <a:pt x="1112" y="82"/>
                      </a:lnTo>
                      <a:lnTo>
                        <a:pt x="1112" y="82"/>
                      </a:lnTo>
                      <a:lnTo>
                        <a:pt x="1112" y="83"/>
                      </a:lnTo>
                      <a:lnTo>
                        <a:pt x="1111" y="83"/>
                      </a:lnTo>
                      <a:lnTo>
                        <a:pt x="1110" y="84"/>
                      </a:lnTo>
                      <a:lnTo>
                        <a:pt x="1110" y="84"/>
                      </a:lnTo>
                      <a:lnTo>
                        <a:pt x="1109" y="84"/>
                      </a:lnTo>
                      <a:lnTo>
                        <a:pt x="1109" y="85"/>
                      </a:lnTo>
                      <a:lnTo>
                        <a:pt x="1109" y="86"/>
                      </a:lnTo>
                      <a:lnTo>
                        <a:pt x="1110" y="86"/>
                      </a:lnTo>
                      <a:lnTo>
                        <a:pt x="1111" y="86"/>
                      </a:lnTo>
                      <a:lnTo>
                        <a:pt x="1112" y="86"/>
                      </a:lnTo>
                      <a:lnTo>
                        <a:pt x="1112" y="86"/>
                      </a:lnTo>
                      <a:lnTo>
                        <a:pt x="1113" y="86"/>
                      </a:lnTo>
                      <a:lnTo>
                        <a:pt x="1113" y="85"/>
                      </a:lnTo>
                      <a:lnTo>
                        <a:pt x="1114" y="85"/>
                      </a:lnTo>
                      <a:lnTo>
                        <a:pt x="1114" y="85"/>
                      </a:lnTo>
                      <a:lnTo>
                        <a:pt x="1114" y="86"/>
                      </a:lnTo>
                      <a:lnTo>
                        <a:pt x="1115" y="86"/>
                      </a:lnTo>
                      <a:lnTo>
                        <a:pt x="1115" y="86"/>
                      </a:lnTo>
                      <a:lnTo>
                        <a:pt x="1116" y="86"/>
                      </a:lnTo>
                      <a:lnTo>
                        <a:pt x="1116" y="86"/>
                      </a:lnTo>
                      <a:lnTo>
                        <a:pt x="1116" y="86"/>
                      </a:lnTo>
                      <a:lnTo>
                        <a:pt x="1116" y="85"/>
                      </a:lnTo>
                      <a:lnTo>
                        <a:pt x="1116" y="85"/>
                      </a:lnTo>
                      <a:lnTo>
                        <a:pt x="1116" y="84"/>
                      </a:lnTo>
                      <a:lnTo>
                        <a:pt x="1117" y="84"/>
                      </a:lnTo>
                      <a:lnTo>
                        <a:pt x="1118" y="84"/>
                      </a:lnTo>
                      <a:lnTo>
                        <a:pt x="1118" y="85"/>
                      </a:lnTo>
                      <a:lnTo>
                        <a:pt x="1119" y="85"/>
                      </a:lnTo>
                      <a:lnTo>
                        <a:pt x="1120" y="85"/>
                      </a:lnTo>
                      <a:lnTo>
                        <a:pt x="1120" y="86"/>
                      </a:lnTo>
                      <a:lnTo>
                        <a:pt x="1120" y="86"/>
                      </a:lnTo>
                      <a:lnTo>
                        <a:pt x="1121" y="86"/>
                      </a:lnTo>
                      <a:lnTo>
                        <a:pt x="1122" y="86"/>
                      </a:lnTo>
                      <a:lnTo>
                        <a:pt x="1122" y="86"/>
                      </a:lnTo>
                      <a:lnTo>
                        <a:pt x="1123" y="86"/>
                      </a:lnTo>
                      <a:lnTo>
                        <a:pt x="1124" y="86"/>
                      </a:lnTo>
                      <a:lnTo>
                        <a:pt x="1124" y="86"/>
                      </a:lnTo>
                      <a:lnTo>
                        <a:pt x="1125" y="86"/>
                      </a:lnTo>
                      <a:lnTo>
                        <a:pt x="1126" y="86"/>
                      </a:lnTo>
                      <a:lnTo>
                        <a:pt x="1126" y="87"/>
                      </a:lnTo>
                      <a:lnTo>
                        <a:pt x="1127" y="87"/>
                      </a:lnTo>
                      <a:lnTo>
                        <a:pt x="1127" y="88"/>
                      </a:lnTo>
                      <a:lnTo>
                        <a:pt x="1127" y="88"/>
                      </a:lnTo>
                      <a:lnTo>
                        <a:pt x="1127" y="89"/>
                      </a:lnTo>
                      <a:lnTo>
                        <a:pt x="1126" y="90"/>
                      </a:lnTo>
                      <a:lnTo>
                        <a:pt x="1126" y="91"/>
                      </a:lnTo>
                      <a:lnTo>
                        <a:pt x="1126" y="92"/>
                      </a:lnTo>
                      <a:lnTo>
                        <a:pt x="1126" y="93"/>
                      </a:lnTo>
                      <a:lnTo>
                        <a:pt x="1126" y="94"/>
                      </a:lnTo>
                      <a:lnTo>
                        <a:pt x="1126" y="94"/>
                      </a:lnTo>
                      <a:lnTo>
                        <a:pt x="1125" y="95"/>
                      </a:lnTo>
                      <a:lnTo>
                        <a:pt x="1124" y="95"/>
                      </a:lnTo>
                      <a:lnTo>
                        <a:pt x="1124" y="95"/>
                      </a:lnTo>
                      <a:lnTo>
                        <a:pt x="1124" y="96"/>
                      </a:lnTo>
                      <a:lnTo>
                        <a:pt x="1124" y="96"/>
                      </a:lnTo>
                      <a:lnTo>
                        <a:pt x="1124" y="96"/>
                      </a:lnTo>
                      <a:lnTo>
                        <a:pt x="1125" y="96"/>
                      </a:lnTo>
                      <a:lnTo>
                        <a:pt x="1125" y="97"/>
                      </a:lnTo>
                      <a:lnTo>
                        <a:pt x="1125" y="98"/>
                      </a:lnTo>
                      <a:lnTo>
                        <a:pt x="1125" y="99"/>
                      </a:lnTo>
                      <a:lnTo>
                        <a:pt x="1124" y="99"/>
                      </a:lnTo>
                      <a:lnTo>
                        <a:pt x="1124" y="100"/>
                      </a:lnTo>
                      <a:lnTo>
                        <a:pt x="1124" y="101"/>
                      </a:lnTo>
                      <a:lnTo>
                        <a:pt x="1124" y="101"/>
                      </a:lnTo>
                      <a:lnTo>
                        <a:pt x="1124" y="101"/>
                      </a:lnTo>
                      <a:lnTo>
                        <a:pt x="1125" y="101"/>
                      </a:lnTo>
                      <a:lnTo>
                        <a:pt x="1126" y="101"/>
                      </a:lnTo>
                      <a:lnTo>
                        <a:pt x="1126" y="101"/>
                      </a:lnTo>
                      <a:lnTo>
                        <a:pt x="1127" y="101"/>
                      </a:lnTo>
                      <a:lnTo>
                        <a:pt x="1128" y="101"/>
                      </a:lnTo>
                      <a:lnTo>
                        <a:pt x="1128" y="102"/>
                      </a:lnTo>
                      <a:lnTo>
                        <a:pt x="1129" y="102"/>
                      </a:lnTo>
                      <a:lnTo>
                        <a:pt x="1129" y="103"/>
                      </a:lnTo>
                      <a:lnTo>
                        <a:pt x="1130" y="103"/>
                      </a:lnTo>
                      <a:lnTo>
                        <a:pt x="1130" y="104"/>
                      </a:lnTo>
                      <a:lnTo>
                        <a:pt x="1129" y="105"/>
                      </a:lnTo>
                      <a:lnTo>
                        <a:pt x="1129" y="105"/>
                      </a:lnTo>
                      <a:lnTo>
                        <a:pt x="1129" y="107"/>
                      </a:lnTo>
                      <a:lnTo>
                        <a:pt x="1129" y="107"/>
                      </a:lnTo>
                      <a:lnTo>
                        <a:pt x="1128" y="108"/>
                      </a:lnTo>
                      <a:lnTo>
                        <a:pt x="1128" y="109"/>
                      </a:lnTo>
                      <a:lnTo>
                        <a:pt x="1128" y="109"/>
                      </a:lnTo>
                      <a:lnTo>
                        <a:pt x="1129" y="109"/>
                      </a:lnTo>
                      <a:lnTo>
                        <a:pt x="1130" y="109"/>
                      </a:lnTo>
                      <a:lnTo>
                        <a:pt x="1131" y="109"/>
                      </a:lnTo>
                      <a:lnTo>
                        <a:pt x="1131" y="110"/>
                      </a:lnTo>
                      <a:lnTo>
                        <a:pt x="1131" y="111"/>
                      </a:lnTo>
                      <a:lnTo>
                        <a:pt x="1131" y="111"/>
                      </a:lnTo>
                      <a:lnTo>
                        <a:pt x="1131" y="112"/>
                      </a:lnTo>
                      <a:lnTo>
                        <a:pt x="1131" y="113"/>
                      </a:lnTo>
                      <a:lnTo>
                        <a:pt x="1131" y="113"/>
                      </a:lnTo>
                      <a:lnTo>
                        <a:pt x="1131" y="114"/>
                      </a:lnTo>
                      <a:lnTo>
                        <a:pt x="1131" y="115"/>
                      </a:lnTo>
                      <a:lnTo>
                        <a:pt x="1131" y="115"/>
                      </a:lnTo>
                      <a:lnTo>
                        <a:pt x="1131" y="116"/>
                      </a:lnTo>
                      <a:lnTo>
                        <a:pt x="1131" y="117"/>
                      </a:lnTo>
                      <a:lnTo>
                        <a:pt x="1131" y="117"/>
                      </a:lnTo>
                      <a:lnTo>
                        <a:pt x="1131" y="118"/>
                      </a:lnTo>
                      <a:lnTo>
                        <a:pt x="1131" y="119"/>
                      </a:lnTo>
                      <a:lnTo>
                        <a:pt x="1131" y="120"/>
                      </a:lnTo>
                      <a:lnTo>
                        <a:pt x="1131" y="120"/>
                      </a:lnTo>
                      <a:lnTo>
                        <a:pt x="1131" y="121"/>
                      </a:lnTo>
                      <a:lnTo>
                        <a:pt x="1131" y="122"/>
                      </a:lnTo>
                      <a:lnTo>
                        <a:pt x="1131" y="122"/>
                      </a:lnTo>
                      <a:lnTo>
                        <a:pt x="1132" y="123"/>
                      </a:lnTo>
                      <a:lnTo>
                        <a:pt x="1132" y="124"/>
                      </a:lnTo>
                      <a:lnTo>
                        <a:pt x="1132" y="124"/>
                      </a:lnTo>
                      <a:lnTo>
                        <a:pt x="1133" y="125"/>
                      </a:lnTo>
                      <a:lnTo>
                        <a:pt x="1133" y="126"/>
                      </a:lnTo>
                      <a:lnTo>
                        <a:pt x="1133" y="126"/>
                      </a:lnTo>
                      <a:lnTo>
                        <a:pt x="1133" y="126"/>
                      </a:lnTo>
                      <a:lnTo>
                        <a:pt x="1133" y="127"/>
                      </a:lnTo>
                      <a:lnTo>
                        <a:pt x="1133" y="128"/>
                      </a:lnTo>
                      <a:lnTo>
                        <a:pt x="1134" y="128"/>
                      </a:lnTo>
                      <a:lnTo>
                        <a:pt x="1134" y="129"/>
                      </a:lnTo>
                      <a:lnTo>
                        <a:pt x="1135" y="130"/>
                      </a:lnTo>
                      <a:lnTo>
                        <a:pt x="1135" y="130"/>
                      </a:lnTo>
                      <a:lnTo>
                        <a:pt x="1135" y="131"/>
                      </a:lnTo>
                      <a:lnTo>
                        <a:pt x="1135" y="131"/>
                      </a:lnTo>
                      <a:lnTo>
                        <a:pt x="1135" y="132"/>
                      </a:lnTo>
                      <a:lnTo>
                        <a:pt x="1136" y="132"/>
                      </a:lnTo>
                      <a:lnTo>
                        <a:pt x="1137" y="133"/>
                      </a:lnTo>
                      <a:lnTo>
                        <a:pt x="1137" y="133"/>
                      </a:lnTo>
                      <a:lnTo>
                        <a:pt x="1137" y="134"/>
                      </a:lnTo>
                      <a:lnTo>
                        <a:pt x="1138" y="134"/>
                      </a:lnTo>
                      <a:lnTo>
                        <a:pt x="1139" y="135"/>
                      </a:lnTo>
                      <a:lnTo>
                        <a:pt x="1139" y="136"/>
                      </a:lnTo>
                      <a:lnTo>
                        <a:pt x="1139" y="136"/>
                      </a:lnTo>
                      <a:lnTo>
                        <a:pt x="1140" y="136"/>
                      </a:lnTo>
                      <a:lnTo>
                        <a:pt x="1140" y="137"/>
                      </a:lnTo>
                      <a:lnTo>
                        <a:pt x="1140" y="138"/>
                      </a:lnTo>
                      <a:lnTo>
                        <a:pt x="1140" y="139"/>
                      </a:lnTo>
                      <a:lnTo>
                        <a:pt x="1141" y="139"/>
                      </a:lnTo>
                      <a:lnTo>
                        <a:pt x="1141" y="140"/>
                      </a:lnTo>
                      <a:lnTo>
                        <a:pt x="1141" y="141"/>
                      </a:lnTo>
                      <a:lnTo>
                        <a:pt x="1141" y="141"/>
                      </a:lnTo>
                      <a:lnTo>
                        <a:pt x="1141" y="142"/>
                      </a:lnTo>
                      <a:lnTo>
                        <a:pt x="1141" y="143"/>
                      </a:lnTo>
                      <a:lnTo>
                        <a:pt x="1140" y="144"/>
                      </a:lnTo>
                      <a:lnTo>
                        <a:pt x="1139" y="145"/>
                      </a:lnTo>
                      <a:lnTo>
                        <a:pt x="1139" y="146"/>
                      </a:lnTo>
                      <a:lnTo>
                        <a:pt x="1139" y="147"/>
                      </a:lnTo>
                      <a:lnTo>
                        <a:pt x="1139" y="147"/>
                      </a:lnTo>
                      <a:lnTo>
                        <a:pt x="1139" y="148"/>
                      </a:lnTo>
                      <a:lnTo>
                        <a:pt x="1137" y="149"/>
                      </a:lnTo>
                      <a:lnTo>
                        <a:pt x="1137" y="150"/>
                      </a:lnTo>
                      <a:lnTo>
                        <a:pt x="1137" y="151"/>
                      </a:lnTo>
                      <a:lnTo>
                        <a:pt x="1136" y="151"/>
                      </a:lnTo>
                      <a:lnTo>
                        <a:pt x="1135" y="152"/>
                      </a:lnTo>
                      <a:lnTo>
                        <a:pt x="1135" y="153"/>
                      </a:lnTo>
                      <a:lnTo>
                        <a:pt x="1135" y="153"/>
                      </a:lnTo>
                      <a:lnTo>
                        <a:pt x="1135" y="154"/>
                      </a:lnTo>
                      <a:lnTo>
                        <a:pt x="1134" y="155"/>
                      </a:lnTo>
                      <a:lnTo>
                        <a:pt x="1133" y="156"/>
                      </a:lnTo>
                      <a:lnTo>
                        <a:pt x="1133" y="157"/>
                      </a:lnTo>
                      <a:lnTo>
                        <a:pt x="1133" y="158"/>
                      </a:lnTo>
                      <a:lnTo>
                        <a:pt x="1132" y="158"/>
                      </a:lnTo>
                      <a:lnTo>
                        <a:pt x="1131" y="159"/>
                      </a:lnTo>
                      <a:lnTo>
                        <a:pt x="1131" y="160"/>
                      </a:lnTo>
                      <a:lnTo>
                        <a:pt x="1131" y="160"/>
                      </a:lnTo>
                      <a:lnTo>
                        <a:pt x="1130" y="160"/>
                      </a:lnTo>
                      <a:lnTo>
                        <a:pt x="1130" y="161"/>
                      </a:lnTo>
                      <a:lnTo>
                        <a:pt x="1129" y="162"/>
                      </a:lnTo>
                      <a:lnTo>
                        <a:pt x="1128" y="162"/>
                      </a:lnTo>
                      <a:lnTo>
                        <a:pt x="1128" y="162"/>
                      </a:lnTo>
                      <a:lnTo>
                        <a:pt x="1127" y="163"/>
                      </a:lnTo>
                      <a:lnTo>
                        <a:pt x="1126" y="164"/>
                      </a:lnTo>
                      <a:lnTo>
                        <a:pt x="1126" y="164"/>
                      </a:lnTo>
                      <a:lnTo>
                        <a:pt x="1125" y="165"/>
                      </a:lnTo>
                      <a:lnTo>
                        <a:pt x="1124" y="166"/>
                      </a:lnTo>
                      <a:lnTo>
                        <a:pt x="1124" y="166"/>
                      </a:lnTo>
                      <a:lnTo>
                        <a:pt x="1124" y="168"/>
                      </a:lnTo>
                      <a:lnTo>
                        <a:pt x="1124" y="168"/>
                      </a:lnTo>
                      <a:lnTo>
                        <a:pt x="1123" y="168"/>
                      </a:lnTo>
                      <a:lnTo>
                        <a:pt x="1123" y="169"/>
                      </a:lnTo>
                      <a:lnTo>
                        <a:pt x="1123" y="170"/>
                      </a:lnTo>
                      <a:lnTo>
                        <a:pt x="1123" y="170"/>
                      </a:lnTo>
                      <a:lnTo>
                        <a:pt x="1123" y="171"/>
                      </a:lnTo>
                      <a:lnTo>
                        <a:pt x="1124" y="172"/>
                      </a:lnTo>
                      <a:lnTo>
                        <a:pt x="1124" y="174"/>
                      </a:lnTo>
                      <a:lnTo>
                        <a:pt x="1124" y="174"/>
                      </a:lnTo>
                      <a:lnTo>
                        <a:pt x="1123" y="175"/>
                      </a:lnTo>
                      <a:lnTo>
                        <a:pt x="1123" y="176"/>
                      </a:lnTo>
                      <a:lnTo>
                        <a:pt x="1123" y="177"/>
                      </a:lnTo>
                      <a:lnTo>
                        <a:pt x="1123" y="179"/>
                      </a:lnTo>
                      <a:lnTo>
                        <a:pt x="1122" y="180"/>
                      </a:lnTo>
                      <a:lnTo>
                        <a:pt x="1122" y="181"/>
                      </a:lnTo>
                      <a:lnTo>
                        <a:pt x="1122" y="182"/>
                      </a:lnTo>
                      <a:lnTo>
                        <a:pt x="1122" y="183"/>
                      </a:lnTo>
                      <a:lnTo>
                        <a:pt x="1121" y="184"/>
                      </a:lnTo>
                      <a:lnTo>
                        <a:pt x="1121" y="185"/>
                      </a:lnTo>
                      <a:lnTo>
                        <a:pt x="1120" y="186"/>
                      </a:lnTo>
                      <a:lnTo>
                        <a:pt x="1120" y="187"/>
                      </a:lnTo>
                      <a:lnTo>
                        <a:pt x="1120" y="187"/>
                      </a:lnTo>
                      <a:lnTo>
                        <a:pt x="1120" y="188"/>
                      </a:lnTo>
                      <a:lnTo>
                        <a:pt x="1120" y="189"/>
                      </a:lnTo>
                      <a:lnTo>
                        <a:pt x="1121" y="189"/>
                      </a:lnTo>
                      <a:lnTo>
                        <a:pt x="1122" y="189"/>
                      </a:lnTo>
                      <a:lnTo>
                        <a:pt x="1122" y="189"/>
                      </a:lnTo>
                      <a:lnTo>
                        <a:pt x="1123" y="189"/>
                      </a:lnTo>
                      <a:lnTo>
                        <a:pt x="1124" y="189"/>
                      </a:lnTo>
                      <a:lnTo>
                        <a:pt x="1124" y="189"/>
                      </a:lnTo>
                      <a:lnTo>
                        <a:pt x="1124" y="191"/>
                      </a:lnTo>
                      <a:lnTo>
                        <a:pt x="1124" y="191"/>
                      </a:lnTo>
                      <a:lnTo>
                        <a:pt x="1125" y="192"/>
                      </a:lnTo>
                      <a:lnTo>
                        <a:pt x="1125" y="193"/>
                      </a:lnTo>
                      <a:lnTo>
                        <a:pt x="1125" y="193"/>
                      </a:lnTo>
                      <a:lnTo>
                        <a:pt x="1125" y="195"/>
                      </a:lnTo>
                      <a:lnTo>
                        <a:pt x="1125" y="195"/>
                      </a:lnTo>
                      <a:lnTo>
                        <a:pt x="1125" y="197"/>
                      </a:lnTo>
                      <a:lnTo>
                        <a:pt x="1125" y="198"/>
                      </a:lnTo>
                      <a:lnTo>
                        <a:pt x="1126" y="200"/>
                      </a:lnTo>
                      <a:lnTo>
                        <a:pt x="1126" y="201"/>
                      </a:lnTo>
                      <a:lnTo>
                        <a:pt x="1126" y="201"/>
                      </a:lnTo>
                      <a:lnTo>
                        <a:pt x="1127" y="202"/>
                      </a:lnTo>
                      <a:lnTo>
                        <a:pt x="1128" y="202"/>
                      </a:lnTo>
                      <a:lnTo>
                        <a:pt x="1128" y="203"/>
                      </a:lnTo>
                      <a:lnTo>
                        <a:pt x="1128" y="203"/>
                      </a:lnTo>
                      <a:lnTo>
                        <a:pt x="1128" y="204"/>
                      </a:lnTo>
                      <a:lnTo>
                        <a:pt x="1128" y="205"/>
                      </a:lnTo>
                      <a:lnTo>
                        <a:pt x="1127" y="206"/>
                      </a:lnTo>
                      <a:lnTo>
                        <a:pt x="1126" y="206"/>
                      </a:lnTo>
                      <a:lnTo>
                        <a:pt x="1126" y="207"/>
                      </a:lnTo>
                      <a:lnTo>
                        <a:pt x="1126" y="208"/>
                      </a:lnTo>
                      <a:lnTo>
                        <a:pt x="1126" y="210"/>
                      </a:lnTo>
                      <a:lnTo>
                        <a:pt x="1126" y="210"/>
                      </a:lnTo>
                      <a:lnTo>
                        <a:pt x="1126" y="211"/>
                      </a:lnTo>
                      <a:lnTo>
                        <a:pt x="1126" y="212"/>
                      </a:lnTo>
                      <a:lnTo>
                        <a:pt x="1127" y="212"/>
                      </a:lnTo>
                      <a:lnTo>
                        <a:pt x="1127" y="213"/>
                      </a:lnTo>
                      <a:lnTo>
                        <a:pt x="1127" y="214"/>
                      </a:lnTo>
                      <a:lnTo>
                        <a:pt x="1128" y="214"/>
                      </a:lnTo>
                      <a:lnTo>
                        <a:pt x="1128" y="216"/>
                      </a:lnTo>
                      <a:lnTo>
                        <a:pt x="1128" y="216"/>
                      </a:lnTo>
                      <a:lnTo>
                        <a:pt x="1128" y="217"/>
                      </a:lnTo>
                      <a:lnTo>
                        <a:pt x="1128" y="219"/>
                      </a:lnTo>
                      <a:lnTo>
                        <a:pt x="1129" y="221"/>
                      </a:lnTo>
                      <a:lnTo>
                        <a:pt x="1129" y="221"/>
                      </a:lnTo>
                      <a:lnTo>
                        <a:pt x="1129" y="222"/>
                      </a:lnTo>
                      <a:lnTo>
                        <a:pt x="1130" y="223"/>
                      </a:lnTo>
                      <a:lnTo>
                        <a:pt x="1130" y="223"/>
                      </a:lnTo>
                      <a:lnTo>
                        <a:pt x="1130" y="224"/>
                      </a:lnTo>
                      <a:lnTo>
                        <a:pt x="1132" y="225"/>
                      </a:lnTo>
                      <a:lnTo>
                        <a:pt x="1133" y="225"/>
                      </a:lnTo>
                      <a:lnTo>
                        <a:pt x="1133" y="225"/>
                      </a:lnTo>
                      <a:lnTo>
                        <a:pt x="1134" y="225"/>
                      </a:lnTo>
                      <a:lnTo>
                        <a:pt x="1134" y="226"/>
                      </a:lnTo>
                      <a:lnTo>
                        <a:pt x="1135" y="226"/>
                      </a:lnTo>
                      <a:lnTo>
                        <a:pt x="1136" y="227"/>
                      </a:lnTo>
                      <a:lnTo>
                        <a:pt x="1137" y="229"/>
                      </a:lnTo>
                      <a:lnTo>
                        <a:pt x="1137" y="229"/>
                      </a:lnTo>
                      <a:lnTo>
                        <a:pt x="1137" y="230"/>
                      </a:lnTo>
                      <a:lnTo>
                        <a:pt x="1138" y="231"/>
                      </a:lnTo>
                      <a:lnTo>
                        <a:pt x="1139" y="232"/>
                      </a:lnTo>
                      <a:lnTo>
                        <a:pt x="1139" y="233"/>
                      </a:lnTo>
                      <a:lnTo>
                        <a:pt x="1140" y="233"/>
                      </a:lnTo>
                      <a:lnTo>
                        <a:pt x="1141" y="233"/>
                      </a:lnTo>
                      <a:lnTo>
                        <a:pt x="1141" y="234"/>
                      </a:lnTo>
                      <a:lnTo>
                        <a:pt x="1142" y="234"/>
                      </a:lnTo>
                      <a:lnTo>
                        <a:pt x="1143" y="234"/>
                      </a:lnTo>
                      <a:lnTo>
                        <a:pt x="1143" y="235"/>
                      </a:lnTo>
                      <a:lnTo>
                        <a:pt x="1143" y="235"/>
                      </a:lnTo>
                      <a:lnTo>
                        <a:pt x="1143" y="237"/>
                      </a:lnTo>
                      <a:lnTo>
                        <a:pt x="1144" y="237"/>
                      </a:lnTo>
                      <a:lnTo>
                        <a:pt x="1145" y="237"/>
                      </a:lnTo>
                      <a:lnTo>
                        <a:pt x="1145" y="237"/>
                      </a:lnTo>
                      <a:lnTo>
                        <a:pt x="1145" y="238"/>
                      </a:lnTo>
                      <a:lnTo>
                        <a:pt x="1145" y="238"/>
                      </a:lnTo>
                      <a:lnTo>
                        <a:pt x="1145" y="240"/>
                      </a:lnTo>
                      <a:lnTo>
                        <a:pt x="1146" y="242"/>
                      </a:lnTo>
                      <a:lnTo>
                        <a:pt x="1146" y="242"/>
                      </a:lnTo>
                      <a:lnTo>
                        <a:pt x="1146" y="243"/>
                      </a:lnTo>
                      <a:lnTo>
                        <a:pt x="1145" y="244"/>
                      </a:lnTo>
                      <a:lnTo>
                        <a:pt x="1145" y="244"/>
                      </a:lnTo>
                      <a:lnTo>
                        <a:pt x="1144" y="244"/>
                      </a:lnTo>
                      <a:lnTo>
                        <a:pt x="1143" y="244"/>
                      </a:lnTo>
                      <a:lnTo>
                        <a:pt x="1143" y="244"/>
                      </a:lnTo>
                      <a:lnTo>
                        <a:pt x="1142" y="245"/>
                      </a:lnTo>
                      <a:lnTo>
                        <a:pt x="1141" y="246"/>
                      </a:lnTo>
                      <a:lnTo>
                        <a:pt x="1141" y="247"/>
                      </a:lnTo>
                      <a:lnTo>
                        <a:pt x="1141" y="248"/>
                      </a:lnTo>
                      <a:lnTo>
                        <a:pt x="1141" y="248"/>
                      </a:lnTo>
                      <a:lnTo>
                        <a:pt x="1141" y="249"/>
                      </a:lnTo>
                      <a:lnTo>
                        <a:pt x="1141" y="250"/>
                      </a:lnTo>
                      <a:lnTo>
                        <a:pt x="1142" y="252"/>
                      </a:lnTo>
                      <a:lnTo>
                        <a:pt x="1142" y="252"/>
                      </a:lnTo>
                      <a:lnTo>
                        <a:pt x="1143" y="252"/>
                      </a:lnTo>
                      <a:lnTo>
                        <a:pt x="1143" y="253"/>
                      </a:lnTo>
                      <a:lnTo>
                        <a:pt x="1143" y="254"/>
                      </a:lnTo>
                      <a:lnTo>
                        <a:pt x="1143" y="254"/>
                      </a:lnTo>
                      <a:lnTo>
                        <a:pt x="1144" y="256"/>
                      </a:lnTo>
                      <a:lnTo>
                        <a:pt x="1144" y="257"/>
                      </a:lnTo>
                      <a:lnTo>
                        <a:pt x="1145" y="257"/>
                      </a:lnTo>
                      <a:lnTo>
                        <a:pt x="1147" y="259"/>
                      </a:lnTo>
                      <a:lnTo>
                        <a:pt x="1147" y="260"/>
                      </a:lnTo>
                      <a:lnTo>
                        <a:pt x="1148" y="262"/>
                      </a:lnTo>
                      <a:lnTo>
                        <a:pt x="1148" y="263"/>
                      </a:lnTo>
                      <a:lnTo>
                        <a:pt x="1151" y="267"/>
                      </a:lnTo>
                      <a:lnTo>
                        <a:pt x="1152" y="269"/>
                      </a:lnTo>
                      <a:lnTo>
                        <a:pt x="1153" y="270"/>
                      </a:lnTo>
                      <a:lnTo>
                        <a:pt x="1154" y="272"/>
                      </a:lnTo>
                      <a:lnTo>
                        <a:pt x="1154" y="272"/>
                      </a:lnTo>
                      <a:lnTo>
                        <a:pt x="1154" y="273"/>
                      </a:lnTo>
                      <a:lnTo>
                        <a:pt x="1154" y="273"/>
                      </a:lnTo>
                      <a:lnTo>
                        <a:pt x="1154" y="274"/>
                      </a:lnTo>
                      <a:lnTo>
                        <a:pt x="1155" y="274"/>
                      </a:lnTo>
                      <a:lnTo>
                        <a:pt x="1156" y="274"/>
                      </a:lnTo>
                      <a:lnTo>
                        <a:pt x="1156" y="275"/>
                      </a:lnTo>
                      <a:lnTo>
                        <a:pt x="1156" y="275"/>
                      </a:lnTo>
                      <a:lnTo>
                        <a:pt x="1156" y="275"/>
                      </a:lnTo>
                      <a:lnTo>
                        <a:pt x="1156" y="276"/>
                      </a:lnTo>
                      <a:lnTo>
                        <a:pt x="1156" y="276"/>
                      </a:lnTo>
                      <a:lnTo>
                        <a:pt x="1156" y="277"/>
                      </a:lnTo>
                      <a:lnTo>
                        <a:pt x="1155" y="278"/>
                      </a:lnTo>
                      <a:lnTo>
                        <a:pt x="1155" y="278"/>
                      </a:lnTo>
                      <a:lnTo>
                        <a:pt x="1156" y="279"/>
                      </a:lnTo>
                      <a:lnTo>
                        <a:pt x="1156" y="279"/>
                      </a:lnTo>
                      <a:lnTo>
                        <a:pt x="1156" y="280"/>
                      </a:lnTo>
                      <a:lnTo>
                        <a:pt x="1157" y="280"/>
                      </a:lnTo>
                      <a:lnTo>
                        <a:pt x="1157" y="280"/>
                      </a:lnTo>
                      <a:lnTo>
                        <a:pt x="1156" y="280"/>
                      </a:lnTo>
                      <a:lnTo>
                        <a:pt x="1156" y="280"/>
                      </a:lnTo>
                      <a:lnTo>
                        <a:pt x="1155" y="280"/>
                      </a:lnTo>
                      <a:lnTo>
                        <a:pt x="1155" y="281"/>
                      </a:lnTo>
                      <a:lnTo>
                        <a:pt x="1156" y="281"/>
                      </a:lnTo>
                      <a:lnTo>
                        <a:pt x="1156" y="282"/>
                      </a:lnTo>
                      <a:lnTo>
                        <a:pt x="1156" y="282"/>
                      </a:lnTo>
                      <a:lnTo>
                        <a:pt x="1156" y="282"/>
                      </a:lnTo>
                      <a:lnTo>
                        <a:pt x="1157" y="282"/>
                      </a:lnTo>
                      <a:lnTo>
                        <a:pt x="1157" y="283"/>
                      </a:lnTo>
                      <a:lnTo>
                        <a:pt x="1157" y="284"/>
                      </a:lnTo>
                      <a:lnTo>
                        <a:pt x="1157" y="284"/>
                      </a:lnTo>
                      <a:lnTo>
                        <a:pt x="1157" y="285"/>
                      </a:lnTo>
                      <a:lnTo>
                        <a:pt x="1157" y="286"/>
                      </a:lnTo>
                      <a:lnTo>
                        <a:pt x="1158" y="286"/>
                      </a:lnTo>
                      <a:lnTo>
                        <a:pt x="1158" y="287"/>
                      </a:lnTo>
                      <a:lnTo>
                        <a:pt x="1158" y="288"/>
                      </a:lnTo>
                      <a:lnTo>
                        <a:pt x="1158" y="288"/>
                      </a:lnTo>
                      <a:lnTo>
                        <a:pt x="1158" y="289"/>
                      </a:lnTo>
                      <a:lnTo>
                        <a:pt x="1158" y="290"/>
                      </a:lnTo>
                      <a:lnTo>
                        <a:pt x="1158" y="290"/>
                      </a:lnTo>
                      <a:lnTo>
                        <a:pt x="1158" y="291"/>
                      </a:lnTo>
                      <a:lnTo>
                        <a:pt x="1158" y="292"/>
                      </a:lnTo>
                      <a:lnTo>
                        <a:pt x="1158" y="292"/>
                      </a:lnTo>
                      <a:lnTo>
                        <a:pt x="1159" y="293"/>
                      </a:lnTo>
                      <a:lnTo>
                        <a:pt x="1159" y="294"/>
                      </a:lnTo>
                      <a:lnTo>
                        <a:pt x="1159" y="294"/>
                      </a:lnTo>
                      <a:lnTo>
                        <a:pt x="1159" y="295"/>
                      </a:lnTo>
                      <a:lnTo>
                        <a:pt x="1159" y="296"/>
                      </a:lnTo>
                      <a:lnTo>
                        <a:pt x="1158" y="296"/>
                      </a:lnTo>
                      <a:lnTo>
                        <a:pt x="1159" y="296"/>
                      </a:lnTo>
                      <a:lnTo>
                        <a:pt x="1159" y="297"/>
                      </a:lnTo>
                      <a:lnTo>
                        <a:pt x="1159" y="297"/>
                      </a:lnTo>
                      <a:lnTo>
                        <a:pt x="1159" y="298"/>
                      </a:lnTo>
                      <a:lnTo>
                        <a:pt x="1159" y="299"/>
                      </a:lnTo>
                      <a:lnTo>
                        <a:pt x="1160" y="299"/>
                      </a:lnTo>
                      <a:lnTo>
                        <a:pt x="1160" y="300"/>
                      </a:lnTo>
                      <a:lnTo>
                        <a:pt x="1160" y="301"/>
                      </a:lnTo>
                      <a:lnTo>
                        <a:pt x="1160" y="301"/>
                      </a:lnTo>
                      <a:lnTo>
                        <a:pt x="1160" y="302"/>
                      </a:lnTo>
                      <a:lnTo>
                        <a:pt x="1161" y="302"/>
                      </a:lnTo>
                      <a:lnTo>
                        <a:pt x="1162" y="303"/>
                      </a:lnTo>
                      <a:lnTo>
                        <a:pt x="1162" y="303"/>
                      </a:lnTo>
                      <a:lnTo>
                        <a:pt x="1162" y="303"/>
                      </a:lnTo>
                      <a:lnTo>
                        <a:pt x="1163" y="303"/>
                      </a:lnTo>
                      <a:lnTo>
                        <a:pt x="1164" y="303"/>
                      </a:lnTo>
                      <a:lnTo>
                        <a:pt x="1164" y="303"/>
                      </a:lnTo>
                      <a:lnTo>
                        <a:pt x="1165" y="303"/>
                      </a:lnTo>
                      <a:lnTo>
                        <a:pt x="1166" y="304"/>
                      </a:lnTo>
                      <a:lnTo>
                        <a:pt x="1166" y="304"/>
                      </a:lnTo>
                      <a:lnTo>
                        <a:pt x="1166" y="305"/>
                      </a:lnTo>
                      <a:lnTo>
                        <a:pt x="1167" y="305"/>
                      </a:lnTo>
                      <a:lnTo>
                        <a:pt x="1167" y="305"/>
                      </a:lnTo>
                      <a:lnTo>
                        <a:pt x="1168" y="305"/>
                      </a:lnTo>
                      <a:lnTo>
                        <a:pt x="1169" y="305"/>
                      </a:lnTo>
                      <a:lnTo>
                        <a:pt x="1169" y="305"/>
                      </a:lnTo>
                      <a:lnTo>
                        <a:pt x="1170" y="305"/>
                      </a:lnTo>
                      <a:lnTo>
                        <a:pt x="1171" y="305"/>
                      </a:lnTo>
                      <a:lnTo>
                        <a:pt x="1171" y="305"/>
                      </a:lnTo>
                      <a:lnTo>
                        <a:pt x="1172" y="305"/>
                      </a:lnTo>
                      <a:lnTo>
                        <a:pt x="1173" y="305"/>
                      </a:lnTo>
                      <a:lnTo>
                        <a:pt x="1173" y="305"/>
                      </a:lnTo>
                      <a:lnTo>
                        <a:pt x="1173" y="305"/>
                      </a:lnTo>
                      <a:lnTo>
                        <a:pt x="1173" y="306"/>
                      </a:lnTo>
                      <a:lnTo>
                        <a:pt x="1173" y="307"/>
                      </a:lnTo>
                      <a:lnTo>
                        <a:pt x="1173" y="307"/>
                      </a:lnTo>
                      <a:lnTo>
                        <a:pt x="1173" y="308"/>
                      </a:lnTo>
                      <a:lnTo>
                        <a:pt x="1173" y="309"/>
                      </a:lnTo>
                      <a:lnTo>
                        <a:pt x="1173" y="309"/>
                      </a:lnTo>
                      <a:lnTo>
                        <a:pt x="1173" y="310"/>
                      </a:lnTo>
                      <a:lnTo>
                        <a:pt x="1173" y="311"/>
                      </a:lnTo>
                      <a:lnTo>
                        <a:pt x="1173" y="311"/>
                      </a:lnTo>
                      <a:lnTo>
                        <a:pt x="1173" y="312"/>
                      </a:lnTo>
                      <a:lnTo>
                        <a:pt x="1173" y="313"/>
                      </a:lnTo>
                      <a:lnTo>
                        <a:pt x="1173" y="313"/>
                      </a:lnTo>
                      <a:lnTo>
                        <a:pt x="1173" y="314"/>
                      </a:lnTo>
                      <a:lnTo>
                        <a:pt x="1173" y="316"/>
                      </a:lnTo>
                      <a:lnTo>
                        <a:pt x="1173" y="316"/>
                      </a:lnTo>
                      <a:lnTo>
                        <a:pt x="1173" y="317"/>
                      </a:lnTo>
                      <a:lnTo>
                        <a:pt x="1173" y="318"/>
                      </a:lnTo>
                      <a:lnTo>
                        <a:pt x="1174" y="318"/>
                      </a:lnTo>
                      <a:lnTo>
                        <a:pt x="1174" y="319"/>
                      </a:lnTo>
                      <a:lnTo>
                        <a:pt x="1174" y="320"/>
                      </a:lnTo>
                      <a:lnTo>
                        <a:pt x="1174" y="320"/>
                      </a:lnTo>
                      <a:lnTo>
                        <a:pt x="1174" y="321"/>
                      </a:lnTo>
                      <a:lnTo>
                        <a:pt x="1174" y="322"/>
                      </a:lnTo>
                      <a:lnTo>
                        <a:pt x="1174" y="322"/>
                      </a:lnTo>
                      <a:lnTo>
                        <a:pt x="1174" y="323"/>
                      </a:lnTo>
                      <a:lnTo>
                        <a:pt x="1174" y="324"/>
                      </a:lnTo>
                      <a:lnTo>
                        <a:pt x="1174" y="324"/>
                      </a:lnTo>
                      <a:lnTo>
                        <a:pt x="1174" y="325"/>
                      </a:lnTo>
                      <a:lnTo>
                        <a:pt x="1174" y="326"/>
                      </a:lnTo>
                      <a:lnTo>
                        <a:pt x="1174" y="326"/>
                      </a:lnTo>
                      <a:lnTo>
                        <a:pt x="1174" y="327"/>
                      </a:lnTo>
                      <a:lnTo>
                        <a:pt x="1174" y="328"/>
                      </a:lnTo>
                      <a:lnTo>
                        <a:pt x="1174" y="328"/>
                      </a:lnTo>
                      <a:lnTo>
                        <a:pt x="1174" y="329"/>
                      </a:lnTo>
                      <a:lnTo>
                        <a:pt x="1174" y="330"/>
                      </a:lnTo>
                      <a:lnTo>
                        <a:pt x="1174" y="330"/>
                      </a:lnTo>
                      <a:lnTo>
                        <a:pt x="1174" y="331"/>
                      </a:lnTo>
                      <a:lnTo>
                        <a:pt x="1174" y="332"/>
                      </a:lnTo>
                      <a:lnTo>
                        <a:pt x="1174" y="333"/>
                      </a:lnTo>
                      <a:lnTo>
                        <a:pt x="1174" y="334"/>
                      </a:lnTo>
                      <a:lnTo>
                        <a:pt x="1174" y="334"/>
                      </a:lnTo>
                      <a:lnTo>
                        <a:pt x="1174" y="336"/>
                      </a:lnTo>
                      <a:lnTo>
                        <a:pt x="1174" y="337"/>
                      </a:lnTo>
                      <a:lnTo>
                        <a:pt x="1175" y="340"/>
                      </a:lnTo>
                      <a:lnTo>
                        <a:pt x="1175" y="345"/>
                      </a:lnTo>
                      <a:lnTo>
                        <a:pt x="1175" y="349"/>
                      </a:lnTo>
                      <a:lnTo>
                        <a:pt x="1175" y="356"/>
                      </a:lnTo>
                      <a:lnTo>
                        <a:pt x="1177" y="373"/>
                      </a:lnTo>
                      <a:lnTo>
                        <a:pt x="1177" y="379"/>
                      </a:lnTo>
                      <a:lnTo>
                        <a:pt x="1177" y="385"/>
                      </a:lnTo>
                      <a:lnTo>
                        <a:pt x="1177" y="390"/>
                      </a:lnTo>
                      <a:lnTo>
                        <a:pt x="1177" y="395"/>
                      </a:lnTo>
                      <a:lnTo>
                        <a:pt x="1177" y="399"/>
                      </a:lnTo>
                      <a:lnTo>
                        <a:pt x="1177" y="402"/>
                      </a:lnTo>
                      <a:lnTo>
                        <a:pt x="1177" y="404"/>
                      </a:lnTo>
                      <a:lnTo>
                        <a:pt x="1177" y="405"/>
                      </a:lnTo>
                      <a:lnTo>
                        <a:pt x="1179" y="431"/>
                      </a:lnTo>
                      <a:lnTo>
                        <a:pt x="1177" y="431"/>
                      </a:lnTo>
                      <a:lnTo>
                        <a:pt x="1173" y="430"/>
                      </a:lnTo>
                      <a:lnTo>
                        <a:pt x="1165" y="430"/>
                      </a:lnTo>
                      <a:lnTo>
                        <a:pt x="1162" y="430"/>
                      </a:lnTo>
                      <a:lnTo>
                        <a:pt x="1158" y="430"/>
                      </a:lnTo>
                      <a:lnTo>
                        <a:pt x="1157" y="430"/>
                      </a:lnTo>
                      <a:lnTo>
                        <a:pt x="1154" y="430"/>
                      </a:lnTo>
                      <a:lnTo>
                        <a:pt x="1153" y="430"/>
                      </a:lnTo>
                      <a:lnTo>
                        <a:pt x="1152" y="430"/>
                      </a:lnTo>
                      <a:lnTo>
                        <a:pt x="1150" y="430"/>
                      </a:lnTo>
                      <a:lnTo>
                        <a:pt x="1148" y="430"/>
                      </a:lnTo>
                      <a:lnTo>
                        <a:pt x="1147" y="430"/>
                      </a:lnTo>
                      <a:lnTo>
                        <a:pt x="1147" y="430"/>
                      </a:lnTo>
                      <a:lnTo>
                        <a:pt x="1145" y="430"/>
                      </a:lnTo>
                      <a:lnTo>
                        <a:pt x="1143" y="430"/>
                      </a:lnTo>
                      <a:lnTo>
                        <a:pt x="1141" y="430"/>
                      </a:lnTo>
                      <a:lnTo>
                        <a:pt x="1140" y="430"/>
                      </a:lnTo>
                      <a:lnTo>
                        <a:pt x="1139" y="430"/>
                      </a:lnTo>
                      <a:lnTo>
                        <a:pt x="1138" y="430"/>
                      </a:lnTo>
                      <a:lnTo>
                        <a:pt x="1137" y="430"/>
                      </a:lnTo>
                      <a:lnTo>
                        <a:pt x="1136" y="430"/>
                      </a:lnTo>
                      <a:lnTo>
                        <a:pt x="1135" y="430"/>
                      </a:lnTo>
                      <a:lnTo>
                        <a:pt x="1133" y="430"/>
                      </a:lnTo>
                      <a:lnTo>
                        <a:pt x="1131" y="430"/>
                      </a:lnTo>
                      <a:lnTo>
                        <a:pt x="1131" y="430"/>
                      </a:lnTo>
                      <a:lnTo>
                        <a:pt x="1129" y="430"/>
                      </a:lnTo>
                      <a:lnTo>
                        <a:pt x="1128" y="430"/>
                      </a:lnTo>
                      <a:lnTo>
                        <a:pt x="1126" y="430"/>
                      </a:lnTo>
                      <a:lnTo>
                        <a:pt x="1119" y="430"/>
                      </a:lnTo>
                      <a:lnTo>
                        <a:pt x="1115" y="430"/>
                      </a:lnTo>
                      <a:lnTo>
                        <a:pt x="1114" y="430"/>
                      </a:lnTo>
                      <a:lnTo>
                        <a:pt x="1114" y="430"/>
                      </a:lnTo>
                      <a:lnTo>
                        <a:pt x="1113" y="430"/>
                      </a:lnTo>
                      <a:lnTo>
                        <a:pt x="1099" y="429"/>
                      </a:lnTo>
                      <a:lnTo>
                        <a:pt x="1094" y="429"/>
                      </a:lnTo>
                      <a:lnTo>
                        <a:pt x="1094" y="430"/>
                      </a:lnTo>
                      <a:lnTo>
                        <a:pt x="1104" y="442"/>
                      </a:lnTo>
                      <a:lnTo>
                        <a:pt x="1110" y="448"/>
                      </a:lnTo>
                      <a:lnTo>
                        <a:pt x="1112" y="450"/>
                      </a:lnTo>
                      <a:lnTo>
                        <a:pt x="1112" y="451"/>
                      </a:lnTo>
                      <a:lnTo>
                        <a:pt x="1113" y="452"/>
                      </a:lnTo>
                      <a:lnTo>
                        <a:pt x="1113" y="452"/>
                      </a:lnTo>
                      <a:lnTo>
                        <a:pt x="1114" y="453"/>
                      </a:lnTo>
                      <a:lnTo>
                        <a:pt x="1114" y="453"/>
                      </a:lnTo>
                      <a:lnTo>
                        <a:pt x="1116" y="455"/>
                      </a:lnTo>
                      <a:lnTo>
                        <a:pt x="1116" y="456"/>
                      </a:lnTo>
                      <a:lnTo>
                        <a:pt x="1117" y="457"/>
                      </a:lnTo>
                      <a:lnTo>
                        <a:pt x="1118" y="458"/>
                      </a:lnTo>
                      <a:lnTo>
                        <a:pt x="1119" y="459"/>
                      </a:lnTo>
                      <a:lnTo>
                        <a:pt x="1120" y="461"/>
                      </a:lnTo>
                      <a:lnTo>
                        <a:pt x="1132" y="475"/>
                      </a:lnTo>
                      <a:lnTo>
                        <a:pt x="1135" y="478"/>
                      </a:lnTo>
                      <a:lnTo>
                        <a:pt x="1147" y="493"/>
                      </a:lnTo>
                      <a:lnTo>
                        <a:pt x="1154" y="501"/>
                      </a:lnTo>
                      <a:lnTo>
                        <a:pt x="1158" y="505"/>
                      </a:lnTo>
                      <a:lnTo>
                        <a:pt x="1162" y="510"/>
                      </a:lnTo>
                      <a:lnTo>
                        <a:pt x="1166" y="516"/>
                      </a:lnTo>
                      <a:lnTo>
                        <a:pt x="1171" y="521"/>
                      </a:lnTo>
                      <a:lnTo>
                        <a:pt x="1179" y="530"/>
                      </a:lnTo>
                      <a:lnTo>
                        <a:pt x="1179" y="535"/>
                      </a:lnTo>
                      <a:lnTo>
                        <a:pt x="1180" y="537"/>
                      </a:lnTo>
                      <a:lnTo>
                        <a:pt x="1180" y="542"/>
                      </a:lnTo>
                      <a:lnTo>
                        <a:pt x="1181" y="547"/>
                      </a:lnTo>
                      <a:lnTo>
                        <a:pt x="1184" y="581"/>
                      </a:lnTo>
                      <a:lnTo>
                        <a:pt x="1186" y="606"/>
                      </a:lnTo>
                      <a:lnTo>
                        <a:pt x="1188" y="627"/>
                      </a:lnTo>
                      <a:lnTo>
                        <a:pt x="1190" y="642"/>
                      </a:lnTo>
                      <a:lnTo>
                        <a:pt x="1192" y="661"/>
                      </a:lnTo>
                      <a:lnTo>
                        <a:pt x="1192" y="669"/>
                      </a:lnTo>
                      <a:lnTo>
                        <a:pt x="1192" y="678"/>
                      </a:lnTo>
                      <a:lnTo>
                        <a:pt x="1192" y="682"/>
                      </a:lnTo>
                      <a:lnTo>
                        <a:pt x="1192" y="692"/>
                      </a:lnTo>
                      <a:lnTo>
                        <a:pt x="1193" y="701"/>
                      </a:lnTo>
                      <a:lnTo>
                        <a:pt x="1193" y="712"/>
                      </a:lnTo>
                      <a:lnTo>
                        <a:pt x="1193" y="716"/>
                      </a:lnTo>
                      <a:lnTo>
                        <a:pt x="1193" y="718"/>
                      </a:lnTo>
                      <a:lnTo>
                        <a:pt x="1192" y="722"/>
                      </a:lnTo>
                      <a:lnTo>
                        <a:pt x="1193" y="728"/>
                      </a:lnTo>
                      <a:lnTo>
                        <a:pt x="1193" y="735"/>
                      </a:lnTo>
                      <a:lnTo>
                        <a:pt x="1193" y="740"/>
                      </a:lnTo>
                      <a:lnTo>
                        <a:pt x="1194" y="740"/>
                      </a:lnTo>
                      <a:lnTo>
                        <a:pt x="1196" y="740"/>
                      </a:lnTo>
                      <a:lnTo>
                        <a:pt x="1197" y="740"/>
                      </a:lnTo>
                      <a:lnTo>
                        <a:pt x="1198" y="740"/>
                      </a:lnTo>
                      <a:lnTo>
                        <a:pt x="1201" y="740"/>
                      </a:lnTo>
                      <a:lnTo>
                        <a:pt x="1202" y="740"/>
                      </a:lnTo>
                      <a:lnTo>
                        <a:pt x="1207" y="740"/>
                      </a:lnTo>
                      <a:lnTo>
                        <a:pt x="1207" y="740"/>
                      </a:lnTo>
                      <a:lnTo>
                        <a:pt x="1211" y="741"/>
                      </a:lnTo>
                      <a:lnTo>
                        <a:pt x="1213" y="741"/>
                      </a:lnTo>
                      <a:lnTo>
                        <a:pt x="1213" y="741"/>
                      </a:lnTo>
                      <a:lnTo>
                        <a:pt x="1217" y="741"/>
                      </a:lnTo>
                      <a:lnTo>
                        <a:pt x="1219" y="741"/>
                      </a:lnTo>
                      <a:lnTo>
                        <a:pt x="1221" y="741"/>
                      </a:lnTo>
                      <a:lnTo>
                        <a:pt x="1225" y="741"/>
                      </a:lnTo>
                      <a:lnTo>
                        <a:pt x="1226" y="741"/>
                      </a:lnTo>
                      <a:lnTo>
                        <a:pt x="1230" y="741"/>
                      </a:lnTo>
                      <a:lnTo>
                        <a:pt x="1234" y="741"/>
                      </a:lnTo>
                      <a:lnTo>
                        <a:pt x="1237" y="741"/>
                      </a:lnTo>
                      <a:lnTo>
                        <a:pt x="1238" y="741"/>
                      </a:lnTo>
                      <a:lnTo>
                        <a:pt x="1243" y="742"/>
                      </a:lnTo>
                      <a:lnTo>
                        <a:pt x="1244" y="742"/>
                      </a:lnTo>
                      <a:lnTo>
                        <a:pt x="1245" y="742"/>
                      </a:lnTo>
                      <a:lnTo>
                        <a:pt x="1245" y="742"/>
                      </a:lnTo>
                      <a:lnTo>
                        <a:pt x="1246" y="742"/>
                      </a:lnTo>
                      <a:lnTo>
                        <a:pt x="1247" y="742"/>
                      </a:lnTo>
                      <a:lnTo>
                        <a:pt x="1247" y="742"/>
                      </a:lnTo>
                      <a:lnTo>
                        <a:pt x="1248" y="742"/>
                      </a:lnTo>
                      <a:lnTo>
                        <a:pt x="1249" y="742"/>
                      </a:lnTo>
                      <a:lnTo>
                        <a:pt x="1249" y="742"/>
                      </a:lnTo>
                      <a:lnTo>
                        <a:pt x="1250" y="742"/>
                      </a:lnTo>
                      <a:lnTo>
                        <a:pt x="1251" y="742"/>
                      </a:lnTo>
                      <a:lnTo>
                        <a:pt x="1251" y="742"/>
                      </a:lnTo>
                      <a:lnTo>
                        <a:pt x="1252" y="742"/>
                      </a:lnTo>
                      <a:lnTo>
                        <a:pt x="1253" y="742"/>
                      </a:lnTo>
                      <a:lnTo>
                        <a:pt x="1253" y="742"/>
                      </a:lnTo>
                      <a:lnTo>
                        <a:pt x="1254" y="742"/>
                      </a:lnTo>
                      <a:lnTo>
                        <a:pt x="1255" y="742"/>
                      </a:lnTo>
                      <a:lnTo>
                        <a:pt x="1255" y="742"/>
                      </a:lnTo>
                      <a:lnTo>
                        <a:pt x="1256" y="742"/>
                      </a:lnTo>
                      <a:lnTo>
                        <a:pt x="1257" y="743"/>
                      </a:lnTo>
                      <a:lnTo>
                        <a:pt x="1257" y="743"/>
                      </a:lnTo>
                      <a:lnTo>
                        <a:pt x="1258" y="743"/>
                      </a:lnTo>
                      <a:lnTo>
                        <a:pt x="1259" y="743"/>
                      </a:lnTo>
                      <a:lnTo>
                        <a:pt x="1259" y="743"/>
                      </a:lnTo>
                      <a:lnTo>
                        <a:pt x="1260" y="743"/>
                      </a:lnTo>
                      <a:lnTo>
                        <a:pt x="1261" y="743"/>
                      </a:lnTo>
                      <a:lnTo>
                        <a:pt x="1262" y="743"/>
                      </a:lnTo>
                      <a:lnTo>
                        <a:pt x="1262" y="743"/>
                      </a:lnTo>
                      <a:lnTo>
                        <a:pt x="1263" y="743"/>
                      </a:lnTo>
                      <a:lnTo>
                        <a:pt x="1264" y="743"/>
                      </a:lnTo>
                      <a:lnTo>
                        <a:pt x="1264" y="743"/>
                      </a:lnTo>
                      <a:lnTo>
                        <a:pt x="1265" y="743"/>
                      </a:lnTo>
                      <a:lnTo>
                        <a:pt x="1266" y="743"/>
                      </a:lnTo>
                      <a:lnTo>
                        <a:pt x="1266" y="743"/>
                      </a:lnTo>
                      <a:lnTo>
                        <a:pt x="1267" y="743"/>
                      </a:lnTo>
                      <a:lnTo>
                        <a:pt x="1268" y="743"/>
                      </a:lnTo>
                      <a:lnTo>
                        <a:pt x="1268" y="743"/>
                      </a:lnTo>
                      <a:lnTo>
                        <a:pt x="1269" y="743"/>
                      </a:lnTo>
                      <a:lnTo>
                        <a:pt x="1270" y="743"/>
                      </a:lnTo>
                      <a:lnTo>
                        <a:pt x="1270" y="743"/>
                      </a:lnTo>
                      <a:lnTo>
                        <a:pt x="1271" y="743"/>
                      </a:lnTo>
                      <a:lnTo>
                        <a:pt x="1272" y="743"/>
                      </a:lnTo>
                      <a:lnTo>
                        <a:pt x="1272" y="743"/>
                      </a:lnTo>
                      <a:lnTo>
                        <a:pt x="1273" y="743"/>
                      </a:lnTo>
                      <a:lnTo>
                        <a:pt x="1274" y="743"/>
                      </a:lnTo>
                      <a:lnTo>
                        <a:pt x="1274" y="743"/>
                      </a:lnTo>
                      <a:lnTo>
                        <a:pt x="1275" y="743"/>
                      </a:lnTo>
                      <a:lnTo>
                        <a:pt x="1276" y="743"/>
                      </a:lnTo>
                      <a:lnTo>
                        <a:pt x="1276" y="743"/>
                      </a:lnTo>
                      <a:lnTo>
                        <a:pt x="1277" y="743"/>
                      </a:lnTo>
                      <a:lnTo>
                        <a:pt x="1278" y="743"/>
                      </a:lnTo>
                      <a:lnTo>
                        <a:pt x="1278" y="743"/>
                      </a:lnTo>
                      <a:lnTo>
                        <a:pt x="1279" y="743"/>
                      </a:lnTo>
                      <a:lnTo>
                        <a:pt x="1280" y="743"/>
                      </a:lnTo>
                      <a:lnTo>
                        <a:pt x="1281" y="743"/>
                      </a:lnTo>
                      <a:lnTo>
                        <a:pt x="1281" y="743"/>
                      </a:lnTo>
                      <a:lnTo>
                        <a:pt x="1282" y="743"/>
                      </a:lnTo>
                      <a:lnTo>
                        <a:pt x="1283" y="743"/>
                      </a:lnTo>
                      <a:lnTo>
                        <a:pt x="1283" y="743"/>
                      </a:lnTo>
                      <a:lnTo>
                        <a:pt x="1284" y="743"/>
                      </a:lnTo>
                      <a:lnTo>
                        <a:pt x="1285" y="743"/>
                      </a:lnTo>
                      <a:lnTo>
                        <a:pt x="1285" y="743"/>
                      </a:lnTo>
                      <a:lnTo>
                        <a:pt x="1286" y="743"/>
                      </a:lnTo>
                      <a:lnTo>
                        <a:pt x="1287" y="743"/>
                      </a:lnTo>
                      <a:lnTo>
                        <a:pt x="1287" y="743"/>
                      </a:lnTo>
                      <a:lnTo>
                        <a:pt x="1288" y="743"/>
                      </a:lnTo>
                      <a:lnTo>
                        <a:pt x="1289" y="743"/>
                      </a:lnTo>
                      <a:lnTo>
                        <a:pt x="1289" y="743"/>
                      </a:lnTo>
                      <a:lnTo>
                        <a:pt x="1290" y="743"/>
                      </a:lnTo>
                      <a:lnTo>
                        <a:pt x="1291" y="743"/>
                      </a:lnTo>
                      <a:lnTo>
                        <a:pt x="1291" y="743"/>
                      </a:lnTo>
                      <a:lnTo>
                        <a:pt x="1292" y="743"/>
                      </a:lnTo>
                      <a:lnTo>
                        <a:pt x="1293" y="743"/>
                      </a:lnTo>
                      <a:lnTo>
                        <a:pt x="1293" y="744"/>
                      </a:lnTo>
                      <a:lnTo>
                        <a:pt x="1294" y="744"/>
                      </a:lnTo>
                      <a:lnTo>
                        <a:pt x="1295" y="744"/>
                      </a:lnTo>
                      <a:lnTo>
                        <a:pt x="1295" y="744"/>
                      </a:lnTo>
                      <a:lnTo>
                        <a:pt x="1296" y="744"/>
                      </a:lnTo>
                      <a:lnTo>
                        <a:pt x="1297" y="744"/>
                      </a:lnTo>
                      <a:lnTo>
                        <a:pt x="1297" y="744"/>
                      </a:lnTo>
                      <a:lnTo>
                        <a:pt x="1298" y="744"/>
                      </a:lnTo>
                      <a:lnTo>
                        <a:pt x="1299" y="744"/>
                      </a:lnTo>
                      <a:lnTo>
                        <a:pt x="1300" y="744"/>
                      </a:lnTo>
                      <a:lnTo>
                        <a:pt x="1301" y="744"/>
                      </a:lnTo>
                      <a:lnTo>
                        <a:pt x="1302" y="744"/>
                      </a:lnTo>
                      <a:lnTo>
                        <a:pt x="1302" y="744"/>
                      </a:lnTo>
                      <a:lnTo>
                        <a:pt x="1303" y="744"/>
                      </a:lnTo>
                      <a:lnTo>
                        <a:pt x="1304" y="744"/>
                      </a:lnTo>
                      <a:lnTo>
                        <a:pt x="1304" y="744"/>
                      </a:lnTo>
                      <a:lnTo>
                        <a:pt x="1305" y="744"/>
                      </a:lnTo>
                      <a:lnTo>
                        <a:pt x="1306" y="744"/>
                      </a:lnTo>
                      <a:lnTo>
                        <a:pt x="1306" y="744"/>
                      </a:lnTo>
                      <a:lnTo>
                        <a:pt x="1307" y="744"/>
                      </a:lnTo>
                      <a:lnTo>
                        <a:pt x="1308" y="744"/>
                      </a:lnTo>
                      <a:lnTo>
                        <a:pt x="1308" y="744"/>
                      </a:lnTo>
                      <a:lnTo>
                        <a:pt x="1309" y="744"/>
                      </a:lnTo>
                      <a:lnTo>
                        <a:pt x="1310" y="744"/>
                      </a:lnTo>
                      <a:lnTo>
                        <a:pt x="1310" y="744"/>
                      </a:lnTo>
                      <a:lnTo>
                        <a:pt x="1311" y="744"/>
                      </a:lnTo>
                      <a:lnTo>
                        <a:pt x="1312" y="744"/>
                      </a:lnTo>
                      <a:lnTo>
                        <a:pt x="1312" y="744"/>
                      </a:lnTo>
                      <a:lnTo>
                        <a:pt x="1313" y="744"/>
                      </a:lnTo>
                      <a:lnTo>
                        <a:pt x="1314" y="744"/>
                      </a:lnTo>
                      <a:lnTo>
                        <a:pt x="1314" y="744"/>
                      </a:lnTo>
                      <a:lnTo>
                        <a:pt x="1315" y="744"/>
                      </a:lnTo>
                      <a:lnTo>
                        <a:pt x="1316" y="744"/>
                      </a:lnTo>
                      <a:lnTo>
                        <a:pt x="1316" y="745"/>
                      </a:lnTo>
                      <a:lnTo>
                        <a:pt x="1316" y="745"/>
                      </a:lnTo>
                      <a:lnTo>
                        <a:pt x="1317" y="745"/>
                      </a:lnTo>
                      <a:lnTo>
                        <a:pt x="1318" y="745"/>
                      </a:lnTo>
                      <a:lnTo>
                        <a:pt x="1319" y="745"/>
                      </a:lnTo>
                      <a:lnTo>
                        <a:pt x="1319" y="745"/>
                      </a:lnTo>
                      <a:lnTo>
                        <a:pt x="1320" y="745"/>
                      </a:lnTo>
                      <a:lnTo>
                        <a:pt x="1321" y="745"/>
                      </a:lnTo>
                      <a:lnTo>
                        <a:pt x="1321" y="745"/>
                      </a:lnTo>
                      <a:lnTo>
                        <a:pt x="1322" y="745"/>
                      </a:lnTo>
                      <a:lnTo>
                        <a:pt x="1323" y="745"/>
                      </a:lnTo>
                      <a:lnTo>
                        <a:pt x="1323" y="745"/>
                      </a:lnTo>
                      <a:lnTo>
                        <a:pt x="1324" y="745"/>
                      </a:lnTo>
                      <a:lnTo>
                        <a:pt x="1325" y="745"/>
                      </a:lnTo>
                      <a:lnTo>
                        <a:pt x="1325" y="745"/>
                      </a:lnTo>
                      <a:lnTo>
                        <a:pt x="1326" y="745"/>
                      </a:lnTo>
                      <a:lnTo>
                        <a:pt x="1327" y="745"/>
                      </a:lnTo>
                      <a:lnTo>
                        <a:pt x="1327" y="745"/>
                      </a:lnTo>
                      <a:lnTo>
                        <a:pt x="1328" y="745"/>
                      </a:lnTo>
                      <a:lnTo>
                        <a:pt x="1329" y="745"/>
                      </a:lnTo>
                      <a:lnTo>
                        <a:pt x="1329" y="745"/>
                      </a:lnTo>
                      <a:lnTo>
                        <a:pt x="1330" y="745"/>
                      </a:lnTo>
                      <a:lnTo>
                        <a:pt x="1331" y="745"/>
                      </a:lnTo>
                      <a:lnTo>
                        <a:pt x="1331" y="745"/>
                      </a:lnTo>
                      <a:lnTo>
                        <a:pt x="1332" y="745"/>
                      </a:lnTo>
                      <a:lnTo>
                        <a:pt x="1333" y="745"/>
                      </a:lnTo>
                      <a:lnTo>
                        <a:pt x="1333" y="745"/>
                      </a:lnTo>
                      <a:lnTo>
                        <a:pt x="1334" y="745"/>
                      </a:lnTo>
                      <a:lnTo>
                        <a:pt x="1335" y="745"/>
                      </a:lnTo>
                      <a:lnTo>
                        <a:pt x="1335" y="745"/>
                      </a:lnTo>
                      <a:lnTo>
                        <a:pt x="1335" y="745"/>
                      </a:lnTo>
                      <a:lnTo>
                        <a:pt x="1336" y="745"/>
                      </a:lnTo>
                      <a:lnTo>
                        <a:pt x="1337" y="745"/>
                      </a:lnTo>
                      <a:lnTo>
                        <a:pt x="1338" y="745"/>
                      </a:lnTo>
                      <a:lnTo>
                        <a:pt x="1338" y="745"/>
                      </a:lnTo>
                      <a:lnTo>
                        <a:pt x="1339" y="745"/>
                      </a:lnTo>
                      <a:lnTo>
                        <a:pt x="1340" y="745"/>
                      </a:lnTo>
                      <a:lnTo>
                        <a:pt x="1340" y="745"/>
                      </a:lnTo>
                      <a:lnTo>
                        <a:pt x="1341" y="745"/>
                      </a:lnTo>
                      <a:lnTo>
                        <a:pt x="1342" y="745"/>
                      </a:lnTo>
                      <a:lnTo>
                        <a:pt x="1342" y="745"/>
                      </a:lnTo>
                      <a:lnTo>
                        <a:pt x="1343" y="745"/>
                      </a:lnTo>
                      <a:lnTo>
                        <a:pt x="1344" y="745"/>
                      </a:lnTo>
                      <a:lnTo>
                        <a:pt x="1344" y="745"/>
                      </a:lnTo>
                      <a:lnTo>
                        <a:pt x="1345" y="745"/>
                      </a:lnTo>
                      <a:lnTo>
                        <a:pt x="1346" y="745"/>
                      </a:lnTo>
                      <a:lnTo>
                        <a:pt x="1346" y="745"/>
                      </a:lnTo>
                      <a:lnTo>
                        <a:pt x="1347" y="745"/>
                      </a:lnTo>
                      <a:lnTo>
                        <a:pt x="1348" y="745"/>
                      </a:lnTo>
                      <a:lnTo>
                        <a:pt x="1348" y="745"/>
                      </a:lnTo>
                      <a:lnTo>
                        <a:pt x="1349" y="745"/>
                      </a:lnTo>
                      <a:lnTo>
                        <a:pt x="1350" y="745"/>
                      </a:lnTo>
                      <a:lnTo>
                        <a:pt x="1350" y="745"/>
                      </a:lnTo>
                      <a:lnTo>
                        <a:pt x="1351" y="745"/>
                      </a:lnTo>
                      <a:lnTo>
                        <a:pt x="1352" y="745"/>
                      </a:lnTo>
                      <a:lnTo>
                        <a:pt x="1352" y="745"/>
                      </a:lnTo>
                      <a:lnTo>
                        <a:pt x="1353" y="745"/>
                      </a:lnTo>
                      <a:lnTo>
                        <a:pt x="1354" y="745"/>
                      </a:lnTo>
                      <a:lnTo>
                        <a:pt x="1354" y="745"/>
                      </a:lnTo>
                      <a:lnTo>
                        <a:pt x="1355" y="745"/>
                      </a:lnTo>
                      <a:lnTo>
                        <a:pt x="1356" y="745"/>
                      </a:lnTo>
                      <a:lnTo>
                        <a:pt x="1367" y="747"/>
                      </a:lnTo>
                      <a:lnTo>
                        <a:pt x="1367" y="747"/>
                      </a:lnTo>
                      <a:lnTo>
                        <a:pt x="1368" y="747"/>
                      </a:lnTo>
                      <a:lnTo>
                        <a:pt x="1369" y="747"/>
                      </a:lnTo>
                      <a:lnTo>
                        <a:pt x="1369" y="747"/>
                      </a:lnTo>
                      <a:lnTo>
                        <a:pt x="1370" y="747"/>
                      </a:lnTo>
                      <a:lnTo>
                        <a:pt x="1371" y="747"/>
                      </a:lnTo>
                      <a:lnTo>
                        <a:pt x="1373" y="747"/>
                      </a:lnTo>
                      <a:lnTo>
                        <a:pt x="1375" y="747"/>
                      </a:lnTo>
                      <a:lnTo>
                        <a:pt x="1376" y="747"/>
                      </a:lnTo>
                      <a:lnTo>
                        <a:pt x="1378" y="747"/>
                      </a:lnTo>
                      <a:lnTo>
                        <a:pt x="1379" y="747"/>
                      </a:lnTo>
                      <a:lnTo>
                        <a:pt x="1380" y="747"/>
                      </a:lnTo>
                      <a:lnTo>
                        <a:pt x="1380" y="747"/>
                      </a:lnTo>
                      <a:lnTo>
                        <a:pt x="1381" y="747"/>
                      </a:lnTo>
                      <a:lnTo>
                        <a:pt x="1382" y="747"/>
                      </a:lnTo>
                      <a:lnTo>
                        <a:pt x="1382" y="747"/>
                      </a:lnTo>
                      <a:lnTo>
                        <a:pt x="1383" y="747"/>
                      </a:lnTo>
                      <a:lnTo>
                        <a:pt x="1384" y="747"/>
                      </a:lnTo>
                      <a:lnTo>
                        <a:pt x="1384" y="747"/>
                      </a:lnTo>
                      <a:lnTo>
                        <a:pt x="1385" y="747"/>
                      </a:lnTo>
                      <a:lnTo>
                        <a:pt x="1385" y="748"/>
                      </a:lnTo>
                      <a:lnTo>
                        <a:pt x="1386" y="748"/>
                      </a:lnTo>
                      <a:lnTo>
                        <a:pt x="1386" y="748"/>
                      </a:lnTo>
                      <a:lnTo>
                        <a:pt x="1387" y="748"/>
                      </a:lnTo>
                      <a:lnTo>
                        <a:pt x="1388" y="748"/>
                      </a:lnTo>
                      <a:lnTo>
                        <a:pt x="1388" y="748"/>
                      </a:lnTo>
                      <a:lnTo>
                        <a:pt x="1389" y="748"/>
                      </a:lnTo>
                      <a:lnTo>
                        <a:pt x="1390" y="748"/>
                      </a:lnTo>
                      <a:lnTo>
                        <a:pt x="1390" y="748"/>
                      </a:lnTo>
                      <a:lnTo>
                        <a:pt x="1391" y="748"/>
                      </a:lnTo>
                      <a:lnTo>
                        <a:pt x="1392" y="748"/>
                      </a:lnTo>
                      <a:lnTo>
                        <a:pt x="1392" y="748"/>
                      </a:lnTo>
                      <a:lnTo>
                        <a:pt x="1393" y="748"/>
                      </a:lnTo>
                      <a:lnTo>
                        <a:pt x="1394" y="748"/>
                      </a:lnTo>
                      <a:lnTo>
                        <a:pt x="1395" y="748"/>
                      </a:lnTo>
                      <a:lnTo>
                        <a:pt x="1395" y="748"/>
                      </a:lnTo>
                      <a:lnTo>
                        <a:pt x="1396" y="748"/>
                      </a:lnTo>
                      <a:lnTo>
                        <a:pt x="1396" y="749"/>
                      </a:lnTo>
                      <a:lnTo>
                        <a:pt x="1397" y="749"/>
                      </a:lnTo>
                      <a:lnTo>
                        <a:pt x="1397" y="749"/>
                      </a:lnTo>
                      <a:lnTo>
                        <a:pt x="1398" y="749"/>
                      </a:lnTo>
                      <a:lnTo>
                        <a:pt x="1399" y="749"/>
                      </a:lnTo>
                      <a:lnTo>
                        <a:pt x="1399" y="749"/>
                      </a:lnTo>
                      <a:lnTo>
                        <a:pt x="1400" y="749"/>
                      </a:lnTo>
                      <a:lnTo>
                        <a:pt x="1401" y="749"/>
                      </a:lnTo>
                      <a:lnTo>
                        <a:pt x="1401" y="749"/>
                      </a:lnTo>
                      <a:lnTo>
                        <a:pt x="1402" y="749"/>
                      </a:lnTo>
                      <a:lnTo>
                        <a:pt x="1403" y="749"/>
                      </a:lnTo>
                      <a:lnTo>
                        <a:pt x="1403" y="749"/>
                      </a:lnTo>
                      <a:lnTo>
                        <a:pt x="1404" y="749"/>
                      </a:lnTo>
                      <a:lnTo>
                        <a:pt x="1405" y="749"/>
                      </a:lnTo>
                      <a:lnTo>
                        <a:pt x="1405" y="749"/>
                      </a:lnTo>
                      <a:lnTo>
                        <a:pt x="1406" y="749"/>
                      </a:lnTo>
                      <a:lnTo>
                        <a:pt x="1407" y="749"/>
                      </a:lnTo>
                      <a:lnTo>
                        <a:pt x="1407" y="749"/>
                      </a:lnTo>
                      <a:lnTo>
                        <a:pt x="1407" y="749"/>
                      </a:lnTo>
                      <a:lnTo>
                        <a:pt x="1408" y="749"/>
                      </a:lnTo>
                      <a:lnTo>
                        <a:pt x="1409" y="749"/>
                      </a:lnTo>
                      <a:lnTo>
                        <a:pt x="1409" y="749"/>
                      </a:lnTo>
                      <a:lnTo>
                        <a:pt x="1410" y="749"/>
                      </a:lnTo>
                      <a:lnTo>
                        <a:pt x="1411" y="749"/>
                      </a:lnTo>
                      <a:lnTo>
                        <a:pt x="1411" y="749"/>
                      </a:lnTo>
                      <a:lnTo>
                        <a:pt x="1412" y="749"/>
                      </a:lnTo>
                      <a:lnTo>
                        <a:pt x="1413" y="749"/>
                      </a:lnTo>
                      <a:lnTo>
                        <a:pt x="1414" y="749"/>
                      </a:lnTo>
                      <a:lnTo>
                        <a:pt x="1414" y="749"/>
                      </a:lnTo>
                      <a:lnTo>
                        <a:pt x="1415" y="749"/>
                      </a:lnTo>
                      <a:lnTo>
                        <a:pt x="1416" y="749"/>
                      </a:lnTo>
                      <a:lnTo>
                        <a:pt x="1416" y="749"/>
                      </a:lnTo>
                      <a:lnTo>
                        <a:pt x="1417" y="749"/>
                      </a:lnTo>
                      <a:lnTo>
                        <a:pt x="1418" y="750"/>
                      </a:lnTo>
                      <a:lnTo>
                        <a:pt x="1418" y="750"/>
                      </a:lnTo>
                      <a:lnTo>
                        <a:pt x="1419" y="750"/>
                      </a:lnTo>
                      <a:lnTo>
                        <a:pt x="1420" y="750"/>
                      </a:lnTo>
                      <a:lnTo>
                        <a:pt x="1420" y="750"/>
                      </a:lnTo>
                      <a:lnTo>
                        <a:pt x="1421" y="750"/>
                      </a:lnTo>
                      <a:lnTo>
                        <a:pt x="1422" y="750"/>
                      </a:lnTo>
                      <a:lnTo>
                        <a:pt x="1422" y="750"/>
                      </a:lnTo>
                      <a:lnTo>
                        <a:pt x="1423" y="750"/>
                      </a:lnTo>
                      <a:lnTo>
                        <a:pt x="1424" y="750"/>
                      </a:lnTo>
                      <a:lnTo>
                        <a:pt x="1424" y="750"/>
                      </a:lnTo>
                      <a:lnTo>
                        <a:pt x="1425" y="750"/>
                      </a:lnTo>
                      <a:lnTo>
                        <a:pt x="1426" y="750"/>
                      </a:lnTo>
                      <a:lnTo>
                        <a:pt x="1426" y="750"/>
                      </a:lnTo>
                      <a:lnTo>
                        <a:pt x="1427" y="750"/>
                      </a:lnTo>
                      <a:lnTo>
                        <a:pt x="1428" y="750"/>
                      </a:lnTo>
                      <a:lnTo>
                        <a:pt x="1428" y="751"/>
                      </a:lnTo>
                      <a:lnTo>
                        <a:pt x="1429" y="751"/>
                      </a:lnTo>
                      <a:lnTo>
                        <a:pt x="1430" y="751"/>
                      </a:lnTo>
                      <a:lnTo>
                        <a:pt x="1430" y="751"/>
                      </a:lnTo>
                      <a:lnTo>
                        <a:pt x="1431" y="751"/>
                      </a:lnTo>
                      <a:lnTo>
                        <a:pt x="1432" y="751"/>
                      </a:lnTo>
                      <a:lnTo>
                        <a:pt x="1433" y="751"/>
                      </a:lnTo>
                      <a:lnTo>
                        <a:pt x="1433" y="751"/>
                      </a:lnTo>
                      <a:lnTo>
                        <a:pt x="1434" y="751"/>
                      </a:lnTo>
                      <a:lnTo>
                        <a:pt x="1435" y="751"/>
                      </a:lnTo>
                      <a:lnTo>
                        <a:pt x="1435" y="751"/>
                      </a:lnTo>
                      <a:lnTo>
                        <a:pt x="1435" y="752"/>
                      </a:lnTo>
                      <a:lnTo>
                        <a:pt x="1436" y="752"/>
                      </a:lnTo>
                      <a:lnTo>
                        <a:pt x="1437" y="752"/>
                      </a:lnTo>
                      <a:lnTo>
                        <a:pt x="1437" y="752"/>
                      </a:lnTo>
                      <a:lnTo>
                        <a:pt x="1438" y="752"/>
                      </a:lnTo>
                      <a:lnTo>
                        <a:pt x="1439" y="752"/>
                      </a:lnTo>
                      <a:lnTo>
                        <a:pt x="1439" y="752"/>
                      </a:lnTo>
                      <a:lnTo>
                        <a:pt x="1440" y="752"/>
                      </a:lnTo>
                      <a:lnTo>
                        <a:pt x="1441" y="752"/>
                      </a:lnTo>
                      <a:lnTo>
                        <a:pt x="1441" y="752"/>
                      </a:lnTo>
                      <a:lnTo>
                        <a:pt x="1442" y="752"/>
                      </a:lnTo>
                      <a:lnTo>
                        <a:pt x="1443" y="752"/>
                      </a:lnTo>
                      <a:lnTo>
                        <a:pt x="1443" y="752"/>
                      </a:lnTo>
                      <a:lnTo>
                        <a:pt x="1444" y="752"/>
                      </a:lnTo>
                      <a:lnTo>
                        <a:pt x="1445" y="752"/>
                      </a:lnTo>
                      <a:lnTo>
                        <a:pt x="1445" y="752"/>
                      </a:lnTo>
                      <a:lnTo>
                        <a:pt x="1446" y="752"/>
                      </a:lnTo>
                      <a:lnTo>
                        <a:pt x="1447" y="752"/>
                      </a:lnTo>
                      <a:lnTo>
                        <a:pt x="1447" y="752"/>
                      </a:lnTo>
                      <a:lnTo>
                        <a:pt x="1448" y="752"/>
                      </a:lnTo>
                      <a:lnTo>
                        <a:pt x="1449" y="752"/>
                      </a:lnTo>
                      <a:lnTo>
                        <a:pt x="1449" y="752"/>
                      </a:lnTo>
                      <a:lnTo>
                        <a:pt x="1450" y="752"/>
                      </a:lnTo>
                      <a:lnTo>
                        <a:pt x="1451" y="752"/>
                      </a:lnTo>
                      <a:lnTo>
                        <a:pt x="1452" y="752"/>
                      </a:lnTo>
                      <a:lnTo>
                        <a:pt x="1452" y="752"/>
                      </a:lnTo>
                      <a:lnTo>
                        <a:pt x="1453" y="752"/>
                      </a:lnTo>
                      <a:lnTo>
                        <a:pt x="1454" y="752"/>
                      </a:lnTo>
                      <a:lnTo>
                        <a:pt x="1454" y="752"/>
                      </a:lnTo>
                      <a:lnTo>
                        <a:pt x="1455" y="752"/>
                      </a:lnTo>
                      <a:lnTo>
                        <a:pt x="1456" y="752"/>
                      </a:lnTo>
                      <a:lnTo>
                        <a:pt x="1456" y="753"/>
                      </a:lnTo>
                      <a:lnTo>
                        <a:pt x="1456" y="753"/>
                      </a:lnTo>
                      <a:lnTo>
                        <a:pt x="1457" y="753"/>
                      </a:lnTo>
                      <a:lnTo>
                        <a:pt x="1458" y="753"/>
                      </a:lnTo>
                      <a:lnTo>
                        <a:pt x="1458" y="753"/>
                      </a:lnTo>
                      <a:lnTo>
                        <a:pt x="1459" y="753"/>
                      </a:lnTo>
                      <a:lnTo>
                        <a:pt x="1460" y="753"/>
                      </a:lnTo>
                      <a:lnTo>
                        <a:pt x="1460" y="753"/>
                      </a:lnTo>
                      <a:lnTo>
                        <a:pt x="1461" y="753"/>
                      </a:lnTo>
                      <a:lnTo>
                        <a:pt x="1462" y="753"/>
                      </a:lnTo>
                      <a:lnTo>
                        <a:pt x="1462" y="753"/>
                      </a:lnTo>
                      <a:lnTo>
                        <a:pt x="1463" y="753"/>
                      </a:lnTo>
                      <a:lnTo>
                        <a:pt x="1464" y="753"/>
                      </a:lnTo>
                      <a:lnTo>
                        <a:pt x="1464" y="753"/>
                      </a:lnTo>
                      <a:lnTo>
                        <a:pt x="1465" y="753"/>
                      </a:lnTo>
                      <a:lnTo>
                        <a:pt x="1466" y="753"/>
                      </a:lnTo>
                      <a:lnTo>
                        <a:pt x="1466" y="753"/>
                      </a:lnTo>
                      <a:lnTo>
                        <a:pt x="1467" y="753"/>
                      </a:lnTo>
                      <a:lnTo>
                        <a:pt x="1467" y="754"/>
                      </a:lnTo>
                      <a:lnTo>
                        <a:pt x="1468" y="754"/>
                      </a:lnTo>
                      <a:lnTo>
                        <a:pt x="1468" y="754"/>
                      </a:lnTo>
                      <a:lnTo>
                        <a:pt x="1469" y="754"/>
                      </a:lnTo>
                      <a:lnTo>
                        <a:pt x="1470" y="754"/>
                      </a:lnTo>
                      <a:lnTo>
                        <a:pt x="1471" y="754"/>
                      </a:lnTo>
                      <a:lnTo>
                        <a:pt x="1471" y="754"/>
                      </a:lnTo>
                      <a:lnTo>
                        <a:pt x="1472" y="754"/>
                      </a:lnTo>
                      <a:lnTo>
                        <a:pt x="1473" y="754"/>
                      </a:lnTo>
                      <a:lnTo>
                        <a:pt x="1474" y="754"/>
                      </a:lnTo>
                      <a:lnTo>
                        <a:pt x="1475" y="754"/>
                      </a:lnTo>
                      <a:lnTo>
                        <a:pt x="1475" y="754"/>
                      </a:lnTo>
                      <a:lnTo>
                        <a:pt x="1476" y="754"/>
                      </a:lnTo>
                      <a:lnTo>
                        <a:pt x="1477" y="754"/>
                      </a:lnTo>
                      <a:lnTo>
                        <a:pt x="1477" y="754"/>
                      </a:lnTo>
                      <a:lnTo>
                        <a:pt x="1478" y="754"/>
                      </a:lnTo>
                      <a:lnTo>
                        <a:pt x="1479" y="754"/>
                      </a:lnTo>
                      <a:lnTo>
                        <a:pt x="1479" y="754"/>
                      </a:lnTo>
                      <a:lnTo>
                        <a:pt x="1480" y="754"/>
                      </a:lnTo>
                      <a:lnTo>
                        <a:pt x="1481" y="754"/>
                      </a:lnTo>
                      <a:lnTo>
                        <a:pt x="1481" y="754"/>
                      </a:lnTo>
                      <a:lnTo>
                        <a:pt x="1482" y="754"/>
                      </a:lnTo>
                      <a:lnTo>
                        <a:pt x="1483" y="754"/>
                      </a:lnTo>
                      <a:lnTo>
                        <a:pt x="1483" y="754"/>
                      </a:lnTo>
                      <a:lnTo>
                        <a:pt x="1484" y="754"/>
                      </a:lnTo>
                      <a:lnTo>
                        <a:pt x="1485" y="754"/>
                      </a:lnTo>
                      <a:lnTo>
                        <a:pt x="1485" y="754"/>
                      </a:lnTo>
                      <a:lnTo>
                        <a:pt x="1486" y="754"/>
                      </a:lnTo>
                      <a:lnTo>
                        <a:pt x="1487" y="754"/>
                      </a:lnTo>
                      <a:lnTo>
                        <a:pt x="1487" y="754"/>
                      </a:lnTo>
                      <a:lnTo>
                        <a:pt x="1488" y="754"/>
                      </a:lnTo>
                      <a:lnTo>
                        <a:pt x="1489" y="754"/>
                      </a:lnTo>
                      <a:lnTo>
                        <a:pt x="1490" y="754"/>
                      </a:lnTo>
                      <a:lnTo>
                        <a:pt x="1490" y="754"/>
                      </a:lnTo>
                      <a:lnTo>
                        <a:pt x="1491" y="755"/>
                      </a:lnTo>
                      <a:lnTo>
                        <a:pt x="1492" y="755"/>
                      </a:lnTo>
                      <a:lnTo>
                        <a:pt x="1492" y="755"/>
                      </a:lnTo>
                      <a:lnTo>
                        <a:pt x="1493" y="755"/>
                      </a:lnTo>
                      <a:lnTo>
                        <a:pt x="1493" y="754"/>
                      </a:lnTo>
                      <a:lnTo>
                        <a:pt x="1502" y="755"/>
                      </a:lnTo>
                      <a:lnTo>
                        <a:pt x="1510" y="756"/>
                      </a:lnTo>
                      <a:lnTo>
                        <a:pt x="1517" y="756"/>
                      </a:lnTo>
                      <a:lnTo>
                        <a:pt x="1537" y="757"/>
                      </a:lnTo>
                      <a:lnTo>
                        <a:pt x="1542" y="758"/>
                      </a:lnTo>
                      <a:lnTo>
                        <a:pt x="1549" y="758"/>
                      </a:lnTo>
                      <a:lnTo>
                        <a:pt x="1551" y="758"/>
                      </a:lnTo>
                      <a:lnTo>
                        <a:pt x="1551" y="758"/>
                      </a:lnTo>
                      <a:lnTo>
                        <a:pt x="1557" y="758"/>
                      </a:lnTo>
                      <a:lnTo>
                        <a:pt x="1557" y="758"/>
                      </a:lnTo>
                      <a:lnTo>
                        <a:pt x="1558" y="758"/>
                      </a:lnTo>
                      <a:lnTo>
                        <a:pt x="1558" y="759"/>
                      </a:lnTo>
                      <a:lnTo>
                        <a:pt x="1559" y="759"/>
                      </a:lnTo>
                      <a:lnTo>
                        <a:pt x="1559" y="759"/>
                      </a:lnTo>
                      <a:lnTo>
                        <a:pt x="1560" y="759"/>
                      </a:lnTo>
                      <a:lnTo>
                        <a:pt x="1561" y="759"/>
                      </a:lnTo>
                      <a:lnTo>
                        <a:pt x="1561" y="759"/>
                      </a:lnTo>
                      <a:lnTo>
                        <a:pt x="1562" y="759"/>
                      </a:lnTo>
                      <a:lnTo>
                        <a:pt x="1563" y="759"/>
                      </a:lnTo>
                      <a:lnTo>
                        <a:pt x="1564" y="759"/>
                      </a:lnTo>
                      <a:lnTo>
                        <a:pt x="1564" y="759"/>
                      </a:lnTo>
                      <a:lnTo>
                        <a:pt x="1565" y="759"/>
                      </a:lnTo>
                      <a:lnTo>
                        <a:pt x="1566" y="759"/>
                      </a:lnTo>
                      <a:lnTo>
                        <a:pt x="1566" y="759"/>
                      </a:lnTo>
                      <a:lnTo>
                        <a:pt x="1567" y="759"/>
                      </a:lnTo>
                      <a:lnTo>
                        <a:pt x="1568" y="759"/>
                      </a:lnTo>
                      <a:lnTo>
                        <a:pt x="1568" y="759"/>
                      </a:lnTo>
                      <a:lnTo>
                        <a:pt x="1569" y="760"/>
                      </a:lnTo>
                      <a:lnTo>
                        <a:pt x="1570" y="760"/>
                      </a:lnTo>
                      <a:lnTo>
                        <a:pt x="1570" y="760"/>
                      </a:lnTo>
                      <a:lnTo>
                        <a:pt x="1571" y="760"/>
                      </a:lnTo>
                      <a:lnTo>
                        <a:pt x="1572" y="760"/>
                      </a:lnTo>
                      <a:lnTo>
                        <a:pt x="1572" y="760"/>
                      </a:lnTo>
                      <a:lnTo>
                        <a:pt x="1573" y="760"/>
                      </a:lnTo>
                      <a:lnTo>
                        <a:pt x="1574" y="760"/>
                      </a:lnTo>
                      <a:lnTo>
                        <a:pt x="1574" y="760"/>
                      </a:lnTo>
                      <a:lnTo>
                        <a:pt x="1575" y="760"/>
                      </a:lnTo>
                      <a:lnTo>
                        <a:pt x="1576" y="760"/>
                      </a:lnTo>
                      <a:lnTo>
                        <a:pt x="1576" y="760"/>
                      </a:lnTo>
                      <a:lnTo>
                        <a:pt x="1577" y="760"/>
                      </a:lnTo>
                      <a:lnTo>
                        <a:pt x="1578" y="760"/>
                      </a:lnTo>
                      <a:lnTo>
                        <a:pt x="1578" y="760"/>
                      </a:lnTo>
                      <a:lnTo>
                        <a:pt x="1579" y="760"/>
                      </a:lnTo>
                      <a:lnTo>
                        <a:pt x="1579" y="760"/>
                      </a:lnTo>
                      <a:lnTo>
                        <a:pt x="1580" y="760"/>
                      </a:lnTo>
                      <a:lnTo>
                        <a:pt x="1580" y="760"/>
                      </a:lnTo>
                      <a:lnTo>
                        <a:pt x="1581" y="760"/>
                      </a:lnTo>
                      <a:lnTo>
                        <a:pt x="1582" y="760"/>
                      </a:lnTo>
                      <a:lnTo>
                        <a:pt x="1583" y="760"/>
                      </a:lnTo>
                      <a:lnTo>
                        <a:pt x="1583" y="760"/>
                      </a:lnTo>
                      <a:lnTo>
                        <a:pt x="1584" y="760"/>
                      </a:lnTo>
                      <a:lnTo>
                        <a:pt x="1585" y="760"/>
                      </a:lnTo>
                      <a:lnTo>
                        <a:pt x="1585" y="760"/>
                      </a:lnTo>
                      <a:lnTo>
                        <a:pt x="1586" y="760"/>
                      </a:lnTo>
                      <a:lnTo>
                        <a:pt x="1587" y="760"/>
                      </a:lnTo>
                      <a:lnTo>
                        <a:pt x="1587" y="760"/>
                      </a:lnTo>
                      <a:lnTo>
                        <a:pt x="1588" y="760"/>
                      </a:lnTo>
                      <a:lnTo>
                        <a:pt x="1589" y="760"/>
                      </a:lnTo>
                      <a:lnTo>
                        <a:pt x="1589" y="760"/>
                      </a:lnTo>
                      <a:lnTo>
                        <a:pt x="1590" y="761"/>
                      </a:lnTo>
                      <a:lnTo>
                        <a:pt x="1591" y="761"/>
                      </a:lnTo>
                      <a:lnTo>
                        <a:pt x="1591" y="761"/>
                      </a:lnTo>
                      <a:lnTo>
                        <a:pt x="1592" y="761"/>
                      </a:lnTo>
                      <a:lnTo>
                        <a:pt x="1593" y="761"/>
                      </a:lnTo>
                      <a:lnTo>
                        <a:pt x="1593" y="761"/>
                      </a:lnTo>
                      <a:lnTo>
                        <a:pt x="1594" y="761"/>
                      </a:lnTo>
                      <a:lnTo>
                        <a:pt x="1595" y="761"/>
                      </a:lnTo>
                      <a:lnTo>
                        <a:pt x="1595" y="761"/>
                      </a:lnTo>
                      <a:lnTo>
                        <a:pt x="1596" y="761"/>
                      </a:lnTo>
                      <a:lnTo>
                        <a:pt x="1597" y="761"/>
                      </a:lnTo>
                      <a:lnTo>
                        <a:pt x="1597" y="761"/>
                      </a:lnTo>
                      <a:lnTo>
                        <a:pt x="1598" y="761"/>
                      </a:lnTo>
                      <a:lnTo>
                        <a:pt x="1599" y="761"/>
                      </a:lnTo>
                      <a:lnTo>
                        <a:pt x="1599" y="761"/>
                      </a:lnTo>
                      <a:lnTo>
                        <a:pt x="1600" y="761"/>
                      </a:lnTo>
                      <a:lnTo>
                        <a:pt x="1601" y="761"/>
                      </a:lnTo>
                      <a:lnTo>
                        <a:pt x="1602" y="761"/>
                      </a:lnTo>
                      <a:lnTo>
                        <a:pt x="1602" y="761"/>
                      </a:lnTo>
                      <a:lnTo>
                        <a:pt x="1602" y="762"/>
                      </a:lnTo>
                      <a:lnTo>
                        <a:pt x="1603" y="762"/>
                      </a:lnTo>
                      <a:lnTo>
                        <a:pt x="1604" y="762"/>
                      </a:lnTo>
                      <a:lnTo>
                        <a:pt x="1604" y="762"/>
                      </a:lnTo>
                      <a:lnTo>
                        <a:pt x="1605" y="762"/>
                      </a:lnTo>
                      <a:lnTo>
                        <a:pt x="1606" y="762"/>
                      </a:lnTo>
                      <a:lnTo>
                        <a:pt x="1606" y="762"/>
                      </a:lnTo>
                      <a:lnTo>
                        <a:pt x="1607" y="762"/>
                      </a:lnTo>
                      <a:lnTo>
                        <a:pt x="1608" y="762"/>
                      </a:lnTo>
                      <a:lnTo>
                        <a:pt x="1608" y="762"/>
                      </a:lnTo>
                      <a:lnTo>
                        <a:pt x="1609" y="762"/>
                      </a:lnTo>
                      <a:lnTo>
                        <a:pt x="1610" y="762"/>
                      </a:lnTo>
                      <a:lnTo>
                        <a:pt x="1610" y="762"/>
                      </a:lnTo>
                      <a:lnTo>
                        <a:pt x="1611" y="762"/>
                      </a:lnTo>
                      <a:lnTo>
                        <a:pt x="1612" y="762"/>
                      </a:lnTo>
                      <a:lnTo>
                        <a:pt x="1612" y="762"/>
                      </a:lnTo>
                      <a:lnTo>
                        <a:pt x="1613" y="762"/>
                      </a:lnTo>
                      <a:lnTo>
                        <a:pt x="1614" y="762"/>
                      </a:lnTo>
                      <a:lnTo>
                        <a:pt x="1614" y="762"/>
                      </a:lnTo>
                      <a:lnTo>
                        <a:pt x="1614" y="762"/>
                      </a:lnTo>
                      <a:lnTo>
                        <a:pt x="1615" y="762"/>
                      </a:lnTo>
                      <a:lnTo>
                        <a:pt x="1616" y="762"/>
                      </a:lnTo>
                      <a:lnTo>
                        <a:pt x="1616" y="762"/>
                      </a:lnTo>
                      <a:lnTo>
                        <a:pt x="1617" y="762"/>
                      </a:lnTo>
                      <a:lnTo>
                        <a:pt x="1618" y="762"/>
                      </a:lnTo>
                      <a:lnTo>
                        <a:pt x="1618" y="762"/>
                      </a:lnTo>
                      <a:lnTo>
                        <a:pt x="1619" y="762"/>
                      </a:lnTo>
                      <a:lnTo>
                        <a:pt x="1620" y="762"/>
                      </a:lnTo>
                      <a:lnTo>
                        <a:pt x="1621" y="762"/>
                      </a:lnTo>
                      <a:lnTo>
                        <a:pt x="1621" y="762"/>
                      </a:lnTo>
                      <a:lnTo>
                        <a:pt x="1622" y="762"/>
                      </a:lnTo>
                      <a:lnTo>
                        <a:pt x="1624" y="763"/>
                      </a:lnTo>
                      <a:lnTo>
                        <a:pt x="1625" y="763"/>
                      </a:lnTo>
                      <a:lnTo>
                        <a:pt x="1627" y="763"/>
                      </a:lnTo>
                      <a:lnTo>
                        <a:pt x="1629" y="763"/>
                      </a:lnTo>
                      <a:lnTo>
                        <a:pt x="1631" y="763"/>
                      </a:lnTo>
                      <a:lnTo>
                        <a:pt x="1633" y="763"/>
                      </a:lnTo>
                      <a:lnTo>
                        <a:pt x="1635" y="764"/>
                      </a:lnTo>
                      <a:lnTo>
                        <a:pt x="1637" y="764"/>
                      </a:lnTo>
                      <a:lnTo>
                        <a:pt x="1639" y="764"/>
                      </a:lnTo>
                      <a:lnTo>
                        <a:pt x="1640" y="763"/>
                      </a:lnTo>
                      <a:lnTo>
                        <a:pt x="1640" y="762"/>
                      </a:lnTo>
                      <a:lnTo>
                        <a:pt x="1642" y="762"/>
                      </a:lnTo>
                      <a:lnTo>
                        <a:pt x="1643" y="761"/>
                      </a:lnTo>
                      <a:lnTo>
                        <a:pt x="1644" y="760"/>
                      </a:lnTo>
                      <a:lnTo>
                        <a:pt x="1646" y="760"/>
                      </a:lnTo>
                      <a:lnTo>
                        <a:pt x="1646" y="759"/>
                      </a:lnTo>
                      <a:lnTo>
                        <a:pt x="1647" y="759"/>
                      </a:lnTo>
                      <a:lnTo>
                        <a:pt x="1648" y="758"/>
                      </a:lnTo>
                      <a:lnTo>
                        <a:pt x="1648" y="757"/>
                      </a:lnTo>
                      <a:lnTo>
                        <a:pt x="1648" y="756"/>
                      </a:lnTo>
                      <a:lnTo>
                        <a:pt x="1649" y="756"/>
                      </a:lnTo>
                      <a:lnTo>
                        <a:pt x="1649" y="754"/>
                      </a:lnTo>
                      <a:lnTo>
                        <a:pt x="1650" y="753"/>
                      </a:lnTo>
                      <a:lnTo>
                        <a:pt x="1650" y="752"/>
                      </a:lnTo>
                      <a:lnTo>
                        <a:pt x="1649" y="751"/>
                      </a:lnTo>
                      <a:lnTo>
                        <a:pt x="1649" y="750"/>
                      </a:lnTo>
                      <a:lnTo>
                        <a:pt x="1650" y="749"/>
                      </a:lnTo>
                      <a:lnTo>
                        <a:pt x="1650" y="748"/>
                      </a:lnTo>
                      <a:lnTo>
                        <a:pt x="1650" y="748"/>
                      </a:lnTo>
                      <a:lnTo>
                        <a:pt x="1651" y="749"/>
                      </a:lnTo>
                      <a:lnTo>
                        <a:pt x="1652" y="749"/>
                      </a:lnTo>
                      <a:lnTo>
                        <a:pt x="1653" y="750"/>
                      </a:lnTo>
                      <a:lnTo>
                        <a:pt x="1654" y="751"/>
                      </a:lnTo>
                      <a:lnTo>
                        <a:pt x="1656" y="752"/>
                      </a:lnTo>
                      <a:lnTo>
                        <a:pt x="1657" y="751"/>
                      </a:lnTo>
                      <a:lnTo>
                        <a:pt x="1659" y="750"/>
                      </a:lnTo>
                      <a:lnTo>
                        <a:pt x="1661" y="752"/>
                      </a:lnTo>
                      <a:lnTo>
                        <a:pt x="1662" y="752"/>
                      </a:lnTo>
                      <a:lnTo>
                        <a:pt x="1663" y="752"/>
                      </a:lnTo>
                      <a:lnTo>
                        <a:pt x="1664" y="751"/>
                      </a:lnTo>
                      <a:lnTo>
                        <a:pt x="1665" y="751"/>
                      </a:lnTo>
                      <a:lnTo>
                        <a:pt x="1666" y="750"/>
                      </a:lnTo>
                      <a:lnTo>
                        <a:pt x="1667" y="749"/>
                      </a:lnTo>
                      <a:lnTo>
                        <a:pt x="1667" y="749"/>
                      </a:lnTo>
                      <a:lnTo>
                        <a:pt x="1667" y="751"/>
                      </a:lnTo>
                      <a:lnTo>
                        <a:pt x="1667" y="752"/>
                      </a:lnTo>
                      <a:lnTo>
                        <a:pt x="1667" y="753"/>
                      </a:lnTo>
                      <a:lnTo>
                        <a:pt x="1668" y="754"/>
                      </a:lnTo>
                      <a:lnTo>
                        <a:pt x="1668" y="756"/>
                      </a:lnTo>
                      <a:lnTo>
                        <a:pt x="1668" y="756"/>
                      </a:lnTo>
                      <a:lnTo>
                        <a:pt x="1669" y="757"/>
                      </a:lnTo>
                      <a:lnTo>
                        <a:pt x="1669" y="758"/>
                      </a:lnTo>
                      <a:lnTo>
                        <a:pt x="1670" y="759"/>
                      </a:lnTo>
                      <a:lnTo>
                        <a:pt x="1671" y="760"/>
                      </a:lnTo>
                      <a:lnTo>
                        <a:pt x="1671" y="761"/>
                      </a:lnTo>
                      <a:lnTo>
                        <a:pt x="1671" y="762"/>
                      </a:lnTo>
                      <a:lnTo>
                        <a:pt x="1671" y="762"/>
                      </a:lnTo>
                      <a:lnTo>
                        <a:pt x="1671" y="764"/>
                      </a:lnTo>
                      <a:lnTo>
                        <a:pt x="1671" y="765"/>
                      </a:lnTo>
                      <a:lnTo>
                        <a:pt x="1671" y="766"/>
                      </a:lnTo>
                      <a:lnTo>
                        <a:pt x="1671" y="768"/>
                      </a:lnTo>
                      <a:lnTo>
                        <a:pt x="1671" y="769"/>
                      </a:lnTo>
                      <a:lnTo>
                        <a:pt x="1670" y="771"/>
                      </a:lnTo>
                      <a:lnTo>
                        <a:pt x="1670" y="771"/>
                      </a:lnTo>
                      <a:lnTo>
                        <a:pt x="1670" y="772"/>
                      </a:lnTo>
                      <a:lnTo>
                        <a:pt x="1670" y="773"/>
                      </a:lnTo>
                      <a:lnTo>
                        <a:pt x="1670" y="774"/>
                      </a:lnTo>
                      <a:lnTo>
                        <a:pt x="1670" y="775"/>
                      </a:lnTo>
                      <a:lnTo>
                        <a:pt x="1670" y="775"/>
                      </a:lnTo>
                      <a:lnTo>
                        <a:pt x="1670" y="777"/>
                      </a:lnTo>
                      <a:lnTo>
                        <a:pt x="1670" y="777"/>
                      </a:lnTo>
                      <a:lnTo>
                        <a:pt x="1669" y="778"/>
                      </a:lnTo>
                      <a:lnTo>
                        <a:pt x="1668" y="778"/>
                      </a:lnTo>
                      <a:lnTo>
                        <a:pt x="1667" y="779"/>
                      </a:lnTo>
                      <a:lnTo>
                        <a:pt x="1665" y="779"/>
                      </a:lnTo>
                      <a:lnTo>
                        <a:pt x="1665" y="780"/>
                      </a:lnTo>
                      <a:lnTo>
                        <a:pt x="1664" y="781"/>
                      </a:lnTo>
                      <a:lnTo>
                        <a:pt x="1663" y="781"/>
                      </a:lnTo>
                      <a:lnTo>
                        <a:pt x="1663" y="782"/>
                      </a:lnTo>
                      <a:lnTo>
                        <a:pt x="1663" y="782"/>
                      </a:lnTo>
                      <a:lnTo>
                        <a:pt x="1662" y="782"/>
                      </a:lnTo>
                      <a:lnTo>
                        <a:pt x="1662" y="781"/>
                      </a:lnTo>
                      <a:lnTo>
                        <a:pt x="1661" y="781"/>
                      </a:lnTo>
                      <a:lnTo>
                        <a:pt x="1661" y="781"/>
                      </a:lnTo>
                      <a:lnTo>
                        <a:pt x="1661" y="782"/>
                      </a:lnTo>
                      <a:lnTo>
                        <a:pt x="1660" y="782"/>
                      </a:lnTo>
                      <a:lnTo>
                        <a:pt x="1660" y="783"/>
                      </a:lnTo>
                      <a:lnTo>
                        <a:pt x="1660" y="783"/>
                      </a:lnTo>
                      <a:lnTo>
                        <a:pt x="1661" y="783"/>
                      </a:lnTo>
                      <a:lnTo>
                        <a:pt x="1661" y="784"/>
                      </a:lnTo>
                      <a:lnTo>
                        <a:pt x="1661" y="785"/>
                      </a:lnTo>
                      <a:lnTo>
                        <a:pt x="1660" y="785"/>
                      </a:lnTo>
                      <a:lnTo>
                        <a:pt x="1660" y="785"/>
                      </a:lnTo>
                      <a:lnTo>
                        <a:pt x="1660" y="786"/>
                      </a:lnTo>
                      <a:lnTo>
                        <a:pt x="1659" y="786"/>
                      </a:lnTo>
                      <a:lnTo>
                        <a:pt x="1659" y="787"/>
                      </a:lnTo>
                      <a:lnTo>
                        <a:pt x="1659" y="787"/>
                      </a:lnTo>
                      <a:lnTo>
                        <a:pt x="1659" y="788"/>
                      </a:lnTo>
                      <a:lnTo>
                        <a:pt x="1659" y="789"/>
                      </a:lnTo>
                      <a:lnTo>
                        <a:pt x="1659" y="790"/>
                      </a:lnTo>
                      <a:lnTo>
                        <a:pt x="1659" y="790"/>
                      </a:lnTo>
                      <a:lnTo>
                        <a:pt x="1658" y="790"/>
                      </a:lnTo>
                      <a:lnTo>
                        <a:pt x="1658" y="791"/>
                      </a:lnTo>
                      <a:lnTo>
                        <a:pt x="1657" y="792"/>
                      </a:lnTo>
                      <a:lnTo>
                        <a:pt x="1657" y="792"/>
                      </a:lnTo>
                      <a:lnTo>
                        <a:pt x="1658" y="792"/>
                      </a:lnTo>
                      <a:lnTo>
                        <a:pt x="1658" y="793"/>
                      </a:lnTo>
                      <a:lnTo>
                        <a:pt x="1658" y="794"/>
                      </a:lnTo>
                      <a:lnTo>
                        <a:pt x="1658" y="794"/>
                      </a:lnTo>
                      <a:lnTo>
                        <a:pt x="1658" y="795"/>
                      </a:lnTo>
                      <a:lnTo>
                        <a:pt x="1658" y="796"/>
                      </a:lnTo>
                      <a:lnTo>
                        <a:pt x="1659" y="797"/>
                      </a:lnTo>
                      <a:lnTo>
                        <a:pt x="1659" y="798"/>
                      </a:lnTo>
                      <a:lnTo>
                        <a:pt x="1659" y="799"/>
                      </a:lnTo>
                      <a:lnTo>
                        <a:pt x="1659" y="800"/>
                      </a:lnTo>
                      <a:lnTo>
                        <a:pt x="1659" y="800"/>
                      </a:lnTo>
                      <a:lnTo>
                        <a:pt x="1660" y="801"/>
                      </a:lnTo>
                      <a:lnTo>
                        <a:pt x="1661" y="801"/>
                      </a:lnTo>
                      <a:lnTo>
                        <a:pt x="1661" y="802"/>
                      </a:lnTo>
                      <a:lnTo>
                        <a:pt x="1661" y="803"/>
                      </a:lnTo>
                      <a:lnTo>
                        <a:pt x="1662" y="804"/>
                      </a:lnTo>
                      <a:lnTo>
                        <a:pt x="1663" y="806"/>
                      </a:lnTo>
                      <a:lnTo>
                        <a:pt x="1663" y="806"/>
                      </a:lnTo>
                      <a:lnTo>
                        <a:pt x="1663" y="807"/>
                      </a:lnTo>
                      <a:lnTo>
                        <a:pt x="1663" y="808"/>
                      </a:lnTo>
                      <a:lnTo>
                        <a:pt x="1663" y="809"/>
                      </a:lnTo>
                      <a:lnTo>
                        <a:pt x="1663" y="811"/>
                      </a:lnTo>
                      <a:lnTo>
                        <a:pt x="1662" y="813"/>
                      </a:lnTo>
                      <a:lnTo>
                        <a:pt x="1661" y="815"/>
                      </a:lnTo>
                      <a:lnTo>
                        <a:pt x="1660" y="817"/>
                      </a:lnTo>
                      <a:lnTo>
                        <a:pt x="1659" y="819"/>
                      </a:lnTo>
                      <a:lnTo>
                        <a:pt x="1656" y="820"/>
                      </a:lnTo>
                      <a:lnTo>
                        <a:pt x="1655" y="821"/>
                      </a:lnTo>
                      <a:lnTo>
                        <a:pt x="1654" y="823"/>
                      </a:lnTo>
                      <a:lnTo>
                        <a:pt x="1652" y="824"/>
                      </a:lnTo>
                      <a:lnTo>
                        <a:pt x="1650" y="825"/>
                      </a:lnTo>
                      <a:lnTo>
                        <a:pt x="1649" y="826"/>
                      </a:lnTo>
                      <a:lnTo>
                        <a:pt x="1647" y="827"/>
                      </a:lnTo>
                      <a:lnTo>
                        <a:pt x="1646" y="828"/>
                      </a:lnTo>
                      <a:lnTo>
                        <a:pt x="1645" y="829"/>
                      </a:lnTo>
                      <a:lnTo>
                        <a:pt x="1643" y="830"/>
                      </a:lnTo>
                      <a:lnTo>
                        <a:pt x="1642" y="830"/>
                      </a:lnTo>
                      <a:lnTo>
                        <a:pt x="1641" y="830"/>
                      </a:lnTo>
                      <a:lnTo>
                        <a:pt x="1640" y="831"/>
                      </a:lnTo>
                      <a:lnTo>
                        <a:pt x="1639" y="832"/>
                      </a:lnTo>
                      <a:lnTo>
                        <a:pt x="1638" y="834"/>
                      </a:lnTo>
                      <a:lnTo>
                        <a:pt x="1637" y="834"/>
                      </a:lnTo>
                      <a:lnTo>
                        <a:pt x="1636" y="836"/>
                      </a:lnTo>
                      <a:lnTo>
                        <a:pt x="1635" y="837"/>
                      </a:lnTo>
                      <a:lnTo>
                        <a:pt x="1635" y="838"/>
                      </a:lnTo>
                      <a:lnTo>
                        <a:pt x="1635" y="839"/>
                      </a:lnTo>
                      <a:lnTo>
                        <a:pt x="1634" y="840"/>
                      </a:lnTo>
                      <a:lnTo>
                        <a:pt x="1633" y="841"/>
                      </a:lnTo>
                      <a:lnTo>
                        <a:pt x="1633" y="842"/>
                      </a:lnTo>
                      <a:lnTo>
                        <a:pt x="1633" y="843"/>
                      </a:lnTo>
                      <a:lnTo>
                        <a:pt x="1632" y="844"/>
                      </a:lnTo>
                      <a:lnTo>
                        <a:pt x="1632" y="846"/>
                      </a:lnTo>
                      <a:lnTo>
                        <a:pt x="1631" y="846"/>
                      </a:lnTo>
                      <a:lnTo>
                        <a:pt x="1631" y="848"/>
                      </a:lnTo>
                      <a:lnTo>
                        <a:pt x="1631" y="848"/>
                      </a:lnTo>
                      <a:lnTo>
                        <a:pt x="1630" y="850"/>
                      </a:lnTo>
                      <a:lnTo>
                        <a:pt x="1629" y="851"/>
                      </a:lnTo>
                      <a:lnTo>
                        <a:pt x="1629" y="852"/>
                      </a:lnTo>
                      <a:lnTo>
                        <a:pt x="1629" y="853"/>
                      </a:lnTo>
                      <a:lnTo>
                        <a:pt x="1629" y="855"/>
                      </a:lnTo>
                      <a:lnTo>
                        <a:pt x="1629" y="855"/>
                      </a:lnTo>
                      <a:lnTo>
                        <a:pt x="1629" y="856"/>
                      </a:lnTo>
                      <a:lnTo>
                        <a:pt x="1629" y="856"/>
                      </a:lnTo>
                      <a:lnTo>
                        <a:pt x="1629" y="857"/>
                      </a:lnTo>
                      <a:lnTo>
                        <a:pt x="1629" y="857"/>
                      </a:lnTo>
                      <a:lnTo>
                        <a:pt x="1629" y="858"/>
                      </a:lnTo>
                      <a:lnTo>
                        <a:pt x="1628" y="859"/>
                      </a:lnTo>
                      <a:lnTo>
                        <a:pt x="1628" y="859"/>
                      </a:lnTo>
                      <a:lnTo>
                        <a:pt x="1628" y="860"/>
                      </a:lnTo>
                      <a:lnTo>
                        <a:pt x="1628" y="861"/>
                      </a:lnTo>
                      <a:lnTo>
                        <a:pt x="1627" y="861"/>
                      </a:lnTo>
                      <a:lnTo>
                        <a:pt x="1627" y="862"/>
                      </a:lnTo>
                      <a:lnTo>
                        <a:pt x="1627" y="863"/>
                      </a:lnTo>
                      <a:lnTo>
                        <a:pt x="1627" y="863"/>
                      </a:lnTo>
                      <a:lnTo>
                        <a:pt x="1627" y="865"/>
                      </a:lnTo>
                      <a:lnTo>
                        <a:pt x="1627" y="865"/>
                      </a:lnTo>
                      <a:lnTo>
                        <a:pt x="1627" y="866"/>
                      </a:lnTo>
                      <a:lnTo>
                        <a:pt x="1627" y="867"/>
                      </a:lnTo>
                      <a:lnTo>
                        <a:pt x="1627" y="867"/>
                      </a:lnTo>
                      <a:lnTo>
                        <a:pt x="1627" y="867"/>
                      </a:lnTo>
                      <a:lnTo>
                        <a:pt x="1627" y="868"/>
                      </a:lnTo>
                      <a:lnTo>
                        <a:pt x="1627" y="869"/>
                      </a:lnTo>
                      <a:lnTo>
                        <a:pt x="1627" y="870"/>
                      </a:lnTo>
                      <a:lnTo>
                        <a:pt x="1627" y="870"/>
                      </a:lnTo>
                      <a:lnTo>
                        <a:pt x="1627" y="871"/>
                      </a:lnTo>
                      <a:lnTo>
                        <a:pt x="1627" y="872"/>
                      </a:lnTo>
                      <a:lnTo>
                        <a:pt x="1627" y="872"/>
                      </a:lnTo>
                      <a:lnTo>
                        <a:pt x="1626" y="872"/>
                      </a:lnTo>
                      <a:lnTo>
                        <a:pt x="1626" y="873"/>
                      </a:lnTo>
                      <a:lnTo>
                        <a:pt x="1626" y="874"/>
                      </a:lnTo>
                      <a:lnTo>
                        <a:pt x="1626" y="874"/>
                      </a:lnTo>
                      <a:lnTo>
                        <a:pt x="1626" y="875"/>
                      </a:lnTo>
                      <a:lnTo>
                        <a:pt x="1626" y="876"/>
                      </a:lnTo>
                      <a:lnTo>
                        <a:pt x="1626" y="876"/>
                      </a:lnTo>
                      <a:lnTo>
                        <a:pt x="1626" y="877"/>
                      </a:lnTo>
                      <a:lnTo>
                        <a:pt x="1627" y="878"/>
                      </a:lnTo>
                      <a:lnTo>
                        <a:pt x="1627" y="878"/>
                      </a:lnTo>
                      <a:lnTo>
                        <a:pt x="1627" y="878"/>
                      </a:lnTo>
                      <a:lnTo>
                        <a:pt x="1627" y="878"/>
                      </a:lnTo>
                      <a:lnTo>
                        <a:pt x="1627" y="879"/>
                      </a:lnTo>
                      <a:lnTo>
                        <a:pt x="1627" y="879"/>
                      </a:lnTo>
                      <a:lnTo>
                        <a:pt x="1627" y="880"/>
                      </a:lnTo>
                      <a:lnTo>
                        <a:pt x="1627" y="880"/>
                      </a:lnTo>
                      <a:lnTo>
                        <a:pt x="1627" y="881"/>
                      </a:lnTo>
                      <a:lnTo>
                        <a:pt x="1627" y="882"/>
                      </a:lnTo>
                      <a:lnTo>
                        <a:pt x="1627" y="882"/>
                      </a:lnTo>
                      <a:lnTo>
                        <a:pt x="1627" y="882"/>
                      </a:lnTo>
                      <a:lnTo>
                        <a:pt x="1627" y="883"/>
                      </a:lnTo>
                      <a:lnTo>
                        <a:pt x="1627" y="884"/>
                      </a:lnTo>
                      <a:lnTo>
                        <a:pt x="1627" y="884"/>
                      </a:lnTo>
                      <a:lnTo>
                        <a:pt x="1627" y="884"/>
                      </a:lnTo>
                      <a:lnTo>
                        <a:pt x="1627" y="884"/>
                      </a:lnTo>
                      <a:lnTo>
                        <a:pt x="1627" y="885"/>
                      </a:lnTo>
                      <a:lnTo>
                        <a:pt x="1627" y="885"/>
                      </a:lnTo>
                      <a:lnTo>
                        <a:pt x="1627" y="886"/>
                      </a:lnTo>
                      <a:lnTo>
                        <a:pt x="1628" y="886"/>
                      </a:lnTo>
                      <a:lnTo>
                        <a:pt x="1629" y="886"/>
                      </a:lnTo>
                      <a:lnTo>
                        <a:pt x="1629" y="886"/>
                      </a:lnTo>
                      <a:lnTo>
                        <a:pt x="1629" y="886"/>
                      </a:lnTo>
                      <a:lnTo>
                        <a:pt x="1629" y="887"/>
                      </a:lnTo>
                      <a:lnTo>
                        <a:pt x="1629" y="887"/>
                      </a:lnTo>
                      <a:lnTo>
                        <a:pt x="1628" y="888"/>
                      </a:lnTo>
                      <a:lnTo>
                        <a:pt x="1629" y="888"/>
                      </a:lnTo>
                      <a:lnTo>
                        <a:pt x="1629" y="889"/>
                      </a:lnTo>
                      <a:lnTo>
                        <a:pt x="1629" y="889"/>
                      </a:lnTo>
                      <a:lnTo>
                        <a:pt x="1628" y="889"/>
                      </a:lnTo>
                      <a:lnTo>
                        <a:pt x="1628" y="889"/>
                      </a:lnTo>
                      <a:lnTo>
                        <a:pt x="1627" y="889"/>
                      </a:lnTo>
                      <a:lnTo>
                        <a:pt x="1627" y="889"/>
                      </a:lnTo>
                      <a:lnTo>
                        <a:pt x="1626" y="889"/>
                      </a:lnTo>
                      <a:lnTo>
                        <a:pt x="1625" y="889"/>
                      </a:lnTo>
                      <a:lnTo>
                        <a:pt x="1625" y="889"/>
                      </a:lnTo>
                      <a:lnTo>
                        <a:pt x="1625" y="890"/>
                      </a:lnTo>
                      <a:lnTo>
                        <a:pt x="1625" y="891"/>
                      </a:lnTo>
                      <a:lnTo>
                        <a:pt x="1625" y="891"/>
                      </a:lnTo>
                      <a:lnTo>
                        <a:pt x="1625" y="891"/>
                      </a:lnTo>
                      <a:lnTo>
                        <a:pt x="1625" y="892"/>
                      </a:lnTo>
                      <a:lnTo>
                        <a:pt x="1625" y="893"/>
                      </a:lnTo>
                      <a:lnTo>
                        <a:pt x="1625" y="893"/>
                      </a:lnTo>
                      <a:lnTo>
                        <a:pt x="1624" y="893"/>
                      </a:lnTo>
                      <a:lnTo>
                        <a:pt x="1624" y="894"/>
                      </a:lnTo>
                      <a:lnTo>
                        <a:pt x="1624" y="895"/>
                      </a:lnTo>
                      <a:lnTo>
                        <a:pt x="1624" y="895"/>
                      </a:lnTo>
                      <a:lnTo>
                        <a:pt x="1624" y="896"/>
                      </a:lnTo>
                      <a:lnTo>
                        <a:pt x="1624" y="897"/>
                      </a:lnTo>
                      <a:lnTo>
                        <a:pt x="1624" y="897"/>
                      </a:lnTo>
                      <a:lnTo>
                        <a:pt x="1624" y="898"/>
                      </a:lnTo>
                      <a:lnTo>
                        <a:pt x="1625" y="898"/>
                      </a:lnTo>
                      <a:lnTo>
                        <a:pt x="1625" y="899"/>
                      </a:lnTo>
                      <a:lnTo>
                        <a:pt x="1625" y="899"/>
                      </a:lnTo>
                      <a:lnTo>
                        <a:pt x="1626" y="899"/>
                      </a:lnTo>
                      <a:lnTo>
                        <a:pt x="1626" y="899"/>
                      </a:lnTo>
                      <a:lnTo>
                        <a:pt x="1627" y="900"/>
                      </a:lnTo>
                      <a:lnTo>
                        <a:pt x="1627" y="900"/>
                      </a:lnTo>
                      <a:lnTo>
                        <a:pt x="1627" y="901"/>
                      </a:lnTo>
                      <a:lnTo>
                        <a:pt x="1628" y="901"/>
                      </a:lnTo>
                      <a:lnTo>
                        <a:pt x="1628" y="901"/>
                      </a:lnTo>
                      <a:lnTo>
                        <a:pt x="1627" y="901"/>
                      </a:lnTo>
                      <a:lnTo>
                        <a:pt x="1627" y="902"/>
                      </a:lnTo>
                      <a:lnTo>
                        <a:pt x="1627" y="902"/>
                      </a:lnTo>
                      <a:lnTo>
                        <a:pt x="1627" y="903"/>
                      </a:lnTo>
                      <a:lnTo>
                        <a:pt x="1626" y="903"/>
                      </a:lnTo>
                      <a:lnTo>
                        <a:pt x="1626" y="903"/>
                      </a:lnTo>
                      <a:lnTo>
                        <a:pt x="1627" y="903"/>
                      </a:lnTo>
                      <a:lnTo>
                        <a:pt x="1627" y="904"/>
                      </a:lnTo>
                      <a:lnTo>
                        <a:pt x="1627" y="903"/>
                      </a:lnTo>
                      <a:lnTo>
                        <a:pt x="1627" y="903"/>
                      </a:lnTo>
                      <a:lnTo>
                        <a:pt x="1628" y="903"/>
                      </a:lnTo>
                      <a:lnTo>
                        <a:pt x="1628" y="904"/>
                      </a:lnTo>
                      <a:lnTo>
                        <a:pt x="1628" y="905"/>
                      </a:lnTo>
                      <a:lnTo>
                        <a:pt x="1627" y="905"/>
                      </a:lnTo>
                      <a:lnTo>
                        <a:pt x="1627" y="905"/>
                      </a:lnTo>
                      <a:lnTo>
                        <a:pt x="1627" y="905"/>
                      </a:lnTo>
                      <a:lnTo>
                        <a:pt x="1626" y="905"/>
                      </a:lnTo>
                      <a:lnTo>
                        <a:pt x="1626" y="906"/>
                      </a:lnTo>
                      <a:lnTo>
                        <a:pt x="1627" y="906"/>
                      </a:lnTo>
                      <a:lnTo>
                        <a:pt x="1627" y="906"/>
                      </a:lnTo>
                      <a:lnTo>
                        <a:pt x="1628" y="907"/>
                      </a:lnTo>
                      <a:lnTo>
                        <a:pt x="1628" y="907"/>
                      </a:lnTo>
                      <a:lnTo>
                        <a:pt x="1627" y="907"/>
                      </a:lnTo>
                      <a:lnTo>
                        <a:pt x="1627" y="907"/>
                      </a:lnTo>
                      <a:lnTo>
                        <a:pt x="1626" y="907"/>
                      </a:lnTo>
                      <a:lnTo>
                        <a:pt x="1626" y="908"/>
                      </a:lnTo>
                      <a:lnTo>
                        <a:pt x="1626" y="909"/>
                      </a:lnTo>
                      <a:lnTo>
                        <a:pt x="1626" y="910"/>
                      </a:lnTo>
                      <a:lnTo>
                        <a:pt x="1627" y="910"/>
                      </a:lnTo>
                      <a:lnTo>
                        <a:pt x="1627" y="910"/>
                      </a:lnTo>
                      <a:lnTo>
                        <a:pt x="1627" y="910"/>
                      </a:lnTo>
                      <a:lnTo>
                        <a:pt x="1627" y="911"/>
                      </a:lnTo>
                      <a:lnTo>
                        <a:pt x="1627" y="911"/>
                      </a:lnTo>
                      <a:lnTo>
                        <a:pt x="1627" y="912"/>
                      </a:lnTo>
                      <a:lnTo>
                        <a:pt x="1626" y="912"/>
                      </a:lnTo>
                      <a:lnTo>
                        <a:pt x="1626" y="912"/>
                      </a:lnTo>
                      <a:lnTo>
                        <a:pt x="1626" y="913"/>
                      </a:lnTo>
                      <a:lnTo>
                        <a:pt x="1626" y="914"/>
                      </a:lnTo>
                      <a:lnTo>
                        <a:pt x="1627" y="914"/>
                      </a:lnTo>
                      <a:lnTo>
                        <a:pt x="1627" y="914"/>
                      </a:lnTo>
                      <a:lnTo>
                        <a:pt x="1627" y="914"/>
                      </a:lnTo>
                      <a:lnTo>
                        <a:pt x="1627" y="914"/>
                      </a:lnTo>
                      <a:lnTo>
                        <a:pt x="1627" y="915"/>
                      </a:lnTo>
                      <a:lnTo>
                        <a:pt x="1626" y="915"/>
                      </a:lnTo>
                      <a:lnTo>
                        <a:pt x="1626" y="916"/>
                      </a:lnTo>
                      <a:lnTo>
                        <a:pt x="1625" y="916"/>
                      </a:lnTo>
                      <a:lnTo>
                        <a:pt x="1625" y="916"/>
                      </a:lnTo>
                      <a:lnTo>
                        <a:pt x="1626" y="916"/>
                      </a:lnTo>
                      <a:lnTo>
                        <a:pt x="1627" y="916"/>
                      </a:lnTo>
                      <a:lnTo>
                        <a:pt x="1627" y="916"/>
                      </a:lnTo>
                      <a:lnTo>
                        <a:pt x="1628" y="917"/>
                      </a:lnTo>
                      <a:lnTo>
                        <a:pt x="1627" y="918"/>
                      </a:lnTo>
                      <a:lnTo>
                        <a:pt x="1627" y="918"/>
                      </a:lnTo>
                      <a:lnTo>
                        <a:pt x="1627" y="919"/>
                      </a:lnTo>
                      <a:lnTo>
                        <a:pt x="1627" y="920"/>
                      </a:lnTo>
                      <a:lnTo>
                        <a:pt x="1626" y="920"/>
                      </a:lnTo>
                      <a:lnTo>
                        <a:pt x="1625" y="920"/>
                      </a:lnTo>
                      <a:lnTo>
                        <a:pt x="1625" y="920"/>
                      </a:lnTo>
                      <a:lnTo>
                        <a:pt x="1624" y="920"/>
                      </a:lnTo>
                      <a:lnTo>
                        <a:pt x="1624" y="920"/>
                      </a:lnTo>
                      <a:lnTo>
                        <a:pt x="1623" y="920"/>
                      </a:lnTo>
                      <a:lnTo>
                        <a:pt x="1624" y="921"/>
                      </a:lnTo>
                      <a:lnTo>
                        <a:pt x="1624" y="922"/>
                      </a:lnTo>
                      <a:lnTo>
                        <a:pt x="1625" y="922"/>
                      </a:lnTo>
                      <a:lnTo>
                        <a:pt x="1625" y="922"/>
                      </a:lnTo>
                      <a:lnTo>
                        <a:pt x="1625" y="923"/>
                      </a:lnTo>
                      <a:lnTo>
                        <a:pt x="1625" y="924"/>
                      </a:lnTo>
                      <a:lnTo>
                        <a:pt x="1624" y="924"/>
                      </a:lnTo>
                      <a:lnTo>
                        <a:pt x="1624" y="924"/>
                      </a:lnTo>
                      <a:lnTo>
                        <a:pt x="1624" y="925"/>
                      </a:lnTo>
                      <a:lnTo>
                        <a:pt x="1624" y="926"/>
                      </a:lnTo>
                      <a:lnTo>
                        <a:pt x="1623" y="926"/>
                      </a:lnTo>
                      <a:lnTo>
                        <a:pt x="1624" y="926"/>
                      </a:lnTo>
                      <a:lnTo>
                        <a:pt x="1625" y="927"/>
                      </a:lnTo>
                      <a:lnTo>
                        <a:pt x="1625" y="927"/>
                      </a:lnTo>
                      <a:lnTo>
                        <a:pt x="1625" y="928"/>
                      </a:lnTo>
                      <a:lnTo>
                        <a:pt x="1626" y="928"/>
                      </a:lnTo>
                      <a:lnTo>
                        <a:pt x="1627" y="928"/>
                      </a:lnTo>
                      <a:lnTo>
                        <a:pt x="1627" y="927"/>
                      </a:lnTo>
                      <a:lnTo>
                        <a:pt x="1627" y="927"/>
                      </a:lnTo>
                      <a:lnTo>
                        <a:pt x="1628" y="927"/>
                      </a:lnTo>
                      <a:lnTo>
                        <a:pt x="1629" y="927"/>
                      </a:lnTo>
                      <a:lnTo>
                        <a:pt x="1629" y="928"/>
                      </a:lnTo>
                      <a:lnTo>
                        <a:pt x="1628" y="929"/>
                      </a:lnTo>
                      <a:lnTo>
                        <a:pt x="1628" y="929"/>
                      </a:lnTo>
                      <a:lnTo>
                        <a:pt x="1627" y="929"/>
                      </a:lnTo>
                      <a:lnTo>
                        <a:pt x="1627" y="930"/>
                      </a:lnTo>
                      <a:lnTo>
                        <a:pt x="1627" y="931"/>
                      </a:lnTo>
                      <a:lnTo>
                        <a:pt x="1627" y="931"/>
                      </a:lnTo>
                      <a:lnTo>
                        <a:pt x="1627" y="932"/>
                      </a:lnTo>
                      <a:lnTo>
                        <a:pt x="1627" y="933"/>
                      </a:lnTo>
                      <a:lnTo>
                        <a:pt x="1627" y="933"/>
                      </a:lnTo>
                      <a:lnTo>
                        <a:pt x="1627" y="933"/>
                      </a:lnTo>
                      <a:lnTo>
                        <a:pt x="1627" y="934"/>
                      </a:lnTo>
                      <a:lnTo>
                        <a:pt x="1628" y="935"/>
                      </a:lnTo>
                      <a:lnTo>
                        <a:pt x="1629" y="935"/>
                      </a:lnTo>
                      <a:lnTo>
                        <a:pt x="1629" y="935"/>
                      </a:lnTo>
                      <a:lnTo>
                        <a:pt x="1629" y="935"/>
                      </a:lnTo>
                      <a:lnTo>
                        <a:pt x="1630" y="935"/>
                      </a:lnTo>
                      <a:lnTo>
                        <a:pt x="1631" y="935"/>
                      </a:lnTo>
                      <a:lnTo>
                        <a:pt x="1631" y="935"/>
                      </a:lnTo>
                      <a:lnTo>
                        <a:pt x="1631" y="936"/>
                      </a:lnTo>
                      <a:lnTo>
                        <a:pt x="1631" y="937"/>
                      </a:lnTo>
                      <a:lnTo>
                        <a:pt x="1631" y="937"/>
                      </a:lnTo>
                      <a:lnTo>
                        <a:pt x="1631" y="938"/>
                      </a:lnTo>
                      <a:lnTo>
                        <a:pt x="1631" y="939"/>
                      </a:lnTo>
                      <a:lnTo>
                        <a:pt x="1631" y="939"/>
                      </a:lnTo>
                      <a:lnTo>
                        <a:pt x="1632" y="939"/>
                      </a:lnTo>
                      <a:lnTo>
                        <a:pt x="1632" y="940"/>
                      </a:lnTo>
                      <a:lnTo>
                        <a:pt x="1633" y="939"/>
                      </a:lnTo>
                      <a:lnTo>
                        <a:pt x="1633" y="939"/>
                      </a:lnTo>
                      <a:lnTo>
                        <a:pt x="1633" y="940"/>
                      </a:lnTo>
                      <a:lnTo>
                        <a:pt x="1634" y="940"/>
                      </a:lnTo>
                      <a:lnTo>
                        <a:pt x="1634" y="941"/>
                      </a:lnTo>
                      <a:lnTo>
                        <a:pt x="1635" y="941"/>
                      </a:lnTo>
                      <a:lnTo>
                        <a:pt x="1635" y="941"/>
                      </a:lnTo>
                      <a:lnTo>
                        <a:pt x="1636" y="941"/>
                      </a:lnTo>
                      <a:lnTo>
                        <a:pt x="1636" y="940"/>
                      </a:lnTo>
                      <a:lnTo>
                        <a:pt x="1637" y="940"/>
                      </a:lnTo>
                      <a:lnTo>
                        <a:pt x="1637" y="941"/>
                      </a:lnTo>
                      <a:lnTo>
                        <a:pt x="1637" y="941"/>
                      </a:lnTo>
                      <a:lnTo>
                        <a:pt x="1636" y="942"/>
                      </a:lnTo>
                      <a:lnTo>
                        <a:pt x="1636" y="943"/>
                      </a:lnTo>
                      <a:lnTo>
                        <a:pt x="1636" y="943"/>
                      </a:lnTo>
                      <a:lnTo>
                        <a:pt x="1636" y="944"/>
                      </a:lnTo>
                      <a:lnTo>
                        <a:pt x="1635" y="944"/>
                      </a:lnTo>
                      <a:lnTo>
                        <a:pt x="1635" y="944"/>
                      </a:lnTo>
                      <a:lnTo>
                        <a:pt x="1634" y="945"/>
                      </a:lnTo>
                      <a:lnTo>
                        <a:pt x="1633" y="945"/>
                      </a:lnTo>
                      <a:lnTo>
                        <a:pt x="1633" y="946"/>
                      </a:lnTo>
                      <a:lnTo>
                        <a:pt x="1634" y="947"/>
                      </a:lnTo>
                      <a:lnTo>
                        <a:pt x="1634" y="948"/>
                      </a:lnTo>
                      <a:lnTo>
                        <a:pt x="1634" y="948"/>
                      </a:lnTo>
                      <a:lnTo>
                        <a:pt x="1634" y="949"/>
                      </a:lnTo>
                      <a:lnTo>
                        <a:pt x="1634" y="950"/>
                      </a:lnTo>
                      <a:lnTo>
                        <a:pt x="1634" y="950"/>
                      </a:lnTo>
                      <a:lnTo>
                        <a:pt x="1633" y="950"/>
                      </a:lnTo>
                      <a:lnTo>
                        <a:pt x="1633" y="951"/>
                      </a:lnTo>
                      <a:lnTo>
                        <a:pt x="1634" y="951"/>
                      </a:lnTo>
                      <a:lnTo>
                        <a:pt x="1635" y="951"/>
                      </a:lnTo>
                      <a:lnTo>
                        <a:pt x="1635" y="951"/>
                      </a:lnTo>
                      <a:lnTo>
                        <a:pt x="1636" y="951"/>
                      </a:lnTo>
                      <a:lnTo>
                        <a:pt x="1637" y="951"/>
                      </a:lnTo>
                      <a:lnTo>
                        <a:pt x="1637" y="951"/>
                      </a:lnTo>
                      <a:lnTo>
                        <a:pt x="1637" y="952"/>
                      </a:lnTo>
                      <a:lnTo>
                        <a:pt x="1638" y="952"/>
                      </a:lnTo>
                      <a:lnTo>
                        <a:pt x="1638" y="953"/>
                      </a:lnTo>
                      <a:lnTo>
                        <a:pt x="1638" y="954"/>
                      </a:lnTo>
                      <a:lnTo>
                        <a:pt x="1637" y="954"/>
                      </a:lnTo>
                      <a:lnTo>
                        <a:pt x="1637" y="954"/>
                      </a:lnTo>
                      <a:lnTo>
                        <a:pt x="1636" y="953"/>
                      </a:lnTo>
                      <a:lnTo>
                        <a:pt x="1635" y="953"/>
                      </a:lnTo>
                      <a:lnTo>
                        <a:pt x="1635" y="953"/>
                      </a:lnTo>
                      <a:lnTo>
                        <a:pt x="1634" y="953"/>
                      </a:lnTo>
                      <a:lnTo>
                        <a:pt x="1634" y="954"/>
                      </a:lnTo>
                      <a:lnTo>
                        <a:pt x="1633" y="954"/>
                      </a:lnTo>
                      <a:lnTo>
                        <a:pt x="1633" y="954"/>
                      </a:lnTo>
                      <a:lnTo>
                        <a:pt x="1634" y="954"/>
                      </a:lnTo>
                      <a:lnTo>
                        <a:pt x="1634" y="955"/>
                      </a:lnTo>
                      <a:lnTo>
                        <a:pt x="1634" y="956"/>
                      </a:lnTo>
                      <a:lnTo>
                        <a:pt x="1635" y="956"/>
                      </a:lnTo>
                      <a:lnTo>
                        <a:pt x="1635" y="956"/>
                      </a:lnTo>
                      <a:lnTo>
                        <a:pt x="1635" y="956"/>
                      </a:lnTo>
                      <a:lnTo>
                        <a:pt x="1636" y="956"/>
                      </a:lnTo>
                      <a:lnTo>
                        <a:pt x="1637" y="957"/>
                      </a:lnTo>
                      <a:lnTo>
                        <a:pt x="1637" y="958"/>
                      </a:lnTo>
                      <a:lnTo>
                        <a:pt x="1635" y="958"/>
                      </a:lnTo>
                      <a:lnTo>
                        <a:pt x="1635" y="958"/>
                      </a:lnTo>
                      <a:lnTo>
                        <a:pt x="1635" y="958"/>
                      </a:lnTo>
                      <a:lnTo>
                        <a:pt x="1634" y="958"/>
                      </a:lnTo>
                      <a:lnTo>
                        <a:pt x="1634" y="959"/>
                      </a:lnTo>
                      <a:lnTo>
                        <a:pt x="1634" y="960"/>
                      </a:lnTo>
                      <a:lnTo>
                        <a:pt x="1634" y="960"/>
                      </a:lnTo>
                      <a:lnTo>
                        <a:pt x="1636" y="962"/>
                      </a:lnTo>
                      <a:lnTo>
                        <a:pt x="1637" y="962"/>
                      </a:lnTo>
                      <a:lnTo>
                        <a:pt x="1639" y="964"/>
                      </a:lnTo>
                      <a:lnTo>
                        <a:pt x="1641" y="965"/>
                      </a:lnTo>
                      <a:lnTo>
                        <a:pt x="1642" y="966"/>
                      </a:lnTo>
                      <a:lnTo>
                        <a:pt x="1642" y="966"/>
                      </a:lnTo>
                      <a:lnTo>
                        <a:pt x="1642" y="967"/>
                      </a:lnTo>
                      <a:lnTo>
                        <a:pt x="1642" y="969"/>
                      </a:lnTo>
                      <a:lnTo>
                        <a:pt x="1642" y="969"/>
                      </a:lnTo>
                      <a:lnTo>
                        <a:pt x="1642" y="971"/>
                      </a:lnTo>
                      <a:lnTo>
                        <a:pt x="1642" y="971"/>
                      </a:lnTo>
                      <a:lnTo>
                        <a:pt x="1642" y="973"/>
                      </a:lnTo>
                      <a:lnTo>
                        <a:pt x="1642" y="973"/>
                      </a:lnTo>
                      <a:lnTo>
                        <a:pt x="1642" y="975"/>
                      </a:lnTo>
                      <a:lnTo>
                        <a:pt x="1642" y="975"/>
                      </a:lnTo>
                      <a:lnTo>
                        <a:pt x="1642" y="977"/>
                      </a:lnTo>
                      <a:lnTo>
                        <a:pt x="1642" y="977"/>
                      </a:lnTo>
                      <a:lnTo>
                        <a:pt x="1642" y="979"/>
                      </a:lnTo>
                      <a:lnTo>
                        <a:pt x="1642" y="979"/>
                      </a:lnTo>
                      <a:lnTo>
                        <a:pt x="1642" y="981"/>
                      </a:lnTo>
                      <a:lnTo>
                        <a:pt x="1642" y="981"/>
                      </a:lnTo>
                      <a:lnTo>
                        <a:pt x="1642" y="983"/>
                      </a:lnTo>
                      <a:lnTo>
                        <a:pt x="1642" y="983"/>
                      </a:lnTo>
                      <a:lnTo>
                        <a:pt x="1642" y="984"/>
                      </a:lnTo>
                      <a:lnTo>
                        <a:pt x="1642" y="985"/>
                      </a:lnTo>
                      <a:lnTo>
                        <a:pt x="1642" y="986"/>
                      </a:lnTo>
                      <a:lnTo>
                        <a:pt x="1642" y="988"/>
                      </a:lnTo>
                      <a:lnTo>
                        <a:pt x="1642" y="988"/>
                      </a:lnTo>
                      <a:lnTo>
                        <a:pt x="1642" y="989"/>
                      </a:lnTo>
                      <a:lnTo>
                        <a:pt x="1642" y="990"/>
                      </a:lnTo>
                      <a:lnTo>
                        <a:pt x="1642" y="990"/>
                      </a:lnTo>
                      <a:lnTo>
                        <a:pt x="1642" y="990"/>
                      </a:lnTo>
                      <a:lnTo>
                        <a:pt x="1642" y="991"/>
                      </a:lnTo>
                      <a:lnTo>
                        <a:pt x="1642" y="992"/>
                      </a:lnTo>
                      <a:lnTo>
                        <a:pt x="1642" y="992"/>
                      </a:lnTo>
                      <a:lnTo>
                        <a:pt x="1642" y="993"/>
                      </a:lnTo>
                      <a:lnTo>
                        <a:pt x="1643" y="993"/>
                      </a:lnTo>
                      <a:lnTo>
                        <a:pt x="1643" y="994"/>
                      </a:lnTo>
                      <a:lnTo>
                        <a:pt x="1644" y="994"/>
                      </a:lnTo>
                      <a:lnTo>
                        <a:pt x="1644" y="994"/>
                      </a:lnTo>
                      <a:lnTo>
                        <a:pt x="1645" y="994"/>
                      </a:lnTo>
                      <a:lnTo>
                        <a:pt x="1646" y="995"/>
                      </a:lnTo>
                      <a:lnTo>
                        <a:pt x="1646" y="995"/>
                      </a:lnTo>
                      <a:lnTo>
                        <a:pt x="1646" y="996"/>
                      </a:lnTo>
                      <a:lnTo>
                        <a:pt x="1647" y="996"/>
                      </a:lnTo>
                      <a:lnTo>
                        <a:pt x="1648" y="996"/>
                      </a:lnTo>
                      <a:lnTo>
                        <a:pt x="1648" y="996"/>
                      </a:lnTo>
                      <a:lnTo>
                        <a:pt x="1648" y="996"/>
                      </a:lnTo>
                      <a:lnTo>
                        <a:pt x="1649" y="996"/>
                      </a:lnTo>
                      <a:lnTo>
                        <a:pt x="1649" y="997"/>
                      </a:lnTo>
                      <a:lnTo>
                        <a:pt x="1650" y="997"/>
                      </a:lnTo>
                      <a:lnTo>
                        <a:pt x="1650" y="997"/>
                      </a:lnTo>
                      <a:lnTo>
                        <a:pt x="1650" y="998"/>
                      </a:lnTo>
                      <a:lnTo>
                        <a:pt x="1651" y="998"/>
                      </a:lnTo>
                      <a:lnTo>
                        <a:pt x="1652" y="999"/>
                      </a:lnTo>
                      <a:lnTo>
                        <a:pt x="1652" y="1000"/>
                      </a:lnTo>
                      <a:lnTo>
                        <a:pt x="1652" y="1000"/>
                      </a:lnTo>
                      <a:lnTo>
                        <a:pt x="1653" y="1000"/>
                      </a:lnTo>
                      <a:lnTo>
                        <a:pt x="1653" y="1001"/>
                      </a:lnTo>
                      <a:lnTo>
                        <a:pt x="1654" y="1002"/>
                      </a:lnTo>
                      <a:lnTo>
                        <a:pt x="1654" y="1002"/>
                      </a:lnTo>
                      <a:lnTo>
                        <a:pt x="1654" y="1003"/>
                      </a:lnTo>
                      <a:lnTo>
                        <a:pt x="1654" y="1003"/>
                      </a:lnTo>
                      <a:lnTo>
                        <a:pt x="1654" y="1004"/>
                      </a:lnTo>
                      <a:lnTo>
                        <a:pt x="1654" y="1004"/>
                      </a:lnTo>
                      <a:lnTo>
                        <a:pt x="1654" y="1005"/>
                      </a:lnTo>
                      <a:lnTo>
                        <a:pt x="1655" y="1005"/>
                      </a:lnTo>
                      <a:lnTo>
                        <a:pt x="1655" y="1006"/>
                      </a:lnTo>
                      <a:lnTo>
                        <a:pt x="1656" y="1006"/>
                      </a:lnTo>
                      <a:lnTo>
                        <a:pt x="1656" y="1006"/>
                      </a:lnTo>
                      <a:lnTo>
                        <a:pt x="1656" y="1006"/>
                      </a:lnTo>
                      <a:lnTo>
                        <a:pt x="1657" y="1006"/>
                      </a:lnTo>
                      <a:lnTo>
                        <a:pt x="1657" y="1007"/>
                      </a:lnTo>
                      <a:lnTo>
                        <a:pt x="1658" y="1007"/>
                      </a:lnTo>
                      <a:lnTo>
                        <a:pt x="1658" y="1008"/>
                      </a:lnTo>
                      <a:lnTo>
                        <a:pt x="1659" y="1008"/>
                      </a:lnTo>
                      <a:lnTo>
                        <a:pt x="1659" y="1009"/>
                      </a:lnTo>
                      <a:lnTo>
                        <a:pt x="1659" y="1009"/>
                      </a:lnTo>
                      <a:lnTo>
                        <a:pt x="1659" y="1009"/>
                      </a:lnTo>
                      <a:lnTo>
                        <a:pt x="1660" y="1009"/>
                      </a:lnTo>
                      <a:lnTo>
                        <a:pt x="1660" y="1010"/>
                      </a:lnTo>
                      <a:lnTo>
                        <a:pt x="1661" y="1010"/>
                      </a:lnTo>
                      <a:lnTo>
                        <a:pt x="1661" y="1011"/>
                      </a:lnTo>
                      <a:lnTo>
                        <a:pt x="1661" y="1011"/>
                      </a:lnTo>
                      <a:lnTo>
                        <a:pt x="1661" y="1011"/>
                      </a:lnTo>
                      <a:lnTo>
                        <a:pt x="1661" y="1012"/>
                      </a:lnTo>
                      <a:lnTo>
                        <a:pt x="1661" y="1013"/>
                      </a:lnTo>
                      <a:lnTo>
                        <a:pt x="1661" y="1013"/>
                      </a:lnTo>
                      <a:lnTo>
                        <a:pt x="1661" y="1014"/>
                      </a:lnTo>
                      <a:lnTo>
                        <a:pt x="1661" y="1015"/>
                      </a:lnTo>
                      <a:lnTo>
                        <a:pt x="1662" y="1015"/>
                      </a:lnTo>
                      <a:lnTo>
                        <a:pt x="1662" y="1015"/>
                      </a:lnTo>
                      <a:lnTo>
                        <a:pt x="1663" y="1015"/>
                      </a:lnTo>
                      <a:lnTo>
                        <a:pt x="1663" y="1015"/>
                      </a:lnTo>
                      <a:lnTo>
                        <a:pt x="1664" y="1015"/>
                      </a:lnTo>
                      <a:lnTo>
                        <a:pt x="1665" y="1015"/>
                      </a:lnTo>
                      <a:lnTo>
                        <a:pt x="1665" y="1015"/>
                      </a:lnTo>
                      <a:lnTo>
                        <a:pt x="1665" y="1016"/>
                      </a:lnTo>
                      <a:lnTo>
                        <a:pt x="1665" y="1017"/>
                      </a:lnTo>
                      <a:lnTo>
                        <a:pt x="1665" y="1017"/>
                      </a:lnTo>
                      <a:lnTo>
                        <a:pt x="1665" y="1018"/>
                      </a:lnTo>
                      <a:lnTo>
                        <a:pt x="1665" y="1019"/>
                      </a:lnTo>
                      <a:lnTo>
                        <a:pt x="1666" y="1019"/>
                      </a:lnTo>
                      <a:lnTo>
                        <a:pt x="1667" y="1019"/>
                      </a:lnTo>
                      <a:lnTo>
                        <a:pt x="1667" y="1019"/>
                      </a:lnTo>
                      <a:lnTo>
                        <a:pt x="1668" y="1020"/>
                      </a:lnTo>
                      <a:lnTo>
                        <a:pt x="1668" y="1021"/>
                      </a:lnTo>
                      <a:lnTo>
                        <a:pt x="1668" y="1021"/>
                      </a:lnTo>
                      <a:lnTo>
                        <a:pt x="1667" y="1021"/>
                      </a:lnTo>
                      <a:lnTo>
                        <a:pt x="1667" y="1021"/>
                      </a:lnTo>
                      <a:lnTo>
                        <a:pt x="1667" y="1022"/>
                      </a:lnTo>
                      <a:lnTo>
                        <a:pt x="1666" y="1023"/>
                      </a:lnTo>
                      <a:lnTo>
                        <a:pt x="1667" y="1024"/>
                      </a:lnTo>
                      <a:lnTo>
                        <a:pt x="1667" y="1024"/>
                      </a:lnTo>
                      <a:lnTo>
                        <a:pt x="1668" y="1024"/>
                      </a:lnTo>
                      <a:lnTo>
                        <a:pt x="1669" y="1024"/>
                      </a:lnTo>
                      <a:lnTo>
                        <a:pt x="1669" y="1024"/>
                      </a:lnTo>
                      <a:lnTo>
                        <a:pt x="1670" y="1023"/>
                      </a:lnTo>
                      <a:lnTo>
                        <a:pt x="1671" y="1023"/>
                      </a:lnTo>
                      <a:lnTo>
                        <a:pt x="1671" y="1023"/>
                      </a:lnTo>
                      <a:lnTo>
                        <a:pt x="1672" y="1024"/>
                      </a:lnTo>
                      <a:lnTo>
                        <a:pt x="1672" y="1025"/>
                      </a:lnTo>
                      <a:lnTo>
                        <a:pt x="1672" y="1026"/>
                      </a:lnTo>
                      <a:lnTo>
                        <a:pt x="1671" y="1027"/>
                      </a:lnTo>
                      <a:lnTo>
                        <a:pt x="1671" y="1028"/>
                      </a:lnTo>
                      <a:lnTo>
                        <a:pt x="1671" y="1028"/>
                      </a:lnTo>
                      <a:lnTo>
                        <a:pt x="1671" y="1029"/>
                      </a:lnTo>
                      <a:lnTo>
                        <a:pt x="1672" y="1030"/>
                      </a:lnTo>
                      <a:lnTo>
                        <a:pt x="1672" y="1030"/>
                      </a:lnTo>
                      <a:lnTo>
                        <a:pt x="1672" y="1031"/>
                      </a:lnTo>
                      <a:lnTo>
                        <a:pt x="1673" y="1031"/>
                      </a:lnTo>
                      <a:lnTo>
                        <a:pt x="1673" y="1031"/>
                      </a:lnTo>
                      <a:lnTo>
                        <a:pt x="1674" y="1031"/>
                      </a:lnTo>
                      <a:lnTo>
                        <a:pt x="1674" y="1032"/>
                      </a:lnTo>
                      <a:lnTo>
                        <a:pt x="1675" y="1032"/>
                      </a:lnTo>
                      <a:lnTo>
                        <a:pt x="1675" y="1032"/>
                      </a:lnTo>
                      <a:lnTo>
                        <a:pt x="1675" y="1032"/>
                      </a:lnTo>
                      <a:lnTo>
                        <a:pt x="1675" y="1033"/>
                      </a:lnTo>
                      <a:lnTo>
                        <a:pt x="1675" y="1034"/>
                      </a:lnTo>
                      <a:lnTo>
                        <a:pt x="1675" y="1034"/>
                      </a:lnTo>
                      <a:lnTo>
                        <a:pt x="1675" y="1034"/>
                      </a:lnTo>
                      <a:lnTo>
                        <a:pt x="1675" y="1035"/>
                      </a:lnTo>
                      <a:lnTo>
                        <a:pt x="1675" y="1036"/>
                      </a:lnTo>
                      <a:lnTo>
                        <a:pt x="1675" y="1036"/>
                      </a:lnTo>
                      <a:lnTo>
                        <a:pt x="1675" y="1036"/>
                      </a:lnTo>
                      <a:lnTo>
                        <a:pt x="1675" y="1036"/>
                      </a:lnTo>
                      <a:lnTo>
                        <a:pt x="1675" y="1036"/>
                      </a:lnTo>
                      <a:lnTo>
                        <a:pt x="1676" y="1036"/>
                      </a:lnTo>
                      <a:lnTo>
                        <a:pt x="1677" y="1036"/>
                      </a:lnTo>
                      <a:lnTo>
                        <a:pt x="1677" y="1037"/>
                      </a:lnTo>
                      <a:lnTo>
                        <a:pt x="1677" y="1038"/>
                      </a:lnTo>
                      <a:lnTo>
                        <a:pt x="1678" y="1038"/>
                      </a:lnTo>
                      <a:lnTo>
                        <a:pt x="1678" y="1038"/>
                      </a:lnTo>
                      <a:lnTo>
                        <a:pt x="1679" y="1038"/>
                      </a:lnTo>
                      <a:lnTo>
                        <a:pt x="1680" y="1038"/>
                      </a:lnTo>
                      <a:lnTo>
                        <a:pt x="1680" y="1038"/>
                      </a:lnTo>
                      <a:lnTo>
                        <a:pt x="1681" y="1038"/>
                      </a:lnTo>
                      <a:lnTo>
                        <a:pt x="1681" y="1037"/>
                      </a:lnTo>
                      <a:lnTo>
                        <a:pt x="1682" y="1037"/>
                      </a:lnTo>
                      <a:lnTo>
                        <a:pt x="1682" y="1038"/>
                      </a:lnTo>
                      <a:lnTo>
                        <a:pt x="1682" y="1038"/>
                      </a:lnTo>
                      <a:lnTo>
                        <a:pt x="1683" y="1038"/>
                      </a:lnTo>
                      <a:lnTo>
                        <a:pt x="1684" y="1038"/>
                      </a:lnTo>
                      <a:lnTo>
                        <a:pt x="1684" y="1037"/>
                      </a:lnTo>
                      <a:lnTo>
                        <a:pt x="1684" y="1037"/>
                      </a:lnTo>
                      <a:lnTo>
                        <a:pt x="1684" y="1038"/>
                      </a:lnTo>
                      <a:lnTo>
                        <a:pt x="1685" y="1038"/>
                      </a:lnTo>
                      <a:lnTo>
                        <a:pt x="1684" y="1038"/>
                      </a:lnTo>
                      <a:lnTo>
                        <a:pt x="1684" y="1038"/>
                      </a:lnTo>
                      <a:lnTo>
                        <a:pt x="1684" y="1039"/>
                      </a:lnTo>
                      <a:lnTo>
                        <a:pt x="1684" y="1040"/>
                      </a:lnTo>
                      <a:lnTo>
                        <a:pt x="1685" y="1040"/>
                      </a:lnTo>
                      <a:lnTo>
                        <a:pt x="1686" y="1040"/>
                      </a:lnTo>
                      <a:lnTo>
                        <a:pt x="1686" y="1040"/>
                      </a:lnTo>
                      <a:lnTo>
                        <a:pt x="1687" y="1040"/>
                      </a:lnTo>
                      <a:lnTo>
                        <a:pt x="1687" y="1040"/>
                      </a:lnTo>
                      <a:lnTo>
                        <a:pt x="1688" y="1040"/>
                      </a:lnTo>
                      <a:lnTo>
                        <a:pt x="1688" y="1040"/>
                      </a:lnTo>
                      <a:lnTo>
                        <a:pt x="1688" y="1039"/>
                      </a:lnTo>
                      <a:lnTo>
                        <a:pt x="1689" y="1039"/>
                      </a:lnTo>
                      <a:lnTo>
                        <a:pt x="1690" y="1039"/>
                      </a:lnTo>
                      <a:lnTo>
                        <a:pt x="1690" y="1038"/>
                      </a:lnTo>
                      <a:lnTo>
                        <a:pt x="1690" y="1038"/>
                      </a:lnTo>
                      <a:lnTo>
                        <a:pt x="1691" y="1039"/>
                      </a:lnTo>
                      <a:lnTo>
                        <a:pt x="1692" y="1040"/>
                      </a:lnTo>
                      <a:lnTo>
                        <a:pt x="1692" y="1040"/>
                      </a:lnTo>
                      <a:lnTo>
                        <a:pt x="1692" y="1041"/>
                      </a:lnTo>
                      <a:lnTo>
                        <a:pt x="1692" y="1042"/>
                      </a:lnTo>
                      <a:lnTo>
                        <a:pt x="1692" y="1042"/>
                      </a:lnTo>
                      <a:lnTo>
                        <a:pt x="1693" y="1043"/>
                      </a:lnTo>
                      <a:lnTo>
                        <a:pt x="1693" y="1044"/>
                      </a:lnTo>
                      <a:lnTo>
                        <a:pt x="1692" y="1044"/>
                      </a:lnTo>
                      <a:lnTo>
                        <a:pt x="1692" y="1044"/>
                      </a:lnTo>
                      <a:lnTo>
                        <a:pt x="1692" y="1045"/>
                      </a:lnTo>
                      <a:lnTo>
                        <a:pt x="1692" y="1046"/>
                      </a:lnTo>
                      <a:lnTo>
                        <a:pt x="1691" y="1046"/>
                      </a:lnTo>
                      <a:lnTo>
                        <a:pt x="1691" y="1047"/>
                      </a:lnTo>
                      <a:lnTo>
                        <a:pt x="1691" y="1047"/>
                      </a:lnTo>
                      <a:lnTo>
                        <a:pt x="1691" y="1048"/>
                      </a:lnTo>
                      <a:lnTo>
                        <a:pt x="1691" y="1049"/>
                      </a:lnTo>
                      <a:lnTo>
                        <a:pt x="1692" y="1049"/>
                      </a:lnTo>
                      <a:lnTo>
                        <a:pt x="1692" y="1049"/>
                      </a:lnTo>
                      <a:lnTo>
                        <a:pt x="1693" y="1049"/>
                      </a:lnTo>
                      <a:lnTo>
                        <a:pt x="1694" y="1049"/>
                      </a:lnTo>
                      <a:lnTo>
                        <a:pt x="1694" y="1049"/>
                      </a:lnTo>
                      <a:lnTo>
                        <a:pt x="1695" y="1049"/>
                      </a:lnTo>
                      <a:lnTo>
                        <a:pt x="1696" y="1049"/>
                      </a:lnTo>
                      <a:lnTo>
                        <a:pt x="1697" y="1049"/>
                      </a:lnTo>
                      <a:lnTo>
                        <a:pt x="1697" y="1049"/>
                      </a:lnTo>
                      <a:lnTo>
                        <a:pt x="1698" y="1049"/>
                      </a:lnTo>
                      <a:lnTo>
                        <a:pt x="1699" y="1049"/>
                      </a:lnTo>
                      <a:lnTo>
                        <a:pt x="1699" y="1049"/>
                      </a:lnTo>
                      <a:lnTo>
                        <a:pt x="1699" y="1048"/>
                      </a:lnTo>
                      <a:lnTo>
                        <a:pt x="1700" y="1048"/>
                      </a:lnTo>
                      <a:lnTo>
                        <a:pt x="1701" y="1047"/>
                      </a:lnTo>
                      <a:lnTo>
                        <a:pt x="1701" y="1047"/>
                      </a:lnTo>
                      <a:lnTo>
                        <a:pt x="1702" y="1047"/>
                      </a:lnTo>
                      <a:lnTo>
                        <a:pt x="1703" y="1047"/>
                      </a:lnTo>
                      <a:lnTo>
                        <a:pt x="1703" y="1048"/>
                      </a:lnTo>
                      <a:lnTo>
                        <a:pt x="1703" y="1048"/>
                      </a:lnTo>
                      <a:lnTo>
                        <a:pt x="1703" y="1049"/>
                      </a:lnTo>
                      <a:lnTo>
                        <a:pt x="1703" y="1049"/>
                      </a:lnTo>
                      <a:lnTo>
                        <a:pt x="1703" y="1050"/>
                      </a:lnTo>
                      <a:lnTo>
                        <a:pt x="1703" y="1050"/>
                      </a:lnTo>
                      <a:lnTo>
                        <a:pt x="1703" y="1051"/>
                      </a:lnTo>
                      <a:lnTo>
                        <a:pt x="1703" y="1051"/>
                      </a:lnTo>
                      <a:lnTo>
                        <a:pt x="1703" y="1052"/>
                      </a:lnTo>
                      <a:lnTo>
                        <a:pt x="1703" y="1053"/>
                      </a:lnTo>
                      <a:lnTo>
                        <a:pt x="1703" y="1053"/>
                      </a:lnTo>
                      <a:lnTo>
                        <a:pt x="1703" y="1053"/>
                      </a:lnTo>
                      <a:lnTo>
                        <a:pt x="1703" y="1054"/>
                      </a:lnTo>
                      <a:lnTo>
                        <a:pt x="1704" y="1054"/>
                      </a:lnTo>
                      <a:lnTo>
                        <a:pt x="1704" y="1055"/>
                      </a:lnTo>
                      <a:lnTo>
                        <a:pt x="1705" y="1055"/>
                      </a:lnTo>
                      <a:lnTo>
                        <a:pt x="1705" y="1055"/>
                      </a:lnTo>
                      <a:lnTo>
                        <a:pt x="1706" y="1055"/>
                      </a:lnTo>
                      <a:lnTo>
                        <a:pt x="1707" y="1055"/>
                      </a:lnTo>
                      <a:lnTo>
                        <a:pt x="1707" y="1055"/>
                      </a:lnTo>
                      <a:lnTo>
                        <a:pt x="1708" y="1055"/>
                      </a:lnTo>
                      <a:lnTo>
                        <a:pt x="1709" y="1055"/>
                      </a:lnTo>
                      <a:lnTo>
                        <a:pt x="1709" y="1055"/>
                      </a:lnTo>
                      <a:lnTo>
                        <a:pt x="1710" y="1055"/>
                      </a:lnTo>
                      <a:lnTo>
                        <a:pt x="1711" y="1055"/>
                      </a:lnTo>
                      <a:lnTo>
                        <a:pt x="1711" y="1056"/>
                      </a:lnTo>
                      <a:lnTo>
                        <a:pt x="1711" y="1057"/>
                      </a:lnTo>
                      <a:lnTo>
                        <a:pt x="1711" y="1057"/>
                      </a:lnTo>
                      <a:lnTo>
                        <a:pt x="1711" y="1058"/>
                      </a:lnTo>
                      <a:lnTo>
                        <a:pt x="1711" y="1059"/>
                      </a:lnTo>
                      <a:lnTo>
                        <a:pt x="1711" y="1059"/>
                      </a:lnTo>
                      <a:lnTo>
                        <a:pt x="1711" y="1060"/>
                      </a:lnTo>
                      <a:lnTo>
                        <a:pt x="1711" y="1061"/>
                      </a:lnTo>
                      <a:lnTo>
                        <a:pt x="1711" y="1061"/>
                      </a:lnTo>
                      <a:lnTo>
                        <a:pt x="1711" y="1062"/>
                      </a:lnTo>
                      <a:lnTo>
                        <a:pt x="1711" y="1062"/>
                      </a:lnTo>
                      <a:lnTo>
                        <a:pt x="1711" y="1063"/>
                      </a:lnTo>
                      <a:lnTo>
                        <a:pt x="1711" y="1063"/>
                      </a:lnTo>
                      <a:lnTo>
                        <a:pt x="1711" y="1064"/>
                      </a:lnTo>
                      <a:lnTo>
                        <a:pt x="1711" y="1065"/>
                      </a:lnTo>
                      <a:lnTo>
                        <a:pt x="1711" y="1065"/>
                      </a:lnTo>
                      <a:lnTo>
                        <a:pt x="1712" y="1065"/>
                      </a:lnTo>
                      <a:lnTo>
                        <a:pt x="1712" y="1065"/>
                      </a:lnTo>
                      <a:lnTo>
                        <a:pt x="1713" y="1065"/>
                      </a:lnTo>
                      <a:lnTo>
                        <a:pt x="1713" y="1065"/>
                      </a:lnTo>
                      <a:lnTo>
                        <a:pt x="1714" y="1065"/>
                      </a:lnTo>
                      <a:lnTo>
                        <a:pt x="1715" y="1065"/>
                      </a:lnTo>
                      <a:lnTo>
                        <a:pt x="1715" y="1066"/>
                      </a:lnTo>
                      <a:lnTo>
                        <a:pt x="1716" y="1066"/>
                      </a:lnTo>
                      <a:lnTo>
                        <a:pt x="1716" y="1067"/>
                      </a:lnTo>
                      <a:lnTo>
                        <a:pt x="1717" y="1067"/>
                      </a:lnTo>
                      <a:lnTo>
                        <a:pt x="1717" y="1068"/>
                      </a:lnTo>
                      <a:lnTo>
                        <a:pt x="1718" y="1068"/>
                      </a:lnTo>
                      <a:lnTo>
                        <a:pt x="1718" y="1068"/>
                      </a:lnTo>
                      <a:lnTo>
                        <a:pt x="1718" y="1068"/>
                      </a:lnTo>
                      <a:lnTo>
                        <a:pt x="1719" y="1068"/>
                      </a:lnTo>
                      <a:lnTo>
                        <a:pt x="1719" y="1068"/>
                      </a:lnTo>
                      <a:lnTo>
                        <a:pt x="1720" y="1068"/>
                      </a:lnTo>
                      <a:lnTo>
                        <a:pt x="1720" y="1068"/>
                      </a:lnTo>
                      <a:lnTo>
                        <a:pt x="1721" y="1068"/>
                      </a:lnTo>
                      <a:lnTo>
                        <a:pt x="1721" y="1067"/>
                      </a:lnTo>
                      <a:lnTo>
                        <a:pt x="1722" y="1067"/>
                      </a:lnTo>
                      <a:lnTo>
                        <a:pt x="1722" y="1067"/>
                      </a:lnTo>
                      <a:lnTo>
                        <a:pt x="1722" y="1066"/>
                      </a:lnTo>
                      <a:lnTo>
                        <a:pt x="1723" y="1066"/>
                      </a:lnTo>
                      <a:lnTo>
                        <a:pt x="1724" y="1065"/>
                      </a:lnTo>
                      <a:lnTo>
                        <a:pt x="1724" y="1065"/>
                      </a:lnTo>
                      <a:lnTo>
                        <a:pt x="1724" y="1066"/>
                      </a:lnTo>
                      <a:lnTo>
                        <a:pt x="1725" y="1066"/>
                      </a:lnTo>
                      <a:lnTo>
                        <a:pt x="1726" y="1066"/>
                      </a:lnTo>
                      <a:lnTo>
                        <a:pt x="1726" y="1067"/>
                      </a:lnTo>
                      <a:lnTo>
                        <a:pt x="1726" y="1067"/>
                      </a:lnTo>
                      <a:lnTo>
                        <a:pt x="1727" y="1067"/>
                      </a:lnTo>
                      <a:lnTo>
                        <a:pt x="1728" y="1068"/>
                      </a:lnTo>
                      <a:lnTo>
                        <a:pt x="1728" y="1068"/>
                      </a:lnTo>
                      <a:lnTo>
                        <a:pt x="1728" y="1068"/>
                      </a:lnTo>
                      <a:lnTo>
                        <a:pt x="1728" y="1069"/>
                      </a:lnTo>
                      <a:lnTo>
                        <a:pt x="1729" y="1069"/>
                      </a:lnTo>
                      <a:lnTo>
                        <a:pt x="1729" y="1070"/>
                      </a:lnTo>
                      <a:lnTo>
                        <a:pt x="1729" y="1070"/>
                      </a:lnTo>
                      <a:lnTo>
                        <a:pt x="1729" y="1071"/>
                      </a:lnTo>
                      <a:lnTo>
                        <a:pt x="1730" y="1071"/>
                      </a:lnTo>
                      <a:lnTo>
                        <a:pt x="1730" y="1072"/>
                      </a:lnTo>
                      <a:lnTo>
                        <a:pt x="1730" y="1072"/>
                      </a:lnTo>
                      <a:lnTo>
                        <a:pt x="1730" y="1073"/>
                      </a:lnTo>
                      <a:lnTo>
                        <a:pt x="1730" y="1074"/>
                      </a:lnTo>
                      <a:lnTo>
                        <a:pt x="1730" y="1074"/>
                      </a:lnTo>
                      <a:lnTo>
                        <a:pt x="1730" y="1074"/>
                      </a:lnTo>
                      <a:lnTo>
                        <a:pt x="1730" y="1074"/>
                      </a:lnTo>
                      <a:lnTo>
                        <a:pt x="1730" y="1074"/>
                      </a:lnTo>
                      <a:lnTo>
                        <a:pt x="1730" y="1075"/>
                      </a:lnTo>
                      <a:lnTo>
                        <a:pt x="1730" y="1076"/>
                      </a:lnTo>
                      <a:lnTo>
                        <a:pt x="1730" y="1076"/>
                      </a:lnTo>
                      <a:lnTo>
                        <a:pt x="1730" y="1076"/>
                      </a:lnTo>
                      <a:lnTo>
                        <a:pt x="1730" y="1076"/>
                      </a:lnTo>
                      <a:lnTo>
                        <a:pt x="1731" y="1077"/>
                      </a:lnTo>
                      <a:lnTo>
                        <a:pt x="1732" y="1077"/>
                      </a:lnTo>
                      <a:lnTo>
                        <a:pt x="1732" y="1077"/>
                      </a:lnTo>
                      <a:lnTo>
                        <a:pt x="1733" y="1077"/>
                      </a:lnTo>
                      <a:lnTo>
                        <a:pt x="1734" y="1078"/>
                      </a:lnTo>
                      <a:lnTo>
                        <a:pt x="1735" y="1078"/>
                      </a:lnTo>
                      <a:lnTo>
                        <a:pt x="1735" y="1077"/>
                      </a:lnTo>
                      <a:lnTo>
                        <a:pt x="1735" y="1077"/>
                      </a:lnTo>
                      <a:lnTo>
                        <a:pt x="1736" y="1077"/>
                      </a:lnTo>
                      <a:lnTo>
                        <a:pt x="1736" y="1078"/>
                      </a:lnTo>
                      <a:lnTo>
                        <a:pt x="1737" y="1078"/>
                      </a:lnTo>
                      <a:lnTo>
                        <a:pt x="1737" y="1078"/>
                      </a:lnTo>
                      <a:lnTo>
                        <a:pt x="1738" y="1078"/>
                      </a:lnTo>
                      <a:lnTo>
                        <a:pt x="1739" y="1078"/>
                      </a:lnTo>
                      <a:lnTo>
                        <a:pt x="1739" y="1079"/>
                      </a:lnTo>
                      <a:lnTo>
                        <a:pt x="1739" y="1079"/>
                      </a:lnTo>
                      <a:lnTo>
                        <a:pt x="1739" y="1080"/>
                      </a:lnTo>
                      <a:lnTo>
                        <a:pt x="1739" y="1080"/>
                      </a:lnTo>
                      <a:lnTo>
                        <a:pt x="1740" y="1080"/>
                      </a:lnTo>
                      <a:lnTo>
                        <a:pt x="1741" y="1080"/>
                      </a:lnTo>
                      <a:lnTo>
                        <a:pt x="1741" y="1080"/>
                      </a:lnTo>
                      <a:lnTo>
                        <a:pt x="1741" y="1081"/>
                      </a:lnTo>
                      <a:lnTo>
                        <a:pt x="1741" y="1082"/>
                      </a:lnTo>
                      <a:lnTo>
                        <a:pt x="1741" y="1082"/>
                      </a:lnTo>
                      <a:lnTo>
                        <a:pt x="1742" y="1082"/>
                      </a:lnTo>
                      <a:lnTo>
                        <a:pt x="1743" y="1082"/>
                      </a:lnTo>
                      <a:lnTo>
                        <a:pt x="1743" y="1082"/>
                      </a:lnTo>
                      <a:lnTo>
                        <a:pt x="1744" y="1082"/>
                      </a:lnTo>
                      <a:lnTo>
                        <a:pt x="1744" y="1082"/>
                      </a:lnTo>
                      <a:lnTo>
                        <a:pt x="1745" y="1082"/>
                      </a:lnTo>
                      <a:lnTo>
                        <a:pt x="1745" y="1082"/>
                      </a:lnTo>
                      <a:lnTo>
                        <a:pt x="1746" y="1082"/>
                      </a:lnTo>
                      <a:lnTo>
                        <a:pt x="1746" y="1081"/>
                      </a:lnTo>
                      <a:lnTo>
                        <a:pt x="1747" y="1081"/>
                      </a:lnTo>
                      <a:lnTo>
                        <a:pt x="1747" y="1081"/>
                      </a:lnTo>
                      <a:lnTo>
                        <a:pt x="1747" y="1080"/>
                      </a:lnTo>
                      <a:lnTo>
                        <a:pt x="1748" y="1080"/>
                      </a:lnTo>
                      <a:lnTo>
                        <a:pt x="1749" y="1080"/>
                      </a:lnTo>
                      <a:lnTo>
                        <a:pt x="1749" y="1082"/>
                      </a:lnTo>
                      <a:lnTo>
                        <a:pt x="1753" y="1080"/>
                      </a:lnTo>
                      <a:lnTo>
                        <a:pt x="1754" y="1079"/>
                      </a:lnTo>
                      <a:lnTo>
                        <a:pt x="1755" y="1078"/>
                      </a:lnTo>
                      <a:lnTo>
                        <a:pt x="1756" y="1078"/>
                      </a:lnTo>
                      <a:lnTo>
                        <a:pt x="1758" y="1076"/>
                      </a:lnTo>
                      <a:lnTo>
                        <a:pt x="1760" y="1074"/>
                      </a:lnTo>
                      <a:lnTo>
                        <a:pt x="1765" y="1071"/>
                      </a:lnTo>
                      <a:lnTo>
                        <a:pt x="1766" y="1070"/>
                      </a:lnTo>
                      <a:lnTo>
                        <a:pt x="1768" y="1068"/>
                      </a:lnTo>
                      <a:lnTo>
                        <a:pt x="1770" y="1068"/>
                      </a:lnTo>
                      <a:lnTo>
                        <a:pt x="1771" y="1067"/>
                      </a:lnTo>
                      <a:lnTo>
                        <a:pt x="1771" y="1068"/>
                      </a:lnTo>
                      <a:lnTo>
                        <a:pt x="1775" y="1071"/>
                      </a:lnTo>
                      <a:lnTo>
                        <a:pt x="1781" y="1076"/>
                      </a:lnTo>
                      <a:lnTo>
                        <a:pt x="1784" y="1078"/>
                      </a:lnTo>
                      <a:lnTo>
                        <a:pt x="1787" y="1081"/>
                      </a:lnTo>
                      <a:lnTo>
                        <a:pt x="1804" y="1094"/>
                      </a:lnTo>
                      <a:lnTo>
                        <a:pt x="1805" y="1095"/>
                      </a:lnTo>
                      <a:lnTo>
                        <a:pt x="1806" y="1095"/>
                      </a:lnTo>
                      <a:lnTo>
                        <a:pt x="1806" y="1096"/>
                      </a:lnTo>
                      <a:lnTo>
                        <a:pt x="1807" y="1096"/>
                      </a:lnTo>
                      <a:lnTo>
                        <a:pt x="1807" y="1097"/>
                      </a:lnTo>
                      <a:lnTo>
                        <a:pt x="1808" y="1097"/>
                      </a:lnTo>
                      <a:lnTo>
                        <a:pt x="1808" y="1097"/>
                      </a:lnTo>
                      <a:lnTo>
                        <a:pt x="1808" y="1098"/>
                      </a:lnTo>
                      <a:lnTo>
                        <a:pt x="1808" y="1099"/>
                      </a:lnTo>
                      <a:lnTo>
                        <a:pt x="1807" y="1099"/>
                      </a:lnTo>
                      <a:lnTo>
                        <a:pt x="1806" y="1100"/>
                      </a:lnTo>
                      <a:lnTo>
                        <a:pt x="1806" y="1101"/>
                      </a:lnTo>
                      <a:lnTo>
                        <a:pt x="1805" y="1101"/>
                      </a:lnTo>
                      <a:lnTo>
                        <a:pt x="1804" y="1101"/>
                      </a:lnTo>
                      <a:lnTo>
                        <a:pt x="1804" y="1101"/>
                      </a:lnTo>
                      <a:lnTo>
                        <a:pt x="1804" y="1102"/>
                      </a:lnTo>
                      <a:lnTo>
                        <a:pt x="1803" y="1103"/>
                      </a:lnTo>
                      <a:lnTo>
                        <a:pt x="1802" y="1103"/>
                      </a:lnTo>
                      <a:lnTo>
                        <a:pt x="1802" y="1103"/>
                      </a:lnTo>
                      <a:lnTo>
                        <a:pt x="1802" y="1103"/>
                      </a:lnTo>
                      <a:lnTo>
                        <a:pt x="1802" y="1104"/>
                      </a:lnTo>
                      <a:lnTo>
                        <a:pt x="1802" y="1105"/>
                      </a:lnTo>
                      <a:lnTo>
                        <a:pt x="1801" y="1105"/>
                      </a:lnTo>
                      <a:lnTo>
                        <a:pt x="1800" y="1106"/>
                      </a:lnTo>
                      <a:lnTo>
                        <a:pt x="1799" y="1107"/>
                      </a:lnTo>
                      <a:lnTo>
                        <a:pt x="1796" y="1108"/>
                      </a:lnTo>
                      <a:lnTo>
                        <a:pt x="1796" y="1109"/>
                      </a:lnTo>
                      <a:lnTo>
                        <a:pt x="1796" y="1110"/>
                      </a:lnTo>
                      <a:lnTo>
                        <a:pt x="1796" y="1110"/>
                      </a:lnTo>
                      <a:lnTo>
                        <a:pt x="1796" y="1111"/>
                      </a:lnTo>
                      <a:lnTo>
                        <a:pt x="1797" y="1111"/>
                      </a:lnTo>
                      <a:lnTo>
                        <a:pt x="1797" y="1110"/>
                      </a:lnTo>
                      <a:lnTo>
                        <a:pt x="1798" y="1110"/>
                      </a:lnTo>
                      <a:lnTo>
                        <a:pt x="1798" y="1110"/>
                      </a:lnTo>
                      <a:lnTo>
                        <a:pt x="1798" y="1111"/>
                      </a:lnTo>
                      <a:lnTo>
                        <a:pt x="1798" y="1112"/>
                      </a:lnTo>
                      <a:lnTo>
                        <a:pt x="1798" y="1112"/>
                      </a:lnTo>
                      <a:lnTo>
                        <a:pt x="1798" y="1113"/>
                      </a:lnTo>
                      <a:lnTo>
                        <a:pt x="1798" y="1114"/>
                      </a:lnTo>
                      <a:lnTo>
                        <a:pt x="1798" y="1114"/>
                      </a:lnTo>
                      <a:lnTo>
                        <a:pt x="1798" y="1114"/>
                      </a:lnTo>
                      <a:lnTo>
                        <a:pt x="1797" y="1114"/>
                      </a:lnTo>
                      <a:lnTo>
                        <a:pt x="1797" y="1115"/>
                      </a:lnTo>
                      <a:lnTo>
                        <a:pt x="1796" y="1116"/>
                      </a:lnTo>
                      <a:lnTo>
                        <a:pt x="1796" y="1116"/>
                      </a:lnTo>
                      <a:lnTo>
                        <a:pt x="1796" y="1117"/>
                      </a:lnTo>
                      <a:lnTo>
                        <a:pt x="1796" y="1118"/>
                      </a:lnTo>
                      <a:lnTo>
                        <a:pt x="1796" y="1118"/>
                      </a:lnTo>
                      <a:lnTo>
                        <a:pt x="1796" y="1119"/>
                      </a:lnTo>
                      <a:lnTo>
                        <a:pt x="1797" y="1120"/>
                      </a:lnTo>
                      <a:lnTo>
                        <a:pt x="1797" y="1120"/>
                      </a:lnTo>
                      <a:lnTo>
                        <a:pt x="1797" y="1121"/>
                      </a:lnTo>
                      <a:lnTo>
                        <a:pt x="1797" y="1122"/>
                      </a:lnTo>
                      <a:lnTo>
                        <a:pt x="1798" y="1122"/>
                      </a:lnTo>
                      <a:lnTo>
                        <a:pt x="1798" y="1122"/>
                      </a:lnTo>
                      <a:lnTo>
                        <a:pt x="1798" y="1122"/>
                      </a:lnTo>
                      <a:lnTo>
                        <a:pt x="1799" y="1123"/>
                      </a:lnTo>
                      <a:lnTo>
                        <a:pt x="1800" y="1123"/>
                      </a:lnTo>
                      <a:lnTo>
                        <a:pt x="1800" y="1123"/>
                      </a:lnTo>
                      <a:lnTo>
                        <a:pt x="1801" y="1123"/>
                      </a:lnTo>
                      <a:lnTo>
                        <a:pt x="1801" y="1124"/>
                      </a:lnTo>
                      <a:lnTo>
                        <a:pt x="1802" y="1125"/>
                      </a:lnTo>
                      <a:lnTo>
                        <a:pt x="1802" y="1126"/>
                      </a:lnTo>
                      <a:lnTo>
                        <a:pt x="1802" y="1127"/>
                      </a:lnTo>
                      <a:lnTo>
                        <a:pt x="1802" y="1127"/>
                      </a:lnTo>
                      <a:lnTo>
                        <a:pt x="1802" y="1128"/>
                      </a:lnTo>
                      <a:lnTo>
                        <a:pt x="1802" y="1129"/>
                      </a:lnTo>
                      <a:lnTo>
                        <a:pt x="1803" y="1129"/>
                      </a:lnTo>
                      <a:lnTo>
                        <a:pt x="1803" y="1130"/>
                      </a:lnTo>
                      <a:lnTo>
                        <a:pt x="1803" y="1131"/>
                      </a:lnTo>
                      <a:lnTo>
                        <a:pt x="1803" y="1131"/>
                      </a:lnTo>
                      <a:lnTo>
                        <a:pt x="1804" y="1131"/>
                      </a:lnTo>
                      <a:lnTo>
                        <a:pt x="1804" y="1132"/>
                      </a:lnTo>
                      <a:lnTo>
                        <a:pt x="1804" y="1132"/>
                      </a:lnTo>
                      <a:lnTo>
                        <a:pt x="1805" y="1132"/>
                      </a:lnTo>
                      <a:lnTo>
                        <a:pt x="1806" y="1132"/>
                      </a:lnTo>
                      <a:lnTo>
                        <a:pt x="1806" y="1133"/>
                      </a:lnTo>
                      <a:lnTo>
                        <a:pt x="1806" y="1133"/>
                      </a:lnTo>
                      <a:lnTo>
                        <a:pt x="1806" y="1134"/>
                      </a:lnTo>
                      <a:lnTo>
                        <a:pt x="1806" y="1135"/>
                      </a:lnTo>
                      <a:lnTo>
                        <a:pt x="1807" y="1135"/>
                      </a:lnTo>
                      <a:lnTo>
                        <a:pt x="1807" y="1136"/>
                      </a:lnTo>
                      <a:lnTo>
                        <a:pt x="1807" y="1137"/>
                      </a:lnTo>
                      <a:lnTo>
                        <a:pt x="1807" y="1137"/>
                      </a:lnTo>
                      <a:lnTo>
                        <a:pt x="1808" y="1138"/>
                      </a:lnTo>
                      <a:lnTo>
                        <a:pt x="1808" y="1139"/>
                      </a:lnTo>
                      <a:lnTo>
                        <a:pt x="1809" y="1139"/>
                      </a:lnTo>
                      <a:lnTo>
                        <a:pt x="1809" y="1139"/>
                      </a:lnTo>
                      <a:lnTo>
                        <a:pt x="1809" y="1139"/>
                      </a:lnTo>
                      <a:lnTo>
                        <a:pt x="1810" y="1139"/>
                      </a:lnTo>
                      <a:lnTo>
                        <a:pt x="1811" y="1139"/>
                      </a:lnTo>
                      <a:lnTo>
                        <a:pt x="1811" y="1139"/>
                      </a:lnTo>
                      <a:lnTo>
                        <a:pt x="1811" y="1140"/>
                      </a:lnTo>
                      <a:lnTo>
                        <a:pt x="1812" y="1140"/>
                      </a:lnTo>
                      <a:lnTo>
                        <a:pt x="1813" y="1141"/>
                      </a:lnTo>
                      <a:lnTo>
                        <a:pt x="1813" y="1141"/>
                      </a:lnTo>
                      <a:lnTo>
                        <a:pt x="1813" y="1141"/>
                      </a:lnTo>
                      <a:lnTo>
                        <a:pt x="1813" y="1142"/>
                      </a:lnTo>
                      <a:lnTo>
                        <a:pt x="1813" y="1143"/>
                      </a:lnTo>
                      <a:lnTo>
                        <a:pt x="1813" y="1144"/>
                      </a:lnTo>
                      <a:lnTo>
                        <a:pt x="1813" y="1145"/>
                      </a:lnTo>
                      <a:lnTo>
                        <a:pt x="1813" y="1146"/>
                      </a:lnTo>
                      <a:lnTo>
                        <a:pt x="1813" y="1146"/>
                      </a:lnTo>
                      <a:lnTo>
                        <a:pt x="1813" y="1147"/>
                      </a:lnTo>
                      <a:lnTo>
                        <a:pt x="1813" y="1148"/>
                      </a:lnTo>
                      <a:lnTo>
                        <a:pt x="1813" y="1148"/>
                      </a:lnTo>
                      <a:lnTo>
                        <a:pt x="1813" y="1149"/>
                      </a:lnTo>
                      <a:lnTo>
                        <a:pt x="1813" y="1150"/>
                      </a:lnTo>
                      <a:lnTo>
                        <a:pt x="1813" y="1150"/>
                      </a:lnTo>
                      <a:lnTo>
                        <a:pt x="1813" y="1151"/>
                      </a:lnTo>
                      <a:lnTo>
                        <a:pt x="1813" y="1152"/>
                      </a:lnTo>
                      <a:lnTo>
                        <a:pt x="1813" y="1152"/>
                      </a:lnTo>
                      <a:lnTo>
                        <a:pt x="1813" y="1153"/>
                      </a:lnTo>
                      <a:lnTo>
                        <a:pt x="1813" y="1154"/>
                      </a:lnTo>
                      <a:lnTo>
                        <a:pt x="1814" y="1156"/>
                      </a:lnTo>
                      <a:lnTo>
                        <a:pt x="1815" y="1157"/>
                      </a:lnTo>
                      <a:lnTo>
                        <a:pt x="1815" y="1158"/>
                      </a:lnTo>
                      <a:lnTo>
                        <a:pt x="1815" y="1158"/>
                      </a:lnTo>
                      <a:lnTo>
                        <a:pt x="1817" y="1160"/>
                      </a:lnTo>
                      <a:lnTo>
                        <a:pt x="1817" y="1160"/>
                      </a:lnTo>
                      <a:lnTo>
                        <a:pt x="1818" y="1162"/>
                      </a:lnTo>
                      <a:lnTo>
                        <a:pt x="1819" y="1163"/>
                      </a:lnTo>
                      <a:lnTo>
                        <a:pt x="1819" y="1164"/>
                      </a:lnTo>
                      <a:lnTo>
                        <a:pt x="1819" y="1166"/>
                      </a:lnTo>
                      <a:lnTo>
                        <a:pt x="1819" y="1167"/>
                      </a:lnTo>
                      <a:lnTo>
                        <a:pt x="1819" y="1168"/>
                      </a:lnTo>
                      <a:lnTo>
                        <a:pt x="1819" y="1169"/>
                      </a:lnTo>
                      <a:lnTo>
                        <a:pt x="1819" y="1169"/>
                      </a:lnTo>
                      <a:lnTo>
                        <a:pt x="1818" y="1169"/>
                      </a:lnTo>
                      <a:lnTo>
                        <a:pt x="1817" y="1169"/>
                      </a:lnTo>
                      <a:lnTo>
                        <a:pt x="1816" y="1169"/>
                      </a:lnTo>
                      <a:lnTo>
                        <a:pt x="1815" y="1169"/>
                      </a:lnTo>
                      <a:lnTo>
                        <a:pt x="1814" y="1169"/>
                      </a:lnTo>
                      <a:lnTo>
                        <a:pt x="1813" y="1169"/>
                      </a:lnTo>
                      <a:lnTo>
                        <a:pt x="1811" y="1169"/>
                      </a:lnTo>
                      <a:lnTo>
                        <a:pt x="1810" y="1168"/>
                      </a:lnTo>
                      <a:lnTo>
                        <a:pt x="1811" y="1170"/>
                      </a:lnTo>
                      <a:lnTo>
                        <a:pt x="1811" y="1171"/>
                      </a:lnTo>
                      <a:lnTo>
                        <a:pt x="1811" y="1171"/>
                      </a:lnTo>
                      <a:lnTo>
                        <a:pt x="1811" y="1171"/>
                      </a:lnTo>
                      <a:lnTo>
                        <a:pt x="1811" y="1172"/>
                      </a:lnTo>
                      <a:lnTo>
                        <a:pt x="1812" y="1173"/>
                      </a:lnTo>
                      <a:lnTo>
                        <a:pt x="1813" y="1174"/>
                      </a:lnTo>
                      <a:lnTo>
                        <a:pt x="1813" y="1175"/>
                      </a:lnTo>
                      <a:lnTo>
                        <a:pt x="1813" y="1176"/>
                      </a:lnTo>
                      <a:lnTo>
                        <a:pt x="1814" y="1177"/>
                      </a:lnTo>
                      <a:lnTo>
                        <a:pt x="1815" y="1178"/>
                      </a:lnTo>
                      <a:lnTo>
                        <a:pt x="1815" y="1179"/>
                      </a:lnTo>
                      <a:lnTo>
                        <a:pt x="1815" y="1180"/>
                      </a:lnTo>
                      <a:lnTo>
                        <a:pt x="1816" y="1181"/>
                      </a:lnTo>
                      <a:lnTo>
                        <a:pt x="1817" y="1181"/>
                      </a:lnTo>
                      <a:lnTo>
                        <a:pt x="1817" y="1183"/>
                      </a:lnTo>
                      <a:lnTo>
                        <a:pt x="1817" y="1183"/>
                      </a:lnTo>
                      <a:lnTo>
                        <a:pt x="1818" y="1185"/>
                      </a:lnTo>
                      <a:lnTo>
                        <a:pt x="1819" y="1186"/>
                      </a:lnTo>
                      <a:lnTo>
                        <a:pt x="1819" y="1187"/>
                      </a:lnTo>
                      <a:lnTo>
                        <a:pt x="1819" y="1188"/>
                      </a:lnTo>
                      <a:lnTo>
                        <a:pt x="1820" y="1189"/>
                      </a:lnTo>
                      <a:lnTo>
                        <a:pt x="1821" y="1190"/>
                      </a:lnTo>
                      <a:lnTo>
                        <a:pt x="1821" y="1191"/>
                      </a:lnTo>
                      <a:lnTo>
                        <a:pt x="1821" y="1192"/>
                      </a:lnTo>
                      <a:lnTo>
                        <a:pt x="1822" y="1193"/>
                      </a:lnTo>
                      <a:lnTo>
                        <a:pt x="1823" y="1194"/>
                      </a:lnTo>
                      <a:lnTo>
                        <a:pt x="1823" y="1195"/>
                      </a:lnTo>
                      <a:lnTo>
                        <a:pt x="1823" y="1196"/>
                      </a:lnTo>
                      <a:lnTo>
                        <a:pt x="1824" y="1197"/>
                      </a:lnTo>
                      <a:lnTo>
                        <a:pt x="1825" y="1198"/>
                      </a:lnTo>
                      <a:lnTo>
                        <a:pt x="1825" y="1199"/>
                      </a:lnTo>
                      <a:lnTo>
                        <a:pt x="1825" y="1200"/>
                      </a:lnTo>
                      <a:lnTo>
                        <a:pt x="1826" y="1201"/>
                      </a:lnTo>
                      <a:lnTo>
                        <a:pt x="1827" y="1202"/>
                      </a:lnTo>
                      <a:lnTo>
                        <a:pt x="1828" y="1203"/>
                      </a:lnTo>
                      <a:lnTo>
                        <a:pt x="1828" y="1204"/>
                      </a:lnTo>
                      <a:lnTo>
                        <a:pt x="1828" y="1205"/>
                      </a:lnTo>
                      <a:lnTo>
                        <a:pt x="1829" y="1206"/>
                      </a:lnTo>
                      <a:lnTo>
                        <a:pt x="1830" y="1207"/>
                      </a:lnTo>
                      <a:lnTo>
                        <a:pt x="1830" y="1209"/>
                      </a:lnTo>
                      <a:lnTo>
                        <a:pt x="1834" y="1217"/>
                      </a:lnTo>
                      <a:lnTo>
                        <a:pt x="1835" y="1218"/>
                      </a:lnTo>
                      <a:lnTo>
                        <a:pt x="1835" y="1219"/>
                      </a:lnTo>
                      <a:lnTo>
                        <a:pt x="1836" y="1219"/>
                      </a:lnTo>
                      <a:lnTo>
                        <a:pt x="1836" y="1219"/>
                      </a:lnTo>
                      <a:lnTo>
                        <a:pt x="1836" y="1220"/>
                      </a:lnTo>
                      <a:lnTo>
                        <a:pt x="1836" y="1220"/>
                      </a:lnTo>
                      <a:lnTo>
                        <a:pt x="1836" y="1221"/>
                      </a:lnTo>
                      <a:lnTo>
                        <a:pt x="1836" y="1221"/>
                      </a:lnTo>
                      <a:lnTo>
                        <a:pt x="1837" y="1221"/>
                      </a:lnTo>
                      <a:lnTo>
                        <a:pt x="1837" y="1222"/>
                      </a:lnTo>
                      <a:lnTo>
                        <a:pt x="1837" y="1223"/>
                      </a:lnTo>
                      <a:lnTo>
                        <a:pt x="1838" y="1223"/>
                      </a:lnTo>
                      <a:lnTo>
                        <a:pt x="1838" y="1223"/>
                      </a:lnTo>
                      <a:lnTo>
                        <a:pt x="1838" y="1224"/>
                      </a:lnTo>
                      <a:lnTo>
                        <a:pt x="1838" y="1224"/>
                      </a:lnTo>
                      <a:lnTo>
                        <a:pt x="1838" y="1225"/>
                      </a:lnTo>
                      <a:lnTo>
                        <a:pt x="1838" y="1226"/>
                      </a:lnTo>
                      <a:lnTo>
                        <a:pt x="1839" y="1226"/>
                      </a:lnTo>
                      <a:lnTo>
                        <a:pt x="1839" y="1226"/>
                      </a:lnTo>
                      <a:lnTo>
                        <a:pt x="1839" y="1227"/>
                      </a:lnTo>
                      <a:lnTo>
                        <a:pt x="1839" y="1228"/>
                      </a:lnTo>
                      <a:lnTo>
                        <a:pt x="1840" y="1228"/>
                      </a:lnTo>
                      <a:lnTo>
                        <a:pt x="1840" y="1229"/>
                      </a:lnTo>
                      <a:lnTo>
                        <a:pt x="1840" y="1230"/>
                      </a:lnTo>
                      <a:lnTo>
                        <a:pt x="1840" y="1230"/>
                      </a:lnTo>
                      <a:lnTo>
                        <a:pt x="1840" y="1231"/>
                      </a:lnTo>
                      <a:lnTo>
                        <a:pt x="1840" y="1231"/>
                      </a:lnTo>
                      <a:lnTo>
                        <a:pt x="1840" y="1232"/>
                      </a:lnTo>
                      <a:lnTo>
                        <a:pt x="1840" y="1232"/>
                      </a:lnTo>
                      <a:lnTo>
                        <a:pt x="1840" y="1233"/>
                      </a:lnTo>
                      <a:lnTo>
                        <a:pt x="1840" y="1234"/>
                      </a:lnTo>
                      <a:lnTo>
                        <a:pt x="1841" y="1234"/>
                      </a:lnTo>
                      <a:lnTo>
                        <a:pt x="1841" y="1234"/>
                      </a:lnTo>
                      <a:lnTo>
                        <a:pt x="1841" y="1235"/>
                      </a:lnTo>
                      <a:lnTo>
                        <a:pt x="1841" y="1236"/>
                      </a:lnTo>
                      <a:lnTo>
                        <a:pt x="1841" y="1236"/>
                      </a:lnTo>
                      <a:lnTo>
                        <a:pt x="1842" y="1236"/>
                      </a:lnTo>
                      <a:lnTo>
                        <a:pt x="1842" y="1237"/>
                      </a:lnTo>
                      <a:lnTo>
                        <a:pt x="1842" y="1238"/>
                      </a:lnTo>
                      <a:lnTo>
                        <a:pt x="1842" y="1238"/>
                      </a:lnTo>
                      <a:lnTo>
                        <a:pt x="1842" y="1239"/>
                      </a:lnTo>
                      <a:lnTo>
                        <a:pt x="1842" y="1240"/>
                      </a:lnTo>
                      <a:lnTo>
                        <a:pt x="1842" y="1240"/>
                      </a:lnTo>
                      <a:lnTo>
                        <a:pt x="1842" y="1241"/>
                      </a:lnTo>
                      <a:lnTo>
                        <a:pt x="1842" y="1242"/>
                      </a:lnTo>
                      <a:lnTo>
                        <a:pt x="1843" y="1242"/>
                      </a:lnTo>
                      <a:lnTo>
                        <a:pt x="1843" y="1243"/>
                      </a:lnTo>
                      <a:lnTo>
                        <a:pt x="1843" y="1244"/>
                      </a:lnTo>
                      <a:lnTo>
                        <a:pt x="1843" y="1245"/>
                      </a:lnTo>
                      <a:lnTo>
                        <a:pt x="1843" y="1245"/>
                      </a:lnTo>
                      <a:lnTo>
                        <a:pt x="1844" y="1245"/>
                      </a:lnTo>
                      <a:lnTo>
                        <a:pt x="1844" y="1246"/>
                      </a:lnTo>
                      <a:lnTo>
                        <a:pt x="1844" y="1247"/>
                      </a:lnTo>
                      <a:lnTo>
                        <a:pt x="1844" y="1247"/>
                      </a:lnTo>
                      <a:lnTo>
                        <a:pt x="1844" y="1247"/>
                      </a:lnTo>
                      <a:lnTo>
                        <a:pt x="1845" y="1247"/>
                      </a:lnTo>
                      <a:lnTo>
                        <a:pt x="1845" y="1248"/>
                      </a:lnTo>
                      <a:lnTo>
                        <a:pt x="1845" y="1249"/>
                      </a:lnTo>
                      <a:lnTo>
                        <a:pt x="1846" y="1249"/>
                      </a:lnTo>
                      <a:lnTo>
                        <a:pt x="1846" y="1249"/>
                      </a:lnTo>
                      <a:lnTo>
                        <a:pt x="1847" y="1249"/>
                      </a:lnTo>
                      <a:lnTo>
                        <a:pt x="1847" y="1250"/>
                      </a:lnTo>
                      <a:lnTo>
                        <a:pt x="1847" y="1250"/>
                      </a:lnTo>
                      <a:lnTo>
                        <a:pt x="1847" y="1251"/>
                      </a:lnTo>
                      <a:lnTo>
                        <a:pt x="1848" y="1251"/>
                      </a:lnTo>
                      <a:lnTo>
                        <a:pt x="1849" y="1252"/>
                      </a:lnTo>
                      <a:lnTo>
                        <a:pt x="1849" y="1253"/>
                      </a:lnTo>
                      <a:lnTo>
                        <a:pt x="1849" y="1253"/>
                      </a:lnTo>
                      <a:lnTo>
                        <a:pt x="1850" y="1253"/>
                      </a:lnTo>
                      <a:lnTo>
                        <a:pt x="1850" y="1254"/>
                      </a:lnTo>
                      <a:lnTo>
                        <a:pt x="1851" y="1254"/>
                      </a:lnTo>
                      <a:lnTo>
                        <a:pt x="1851" y="1255"/>
                      </a:lnTo>
                      <a:lnTo>
                        <a:pt x="1851" y="1255"/>
                      </a:lnTo>
                      <a:lnTo>
                        <a:pt x="1852" y="1256"/>
                      </a:lnTo>
                      <a:lnTo>
                        <a:pt x="1852" y="1257"/>
                      </a:lnTo>
                      <a:lnTo>
                        <a:pt x="1853" y="1257"/>
                      </a:lnTo>
                      <a:lnTo>
                        <a:pt x="1853" y="1257"/>
                      </a:lnTo>
                      <a:lnTo>
                        <a:pt x="1853" y="1257"/>
                      </a:lnTo>
                      <a:lnTo>
                        <a:pt x="1853" y="1258"/>
                      </a:lnTo>
                      <a:lnTo>
                        <a:pt x="1854" y="1258"/>
                      </a:lnTo>
                      <a:lnTo>
                        <a:pt x="1854" y="1259"/>
                      </a:lnTo>
                      <a:lnTo>
                        <a:pt x="1855" y="1259"/>
                      </a:lnTo>
                      <a:lnTo>
                        <a:pt x="1855" y="1260"/>
                      </a:lnTo>
                      <a:lnTo>
                        <a:pt x="1855" y="1260"/>
                      </a:lnTo>
                      <a:lnTo>
                        <a:pt x="1855" y="1261"/>
                      </a:lnTo>
                      <a:lnTo>
                        <a:pt x="1857" y="1262"/>
                      </a:lnTo>
                      <a:lnTo>
                        <a:pt x="1858" y="1264"/>
                      </a:lnTo>
                      <a:lnTo>
                        <a:pt x="1859" y="1264"/>
                      </a:lnTo>
                      <a:lnTo>
                        <a:pt x="1859" y="1265"/>
                      </a:lnTo>
                      <a:lnTo>
                        <a:pt x="1861" y="1267"/>
                      </a:lnTo>
                      <a:lnTo>
                        <a:pt x="1861" y="1268"/>
                      </a:lnTo>
                      <a:lnTo>
                        <a:pt x="1862" y="1268"/>
                      </a:lnTo>
                      <a:lnTo>
                        <a:pt x="1863" y="1268"/>
                      </a:lnTo>
                      <a:lnTo>
                        <a:pt x="1862" y="1268"/>
                      </a:lnTo>
                      <a:lnTo>
                        <a:pt x="1862" y="1267"/>
                      </a:lnTo>
                      <a:lnTo>
                        <a:pt x="1863" y="1267"/>
                      </a:lnTo>
                      <a:lnTo>
                        <a:pt x="1863" y="1267"/>
                      </a:lnTo>
                      <a:lnTo>
                        <a:pt x="1866" y="1268"/>
                      </a:lnTo>
                      <a:lnTo>
                        <a:pt x="1866" y="1268"/>
                      </a:lnTo>
                      <a:lnTo>
                        <a:pt x="1868" y="1268"/>
                      </a:lnTo>
                      <a:lnTo>
                        <a:pt x="1868" y="1268"/>
                      </a:lnTo>
                      <a:lnTo>
                        <a:pt x="1869" y="1269"/>
                      </a:lnTo>
                      <a:lnTo>
                        <a:pt x="1869" y="1270"/>
                      </a:lnTo>
                      <a:lnTo>
                        <a:pt x="1870" y="1271"/>
                      </a:lnTo>
                      <a:lnTo>
                        <a:pt x="1870" y="1272"/>
                      </a:lnTo>
                      <a:lnTo>
                        <a:pt x="1871" y="1274"/>
                      </a:lnTo>
                      <a:lnTo>
                        <a:pt x="1872" y="1275"/>
                      </a:lnTo>
                      <a:lnTo>
                        <a:pt x="1874" y="1276"/>
                      </a:lnTo>
                      <a:lnTo>
                        <a:pt x="1874" y="1276"/>
                      </a:lnTo>
                      <a:lnTo>
                        <a:pt x="1874" y="1278"/>
                      </a:lnTo>
                      <a:lnTo>
                        <a:pt x="1863" y="1278"/>
                      </a:lnTo>
                      <a:lnTo>
                        <a:pt x="1862" y="1278"/>
                      </a:lnTo>
                      <a:lnTo>
                        <a:pt x="1860" y="1278"/>
                      </a:lnTo>
                      <a:lnTo>
                        <a:pt x="1859" y="1278"/>
                      </a:lnTo>
                      <a:lnTo>
                        <a:pt x="1857" y="1278"/>
                      </a:lnTo>
                      <a:lnTo>
                        <a:pt x="1855" y="1278"/>
                      </a:lnTo>
                      <a:lnTo>
                        <a:pt x="1855" y="1278"/>
                      </a:lnTo>
                      <a:lnTo>
                        <a:pt x="1854" y="1278"/>
                      </a:lnTo>
                      <a:lnTo>
                        <a:pt x="1853" y="1278"/>
                      </a:lnTo>
                      <a:lnTo>
                        <a:pt x="1851" y="1278"/>
                      </a:lnTo>
                      <a:lnTo>
                        <a:pt x="1850" y="1278"/>
                      </a:lnTo>
                      <a:lnTo>
                        <a:pt x="1849" y="1278"/>
                      </a:lnTo>
                      <a:lnTo>
                        <a:pt x="1849" y="1278"/>
                      </a:lnTo>
                      <a:lnTo>
                        <a:pt x="1848" y="1279"/>
                      </a:lnTo>
                      <a:lnTo>
                        <a:pt x="1847" y="1280"/>
                      </a:lnTo>
                      <a:lnTo>
                        <a:pt x="1847" y="1281"/>
                      </a:lnTo>
                      <a:lnTo>
                        <a:pt x="1847" y="1282"/>
                      </a:lnTo>
                      <a:lnTo>
                        <a:pt x="1847" y="1283"/>
                      </a:lnTo>
                      <a:lnTo>
                        <a:pt x="1847" y="1284"/>
                      </a:lnTo>
                      <a:lnTo>
                        <a:pt x="1846" y="1285"/>
                      </a:lnTo>
                      <a:lnTo>
                        <a:pt x="1846" y="1285"/>
                      </a:lnTo>
                      <a:lnTo>
                        <a:pt x="1845" y="1286"/>
                      </a:lnTo>
                      <a:lnTo>
                        <a:pt x="1845" y="1287"/>
                      </a:lnTo>
                      <a:lnTo>
                        <a:pt x="1844" y="1288"/>
                      </a:lnTo>
                      <a:lnTo>
                        <a:pt x="1844" y="1289"/>
                      </a:lnTo>
                      <a:lnTo>
                        <a:pt x="1844" y="1289"/>
                      </a:lnTo>
                      <a:lnTo>
                        <a:pt x="1844" y="1291"/>
                      </a:lnTo>
                      <a:lnTo>
                        <a:pt x="1844" y="1292"/>
                      </a:lnTo>
                      <a:lnTo>
                        <a:pt x="1843" y="1293"/>
                      </a:lnTo>
                      <a:lnTo>
                        <a:pt x="1842" y="1294"/>
                      </a:lnTo>
                      <a:lnTo>
                        <a:pt x="1842" y="1295"/>
                      </a:lnTo>
                      <a:lnTo>
                        <a:pt x="1842" y="1297"/>
                      </a:lnTo>
                      <a:lnTo>
                        <a:pt x="1840" y="1300"/>
                      </a:lnTo>
                      <a:lnTo>
                        <a:pt x="1840" y="1301"/>
                      </a:lnTo>
                      <a:lnTo>
                        <a:pt x="1840" y="1301"/>
                      </a:lnTo>
                      <a:lnTo>
                        <a:pt x="1840" y="1303"/>
                      </a:lnTo>
                      <a:lnTo>
                        <a:pt x="1840" y="1304"/>
                      </a:lnTo>
                      <a:lnTo>
                        <a:pt x="1839" y="1304"/>
                      </a:lnTo>
                      <a:lnTo>
                        <a:pt x="1823" y="1352"/>
                      </a:lnTo>
                      <a:lnTo>
                        <a:pt x="1823" y="1354"/>
                      </a:lnTo>
                      <a:lnTo>
                        <a:pt x="1822" y="1356"/>
                      </a:lnTo>
                      <a:lnTo>
                        <a:pt x="1821" y="1358"/>
                      </a:lnTo>
                      <a:lnTo>
                        <a:pt x="1821" y="1358"/>
                      </a:lnTo>
                      <a:lnTo>
                        <a:pt x="1821" y="1360"/>
                      </a:lnTo>
                      <a:lnTo>
                        <a:pt x="1821" y="1361"/>
                      </a:lnTo>
                      <a:lnTo>
                        <a:pt x="1820" y="1362"/>
                      </a:lnTo>
                      <a:lnTo>
                        <a:pt x="1820" y="1363"/>
                      </a:lnTo>
                      <a:lnTo>
                        <a:pt x="1819" y="1364"/>
                      </a:lnTo>
                      <a:lnTo>
                        <a:pt x="1819" y="1365"/>
                      </a:lnTo>
                      <a:lnTo>
                        <a:pt x="1819" y="1366"/>
                      </a:lnTo>
                      <a:lnTo>
                        <a:pt x="1819" y="1367"/>
                      </a:lnTo>
                      <a:lnTo>
                        <a:pt x="1818" y="1368"/>
                      </a:lnTo>
                      <a:lnTo>
                        <a:pt x="1817" y="1369"/>
                      </a:lnTo>
                      <a:lnTo>
                        <a:pt x="1817" y="1370"/>
                      </a:lnTo>
                      <a:lnTo>
                        <a:pt x="1817" y="1371"/>
                      </a:lnTo>
                      <a:lnTo>
                        <a:pt x="1817" y="1372"/>
                      </a:lnTo>
                      <a:lnTo>
                        <a:pt x="1817" y="1373"/>
                      </a:lnTo>
                      <a:lnTo>
                        <a:pt x="1816" y="1375"/>
                      </a:lnTo>
                      <a:lnTo>
                        <a:pt x="1816" y="1375"/>
                      </a:lnTo>
                      <a:lnTo>
                        <a:pt x="1815" y="1377"/>
                      </a:lnTo>
                      <a:lnTo>
                        <a:pt x="1815" y="1378"/>
                      </a:lnTo>
                      <a:lnTo>
                        <a:pt x="1815" y="1379"/>
                      </a:lnTo>
                      <a:lnTo>
                        <a:pt x="1814" y="1380"/>
                      </a:lnTo>
                      <a:lnTo>
                        <a:pt x="1814" y="1381"/>
                      </a:lnTo>
                      <a:lnTo>
                        <a:pt x="1813" y="1382"/>
                      </a:lnTo>
                      <a:lnTo>
                        <a:pt x="1813" y="1384"/>
                      </a:lnTo>
                      <a:lnTo>
                        <a:pt x="1813" y="1384"/>
                      </a:lnTo>
                      <a:lnTo>
                        <a:pt x="1813" y="1385"/>
                      </a:lnTo>
                      <a:lnTo>
                        <a:pt x="1813" y="1386"/>
                      </a:lnTo>
                      <a:lnTo>
                        <a:pt x="1812" y="1387"/>
                      </a:lnTo>
                      <a:lnTo>
                        <a:pt x="1812" y="1388"/>
                      </a:lnTo>
                      <a:lnTo>
                        <a:pt x="1811" y="1389"/>
                      </a:lnTo>
                      <a:lnTo>
                        <a:pt x="1811" y="1390"/>
                      </a:lnTo>
                      <a:lnTo>
                        <a:pt x="1811" y="1391"/>
                      </a:lnTo>
                      <a:lnTo>
                        <a:pt x="1811" y="1392"/>
                      </a:lnTo>
                      <a:lnTo>
                        <a:pt x="1810" y="1392"/>
                      </a:lnTo>
                      <a:lnTo>
                        <a:pt x="1810" y="1392"/>
                      </a:lnTo>
                      <a:lnTo>
                        <a:pt x="1810" y="1393"/>
                      </a:lnTo>
                      <a:lnTo>
                        <a:pt x="1809" y="1394"/>
                      </a:lnTo>
                      <a:lnTo>
                        <a:pt x="1809" y="1394"/>
                      </a:lnTo>
                      <a:lnTo>
                        <a:pt x="1809" y="1395"/>
                      </a:lnTo>
                      <a:lnTo>
                        <a:pt x="1809" y="1396"/>
                      </a:lnTo>
                      <a:lnTo>
                        <a:pt x="1809" y="1398"/>
                      </a:lnTo>
                      <a:lnTo>
                        <a:pt x="1808" y="1399"/>
                      </a:lnTo>
                      <a:lnTo>
                        <a:pt x="1807" y="1401"/>
                      </a:lnTo>
                      <a:lnTo>
                        <a:pt x="1806" y="1402"/>
                      </a:lnTo>
                      <a:lnTo>
                        <a:pt x="1806" y="1403"/>
                      </a:lnTo>
                      <a:lnTo>
                        <a:pt x="1806" y="1404"/>
                      </a:lnTo>
                      <a:lnTo>
                        <a:pt x="1806" y="1405"/>
                      </a:lnTo>
                      <a:lnTo>
                        <a:pt x="1805" y="1406"/>
                      </a:lnTo>
                      <a:lnTo>
                        <a:pt x="1805" y="1408"/>
                      </a:lnTo>
                      <a:lnTo>
                        <a:pt x="1804" y="1409"/>
                      </a:lnTo>
                      <a:lnTo>
                        <a:pt x="1804" y="1411"/>
                      </a:lnTo>
                      <a:lnTo>
                        <a:pt x="1803" y="1412"/>
                      </a:lnTo>
                      <a:lnTo>
                        <a:pt x="1803" y="1413"/>
                      </a:lnTo>
                      <a:lnTo>
                        <a:pt x="1802" y="1415"/>
                      </a:lnTo>
                      <a:lnTo>
                        <a:pt x="1802" y="1417"/>
                      </a:lnTo>
                      <a:lnTo>
                        <a:pt x="1802" y="1417"/>
                      </a:lnTo>
                      <a:lnTo>
                        <a:pt x="1801" y="1419"/>
                      </a:lnTo>
                      <a:lnTo>
                        <a:pt x="1801" y="1421"/>
                      </a:lnTo>
                      <a:lnTo>
                        <a:pt x="1799" y="1425"/>
                      </a:lnTo>
                      <a:lnTo>
                        <a:pt x="1799" y="1426"/>
                      </a:lnTo>
                      <a:lnTo>
                        <a:pt x="1799" y="1426"/>
                      </a:lnTo>
                      <a:lnTo>
                        <a:pt x="1798" y="1428"/>
                      </a:lnTo>
                      <a:lnTo>
                        <a:pt x="1797" y="1432"/>
                      </a:lnTo>
                      <a:lnTo>
                        <a:pt x="1797" y="1432"/>
                      </a:lnTo>
                      <a:lnTo>
                        <a:pt x="1796" y="1434"/>
                      </a:lnTo>
                      <a:lnTo>
                        <a:pt x="1796" y="1435"/>
                      </a:lnTo>
                      <a:lnTo>
                        <a:pt x="1796" y="1436"/>
                      </a:lnTo>
                      <a:lnTo>
                        <a:pt x="1796" y="1436"/>
                      </a:lnTo>
                      <a:lnTo>
                        <a:pt x="1796" y="1437"/>
                      </a:lnTo>
                      <a:lnTo>
                        <a:pt x="1795" y="1437"/>
                      </a:lnTo>
                      <a:lnTo>
                        <a:pt x="1795" y="1438"/>
                      </a:lnTo>
                      <a:lnTo>
                        <a:pt x="1795" y="1438"/>
                      </a:lnTo>
                      <a:lnTo>
                        <a:pt x="1795" y="1439"/>
                      </a:lnTo>
                      <a:lnTo>
                        <a:pt x="1794" y="1439"/>
                      </a:lnTo>
                      <a:lnTo>
                        <a:pt x="1794" y="1440"/>
                      </a:lnTo>
                      <a:lnTo>
                        <a:pt x="1794" y="1440"/>
                      </a:lnTo>
                      <a:lnTo>
                        <a:pt x="1794" y="1441"/>
                      </a:lnTo>
                      <a:lnTo>
                        <a:pt x="1794" y="1441"/>
                      </a:lnTo>
                      <a:lnTo>
                        <a:pt x="1794" y="1442"/>
                      </a:lnTo>
                      <a:lnTo>
                        <a:pt x="1794" y="1443"/>
                      </a:lnTo>
                      <a:lnTo>
                        <a:pt x="1793" y="1443"/>
                      </a:lnTo>
                      <a:lnTo>
                        <a:pt x="1793" y="1444"/>
                      </a:lnTo>
                      <a:lnTo>
                        <a:pt x="1793" y="1445"/>
                      </a:lnTo>
                      <a:lnTo>
                        <a:pt x="1793" y="1445"/>
                      </a:lnTo>
                      <a:lnTo>
                        <a:pt x="1792" y="1445"/>
                      </a:lnTo>
                      <a:lnTo>
                        <a:pt x="1792" y="1446"/>
                      </a:lnTo>
                      <a:lnTo>
                        <a:pt x="1792" y="1447"/>
                      </a:lnTo>
                      <a:lnTo>
                        <a:pt x="1792" y="1447"/>
                      </a:lnTo>
                      <a:lnTo>
                        <a:pt x="1792" y="1448"/>
                      </a:lnTo>
                      <a:lnTo>
                        <a:pt x="1792" y="1449"/>
                      </a:lnTo>
                      <a:lnTo>
                        <a:pt x="1791" y="1449"/>
                      </a:lnTo>
                      <a:lnTo>
                        <a:pt x="1791" y="1450"/>
                      </a:lnTo>
                      <a:lnTo>
                        <a:pt x="1791" y="1451"/>
                      </a:lnTo>
                      <a:lnTo>
                        <a:pt x="1790" y="1451"/>
                      </a:lnTo>
                      <a:lnTo>
                        <a:pt x="1790" y="1452"/>
                      </a:lnTo>
                      <a:lnTo>
                        <a:pt x="1791" y="1452"/>
                      </a:lnTo>
                      <a:lnTo>
                        <a:pt x="1792" y="1452"/>
                      </a:lnTo>
                      <a:lnTo>
                        <a:pt x="1793" y="1452"/>
                      </a:lnTo>
                      <a:lnTo>
                        <a:pt x="1794" y="1452"/>
                      </a:lnTo>
                      <a:lnTo>
                        <a:pt x="1794" y="1452"/>
                      </a:lnTo>
                      <a:lnTo>
                        <a:pt x="1795" y="1452"/>
                      </a:lnTo>
                      <a:lnTo>
                        <a:pt x="1796" y="1452"/>
                      </a:lnTo>
                      <a:lnTo>
                        <a:pt x="1796" y="1452"/>
                      </a:lnTo>
                      <a:lnTo>
                        <a:pt x="1797" y="1452"/>
                      </a:lnTo>
                      <a:lnTo>
                        <a:pt x="1798" y="1452"/>
                      </a:lnTo>
                      <a:lnTo>
                        <a:pt x="1799" y="1452"/>
                      </a:lnTo>
                      <a:lnTo>
                        <a:pt x="1800" y="1452"/>
                      </a:lnTo>
                      <a:lnTo>
                        <a:pt x="1801" y="1452"/>
                      </a:lnTo>
                      <a:lnTo>
                        <a:pt x="1802" y="1452"/>
                      </a:lnTo>
                      <a:lnTo>
                        <a:pt x="1802" y="1453"/>
                      </a:lnTo>
                      <a:lnTo>
                        <a:pt x="1802" y="1453"/>
                      </a:lnTo>
                      <a:lnTo>
                        <a:pt x="1802" y="1454"/>
                      </a:lnTo>
                      <a:lnTo>
                        <a:pt x="1802" y="1455"/>
                      </a:lnTo>
                      <a:lnTo>
                        <a:pt x="1802" y="1455"/>
                      </a:lnTo>
                      <a:lnTo>
                        <a:pt x="1802" y="1456"/>
                      </a:lnTo>
                      <a:lnTo>
                        <a:pt x="1802" y="1457"/>
                      </a:lnTo>
                      <a:lnTo>
                        <a:pt x="1802" y="1457"/>
                      </a:lnTo>
                      <a:lnTo>
                        <a:pt x="1802" y="1458"/>
                      </a:lnTo>
                      <a:lnTo>
                        <a:pt x="1802" y="1459"/>
                      </a:lnTo>
                      <a:lnTo>
                        <a:pt x="1802" y="1459"/>
                      </a:lnTo>
                      <a:lnTo>
                        <a:pt x="1802" y="1460"/>
                      </a:lnTo>
                      <a:lnTo>
                        <a:pt x="1802" y="1461"/>
                      </a:lnTo>
                      <a:lnTo>
                        <a:pt x="1802" y="1462"/>
                      </a:lnTo>
                      <a:lnTo>
                        <a:pt x="1802" y="1462"/>
                      </a:lnTo>
                      <a:lnTo>
                        <a:pt x="1802" y="1463"/>
                      </a:lnTo>
                      <a:lnTo>
                        <a:pt x="1802" y="1464"/>
                      </a:lnTo>
                      <a:lnTo>
                        <a:pt x="1802" y="1464"/>
                      </a:lnTo>
                      <a:lnTo>
                        <a:pt x="1802" y="1465"/>
                      </a:lnTo>
                      <a:lnTo>
                        <a:pt x="1802" y="1466"/>
                      </a:lnTo>
                      <a:lnTo>
                        <a:pt x="1802" y="1466"/>
                      </a:lnTo>
                      <a:lnTo>
                        <a:pt x="1802" y="1467"/>
                      </a:lnTo>
                      <a:lnTo>
                        <a:pt x="1802" y="1468"/>
                      </a:lnTo>
                      <a:lnTo>
                        <a:pt x="1802" y="1468"/>
                      </a:lnTo>
                      <a:lnTo>
                        <a:pt x="1802" y="1469"/>
                      </a:lnTo>
                      <a:lnTo>
                        <a:pt x="1802" y="1470"/>
                      </a:lnTo>
                      <a:lnTo>
                        <a:pt x="1802" y="1471"/>
                      </a:lnTo>
                      <a:lnTo>
                        <a:pt x="1802" y="1472"/>
                      </a:lnTo>
                      <a:lnTo>
                        <a:pt x="1802" y="1472"/>
                      </a:lnTo>
                      <a:lnTo>
                        <a:pt x="1802" y="1473"/>
                      </a:lnTo>
                      <a:lnTo>
                        <a:pt x="1802" y="1473"/>
                      </a:lnTo>
                      <a:lnTo>
                        <a:pt x="1803" y="1473"/>
                      </a:lnTo>
                      <a:lnTo>
                        <a:pt x="1804" y="1473"/>
                      </a:lnTo>
                      <a:lnTo>
                        <a:pt x="1804" y="1474"/>
                      </a:lnTo>
                      <a:lnTo>
                        <a:pt x="1804" y="1474"/>
                      </a:lnTo>
                      <a:lnTo>
                        <a:pt x="1805" y="1475"/>
                      </a:lnTo>
                      <a:lnTo>
                        <a:pt x="1805" y="1476"/>
                      </a:lnTo>
                      <a:lnTo>
                        <a:pt x="1806" y="1476"/>
                      </a:lnTo>
                      <a:lnTo>
                        <a:pt x="1806" y="1476"/>
                      </a:lnTo>
                      <a:lnTo>
                        <a:pt x="1806" y="1477"/>
                      </a:lnTo>
                      <a:lnTo>
                        <a:pt x="1806" y="1478"/>
                      </a:lnTo>
                      <a:lnTo>
                        <a:pt x="1807" y="1478"/>
                      </a:lnTo>
                      <a:lnTo>
                        <a:pt x="1807" y="1478"/>
                      </a:lnTo>
                      <a:lnTo>
                        <a:pt x="1807" y="1479"/>
                      </a:lnTo>
                      <a:lnTo>
                        <a:pt x="1806" y="1480"/>
                      </a:lnTo>
                      <a:lnTo>
                        <a:pt x="1806" y="1480"/>
                      </a:lnTo>
                      <a:lnTo>
                        <a:pt x="1806" y="1481"/>
                      </a:lnTo>
                      <a:lnTo>
                        <a:pt x="1807" y="1481"/>
                      </a:lnTo>
                      <a:lnTo>
                        <a:pt x="1808" y="1481"/>
                      </a:lnTo>
                      <a:lnTo>
                        <a:pt x="1809" y="1482"/>
                      </a:lnTo>
                      <a:lnTo>
                        <a:pt x="1808" y="1482"/>
                      </a:lnTo>
                      <a:lnTo>
                        <a:pt x="1807" y="1482"/>
                      </a:lnTo>
                      <a:lnTo>
                        <a:pt x="1806" y="1483"/>
                      </a:lnTo>
                      <a:lnTo>
                        <a:pt x="1806" y="1483"/>
                      </a:lnTo>
                      <a:lnTo>
                        <a:pt x="1806" y="1483"/>
                      </a:lnTo>
                      <a:lnTo>
                        <a:pt x="1806" y="1484"/>
                      </a:lnTo>
                      <a:lnTo>
                        <a:pt x="1805" y="1484"/>
                      </a:lnTo>
                      <a:lnTo>
                        <a:pt x="1805" y="1485"/>
                      </a:lnTo>
                      <a:lnTo>
                        <a:pt x="1804" y="1485"/>
                      </a:lnTo>
                      <a:lnTo>
                        <a:pt x="1804" y="1486"/>
                      </a:lnTo>
                      <a:lnTo>
                        <a:pt x="1804" y="1486"/>
                      </a:lnTo>
                      <a:lnTo>
                        <a:pt x="1804" y="1487"/>
                      </a:lnTo>
                      <a:lnTo>
                        <a:pt x="1804" y="1487"/>
                      </a:lnTo>
                      <a:lnTo>
                        <a:pt x="1803" y="1488"/>
                      </a:lnTo>
                      <a:lnTo>
                        <a:pt x="1799" y="1488"/>
                      </a:lnTo>
                      <a:lnTo>
                        <a:pt x="1796" y="1488"/>
                      </a:lnTo>
                      <a:lnTo>
                        <a:pt x="1793" y="1488"/>
                      </a:lnTo>
                      <a:lnTo>
                        <a:pt x="1792" y="1488"/>
                      </a:lnTo>
                      <a:lnTo>
                        <a:pt x="1790" y="1488"/>
                      </a:lnTo>
                      <a:lnTo>
                        <a:pt x="1787" y="1488"/>
                      </a:lnTo>
                      <a:lnTo>
                        <a:pt x="1785" y="1487"/>
                      </a:lnTo>
                      <a:lnTo>
                        <a:pt x="1784" y="1489"/>
                      </a:lnTo>
                      <a:lnTo>
                        <a:pt x="1783" y="1491"/>
                      </a:lnTo>
                      <a:lnTo>
                        <a:pt x="1783" y="1492"/>
                      </a:lnTo>
                      <a:lnTo>
                        <a:pt x="1782" y="1494"/>
                      </a:lnTo>
                      <a:lnTo>
                        <a:pt x="1781" y="1495"/>
                      </a:lnTo>
                      <a:lnTo>
                        <a:pt x="1780" y="1497"/>
                      </a:lnTo>
                      <a:lnTo>
                        <a:pt x="1779" y="1499"/>
                      </a:lnTo>
                      <a:lnTo>
                        <a:pt x="1779" y="1500"/>
                      </a:lnTo>
                      <a:lnTo>
                        <a:pt x="1778" y="1502"/>
                      </a:lnTo>
                      <a:lnTo>
                        <a:pt x="1777" y="1503"/>
                      </a:lnTo>
                      <a:lnTo>
                        <a:pt x="1777" y="1505"/>
                      </a:lnTo>
                      <a:lnTo>
                        <a:pt x="1776" y="1506"/>
                      </a:lnTo>
                      <a:lnTo>
                        <a:pt x="1775" y="1508"/>
                      </a:lnTo>
                      <a:lnTo>
                        <a:pt x="1774" y="1510"/>
                      </a:lnTo>
                      <a:lnTo>
                        <a:pt x="1773" y="1511"/>
                      </a:lnTo>
                      <a:lnTo>
                        <a:pt x="1773" y="1512"/>
                      </a:lnTo>
                      <a:lnTo>
                        <a:pt x="1772" y="1514"/>
                      </a:lnTo>
                      <a:lnTo>
                        <a:pt x="1771" y="1516"/>
                      </a:lnTo>
                      <a:lnTo>
                        <a:pt x="1771" y="1517"/>
                      </a:lnTo>
                      <a:lnTo>
                        <a:pt x="1770" y="1518"/>
                      </a:lnTo>
                      <a:lnTo>
                        <a:pt x="1769" y="1521"/>
                      </a:lnTo>
                      <a:lnTo>
                        <a:pt x="1768" y="1522"/>
                      </a:lnTo>
                      <a:lnTo>
                        <a:pt x="1768" y="1523"/>
                      </a:lnTo>
                      <a:lnTo>
                        <a:pt x="1767" y="1524"/>
                      </a:lnTo>
                      <a:lnTo>
                        <a:pt x="1766" y="1525"/>
                      </a:lnTo>
                      <a:lnTo>
                        <a:pt x="1766" y="1527"/>
                      </a:lnTo>
                      <a:lnTo>
                        <a:pt x="1765" y="1527"/>
                      </a:lnTo>
                      <a:lnTo>
                        <a:pt x="1765" y="1529"/>
                      </a:lnTo>
                      <a:lnTo>
                        <a:pt x="1764" y="1530"/>
                      </a:lnTo>
                      <a:lnTo>
                        <a:pt x="1764" y="1531"/>
                      </a:lnTo>
                      <a:lnTo>
                        <a:pt x="1763" y="1532"/>
                      </a:lnTo>
                      <a:lnTo>
                        <a:pt x="1762" y="1533"/>
                      </a:lnTo>
                      <a:lnTo>
                        <a:pt x="1762" y="1535"/>
                      </a:lnTo>
                      <a:lnTo>
                        <a:pt x="1761" y="1536"/>
                      </a:lnTo>
                      <a:lnTo>
                        <a:pt x="1761" y="1537"/>
                      </a:lnTo>
                      <a:lnTo>
                        <a:pt x="1760" y="1538"/>
                      </a:lnTo>
                      <a:lnTo>
                        <a:pt x="1760" y="1539"/>
                      </a:lnTo>
                      <a:lnTo>
                        <a:pt x="1759" y="1541"/>
                      </a:lnTo>
                      <a:lnTo>
                        <a:pt x="1758" y="1542"/>
                      </a:lnTo>
                      <a:lnTo>
                        <a:pt x="1758" y="1543"/>
                      </a:lnTo>
                      <a:lnTo>
                        <a:pt x="1757" y="1544"/>
                      </a:lnTo>
                      <a:lnTo>
                        <a:pt x="1756" y="1545"/>
                      </a:lnTo>
                      <a:lnTo>
                        <a:pt x="1756" y="1546"/>
                      </a:lnTo>
                      <a:lnTo>
                        <a:pt x="1756" y="1548"/>
                      </a:lnTo>
                      <a:lnTo>
                        <a:pt x="1755" y="1549"/>
                      </a:lnTo>
                      <a:lnTo>
                        <a:pt x="1754" y="1550"/>
                      </a:lnTo>
                      <a:lnTo>
                        <a:pt x="1754" y="1551"/>
                      </a:lnTo>
                      <a:lnTo>
                        <a:pt x="1753" y="1552"/>
                      </a:lnTo>
                      <a:lnTo>
                        <a:pt x="1753" y="1553"/>
                      </a:lnTo>
                      <a:lnTo>
                        <a:pt x="1752" y="1554"/>
                      </a:lnTo>
                      <a:lnTo>
                        <a:pt x="1751" y="1556"/>
                      </a:lnTo>
                      <a:lnTo>
                        <a:pt x="1751" y="1556"/>
                      </a:lnTo>
                      <a:lnTo>
                        <a:pt x="1750" y="1558"/>
                      </a:lnTo>
                      <a:lnTo>
                        <a:pt x="1749" y="1559"/>
                      </a:lnTo>
                      <a:lnTo>
                        <a:pt x="1749" y="1560"/>
                      </a:lnTo>
                      <a:lnTo>
                        <a:pt x="1749" y="1561"/>
                      </a:lnTo>
                      <a:lnTo>
                        <a:pt x="1748" y="1563"/>
                      </a:lnTo>
                      <a:lnTo>
                        <a:pt x="1747" y="1564"/>
                      </a:lnTo>
                      <a:lnTo>
                        <a:pt x="1747" y="1565"/>
                      </a:lnTo>
                      <a:lnTo>
                        <a:pt x="1746" y="1566"/>
                      </a:lnTo>
                      <a:lnTo>
                        <a:pt x="1746" y="1567"/>
                      </a:lnTo>
                      <a:lnTo>
                        <a:pt x="1746" y="1567"/>
                      </a:lnTo>
                      <a:lnTo>
                        <a:pt x="1745" y="1567"/>
                      </a:lnTo>
                      <a:lnTo>
                        <a:pt x="1745" y="1568"/>
                      </a:lnTo>
                      <a:lnTo>
                        <a:pt x="1745" y="1569"/>
                      </a:lnTo>
                      <a:lnTo>
                        <a:pt x="1745" y="1569"/>
                      </a:lnTo>
                      <a:lnTo>
                        <a:pt x="1744" y="1570"/>
                      </a:lnTo>
                      <a:lnTo>
                        <a:pt x="1744" y="1571"/>
                      </a:lnTo>
                      <a:lnTo>
                        <a:pt x="1743" y="1571"/>
                      </a:lnTo>
                      <a:lnTo>
                        <a:pt x="1743" y="1572"/>
                      </a:lnTo>
                      <a:lnTo>
                        <a:pt x="1743" y="1573"/>
                      </a:lnTo>
                      <a:lnTo>
                        <a:pt x="1743" y="1573"/>
                      </a:lnTo>
                      <a:lnTo>
                        <a:pt x="1742" y="1574"/>
                      </a:lnTo>
                      <a:lnTo>
                        <a:pt x="1742" y="1575"/>
                      </a:lnTo>
                      <a:lnTo>
                        <a:pt x="1741" y="1575"/>
                      </a:lnTo>
                      <a:lnTo>
                        <a:pt x="1741" y="1576"/>
                      </a:lnTo>
                      <a:lnTo>
                        <a:pt x="1741" y="1577"/>
                      </a:lnTo>
                      <a:lnTo>
                        <a:pt x="1741" y="1577"/>
                      </a:lnTo>
                      <a:lnTo>
                        <a:pt x="1741" y="1578"/>
                      </a:lnTo>
                      <a:lnTo>
                        <a:pt x="1740" y="1579"/>
                      </a:lnTo>
                      <a:lnTo>
                        <a:pt x="1739" y="1580"/>
                      </a:lnTo>
                      <a:lnTo>
                        <a:pt x="1739" y="1580"/>
                      </a:lnTo>
                      <a:lnTo>
                        <a:pt x="1739" y="1581"/>
                      </a:lnTo>
                      <a:lnTo>
                        <a:pt x="1739" y="1582"/>
                      </a:lnTo>
                      <a:lnTo>
                        <a:pt x="1739" y="1582"/>
                      </a:lnTo>
                      <a:lnTo>
                        <a:pt x="1738" y="1582"/>
                      </a:lnTo>
                      <a:lnTo>
                        <a:pt x="1738" y="1583"/>
                      </a:lnTo>
                      <a:lnTo>
                        <a:pt x="1738" y="1584"/>
                      </a:lnTo>
                      <a:lnTo>
                        <a:pt x="1737" y="1584"/>
                      </a:lnTo>
                      <a:lnTo>
                        <a:pt x="1737" y="1584"/>
                      </a:lnTo>
                      <a:lnTo>
                        <a:pt x="1737" y="1585"/>
                      </a:lnTo>
                      <a:lnTo>
                        <a:pt x="1737" y="1585"/>
                      </a:lnTo>
                      <a:lnTo>
                        <a:pt x="1737" y="1586"/>
                      </a:lnTo>
                      <a:lnTo>
                        <a:pt x="1737" y="1586"/>
                      </a:lnTo>
                      <a:lnTo>
                        <a:pt x="1736" y="1586"/>
                      </a:lnTo>
                      <a:lnTo>
                        <a:pt x="1736" y="1587"/>
                      </a:lnTo>
                      <a:lnTo>
                        <a:pt x="1736" y="1588"/>
                      </a:lnTo>
                      <a:lnTo>
                        <a:pt x="1735" y="1588"/>
                      </a:lnTo>
                      <a:lnTo>
                        <a:pt x="1735" y="1589"/>
                      </a:lnTo>
                      <a:lnTo>
                        <a:pt x="1735" y="1590"/>
                      </a:lnTo>
                      <a:lnTo>
                        <a:pt x="1735" y="1590"/>
                      </a:lnTo>
                      <a:lnTo>
                        <a:pt x="1734" y="1591"/>
                      </a:lnTo>
                      <a:lnTo>
                        <a:pt x="1734" y="1592"/>
                      </a:lnTo>
                      <a:lnTo>
                        <a:pt x="1733" y="1592"/>
                      </a:lnTo>
                      <a:lnTo>
                        <a:pt x="1733" y="1593"/>
                      </a:lnTo>
                      <a:lnTo>
                        <a:pt x="1732" y="1594"/>
                      </a:lnTo>
                      <a:lnTo>
                        <a:pt x="1732" y="1594"/>
                      </a:lnTo>
                      <a:lnTo>
                        <a:pt x="1732" y="1595"/>
                      </a:lnTo>
                      <a:lnTo>
                        <a:pt x="1732" y="1596"/>
                      </a:lnTo>
                      <a:lnTo>
                        <a:pt x="1731" y="1596"/>
                      </a:lnTo>
                      <a:lnTo>
                        <a:pt x="1731" y="1597"/>
                      </a:lnTo>
                      <a:lnTo>
                        <a:pt x="1730" y="1598"/>
                      </a:lnTo>
                      <a:lnTo>
                        <a:pt x="1730" y="1598"/>
                      </a:lnTo>
                      <a:lnTo>
                        <a:pt x="1730" y="1599"/>
                      </a:lnTo>
                      <a:lnTo>
                        <a:pt x="1730" y="1600"/>
                      </a:lnTo>
                      <a:lnTo>
                        <a:pt x="1729" y="1601"/>
                      </a:lnTo>
                      <a:lnTo>
                        <a:pt x="1729" y="1601"/>
                      </a:lnTo>
                      <a:lnTo>
                        <a:pt x="1729" y="1602"/>
                      </a:lnTo>
                      <a:lnTo>
                        <a:pt x="1728" y="1602"/>
                      </a:lnTo>
                      <a:lnTo>
                        <a:pt x="1728" y="1603"/>
                      </a:lnTo>
                      <a:lnTo>
                        <a:pt x="1728" y="1603"/>
                      </a:lnTo>
                      <a:lnTo>
                        <a:pt x="1728" y="1604"/>
                      </a:lnTo>
                      <a:lnTo>
                        <a:pt x="1727" y="1605"/>
                      </a:lnTo>
                      <a:lnTo>
                        <a:pt x="1727" y="1605"/>
                      </a:lnTo>
                      <a:lnTo>
                        <a:pt x="1726" y="1606"/>
                      </a:lnTo>
                      <a:lnTo>
                        <a:pt x="1726" y="1607"/>
                      </a:lnTo>
                      <a:lnTo>
                        <a:pt x="1724" y="1610"/>
                      </a:lnTo>
                      <a:lnTo>
                        <a:pt x="1703" y="1654"/>
                      </a:lnTo>
                      <a:lnTo>
                        <a:pt x="1703" y="1654"/>
                      </a:lnTo>
                      <a:lnTo>
                        <a:pt x="1703" y="1655"/>
                      </a:lnTo>
                      <a:lnTo>
                        <a:pt x="1702" y="1655"/>
                      </a:lnTo>
                      <a:lnTo>
                        <a:pt x="1702" y="1657"/>
                      </a:lnTo>
                      <a:lnTo>
                        <a:pt x="1701" y="1658"/>
                      </a:lnTo>
                      <a:lnTo>
                        <a:pt x="1701" y="1659"/>
                      </a:lnTo>
                      <a:lnTo>
                        <a:pt x="1700" y="1660"/>
                      </a:lnTo>
                      <a:lnTo>
                        <a:pt x="1699" y="1661"/>
                      </a:lnTo>
                      <a:lnTo>
                        <a:pt x="1699" y="1662"/>
                      </a:lnTo>
                      <a:lnTo>
                        <a:pt x="1699" y="1664"/>
                      </a:lnTo>
                      <a:lnTo>
                        <a:pt x="1698" y="1664"/>
                      </a:lnTo>
                      <a:lnTo>
                        <a:pt x="1697" y="1666"/>
                      </a:lnTo>
                      <a:lnTo>
                        <a:pt x="1697" y="1666"/>
                      </a:lnTo>
                      <a:lnTo>
                        <a:pt x="1697" y="1668"/>
                      </a:lnTo>
                      <a:lnTo>
                        <a:pt x="1696" y="1668"/>
                      </a:lnTo>
                      <a:lnTo>
                        <a:pt x="1695" y="1670"/>
                      </a:lnTo>
                      <a:lnTo>
                        <a:pt x="1695" y="1670"/>
                      </a:lnTo>
                      <a:lnTo>
                        <a:pt x="1694" y="1672"/>
                      </a:lnTo>
                      <a:lnTo>
                        <a:pt x="1694" y="1672"/>
                      </a:lnTo>
                      <a:lnTo>
                        <a:pt x="1693" y="1674"/>
                      </a:lnTo>
                      <a:lnTo>
                        <a:pt x="1692" y="1674"/>
                      </a:lnTo>
                      <a:lnTo>
                        <a:pt x="1692" y="1676"/>
                      </a:lnTo>
                      <a:lnTo>
                        <a:pt x="1692" y="1676"/>
                      </a:lnTo>
                      <a:lnTo>
                        <a:pt x="1692" y="1677"/>
                      </a:lnTo>
                      <a:lnTo>
                        <a:pt x="1692" y="1678"/>
                      </a:lnTo>
                      <a:lnTo>
                        <a:pt x="1694" y="1679"/>
                      </a:lnTo>
                      <a:lnTo>
                        <a:pt x="1695" y="1681"/>
                      </a:lnTo>
                      <a:lnTo>
                        <a:pt x="1697" y="1681"/>
                      </a:lnTo>
                      <a:lnTo>
                        <a:pt x="1698" y="1683"/>
                      </a:lnTo>
                      <a:lnTo>
                        <a:pt x="1699" y="1684"/>
                      </a:lnTo>
                      <a:lnTo>
                        <a:pt x="1701" y="1685"/>
                      </a:lnTo>
                      <a:lnTo>
                        <a:pt x="1702" y="1686"/>
                      </a:lnTo>
                      <a:lnTo>
                        <a:pt x="1703" y="1687"/>
                      </a:lnTo>
                      <a:lnTo>
                        <a:pt x="1704" y="1689"/>
                      </a:lnTo>
                      <a:lnTo>
                        <a:pt x="1705" y="1689"/>
                      </a:lnTo>
                      <a:lnTo>
                        <a:pt x="1707" y="1690"/>
                      </a:lnTo>
                      <a:lnTo>
                        <a:pt x="1707" y="1691"/>
                      </a:lnTo>
                      <a:lnTo>
                        <a:pt x="1709" y="1692"/>
                      </a:lnTo>
                      <a:lnTo>
                        <a:pt x="1709" y="1693"/>
                      </a:lnTo>
                      <a:lnTo>
                        <a:pt x="1711" y="1694"/>
                      </a:lnTo>
                      <a:lnTo>
                        <a:pt x="1711" y="1695"/>
                      </a:lnTo>
                      <a:lnTo>
                        <a:pt x="1713" y="1695"/>
                      </a:lnTo>
                      <a:lnTo>
                        <a:pt x="1713" y="1697"/>
                      </a:lnTo>
                      <a:lnTo>
                        <a:pt x="1714" y="1697"/>
                      </a:lnTo>
                      <a:lnTo>
                        <a:pt x="1714" y="1697"/>
                      </a:lnTo>
                      <a:lnTo>
                        <a:pt x="1715" y="1697"/>
                      </a:lnTo>
                      <a:lnTo>
                        <a:pt x="1716" y="1698"/>
                      </a:lnTo>
                      <a:lnTo>
                        <a:pt x="1724" y="1706"/>
                      </a:lnTo>
                      <a:lnTo>
                        <a:pt x="1724" y="1706"/>
                      </a:lnTo>
                      <a:lnTo>
                        <a:pt x="1725" y="1707"/>
                      </a:lnTo>
                      <a:lnTo>
                        <a:pt x="1726" y="1708"/>
                      </a:lnTo>
                      <a:lnTo>
                        <a:pt x="1727" y="1708"/>
                      </a:lnTo>
                      <a:lnTo>
                        <a:pt x="1727" y="1709"/>
                      </a:lnTo>
                      <a:lnTo>
                        <a:pt x="1728" y="1710"/>
                      </a:lnTo>
                      <a:lnTo>
                        <a:pt x="1730" y="1711"/>
                      </a:lnTo>
                      <a:lnTo>
                        <a:pt x="1731" y="1712"/>
                      </a:lnTo>
                      <a:lnTo>
                        <a:pt x="1732" y="1713"/>
                      </a:lnTo>
                      <a:lnTo>
                        <a:pt x="1734" y="1714"/>
                      </a:lnTo>
                      <a:lnTo>
                        <a:pt x="1735" y="1716"/>
                      </a:lnTo>
                      <a:lnTo>
                        <a:pt x="1737" y="1716"/>
                      </a:lnTo>
                      <a:lnTo>
                        <a:pt x="1738" y="1718"/>
                      </a:lnTo>
                      <a:lnTo>
                        <a:pt x="1739" y="1719"/>
                      </a:lnTo>
                      <a:lnTo>
                        <a:pt x="1741" y="1721"/>
                      </a:lnTo>
                      <a:lnTo>
                        <a:pt x="1742" y="1721"/>
                      </a:lnTo>
                      <a:lnTo>
                        <a:pt x="1743" y="1723"/>
                      </a:lnTo>
                      <a:lnTo>
                        <a:pt x="1745" y="1724"/>
                      </a:lnTo>
                      <a:lnTo>
                        <a:pt x="1746" y="1725"/>
                      </a:lnTo>
                      <a:lnTo>
                        <a:pt x="1747" y="1727"/>
                      </a:lnTo>
                      <a:lnTo>
                        <a:pt x="1749" y="1727"/>
                      </a:lnTo>
                      <a:lnTo>
                        <a:pt x="1750" y="1729"/>
                      </a:lnTo>
                      <a:lnTo>
                        <a:pt x="1751" y="1730"/>
                      </a:lnTo>
                      <a:lnTo>
                        <a:pt x="1754" y="1731"/>
                      </a:lnTo>
                      <a:lnTo>
                        <a:pt x="1755" y="1733"/>
                      </a:lnTo>
                      <a:lnTo>
                        <a:pt x="1756" y="1733"/>
                      </a:lnTo>
                      <a:lnTo>
                        <a:pt x="1758" y="1735"/>
                      </a:lnTo>
                      <a:lnTo>
                        <a:pt x="1758" y="1735"/>
                      </a:lnTo>
                      <a:lnTo>
                        <a:pt x="1758" y="1736"/>
                      </a:lnTo>
                      <a:lnTo>
                        <a:pt x="1758" y="1737"/>
                      </a:lnTo>
                      <a:lnTo>
                        <a:pt x="1757" y="1738"/>
                      </a:lnTo>
                      <a:lnTo>
                        <a:pt x="1757" y="1740"/>
                      </a:lnTo>
                      <a:lnTo>
                        <a:pt x="1756" y="1741"/>
                      </a:lnTo>
                      <a:lnTo>
                        <a:pt x="1755" y="1742"/>
                      </a:lnTo>
                      <a:lnTo>
                        <a:pt x="1754" y="1743"/>
                      </a:lnTo>
                      <a:lnTo>
                        <a:pt x="1754" y="1744"/>
                      </a:lnTo>
                      <a:lnTo>
                        <a:pt x="1754" y="1744"/>
                      </a:lnTo>
                      <a:lnTo>
                        <a:pt x="1753" y="1744"/>
                      </a:lnTo>
                      <a:lnTo>
                        <a:pt x="1753" y="1745"/>
                      </a:lnTo>
                      <a:lnTo>
                        <a:pt x="1752" y="1746"/>
                      </a:lnTo>
                      <a:lnTo>
                        <a:pt x="1751" y="1746"/>
                      </a:lnTo>
                      <a:lnTo>
                        <a:pt x="1751" y="1747"/>
                      </a:lnTo>
                      <a:lnTo>
                        <a:pt x="1751" y="1748"/>
                      </a:lnTo>
                      <a:lnTo>
                        <a:pt x="1750" y="1748"/>
                      </a:lnTo>
                      <a:lnTo>
                        <a:pt x="1750" y="1748"/>
                      </a:lnTo>
                      <a:lnTo>
                        <a:pt x="1749" y="1749"/>
                      </a:lnTo>
                      <a:lnTo>
                        <a:pt x="1749" y="1750"/>
                      </a:lnTo>
                      <a:lnTo>
                        <a:pt x="1749" y="1750"/>
                      </a:lnTo>
                      <a:lnTo>
                        <a:pt x="1749" y="1751"/>
                      </a:lnTo>
                      <a:lnTo>
                        <a:pt x="1748" y="1752"/>
                      </a:lnTo>
                      <a:lnTo>
                        <a:pt x="1747" y="1752"/>
                      </a:lnTo>
                      <a:lnTo>
                        <a:pt x="1747" y="1753"/>
                      </a:lnTo>
                      <a:lnTo>
                        <a:pt x="1747" y="1754"/>
                      </a:lnTo>
                      <a:lnTo>
                        <a:pt x="1747" y="1754"/>
                      </a:lnTo>
                      <a:lnTo>
                        <a:pt x="1747" y="1754"/>
                      </a:lnTo>
                      <a:lnTo>
                        <a:pt x="1746" y="1754"/>
                      </a:lnTo>
                      <a:lnTo>
                        <a:pt x="1745" y="1754"/>
                      </a:lnTo>
                      <a:lnTo>
                        <a:pt x="1745" y="1753"/>
                      </a:lnTo>
                      <a:lnTo>
                        <a:pt x="1745" y="1753"/>
                      </a:lnTo>
                      <a:lnTo>
                        <a:pt x="1744" y="1752"/>
                      </a:lnTo>
                      <a:lnTo>
                        <a:pt x="1743" y="1752"/>
                      </a:lnTo>
                      <a:lnTo>
                        <a:pt x="1743" y="1751"/>
                      </a:lnTo>
                      <a:lnTo>
                        <a:pt x="1743" y="1750"/>
                      </a:lnTo>
                      <a:lnTo>
                        <a:pt x="1742" y="1750"/>
                      </a:lnTo>
                      <a:lnTo>
                        <a:pt x="1741" y="1750"/>
                      </a:lnTo>
                      <a:lnTo>
                        <a:pt x="1741" y="1749"/>
                      </a:lnTo>
                      <a:lnTo>
                        <a:pt x="1740" y="1748"/>
                      </a:lnTo>
                      <a:lnTo>
                        <a:pt x="1739" y="1748"/>
                      </a:lnTo>
                      <a:lnTo>
                        <a:pt x="1739" y="1748"/>
                      </a:lnTo>
                      <a:lnTo>
                        <a:pt x="1738" y="1748"/>
                      </a:lnTo>
                      <a:lnTo>
                        <a:pt x="1737" y="1748"/>
                      </a:lnTo>
                      <a:lnTo>
                        <a:pt x="1736" y="1748"/>
                      </a:lnTo>
                      <a:lnTo>
                        <a:pt x="1735" y="1748"/>
                      </a:lnTo>
                      <a:lnTo>
                        <a:pt x="1735" y="1748"/>
                      </a:lnTo>
                      <a:lnTo>
                        <a:pt x="1734" y="1748"/>
                      </a:lnTo>
                      <a:lnTo>
                        <a:pt x="1733" y="1748"/>
                      </a:lnTo>
                      <a:lnTo>
                        <a:pt x="1732" y="1749"/>
                      </a:lnTo>
                      <a:lnTo>
                        <a:pt x="1732" y="1749"/>
                      </a:lnTo>
                      <a:lnTo>
                        <a:pt x="1732" y="1750"/>
                      </a:lnTo>
                      <a:lnTo>
                        <a:pt x="1731" y="1750"/>
                      </a:lnTo>
                      <a:lnTo>
                        <a:pt x="1730" y="1751"/>
                      </a:lnTo>
                      <a:lnTo>
                        <a:pt x="1730" y="1752"/>
                      </a:lnTo>
                      <a:lnTo>
                        <a:pt x="1730" y="1753"/>
                      </a:lnTo>
                      <a:lnTo>
                        <a:pt x="1730" y="1754"/>
                      </a:lnTo>
                      <a:lnTo>
                        <a:pt x="1730" y="1754"/>
                      </a:lnTo>
                      <a:lnTo>
                        <a:pt x="1729" y="1755"/>
                      </a:lnTo>
                      <a:lnTo>
                        <a:pt x="1729" y="1756"/>
                      </a:lnTo>
                      <a:lnTo>
                        <a:pt x="1728" y="1756"/>
                      </a:lnTo>
                      <a:lnTo>
                        <a:pt x="1728" y="1757"/>
                      </a:lnTo>
                      <a:lnTo>
                        <a:pt x="1727" y="1757"/>
                      </a:lnTo>
                      <a:lnTo>
                        <a:pt x="1726" y="1758"/>
                      </a:lnTo>
                      <a:lnTo>
                        <a:pt x="1726" y="1758"/>
                      </a:lnTo>
                      <a:lnTo>
                        <a:pt x="1725" y="1758"/>
                      </a:lnTo>
                      <a:lnTo>
                        <a:pt x="1724" y="1757"/>
                      </a:lnTo>
                      <a:lnTo>
                        <a:pt x="1724" y="1757"/>
                      </a:lnTo>
                      <a:lnTo>
                        <a:pt x="1723" y="1757"/>
                      </a:lnTo>
                      <a:lnTo>
                        <a:pt x="1722" y="1757"/>
                      </a:lnTo>
                      <a:lnTo>
                        <a:pt x="1721" y="1757"/>
                      </a:lnTo>
                      <a:lnTo>
                        <a:pt x="1720" y="1757"/>
                      </a:lnTo>
                      <a:lnTo>
                        <a:pt x="1720" y="1757"/>
                      </a:lnTo>
                      <a:lnTo>
                        <a:pt x="1719" y="1757"/>
                      </a:lnTo>
                      <a:lnTo>
                        <a:pt x="1718" y="1757"/>
                      </a:lnTo>
                      <a:lnTo>
                        <a:pt x="1717" y="1757"/>
                      </a:lnTo>
                      <a:lnTo>
                        <a:pt x="1716" y="1757"/>
                      </a:lnTo>
                      <a:lnTo>
                        <a:pt x="1715" y="1759"/>
                      </a:lnTo>
                      <a:lnTo>
                        <a:pt x="1714" y="1759"/>
                      </a:lnTo>
                      <a:lnTo>
                        <a:pt x="1713" y="1761"/>
                      </a:lnTo>
                      <a:lnTo>
                        <a:pt x="1712" y="1762"/>
                      </a:lnTo>
                      <a:lnTo>
                        <a:pt x="1712" y="1765"/>
                      </a:lnTo>
                      <a:lnTo>
                        <a:pt x="1711" y="1766"/>
                      </a:lnTo>
                      <a:lnTo>
                        <a:pt x="1711" y="1767"/>
                      </a:lnTo>
                      <a:lnTo>
                        <a:pt x="1710" y="1769"/>
                      </a:lnTo>
                      <a:lnTo>
                        <a:pt x="1709" y="1770"/>
                      </a:lnTo>
                      <a:lnTo>
                        <a:pt x="1708" y="1770"/>
                      </a:lnTo>
                      <a:lnTo>
                        <a:pt x="1707" y="1770"/>
                      </a:lnTo>
                      <a:lnTo>
                        <a:pt x="1706" y="1770"/>
                      </a:lnTo>
                      <a:lnTo>
                        <a:pt x="1705" y="1769"/>
                      </a:lnTo>
                      <a:lnTo>
                        <a:pt x="1704" y="1769"/>
                      </a:lnTo>
                      <a:lnTo>
                        <a:pt x="1703" y="1769"/>
                      </a:lnTo>
                      <a:lnTo>
                        <a:pt x="1701" y="1769"/>
                      </a:lnTo>
                      <a:lnTo>
                        <a:pt x="1699" y="1770"/>
                      </a:lnTo>
                      <a:lnTo>
                        <a:pt x="1699" y="1770"/>
                      </a:lnTo>
                      <a:lnTo>
                        <a:pt x="1697" y="1771"/>
                      </a:lnTo>
                      <a:lnTo>
                        <a:pt x="1697" y="1773"/>
                      </a:lnTo>
                      <a:lnTo>
                        <a:pt x="1696" y="1774"/>
                      </a:lnTo>
                      <a:lnTo>
                        <a:pt x="1694" y="1775"/>
                      </a:lnTo>
                      <a:lnTo>
                        <a:pt x="1694" y="1776"/>
                      </a:lnTo>
                      <a:lnTo>
                        <a:pt x="1694" y="1777"/>
                      </a:lnTo>
                      <a:lnTo>
                        <a:pt x="1694" y="1778"/>
                      </a:lnTo>
                      <a:lnTo>
                        <a:pt x="1693" y="1780"/>
                      </a:lnTo>
                      <a:lnTo>
                        <a:pt x="1692" y="1780"/>
                      </a:lnTo>
                      <a:lnTo>
                        <a:pt x="1690" y="1781"/>
                      </a:lnTo>
                      <a:lnTo>
                        <a:pt x="1688" y="1782"/>
                      </a:lnTo>
                      <a:lnTo>
                        <a:pt x="1687" y="1782"/>
                      </a:lnTo>
                      <a:lnTo>
                        <a:pt x="1686" y="1782"/>
                      </a:lnTo>
                      <a:lnTo>
                        <a:pt x="1686" y="1781"/>
                      </a:lnTo>
                      <a:lnTo>
                        <a:pt x="1684" y="1782"/>
                      </a:lnTo>
                      <a:lnTo>
                        <a:pt x="1684" y="1782"/>
                      </a:lnTo>
                      <a:lnTo>
                        <a:pt x="1682" y="1782"/>
                      </a:lnTo>
                      <a:lnTo>
                        <a:pt x="1681" y="1784"/>
                      </a:lnTo>
                      <a:lnTo>
                        <a:pt x="1680" y="1784"/>
                      </a:lnTo>
                      <a:lnTo>
                        <a:pt x="1679" y="1785"/>
                      </a:lnTo>
                      <a:lnTo>
                        <a:pt x="1679" y="1784"/>
                      </a:lnTo>
                      <a:lnTo>
                        <a:pt x="1679" y="1782"/>
                      </a:lnTo>
                      <a:lnTo>
                        <a:pt x="1680" y="1782"/>
                      </a:lnTo>
                      <a:lnTo>
                        <a:pt x="1680" y="1780"/>
                      </a:lnTo>
                      <a:lnTo>
                        <a:pt x="1681" y="1780"/>
                      </a:lnTo>
                      <a:lnTo>
                        <a:pt x="1682" y="1780"/>
                      </a:lnTo>
                      <a:lnTo>
                        <a:pt x="1682" y="1779"/>
                      </a:lnTo>
                      <a:lnTo>
                        <a:pt x="1684" y="1779"/>
                      </a:lnTo>
                      <a:lnTo>
                        <a:pt x="1685" y="1778"/>
                      </a:lnTo>
                      <a:lnTo>
                        <a:pt x="1686" y="1777"/>
                      </a:lnTo>
                      <a:lnTo>
                        <a:pt x="1686" y="1776"/>
                      </a:lnTo>
                      <a:lnTo>
                        <a:pt x="1686" y="1775"/>
                      </a:lnTo>
                      <a:lnTo>
                        <a:pt x="1686" y="1775"/>
                      </a:lnTo>
                      <a:lnTo>
                        <a:pt x="1687" y="1774"/>
                      </a:lnTo>
                      <a:lnTo>
                        <a:pt x="1688" y="1773"/>
                      </a:lnTo>
                      <a:lnTo>
                        <a:pt x="1687" y="1772"/>
                      </a:lnTo>
                      <a:lnTo>
                        <a:pt x="1687" y="1771"/>
                      </a:lnTo>
                      <a:lnTo>
                        <a:pt x="1687" y="1771"/>
                      </a:lnTo>
                      <a:lnTo>
                        <a:pt x="1686" y="1771"/>
                      </a:lnTo>
                      <a:lnTo>
                        <a:pt x="1686" y="1770"/>
                      </a:lnTo>
                      <a:lnTo>
                        <a:pt x="1686" y="1769"/>
                      </a:lnTo>
                      <a:lnTo>
                        <a:pt x="1686" y="1768"/>
                      </a:lnTo>
                      <a:lnTo>
                        <a:pt x="1686" y="1767"/>
                      </a:lnTo>
                      <a:lnTo>
                        <a:pt x="1684" y="1765"/>
                      </a:lnTo>
                      <a:lnTo>
                        <a:pt x="1684" y="1765"/>
                      </a:lnTo>
                      <a:lnTo>
                        <a:pt x="1684" y="1765"/>
                      </a:lnTo>
                      <a:lnTo>
                        <a:pt x="1684" y="1764"/>
                      </a:lnTo>
                      <a:lnTo>
                        <a:pt x="1683" y="1763"/>
                      </a:lnTo>
                      <a:lnTo>
                        <a:pt x="1683" y="1763"/>
                      </a:lnTo>
                      <a:lnTo>
                        <a:pt x="1684" y="1762"/>
                      </a:lnTo>
                      <a:lnTo>
                        <a:pt x="1684" y="1761"/>
                      </a:lnTo>
                      <a:lnTo>
                        <a:pt x="1682" y="1761"/>
                      </a:lnTo>
                      <a:lnTo>
                        <a:pt x="1682" y="1761"/>
                      </a:lnTo>
                      <a:lnTo>
                        <a:pt x="1682" y="1761"/>
                      </a:lnTo>
                      <a:lnTo>
                        <a:pt x="1682" y="1761"/>
                      </a:lnTo>
                      <a:lnTo>
                        <a:pt x="1682" y="1760"/>
                      </a:lnTo>
                      <a:lnTo>
                        <a:pt x="1682" y="1759"/>
                      </a:lnTo>
                      <a:lnTo>
                        <a:pt x="1681" y="1759"/>
                      </a:lnTo>
                      <a:lnTo>
                        <a:pt x="1681" y="1758"/>
                      </a:lnTo>
                      <a:lnTo>
                        <a:pt x="1682" y="1756"/>
                      </a:lnTo>
                      <a:lnTo>
                        <a:pt x="1682" y="1756"/>
                      </a:lnTo>
                      <a:lnTo>
                        <a:pt x="1681" y="1755"/>
                      </a:lnTo>
                      <a:lnTo>
                        <a:pt x="1680" y="1754"/>
                      </a:lnTo>
                      <a:lnTo>
                        <a:pt x="1681" y="1754"/>
                      </a:lnTo>
                      <a:lnTo>
                        <a:pt x="1682" y="1754"/>
                      </a:lnTo>
                      <a:lnTo>
                        <a:pt x="1682" y="1753"/>
                      </a:lnTo>
                      <a:lnTo>
                        <a:pt x="1683" y="1752"/>
                      </a:lnTo>
                      <a:lnTo>
                        <a:pt x="1682" y="1752"/>
                      </a:lnTo>
                      <a:lnTo>
                        <a:pt x="1682" y="1752"/>
                      </a:lnTo>
                      <a:lnTo>
                        <a:pt x="1682" y="1751"/>
                      </a:lnTo>
                      <a:lnTo>
                        <a:pt x="1681" y="1751"/>
                      </a:lnTo>
                      <a:lnTo>
                        <a:pt x="1680" y="1750"/>
                      </a:lnTo>
                      <a:lnTo>
                        <a:pt x="1680" y="1750"/>
                      </a:lnTo>
                      <a:lnTo>
                        <a:pt x="1679" y="1749"/>
                      </a:lnTo>
                      <a:lnTo>
                        <a:pt x="1679" y="1748"/>
                      </a:lnTo>
                      <a:lnTo>
                        <a:pt x="1679" y="1748"/>
                      </a:lnTo>
                      <a:lnTo>
                        <a:pt x="1679" y="1746"/>
                      </a:lnTo>
                      <a:lnTo>
                        <a:pt x="1679" y="1746"/>
                      </a:lnTo>
                      <a:lnTo>
                        <a:pt x="1678" y="1745"/>
                      </a:lnTo>
                      <a:lnTo>
                        <a:pt x="1678" y="1744"/>
                      </a:lnTo>
                      <a:lnTo>
                        <a:pt x="1678" y="1744"/>
                      </a:lnTo>
                      <a:lnTo>
                        <a:pt x="1678" y="1742"/>
                      </a:lnTo>
                      <a:lnTo>
                        <a:pt x="1678" y="1740"/>
                      </a:lnTo>
                      <a:lnTo>
                        <a:pt x="1678" y="1738"/>
                      </a:lnTo>
                      <a:lnTo>
                        <a:pt x="1677" y="1738"/>
                      </a:lnTo>
                      <a:lnTo>
                        <a:pt x="1677" y="1735"/>
                      </a:lnTo>
                      <a:lnTo>
                        <a:pt x="1676" y="1733"/>
                      </a:lnTo>
                      <a:lnTo>
                        <a:pt x="1676" y="1732"/>
                      </a:lnTo>
                      <a:lnTo>
                        <a:pt x="1675" y="1731"/>
                      </a:lnTo>
                      <a:lnTo>
                        <a:pt x="1675" y="1731"/>
                      </a:lnTo>
                      <a:lnTo>
                        <a:pt x="1674" y="1730"/>
                      </a:lnTo>
                      <a:lnTo>
                        <a:pt x="1673" y="1731"/>
                      </a:lnTo>
                      <a:lnTo>
                        <a:pt x="1673" y="1731"/>
                      </a:lnTo>
                      <a:lnTo>
                        <a:pt x="1671" y="1729"/>
                      </a:lnTo>
                      <a:lnTo>
                        <a:pt x="1670" y="1729"/>
                      </a:lnTo>
                      <a:lnTo>
                        <a:pt x="1669" y="1728"/>
                      </a:lnTo>
                      <a:lnTo>
                        <a:pt x="1669" y="1727"/>
                      </a:lnTo>
                      <a:lnTo>
                        <a:pt x="1670" y="1727"/>
                      </a:lnTo>
                      <a:lnTo>
                        <a:pt x="1671" y="1726"/>
                      </a:lnTo>
                      <a:lnTo>
                        <a:pt x="1672" y="1725"/>
                      </a:lnTo>
                      <a:lnTo>
                        <a:pt x="1673" y="1724"/>
                      </a:lnTo>
                      <a:lnTo>
                        <a:pt x="1673" y="1723"/>
                      </a:lnTo>
                      <a:lnTo>
                        <a:pt x="1673" y="1723"/>
                      </a:lnTo>
                      <a:lnTo>
                        <a:pt x="1674" y="1721"/>
                      </a:lnTo>
                      <a:lnTo>
                        <a:pt x="1674" y="1721"/>
                      </a:lnTo>
                      <a:lnTo>
                        <a:pt x="1673" y="1719"/>
                      </a:lnTo>
                      <a:lnTo>
                        <a:pt x="1673" y="1717"/>
                      </a:lnTo>
                      <a:lnTo>
                        <a:pt x="1673" y="1716"/>
                      </a:lnTo>
                      <a:lnTo>
                        <a:pt x="1673" y="1715"/>
                      </a:lnTo>
                      <a:lnTo>
                        <a:pt x="1673" y="1714"/>
                      </a:lnTo>
                      <a:lnTo>
                        <a:pt x="1672" y="1713"/>
                      </a:lnTo>
                      <a:lnTo>
                        <a:pt x="1672" y="1712"/>
                      </a:lnTo>
                      <a:lnTo>
                        <a:pt x="1672" y="1710"/>
                      </a:lnTo>
                      <a:lnTo>
                        <a:pt x="1672" y="1710"/>
                      </a:lnTo>
                      <a:lnTo>
                        <a:pt x="1673" y="1709"/>
                      </a:lnTo>
                      <a:lnTo>
                        <a:pt x="1672" y="1708"/>
                      </a:lnTo>
                      <a:lnTo>
                        <a:pt x="1673" y="1707"/>
                      </a:lnTo>
                      <a:lnTo>
                        <a:pt x="1673" y="1706"/>
                      </a:lnTo>
                      <a:lnTo>
                        <a:pt x="1673" y="1705"/>
                      </a:lnTo>
                      <a:lnTo>
                        <a:pt x="1674" y="1704"/>
                      </a:lnTo>
                      <a:lnTo>
                        <a:pt x="1675" y="1703"/>
                      </a:lnTo>
                      <a:lnTo>
                        <a:pt x="1675" y="1702"/>
                      </a:lnTo>
                      <a:lnTo>
                        <a:pt x="1677" y="1701"/>
                      </a:lnTo>
                      <a:lnTo>
                        <a:pt x="1678" y="1700"/>
                      </a:lnTo>
                      <a:lnTo>
                        <a:pt x="1679" y="1700"/>
                      </a:lnTo>
                      <a:lnTo>
                        <a:pt x="1680" y="1699"/>
                      </a:lnTo>
                      <a:lnTo>
                        <a:pt x="1680" y="1697"/>
                      </a:lnTo>
                      <a:lnTo>
                        <a:pt x="1680" y="1697"/>
                      </a:lnTo>
                      <a:lnTo>
                        <a:pt x="1681" y="1697"/>
                      </a:lnTo>
                      <a:lnTo>
                        <a:pt x="1682" y="1696"/>
                      </a:lnTo>
                      <a:lnTo>
                        <a:pt x="1682" y="1696"/>
                      </a:lnTo>
                      <a:lnTo>
                        <a:pt x="1682" y="1695"/>
                      </a:lnTo>
                      <a:lnTo>
                        <a:pt x="1683" y="1695"/>
                      </a:lnTo>
                      <a:lnTo>
                        <a:pt x="1682" y="1694"/>
                      </a:lnTo>
                      <a:lnTo>
                        <a:pt x="1681" y="1693"/>
                      </a:lnTo>
                      <a:lnTo>
                        <a:pt x="1680" y="1693"/>
                      </a:lnTo>
                      <a:lnTo>
                        <a:pt x="1680" y="1692"/>
                      </a:lnTo>
                      <a:lnTo>
                        <a:pt x="1679" y="1691"/>
                      </a:lnTo>
                      <a:lnTo>
                        <a:pt x="1678" y="1691"/>
                      </a:lnTo>
                      <a:lnTo>
                        <a:pt x="1677" y="1691"/>
                      </a:lnTo>
                      <a:lnTo>
                        <a:pt x="1676" y="1690"/>
                      </a:lnTo>
                      <a:lnTo>
                        <a:pt x="1675" y="1689"/>
                      </a:lnTo>
                      <a:lnTo>
                        <a:pt x="1675" y="1689"/>
                      </a:lnTo>
                      <a:lnTo>
                        <a:pt x="1674" y="1688"/>
                      </a:lnTo>
                      <a:lnTo>
                        <a:pt x="1673" y="1687"/>
                      </a:lnTo>
                      <a:lnTo>
                        <a:pt x="1673" y="1687"/>
                      </a:lnTo>
                      <a:lnTo>
                        <a:pt x="1672" y="1686"/>
                      </a:lnTo>
                      <a:lnTo>
                        <a:pt x="1671" y="1685"/>
                      </a:lnTo>
                      <a:lnTo>
                        <a:pt x="1670" y="1685"/>
                      </a:lnTo>
                      <a:lnTo>
                        <a:pt x="1669" y="1684"/>
                      </a:lnTo>
                      <a:lnTo>
                        <a:pt x="1669" y="1684"/>
                      </a:lnTo>
                      <a:lnTo>
                        <a:pt x="1668" y="1683"/>
                      </a:lnTo>
                      <a:lnTo>
                        <a:pt x="1667" y="1683"/>
                      </a:lnTo>
                      <a:lnTo>
                        <a:pt x="1667" y="1682"/>
                      </a:lnTo>
                      <a:lnTo>
                        <a:pt x="1666" y="1681"/>
                      </a:lnTo>
                      <a:lnTo>
                        <a:pt x="1665" y="1681"/>
                      </a:lnTo>
                      <a:lnTo>
                        <a:pt x="1665" y="1681"/>
                      </a:lnTo>
                      <a:lnTo>
                        <a:pt x="1664" y="1680"/>
                      </a:lnTo>
                      <a:lnTo>
                        <a:pt x="1663" y="1679"/>
                      </a:lnTo>
                      <a:lnTo>
                        <a:pt x="1662" y="1679"/>
                      </a:lnTo>
                      <a:lnTo>
                        <a:pt x="1661" y="1679"/>
                      </a:lnTo>
                      <a:lnTo>
                        <a:pt x="1661" y="1679"/>
                      </a:lnTo>
                      <a:lnTo>
                        <a:pt x="1660" y="1678"/>
                      </a:lnTo>
                      <a:lnTo>
                        <a:pt x="1659" y="1677"/>
                      </a:lnTo>
                      <a:lnTo>
                        <a:pt x="1658" y="1677"/>
                      </a:lnTo>
                      <a:lnTo>
                        <a:pt x="1657" y="1676"/>
                      </a:lnTo>
                      <a:lnTo>
                        <a:pt x="1656" y="1676"/>
                      </a:lnTo>
                      <a:lnTo>
                        <a:pt x="1656" y="1676"/>
                      </a:lnTo>
                      <a:lnTo>
                        <a:pt x="1654" y="1675"/>
                      </a:lnTo>
                      <a:lnTo>
                        <a:pt x="1654" y="1674"/>
                      </a:lnTo>
                      <a:lnTo>
                        <a:pt x="1653" y="1674"/>
                      </a:lnTo>
                      <a:lnTo>
                        <a:pt x="1652" y="1674"/>
                      </a:lnTo>
                      <a:lnTo>
                        <a:pt x="1651" y="1673"/>
                      </a:lnTo>
                      <a:lnTo>
                        <a:pt x="1650" y="1673"/>
                      </a:lnTo>
                      <a:lnTo>
                        <a:pt x="1650" y="1672"/>
                      </a:lnTo>
                      <a:lnTo>
                        <a:pt x="1649" y="1672"/>
                      </a:lnTo>
                      <a:lnTo>
                        <a:pt x="1648" y="1672"/>
                      </a:lnTo>
                      <a:lnTo>
                        <a:pt x="1647" y="1671"/>
                      </a:lnTo>
                      <a:lnTo>
                        <a:pt x="1646" y="1670"/>
                      </a:lnTo>
                      <a:lnTo>
                        <a:pt x="1646" y="1670"/>
                      </a:lnTo>
                      <a:lnTo>
                        <a:pt x="1645" y="1670"/>
                      </a:lnTo>
                      <a:lnTo>
                        <a:pt x="1644" y="1670"/>
                      </a:lnTo>
                      <a:lnTo>
                        <a:pt x="1643" y="1669"/>
                      </a:lnTo>
                      <a:lnTo>
                        <a:pt x="1642" y="1668"/>
                      </a:lnTo>
                      <a:lnTo>
                        <a:pt x="1642" y="1668"/>
                      </a:lnTo>
                      <a:lnTo>
                        <a:pt x="1640" y="1668"/>
                      </a:lnTo>
                      <a:lnTo>
                        <a:pt x="1640" y="1667"/>
                      </a:lnTo>
                      <a:lnTo>
                        <a:pt x="1639" y="1667"/>
                      </a:lnTo>
                      <a:lnTo>
                        <a:pt x="1638" y="1666"/>
                      </a:lnTo>
                      <a:lnTo>
                        <a:pt x="1637" y="1666"/>
                      </a:lnTo>
                      <a:lnTo>
                        <a:pt x="1636" y="1666"/>
                      </a:lnTo>
                      <a:lnTo>
                        <a:pt x="1635" y="1665"/>
                      </a:lnTo>
                      <a:lnTo>
                        <a:pt x="1635" y="1664"/>
                      </a:lnTo>
                      <a:lnTo>
                        <a:pt x="1634" y="1664"/>
                      </a:lnTo>
                      <a:lnTo>
                        <a:pt x="1633" y="1664"/>
                      </a:lnTo>
                      <a:lnTo>
                        <a:pt x="1632" y="1664"/>
                      </a:lnTo>
                      <a:lnTo>
                        <a:pt x="1631" y="1663"/>
                      </a:lnTo>
                      <a:lnTo>
                        <a:pt x="1631" y="1662"/>
                      </a:lnTo>
                      <a:lnTo>
                        <a:pt x="1630" y="1662"/>
                      </a:lnTo>
                      <a:lnTo>
                        <a:pt x="1629" y="1662"/>
                      </a:lnTo>
                      <a:lnTo>
                        <a:pt x="1629" y="1661"/>
                      </a:lnTo>
                      <a:lnTo>
                        <a:pt x="1628" y="1661"/>
                      </a:lnTo>
                      <a:lnTo>
                        <a:pt x="1627" y="1660"/>
                      </a:lnTo>
                      <a:lnTo>
                        <a:pt x="1626" y="1660"/>
                      </a:lnTo>
                      <a:lnTo>
                        <a:pt x="1625" y="1660"/>
                      </a:lnTo>
                      <a:lnTo>
                        <a:pt x="1625" y="1659"/>
                      </a:lnTo>
                      <a:lnTo>
                        <a:pt x="1624" y="1659"/>
                      </a:lnTo>
                      <a:lnTo>
                        <a:pt x="1623" y="1658"/>
                      </a:lnTo>
                      <a:lnTo>
                        <a:pt x="1623" y="1658"/>
                      </a:lnTo>
                      <a:lnTo>
                        <a:pt x="1621" y="1657"/>
                      </a:lnTo>
                      <a:lnTo>
                        <a:pt x="1621" y="1657"/>
                      </a:lnTo>
                      <a:lnTo>
                        <a:pt x="1620" y="1657"/>
                      </a:lnTo>
                      <a:lnTo>
                        <a:pt x="1619" y="1656"/>
                      </a:lnTo>
                      <a:lnTo>
                        <a:pt x="1618" y="1656"/>
                      </a:lnTo>
                      <a:lnTo>
                        <a:pt x="1618" y="1655"/>
                      </a:lnTo>
                      <a:lnTo>
                        <a:pt x="1617" y="1655"/>
                      </a:lnTo>
                      <a:lnTo>
                        <a:pt x="1616" y="1655"/>
                      </a:lnTo>
                      <a:lnTo>
                        <a:pt x="1616" y="1654"/>
                      </a:lnTo>
                      <a:lnTo>
                        <a:pt x="1615" y="1654"/>
                      </a:lnTo>
                      <a:lnTo>
                        <a:pt x="1614" y="1653"/>
                      </a:lnTo>
                      <a:lnTo>
                        <a:pt x="1613" y="1653"/>
                      </a:lnTo>
                      <a:lnTo>
                        <a:pt x="1612" y="1653"/>
                      </a:lnTo>
                      <a:lnTo>
                        <a:pt x="1612" y="1652"/>
                      </a:lnTo>
                      <a:lnTo>
                        <a:pt x="1611" y="1652"/>
                      </a:lnTo>
                      <a:lnTo>
                        <a:pt x="1610" y="1651"/>
                      </a:lnTo>
                      <a:lnTo>
                        <a:pt x="1610" y="1651"/>
                      </a:lnTo>
                      <a:lnTo>
                        <a:pt x="1599" y="1646"/>
                      </a:lnTo>
                      <a:lnTo>
                        <a:pt x="1565" y="1628"/>
                      </a:lnTo>
                      <a:lnTo>
                        <a:pt x="1539" y="1614"/>
                      </a:lnTo>
                      <a:lnTo>
                        <a:pt x="1538" y="1613"/>
                      </a:lnTo>
                      <a:lnTo>
                        <a:pt x="1537" y="1613"/>
                      </a:lnTo>
                      <a:lnTo>
                        <a:pt x="1523" y="1605"/>
                      </a:lnTo>
                      <a:lnTo>
                        <a:pt x="1522" y="1605"/>
                      </a:lnTo>
                      <a:lnTo>
                        <a:pt x="1519" y="1603"/>
                      </a:lnTo>
                      <a:lnTo>
                        <a:pt x="1519" y="1603"/>
                      </a:lnTo>
                      <a:lnTo>
                        <a:pt x="1518" y="1603"/>
                      </a:lnTo>
                      <a:lnTo>
                        <a:pt x="1517" y="1601"/>
                      </a:lnTo>
                      <a:lnTo>
                        <a:pt x="1516" y="1601"/>
                      </a:lnTo>
                      <a:lnTo>
                        <a:pt x="1513" y="1600"/>
                      </a:lnTo>
                      <a:lnTo>
                        <a:pt x="1513" y="1599"/>
                      </a:lnTo>
                      <a:lnTo>
                        <a:pt x="1511" y="1598"/>
                      </a:lnTo>
                      <a:lnTo>
                        <a:pt x="1510" y="1598"/>
                      </a:lnTo>
                      <a:lnTo>
                        <a:pt x="1509" y="1596"/>
                      </a:lnTo>
                      <a:lnTo>
                        <a:pt x="1507" y="1596"/>
                      </a:lnTo>
                      <a:lnTo>
                        <a:pt x="1506" y="1595"/>
                      </a:lnTo>
                      <a:lnTo>
                        <a:pt x="1504" y="1594"/>
                      </a:lnTo>
                      <a:lnTo>
                        <a:pt x="1502" y="1593"/>
                      </a:lnTo>
                      <a:lnTo>
                        <a:pt x="1502" y="1592"/>
                      </a:lnTo>
                      <a:lnTo>
                        <a:pt x="1502" y="1592"/>
                      </a:lnTo>
                      <a:lnTo>
                        <a:pt x="1501" y="1592"/>
                      </a:lnTo>
                      <a:lnTo>
                        <a:pt x="1496" y="1589"/>
                      </a:lnTo>
                      <a:lnTo>
                        <a:pt x="1494" y="1588"/>
                      </a:lnTo>
                      <a:lnTo>
                        <a:pt x="1494" y="1588"/>
                      </a:lnTo>
                      <a:lnTo>
                        <a:pt x="1492" y="1586"/>
                      </a:lnTo>
                      <a:lnTo>
                        <a:pt x="1490" y="1585"/>
                      </a:lnTo>
                      <a:lnTo>
                        <a:pt x="1487" y="1584"/>
                      </a:lnTo>
                      <a:lnTo>
                        <a:pt x="1486" y="1583"/>
                      </a:lnTo>
                      <a:lnTo>
                        <a:pt x="1485" y="1582"/>
                      </a:lnTo>
                      <a:lnTo>
                        <a:pt x="1484" y="1582"/>
                      </a:lnTo>
                      <a:lnTo>
                        <a:pt x="1483" y="1582"/>
                      </a:lnTo>
                      <a:lnTo>
                        <a:pt x="1483" y="1582"/>
                      </a:lnTo>
                      <a:lnTo>
                        <a:pt x="1482" y="1581"/>
                      </a:lnTo>
                      <a:lnTo>
                        <a:pt x="1476" y="1577"/>
                      </a:lnTo>
                      <a:lnTo>
                        <a:pt x="1475" y="1577"/>
                      </a:lnTo>
                      <a:lnTo>
                        <a:pt x="1473" y="1575"/>
                      </a:lnTo>
                      <a:lnTo>
                        <a:pt x="1473" y="1575"/>
                      </a:lnTo>
                      <a:lnTo>
                        <a:pt x="1467" y="1571"/>
                      </a:lnTo>
                      <a:lnTo>
                        <a:pt x="1463" y="1569"/>
                      </a:lnTo>
                      <a:lnTo>
                        <a:pt x="1462" y="1569"/>
                      </a:lnTo>
                      <a:lnTo>
                        <a:pt x="1459" y="1567"/>
                      </a:lnTo>
                      <a:lnTo>
                        <a:pt x="1456" y="1565"/>
                      </a:lnTo>
                      <a:lnTo>
                        <a:pt x="1454" y="1565"/>
                      </a:lnTo>
                      <a:lnTo>
                        <a:pt x="1454" y="1564"/>
                      </a:lnTo>
                      <a:lnTo>
                        <a:pt x="1453" y="1563"/>
                      </a:lnTo>
                      <a:lnTo>
                        <a:pt x="1451" y="1563"/>
                      </a:lnTo>
                      <a:lnTo>
                        <a:pt x="1447" y="1561"/>
                      </a:lnTo>
                      <a:lnTo>
                        <a:pt x="1438" y="1561"/>
                      </a:lnTo>
                      <a:lnTo>
                        <a:pt x="1413" y="1559"/>
                      </a:lnTo>
                      <a:lnTo>
                        <a:pt x="1314" y="1550"/>
                      </a:lnTo>
                      <a:lnTo>
                        <a:pt x="1253" y="1545"/>
                      </a:lnTo>
                      <a:lnTo>
                        <a:pt x="1241" y="1545"/>
                      </a:lnTo>
                      <a:lnTo>
                        <a:pt x="1230" y="1544"/>
                      </a:lnTo>
                      <a:lnTo>
                        <a:pt x="1224" y="1545"/>
                      </a:lnTo>
                      <a:lnTo>
                        <a:pt x="1216" y="1547"/>
                      </a:lnTo>
                      <a:lnTo>
                        <a:pt x="1211" y="1548"/>
                      </a:lnTo>
                      <a:lnTo>
                        <a:pt x="1200" y="1551"/>
                      </a:lnTo>
                      <a:lnTo>
                        <a:pt x="1195" y="1552"/>
                      </a:lnTo>
                      <a:lnTo>
                        <a:pt x="1188" y="1554"/>
                      </a:lnTo>
                      <a:lnTo>
                        <a:pt x="1180" y="1556"/>
                      </a:lnTo>
                      <a:lnTo>
                        <a:pt x="1173" y="1558"/>
                      </a:lnTo>
                      <a:lnTo>
                        <a:pt x="1162" y="1561"/>
                      </a:lnTo>
                      <a:lnTo>
                        <a:pt x="1155" y="1563"/>
                      </a:lnTo>
                      <a:lnTo>
                        <a:pt x="1148" y="1564"/>
                      </a:lnTo>
                      <a:lnTo>
                        <a:pt x="1137" y="1567"/>
                      </a:lnTo>
                      <a:lnTo>
                        <a:pt x="1126" y="1570"/>
                      </a:lnTo>
                      <a:lnTo>
                        <a:pt x="1124" y="1571"/>
                      </a:lnTo>
                      <a:lnTo>
                        <a:pt x="1116" y="1573"/>
                      </a:lnTo>
                      <a:lnTo>
                        <a:pt x="1107" y="1575"/>
                      </a:lnTo>
                      <a:lnTo>
                        <a:pt x="1097" y="1577"/>
                      </a:lnTo>
                      <a:lnTo>
                        <a:pt x="1095" y="1578"/>
                      </a:lnTo>
                      <a:lnTo>
                        <a:pt x="1094" y="1578"/>
                      </a:lnTo>
                      <a:lnTo>
                        <a:pt x="1090" y="1579"/>
                      </a:lnTo>
                      <a:lnTo>
                        <a:pt x="1088" y="1580"/>
                      </a:lnTo>
                      <a:lnTo>
                        <a:pt x="1085" y="1580"/>
                      </a:lnTo>
                      <a:lnTo>
                        <a:pt x="1084" y="1581"/>
                      </a:lnTo>
                      <a:lnTo>
                        <a:pt x="1080" y="1582"/>
                      </a:lnTo>
                      <a:lnTo>
                        <a:pt x="1078" y="1582"/>
                      </a:lnTo>
                      <a:lnTo>
                        <a:pt x="1076" y="1583"/>
                      </a:lnTo>
                      <a:lnTo>
                        <a:pt x="1074" y="1583"/>
                      </a:lnTo>
                      <a:lnTo>
                        <a:pt x="1073" y="1584"/>
                      </a:lnTo>
                      <a:lnTo>
                        <a:pt x="1072" y="1584"/>
                      </a:lnTo>
                      <a:lnTo>
                        <a:pt x="1071" y="1584"/>
                      </a:lnTo>
                      <a:lnTo>
                        <a:pt x="1070" y="1584"/>
                      </a:lnTo>
                      <a:lnTo>
                        <a:pt x="1068" y="1584"/>
                      </a:lnTo>
                      <a:lnTo>
                        <a:pt x="1065" y="1585"/>
                      </a:lnTo>
                      <a:lnTo>
                        <a:pt x="1063" y="1585"/>
                      </a:lnTo>
                      <a:lnTo>
                        <a:pt x="1061" y="1585"/>
                      </a:lnTo>
                      <a:lnTo>
                        <a:pt x="1059" y="1586"/>
                      </a:lnTo>
                      <a:lnTo>
                        <a:pt x="1057" y="1586"/>
                      </a:lnTo>
                      <a:lnTo>
                        <a:pt x="1056" y="1586"/>
                      </a:lnTo>
                      <a:lnTo>
                        <a:pt x="1055" y="1586"/>
                      </a:lnTo>
                      <a:lnTo>
                        <a:pt x="1049" y="1587"/>
                      </a:lnTo>
                      <a:lnTo>
                        <a:pt x="1042" y="1588"/>
                      </a:lnTo>
                      <a:lnTo>
                        <a:pt x="1039" y="1588"/>
                      </a:lnTo>
                      <a:lnTo>
                        <a:pt x="1037" y="1589"/>
                      </a:lnTo>
                      <a:lnTo>
                        <a:pt x="1033" y="1590"/>
                      </a:lnTo>
                      <a:lnTo>
                        <a:pt x="1029" y="1590"/>
                      </a:lnTo>
                      <a:lnTo>
                        <a:pt x="1019" y="1592"/>
                      </a:lnTo>
                      <a:lnTo>
                        <a:pt x="1015" y="1592"/>
                      </a:lnTo>
                      <a:lnTo>
                        <a:pt x="1013" y="1592"/>
                      </a:lnTo>
                      <a:lnTo>
                        <a:pt x="1010" y="1593"/>
                      </a:lnTo>
                      <a:lnTo>
                        <a:pt x="1005" y="1594"/>
                      </a:lnTo>
                      <a:lnTo>
                        <a:pt x="1002" y="1594"/>
                      </a:lnTo>
                      <a:lnTo>
                        <a:pt x="998" y="1595"/>
                      </a:lnTo>
                      <a:lnTo>
                        <a:pt x="972" y="1599"/>
                      </a:lnTo>
                      <a:lnTo>
                        <a:pt x="968" y="1600"/>
                      </a:lnTo>
                      <a:lnTo>
                        <a:pt x="966" y="1600"/>
                      </a:lnTo>
                      <a:lnTo>
                        <a:pt x="962" y="1601"/>
                      </a:lnTo>
                      <a:lnTo>
                        <a:pt x="959" y="1601"/>
                      </a:lnTo>
                      <a:lnTo>
                        <a:pt x="955" y="1602"/>
                      </a:lnTo>
                      <a:lnTo>
                        <a:pt x="953" y="1602"/>
                      </a:lnTo>
                      <a:lnTo>
                        <a:pt x="949" y="1603"/>
                      </a:lnTo>
                      <a:lnTo>
                        <a:pt x="946" y="1603"/>
                      </a:lnTo>
                      <a:lnTo>
                        <a:pt x="941" y="1604"/>
                      </a:lnTo>
                      <a:lnTo>
                        <a:pt x="939" y="1605"/>
                      </a:lnTo>
                      <a:lnTo>
                        <a:pt x="932" y="1605"/>
                      </a:lnTo>
                      <a:lnTo>
                        <a:pt x="930" y="1606"/>
                      </a:lnTo>
                      <a:lnTo>
                        <a:pt x="924" y="1607"/>
                      </a:lnTo>
                      <a:lnTo>
                        <a:pt x="920" y="1607"/>
                      </a:lnTo>
                      <a:lnTo>
                        <a:pt x="915" y="1608"/>
                      </a:lnTo>
                      <a:lnTo>
                        <a:pt x="911" y="1609"/>
                      </a:lnTo>
                      <a:lnTo>
                        <a:pt x="909" y="1609"/>
                      </a:lnTo>
                      <a:lnTo>
                        <a:pt x="905" y="1609"/>
                      </a:lnTo>
                      <a:lnTo>
                        <a:pt x="901" y="1610"/>
                      </a:lnTo>
                      <a:lnTo>
                        <a:pt x="899" y="1611"/>
                      </a:lnTo>
                      <a:lnTo>
                        <a:pt x="896" y="1611"/>
                      </a:lnTo>
                      <a:lnTo>
                        <a:pt x="890" y="1612"/>
                      </a:lnTo>
                      <a:lnTo>
                        <a:pt x="886" y="1613"/>
                      </a:lnTo>
                      <a:lnTo>
                        <a:pt x="880" y="1613"/>
                      </a:lnTo>
                      <a:lnTo>
                        <a:pt x="877" y="1614"/>
                      </a:lnTo>
                      <a:lnTo>
                        <a:pt x="872" y="1615"/>
                      </a:lnTo>
                      <a:lnTo>
                        <a:pt x="866" y="1615"/>
                      </a:lnTo>
                      <a:lnTo>
                        <a:pt x="860" y="1617"/>
                      </a:lnTo>
                      <a:lnTo>
                        <a:pt x="851" y="1618"/>
                      </a:lnTo>
                      <a:lnTo>
                        <a:pt x="846" y="1619"/>
                      </a:lnTo>
                      <a:lnTo>
                        <a:pt x="837" y="1620"/>
                      </a:lnTo>
                      <a:lnTo>
                        <a:pt x="822" y="1622"/>
                      </a:lnTo>
                      <a:lnTo>
                        <a:pt x="812" y="1624"/>
                      </a:lnTo>
                      <a:lnTo>
                        <a:pt x="806" y="1625"/>
                      </a:lnTo>
                      <a:lnTo>
                        <a:pt x="801" y="1626"/>
                      </a:lnTo>
                      <a:lnTo>
                        <a:pt x="797" y="1626"/>
                      </a:lnTo>
                      <a:lnTo>
                        <a:pt x="795" y="1626"/>
                      </a:lnTo>
                      <a:lnTo>
                        <a:pt x="791" y="1627"/>
                      </a:lnTo>
                      <a:lnTo>
                        <a:pt x="787" y="1628"/>
                      </a:lnTo>
                      <a:lnTo>
                        <a:pt x="787" y="1628"/>
                      </a:lnTo>
                      <a:lnTo>
                        <a:pt x="786" y="1630"/>
                      </a:lnTo>
                      <a:lnTo>
                        <a:pt x="786" y="1630"/>
                      </a:lnTo>
                      <a:lnTo>
                        <a:pt x="786" y="1632"/>
                      </a:lnTo>
                      <a:lnTo>
                        <a:pt x="786" y="1632"/>
                      </a:lnTo>
                      <a:lnTo>
                        <a:pt x="785" y="1633"/>
                      </a:lnTo>
                      <a:lnTo>
                        <a:pt x="785" y="1634"/>
                      </a:lnTo>
                      <a:lnTo>
                        <a:pt x="785" y="1634"/>
                      </a:lnTo>
                      <a:lnTo>
                        <a:pt x="784" y="1634"/>
                      </a:lnTo>
                      <a:lnTo>
                        <a:pt x="784" y="1635"/>
                      </a:lnTo>
                      <a:lnTo>
                        <a:pt x="784" y="1636"/>
                      </a:lnTo>
                      <a:lnTo>
                        <a:pt x="784" y="1637"/>
                      </a:lnTo>
                      <a:lnTo>
                        <a:pt x="782" y="1642"/>
                      </a:lnTo>
                      <a:lnTo>
                        <a:pt x="778" y="1652"/>
                      </a:lnTo>
                      <a:lnTo>
                        <a:pt x="774" y="1662"/>
                      </a:lnTo>
                      <a:lnTo>
                        <a:pt x="771" y="1670"/>
                      </a:lnTo>
                      <a:lnTo>
                        <a:pt x="767" y="1680"/>
                      </a:lnTo>
                      <a:lnTo>
                        <a:pt x="766" y="1681"/>
                      </a:lnTo>
                      <a:lnTo>
                        <a:pt x="765" y="1684"/>
                      </a:lnTo>
                      <a:lnTo>
                        <a:pt x="763" y="1691"/>
                      </a:lnTo>
                      <a:lnTo>
                        <a:pt x="759" y="1702"/>
                      </a:lnTo>
                      <a:lnTo>
                        <a:pt x="755" y="1712"/>
                      </a:lnTo>
                      <a:lnTo>
                        <a:pt x="752" y="1717"/>
                      </a:lnTo>
                      <a:lnTo>
                        <a:pt x="748" y="1728"/>
                      </a:lnTo>
                      <a:lnTo>
                        <a:pt x="747" y="1730"/>
                      </a:lnTo>
                      <a:lnTo>
                        <a:pt x="745" y="1735"/>
                      </a:lnTo>
                      <a:lnTo>
                        <a:pt x="744" y="1738"/>
                      </a:lnTo>
                      <a:lnTo>
                        <a:pt x="743" y="1740"/>
                      </a:lnTo>
                      <a:lnTo>
                        <a:pt x="742" y="1743"/>
                      </a:lnTo>
                      <a:lnTo>
                        <a:pt x="740" y="1746"/>
                      </a:lnTo>
                      <a:lnTo>
                        <a:pt x="740" y="1748"/>
                      </a:lnTo>
                      <a:lnTo>
                        <a:pt x="740" y="1748"/>
                      </a:lnTo>
                      <a:lnTo>
                        <a:pt x="738" y="1750"/>
                      </a:lnTo>
                      <a:lnTo>
                        <a:pt x="736" y="1754"/>
                      </a:lnTo>
                      <a:lnTo>
                        <a:pt x="734" y="1756"/>
                      </a:lnTo>
                      <a:lnTo>
                        <a:pt x="732" y="1758"/>
                      </a:lnTo>
                      <a:lnTo>
                        <a:pt x="730" y="1762"/>
                      </a:lnTo>
                      <a:lnTo>
                        <a:pt x="729" y="1763"/>
                      </a:lnTo>
                      <a:lnTo>
                        <a:pt x="728" y="1764"/>
                      </a:lnTo>
                      <a:lnTo>
                        <a:pt x="727" y="1765"/>
                      </a:lnTo>
                      <a:lnTo>
                        <a:pt x="727" y="1765"/>
                      </a:lnTo>
                      <a:lnTo>
                        <a:pt x="727" y="1765"/>
                      </a:lnTo>
                      <a:lnTo>
                        <a:pt x="727" y="1766"/>
                      </a:lnTo>
                      <a:lnTo>
                        <a:pt x="726" y="1767"/>
                      </a:lnTo>
                      <a:lnTo>
                        <a:pt x="725" y="1768"/>
                      </a:lnTo>
                      <a:lnTo>
                        <a:pt x="725" y="1769"/>
                      </a:lnTo>
                      <a:lnTo>
                        <a:pt x="725" y="1769"/>
                      </a:lnTo>
                      <a:lnTo>
                        <a:pt x="721" y="1775"/>
                      </a:lnTo>
                      <a:lnTo>
                        <a:pt x="713" y="1786"/>
                      </a:lnTo>
                      <a:lnTo>
                        <a:pt x="708" y="1792"/>
                      </a:lnTo>
                      <a:lnTo>
                        <a:pt x="704" y="1799"/>
                      </a:lnTo>
                      <a:lnTo>
                        <a:pt x="700" y="1805"/>
                      </a:lnTo>
                      <a:lnTo>
                        <a:pt x="695" y="1812"/>
                      </a:lnTo>
                      <a:lnTo>
                        <a:pt x="691" y="1818"/>
                      </a:lnTo>
                      <a:lnTo>
                        <a:pt x="689" y="1821"/>
                      </a:lnTo>
                      <a:lnTo>
                        <a:pt x="685" y="1827"/>
                      </a:lnTo>
                      <a:lnTo>
                        <a:pt x="681" y="1832"/>
                      </a:lnTo>
                      <a:lnTo>
                        <a:pt x="678" y="1836"/>
                      </a:lnTo>
                      <a:lnTo>
                        <a:pt x="675" y="1840"/>
                      </a:lnTo>
                      <a:lnTo>
                        <a:pt x="675" y="1841"/>
                      </a:lnTo>
                      <a:lnTo>
                        <a:pt x="547" y="1841"/>
                      </a:lnTo>
                      <a:lnTo>
                        <a:pt x="465" y="1841"/>
                      </a:lnTo>
                      <a:lnTo>
                        <a:pt x="459" y="1841"/>
                      </a:lnTo>
                      <a:lnTo>
                        <a:pt x="408" y="1845"/>
                      </a:lnTo>
                      <a:lnTo>
                        <a:pt x="407" y="1845"/>
                      </a:lnTo>
                      <a:lnTo>
                        <a:pt x="398" y="1845"/>
                      </a:lnTo>
                      <a:lnTo>
                        <a:pt x="393" y="1845"/>
                      </a:lnTo>
                      <a:lnTo>
                        <a:pt x="388" y="1845"/>
                      </a:lnTo>
                      <a:lnTo>
                        <a:pt x="381" y="1845"/>
                      </a:lnTo>
                      <a:lnTo>
                        <a:pt x="381" y="1845"/>
                      </a:lnTo>
                      <a:lnTo>
                        <a:pt x="381" y="1844"/>
                      </a:lnTo>
                      <a:lnTo>
                        <a:pt x="381" y="1843"/>
                      </a:lnTo>
                      <a:lnTo>
                        <a:pt x="381" y="1842"/>
                      </a:lnTo>
                      <a:lnTo>
                        <a:pt x="380" y="1842"/>
                      </a:lnTo>
                      <a:lnTo>
                        <a:pt x="381" y="1841"/>
                      </a:lnTo>
                      <a:lnTo>
                        <a:pt x="381" y="1841"/>
                      </a:lnTo>
                      <a:lnTo>
                        <a:pt x="381" y="1840"/>
                      </a:lnTo>
                      <a:lnTo>
                        <a:pt x="380" y="1840"/>
                      </a:lnTo>
                      <a:lnTo>
                        <a:pt x="380" y="1839"/>
                      </a:lnTo>
                      <a:lnTo>
                        <a:pt x="380" y="1839"/>
                      </a:lnTo>
                      <a:lnTo>
                        <a:pt x="381" y="1839"/>
                      </a:lnTo>
                      <a:lnTo>
                        <a:pt x="381" y="1838"/>
                      </a:lnTo>
                      <a:lnTo>
                        <a:pt x="381" y="1837"/>
                      </a:lnTo>
                      <a:lnTo>
                        <a:pt x="381" y="1837"/>
                      </a:lnTo>
                      <a:lnTo>
                        <a:pt x="381" y="1836"/>
                      </a:lnTo>
                      <a:lnTo>
                        <a:pt x="382" y="1836"/>
                      </a:lnTo>
                      <a:lnTo>
                        <a:pt x="382" y="1835"/>
                      </a:lnTo>
                      <a:lnTo>
                        <a:pt x="382" y="1834"/>
                      </a:lnTo>
                      <a:lnTo>
                        <a:pt x="382" y="1834"/>
                      </a:lnTo>
                      <a:lnTo>
                        <a:pt x="381" y="1833"/>
                      </a:lnTo>
                      <a:lnTo>
                        <a:pt x="381" y="1831"/>
                      </a:lnTo>
                      <a:lnTo>
                        <a:pt x="381" y="1830"/>
                      </a:lnTo>
                      <a:lnTo>
                        <a:pt x="381" y="1830"/>
                      </a:lnTo>
                      <a:lnTo>
                        <a:pt x="381" y="1829"/>
                      </a:lnTo>
                      <a:lnTo>
                        <a:pt x="381" y="1828"/>
                      </a:lnTo>
                      <a:lnTo>
                        <a:pt x="381" y="1828"/>
                      </a:lnTo>
                      <a:lnTo>
                        <a:pt x="381" y="1828"/>
                      </a:lnTo>
                      <a:lnTo>
                        <a:pt x="381" y="1827"/>
                      </a:lnTo>
                      <a:lnTo>
                        <a:pt x="381" y="1827"/>
                      </a:lnTo>
                      <a:lnTo>
                        <a:pt x="380" y="1828"/>
                      </a:lnTo>
                      <a:lnTo>
                        <a:pt x="379" y="1828"/>
                      </a:lnTo>
                      <a:lnTo>
                        <a:pt x="379" y="1828"/>
                      </a:lnTo>
                      <a:lnTo>
                        <a:pt x="378" y="1828"/>
                      </a:lnTo>
                      <a:lnTo>
                        <a:pt x="378" y="1828"/>
                      </a:lnTo>
                      <a:lnTo>
                        <a:pt x="378" y="1828"/>
                      </a:lnTo>
                      <a:lnTo>
                        <a:pt x="377" y="1828"/>
                      </a:lnTo>
                      <a:lnTo>
                        <a:pt x="377" y="1828"/>
                      </a:lnTo>
                      <a:lnTo>
                        <a:pt x="377" y="1828"/>
                      </a:lnTo>
                      <a:lnTo>
                        <a:pt x="376" y="1828"/>
                      </a:lnTo>
                      <a:lnTo>
                        <a:pt x="375" y="1828"/>
                      </a:lnTo>
                      <a:lnTo>
                        <a:pt x="374" y="1828"/>
                      </a:lnTo>
                      <a:lnTo>
                        <a:pt x="374" y="1828"/>
                      </a:lnTo>
                      <a:lnTo>
                        <a:pt x="374" y="1829"/>
                      </a:lnTo>
                      <a:lnTo>
                        <a:pt x="373" y="1829"/>
                      </a:lnTo>
                      <a:lnTo>
                        <a:pt x="372" y="1829"/>
                      </a:lnTo>
                      <a:lnTo>
                        <a:pt x="370" y="1829"/>
                      </a:lnTo>
                      <a:lnTo>
                        <a:pt x="370" y="1830"/>
                      </a:lnTo>
                      <a:lnTo>
                        <a:pt x="370" y="1830"/>
                      </a:lnTo>
                      <a:lnTo>
                        <a:pt x="370" y="1830"/>
                      </a:lnTo>
                      <a:lnTo>
                        <a:pt x="369" y="1831"/>
                      </a:lnTo>
                      <a:lnTo>
                        <a:pt x="369" y="1832"/>
                      </a:lnTo>
                      <a:lnTo>
                        <a:pt x="370" y="1832"/>
                      </a:lnTo>
                      <a:lnTo>
                        <a:pt x="370" y="1832"/>
                      </a:lnTo>
                      <a:lnTo>
                        <a:pt x="369" y="1832"/>
                      </a:lnTo>
                      <a:lnTo>
                        <a:pt x="369" y="1833"/>
                      </a:lnTo>
                      <a:lnTo>
                        <a:pt x="369" y="1834"/>
                      </a:lnTo>
                      <a:lnTo>
                        <a:pt x="369" y="1834"/>
                      </a:lnTo>
                      <a:lnTo>
                        <a:pt x="368" y="1834"/>
                      </a:lnTo>
                      <a:lnTo>
                        <a:pt x="368" y="1834"/>
                      </a:lnTo>
                      <a:lnTo>
                        <a:pt x="368" y="1835"/>
                      </a:lnTo>
                      <a:lnTo>
                        <a:pt x="368" y="1835"/>
                      </a:lnTo>
                      <a:lnTo>
                        <a:pt x="368" y="1836"/>
                      </a:lnTo>
                      <a:lnTo>
                        <a:pt x="368" y="1836"/>
                      </a:lnTo>
                      <a:lnTo>
                        <a:pt x="368" y="1837"/>
                      </a:lnTo>
                      <a:lnTo>
                        <a:pt x="367" y="1837"/>
                      </a:lnTo>
                      <a:lnTo>
                        <a:pt x="367" y="1837"/>
                      </a:lnTo>
                      <a:lnTo>
                        <a:pt x="367" y="1838"/>
                      </a:lnTo>
                      <a:lnTo>
                        <a:pt x="367" y="1839"/>
                      </a:lnTo>
                      <a:lnTo>
                        <a:pt x="366" y="1839"/>
                      </a:lnTo>
                      <a:lnTo>
                        <a:pt x="366" y="1840"/>
                      </a:lnTo>
                      <a:lnTo>
                        <a:pt x="366" y="1840"/>
                      </a:lnTo>
                      <a:lnTo>
                        <a:pt x="365" y="1840"/>
                      </a:lnTo>
                      <a:lnTo>
                        <a:pt x="364" y="1840"/>
                      </a:lnTo>
                      <a:lnTo>
                        <a:pt x="363" y="1839"/>
                      </a:lnTo>
                      <a:lnTo>
                        <a:pt x="362" y="1839"/>
                      </a:lnTo>
                      <a:lnTo>
                        <a:pt x="362" y="1839"/>
                      </a:lnTo>
                      <a:lnTo>
                        <a:pt x="361" y="1839"/>
                      </a:lnTo>
                      <a:lnTo>
                        <a:pt x="360" y="1839"/>
                      </a:lnTo>
                      <a:lnTo>
                        <a:pt x="360" y="1840"/>
                      </a:lnTo>
                      <a:lnTo>
                        <a:pt x="360" y="1840"/>
                      </a:lnTo>
                      <a:lnTo>
                        <a:pt x="360" y="1841"/>
                      </a:lnTo>
                      <a:lnTo>
                        <a:pt x="358" y="1841"/>
                      </a:lnTo>
                      <a:lnTo>
                        <a:pt x="358" y="1841"/>
                      </a:lnTo>
                      <a:lnTo>
                        <a:pt x="357" y="1841"/>
                      </a:lnTo>
                      <a:lnTo>
                        <a:pt x="357" y="1842"/>
                      </a:lnTo>
                      <a:lnTo>
                        <a:pt x="356" y="1842"/>
                      </a:lnTo>
                      <a:lnTo>
                        <a:pt x="355" y="1842"/>
                      </a:lnTo>
                      <a:lnTo>
                        <a:pt x="355" y="1842"/>
                      </a:lnTo>
                      <a:lnTo>
                        <a:pt x="355" y="1843"/>
                      </a:lnTo>
                      <a:lnTo>
                        <a:pt x="354" y="1843"/>
                      </a:lnTo>
                      <a:lnTo>
                        <a:pt x="353" y="1843"/>
                      </a:lnTo>
                      <a:lnTo>
                        <a:pt x="353" y="1843"/>
                      </a:lnTo>
                      <a:lnTo>
                        <a:pt x="352" y="1843"/>
                      </a:lnTo>
                      <a:lnTo>
                        <a:pt x="351" y="1844"/>
                      </a:lnTo>
                      <a:lnTo>
                        <a:pt x="351" y="1844"/>
                      </a:lnTo>
                      <a:lnTo>
                        <a:pt x="350" y="1844"/>
                      </a:lnTo>
                      <a:lnTo>
                        <a:pt x="349" y="1845"/>
                      </a:lnTo>
                      <a:lnTo>
                        <a:pt x="349" y="1845"/>
                      </a:lnTo>
                      <a:lnTo>
                        <a:pt x="349" y="1844"/>
                      </a:lnTo>
                      <a:lnTo>
                        <a:pt x="348" y="1844"/>
                      </a:lnTo>
                      <a:lnTo>
                        <a:pt x="347" y="1844"/>
                      </a:lnTo>
                      <a:lnTo>
                        <a:pt x="347" y="1845"/>
                      </a:lnTo>
                      <a:lnTo>
                        <a:pt x="347" y="1845"/>
                      </a:lnTo>
                      <a:lnTo>
                        <a:pt x="346" y="1845"/>
                      </a:lnTo>
                      <a:lnTo>
                        <a:pt x="345" y="1845"/>
                      </a:lnTo>
                      <a:lnTo>
                        <a:pt x="345" y="1844"/>
                      </a:lnTo>
                      <a:lnTo>
                        <a:pt x="344" y="1844"/>
                      </a:lnTo>
                      <a:lnTo>
                        <a:pt x="344" y="1845"/>
                      </a:lnTo>
                      <a:lnTo>
                        <a:pt x="343" y="1844"/>
                      </a:lnTo>
                      <a:lnTo>
                        <a:pt x="343" y="1844"/>
                      </a:lnTo>
                      <a:lnTo>
                        <a:pt x="343" y="1845"/>
                      </a:lnTo>
                      <a:lnTo>
                        <a:pt x="342" y="1845"/>
                      </a:lnTo>
                      <a:lnTo>
                        <a:pt x="342" y="1845"/>
                      </a:lnTo>
                      <a:lnTo>
                        <a:pt x="342" y="1846"/>
                      </a:lnTo>
                      <a:lnTo>
                        <a:pt x="341" y="1846"/>
                      </a:lnTo>
                      <a:lnTo>
                        <a:pt x="341" y="1845"/>
                      </a:lnTo>
                      <a:lnTo>
                        <a:pt x="341" y="1845"/>
                      </a:lnTo>
                      <a:lnTo>
                        <a:pt x="340" y="1845"/>
                      </a:lnTo>
                      <a:lnTo>
                        <a:pt x="339" y="1845"/>
                      </a:lnTo>
                      <a:lnTo>
                        <a:pt x="339" y="1845"/>
                      </a:lnTo>
                      <a:lnTo>
                        <a:pt x="339" y="1845"/>
                      </a:lnTo>
                      <a:lnTo>
                        <a:pt x="338" y="1844"/>
                      </a:lnTo>
                      <a:lnTo>
                        <a:pt x="337" y="1844"/>
                      </a:lnTo>
                      <a:lnTo>
                        <a:pt x="337" y="1845"/>
                      </a:lnTo>
                      <a:lnTo>
                        <a:pt x="336" y="1844"/>
                      </a:lnTo>
                      <a:lnTo>
                        <a:pt x="336" y="1843"/>
                      </a:lnTo>
                      <a:lnTo>
                        <a:pt x="335" y="1843"/>
                      </a:lnTo>
                      <a:lnTo>
                        <a:pt x="335" y="1844"/>
                      </a:lnTo>
                      <a:lnTo>
                        <a:pt x="334" y="1843"/>
                      </a:lnTo>
                      <a:lnTo>
                        <a:pt x="334" y="1843"/>
                      </a:lnTo>
                      <a:lnTo>
                        <a:pt x="334" y="1843"/>
                      </a:lnTo>
                      <a:lnTo>
                        <a:pt x="333" y="1843"/>
                      </a:lnTo>
                      <a:lnTo>
                        <a:pt x="332" y="1843"/>
                      </a:lnTo>
                      <a:lnTo>
                        <a:pt x="332" y="1843"/>
                      </a:lnTo>
                      <a:lnTo>
                        <a:pt x="332" y="1843"/>
                      </a:lnTo>
                      <a:lnTo>
                        <a:pt x="331" y="1843"/>
                      </a:lnTo>
                      <a:lnTo>
                        <a:pt x="330" y="1843"/>
                      </a:lnTo>
                      <a:lnTo>
                        <a:pt x="330" y="1843"/>
                      </a:lnTo>
                      <a:lnTo>
                        <a:pt x="330" y="1843"/>
                      </a:lnTo>
                      <a:lnTo>
                        <a:pt x="329" y="1843"/>
                      </a:lnTo>
                      <a:lnTo>
                        <a:pt x="328" y="1843"/>
                      </a:lnTo>
                      <a:lnTo>
                        <a:pt x="328" y="1843"/>
                      </a:lnTo>
                      <a:lnTo>
                        <a:pt x="327" y="1842"/>
                      </a:lnTo>
                      <a:lnTo>
                        <a:pt x="326" y="1842"/>
                      </a:lnTo>
                      <a:lnTo>
                        <a:pt x="326" y="1842"/>
                      </a:lnTo>
                      <a:lnTo>
                        <a:pt x="325" y="1842"/>
                      </a:lnTo>
                      <a:lnTo>
                        <a:pt x="325" y="1841"/>
                      </a:lnTo>
                      <a:lnTo>
                        <a:pt x="324" y="1841"/>
                      </a:lnTo>
                      <a:lnTo>
                        <a:pt x="324" y="1841"/>
                      </a:lnTo>
                      <a:lnTo>
                        <a:pt x="324" y="1841"/>
                      </a:lnTo>
                      <a:lnTo>
                        <a:pt x="324" y="1841"/>
                      </a:lnTo>
                      <a:lnTo>
                        <a:pt x="323" y="1841"/>
                      </a:lnTo>
                      <a:lnTo>
                        <a:pt x="323" y="1842"/>
                      </a:lnTo>
                      <a:lnTo>
                        <a:pt x="323" y="1841"/>
                      </a:lnTo>
                      <a:lnTo>
                        <a:pt x="322" y="1842"/>
                      </a:lnTo>
                      <a:lnTo>
                        <a:pt x="322" y="1842"/>
                      </a:lnTo>
                      <a:lnTo>
                        <a:pt x="322" y="1843"/>
                      </a:lnTo>
                      <a:lnTo>
                        <a:pt x="322" y="1843"/>
                      </a:lnTo>
                      <a:lnTo>
                        <a:pt x="321" y="1843"/>
                      </a:lnTo>
                      <a:lnTo>
                        <a:pt x="321" y="1844"/>
                      </a:lnTo>
                      <a:lnTo>
                        <a:pt x="321" y="1843"/>
                      </a:lnTo>
                      <a:lnTo>
                        <a:pt x="320" y="1843"/>
                      </a:lnTo>
                      <a:lnTo>
                        <a:pt x="320" y="1844"/>
                      </a:lnTo>
                      <a:lnTo>
                        <a:pt x="320" y="1844"/>
                      </a:lnTo>
                      <a:lnTo>
                        <a:pt x="320" y="1845"/>
                      </a:lnTo>
                      <a:lnTo>
                        <a:pt x="319" y="1845"/>
                      </a:lnTo>
                      <a:lnTo>
                        <a:pt x="318" y="1845"/>
                      </a:lnTo>
                      <a:lnTo>
                        <a:pt x="318" y="1845"/>
                      </a:lnTo>
                      <a:lnTo>
                        <a:pt x="317" y="1845"/>
                      </a:lnTo>
                      <a:lnTo>
                        <a:pt x="317" y="1846"/>
                      </a:lnTo>
                      <a:lnTo>
                        <a:pt x="317" y="1846"/>
                      </a:lnTo>
                      <a:lnTo>
                        <a:pt x="316" y="1846"/>
                      </a:lnTo>
                      <a:lnTo>
                        <a:pt x="315" y="1846"/>
                      </a:lnTo>
                      <a:lnTo>
                        <a:pt x="315" y="1847"/>
                      </a:lnTo>
                      <a:lnTo>
                        <a:pt x="315" y="1847"/>
                      </a:lnTo>
                      <a:lnTo>
                        <a:pt x="314" y="1847"/>
                      </a:lnTo>
                      <a:lnTo>
                        <a:pt x="313" y="1847"/>
                      </a:lnTo>
                      <a:lnTo>
                        <a:pt x="311" y="1846"/>
                      </a:lnTo>
                      <a:lnTo>
                        <a:pt x="310" y="1847"/>
                      </a:lnTo>
                      <a:lnTo>
                        <a:pt x="308" y="1847"/>
                      </a:lnTo>
                      <a:lnTo>
                        <a:pt x="307" y="1849"/>
                      </a:lnTo>
                      <a:lnTo>
                        <a:pt x="304" y="1849"/>
                      </a:lnTo>
                      <a:lnTo>
                        <a:pt x="303" y="1849"/>
                      </a:lnTo>
                      <a:lnTo>
                        <a:pt x="301" y="1847"/>
                      </a:lnTo>
                      <a:lnTo>
                        <a:pt x="299" y="1847"/>
                      </a:lnTo>
                      <a:lnTo>
                        <a:pt x="298" y="1842"/>
                      </a:lnTo>
                      <a:lnTo>
                        <a:pt x="297" y="1839"/>
                      </a:lnTo>
                      <a:lnTo>
                        <a:pt x="298" y="1837"/>
                      </a:lnTo>
                      <a:lnTo>
                        <a:pt x="298" y="1837"/>
                      </a:lnTo>
                      <a:lnTo>
                        <a:pt x="297" y="1837"/>
                      </a:lnTo>
                      <a:lnTo>
                        <a:pt x="297" y="1836"/>
                      </a:lnTo>
                      <a:lnTo>
                        <a:pt x="297" y="1835"/>
                      </a:lnTo>
                      <a:lnTo>
                        <a:pt x="297" y="1834"/>
                      </a:lnTo>
                      <a:lnTo>
                        <a:pt x="297" y="1834"/>
                      </a:lnTo>
                      <a:lnTo>
                        <a:pt x="296" y="1834"/>
                      </a:lnTo>
                      <a:lnTo>
                        <a:pt x="296" y="1833"/>
                      </a:lnTo>
                      <a:lnTo>
                        <a:pt x="297" y="1833"/>
                      </a:lnTo>
                      <a:lnTo>
                        <a:pt x="297" y="1832"/>
                      </a:lnTo>
                      <a:lnTo>
                        <a:pt x="296" y="1832"/>
                      </a:lnTo>
                      <a:lnTo>
                        <a:pt x="297" y="1832"/>
                      </a:lnTo>
                      <a:lnTo>
                        <a:pt x="296" y="1832"/>
                      </a:lnTo>
                      <a:lnTo>
                        <a:pt x="296" y="1831"/>
                      </a:lnTo>
                      <a:lnTo>
                        <a:pt x="296" y="1830"/>
                      </a:lnTo>
                      <a:lnTo>
                        <a:pt x="296" y="1830"/>
                      </a:lnTo>
                      <a:lnTo>
                        <a:pt x="296" y="1829"/>
                      </a:lnTo>
                      <a:lnTo>
                        <a:pt x="296" y="1828"/>
                      </a:lnTo>
                      <a:lnTo>
                        <a:pt x="296" y="1828"/>
                      </a:lnTo>
                      <a:lnTo>
                        <a:pt x="297" y="1827"/>
                      </a:lnTo>
                      <a:lnTo>
                        <a:pt x="297" y="1826"/>
                      </a:lnTo>
                      <a:lnTo>
                        <a:pt x="297" y="1826"/>
                      </a:lnTo>
                      <a:lnTo>
                        <a:pt x="297" y="1825"/>
                      </a:lnTo>
                      <a:lnTo>
                        <a:pt x="297" y="1824"/>
                      </a:lnTo>
                      <a:lnTo>
                        <a:pt x="297" y="1824"/>
                      </a:lnTo>
                      <a:lnTo>
                        <a:pt x="297" y="1823"/>
                      </a:lnTo>
                      <a:lnTo>
                        <a:pt x="297" y="1822"/>
                      </a:lnTo>
                      <a:lnTo>
                        <a:pt x="296" y="1822"/>
                      </a:lnTo>
                      <a:lnTo>
                        <a:pt x="296" y="1822"/>
                      </a:lnTo>
                      <a:lnTo>
                        <a:pt x="297" y="1822"/>
                      </a:lnTo>
                      <a:lnTo>
                        <a:pt x="296" y="1822"/>
                      </a:lnTo>
                      <a:lnTo>
                        <a:pt x="297" y="1822"/>
                      </a:lnTo>
                      <a:lnTo>
                        <a:pt x="297" y="1821"/>
                      </a:lnTo>
                      <a:lnTo>
                        <a:pt x="297" y="1820"/>
                      </a:lnTo>
                      <a:lnTo>
                        <a:pt x="297" y="1818"/>
                      </a:lnTo>
                      <a:lnTo>
                        <a:pt x="297" y="1816"/>
                      </a:lnTo>
                      <a:lnTo>
                        <a:pt x="297" y="1815"/>
                      </a:lnTo>
                      <a:lnTo>
                        <a:pt x="297" y="1815"/>
                      </a:lnTo>
                      <a:lnTo>
                        <a:pt x="297" y="1814"/>
                      </a:lnTo>
                      <a:lnTo>
                        <a:pt x="296" y="1813"/>
                      </a:lnTo>
                      <a:lnTo>
                        <a:pt x="296" y="1812"/>
                      </a:lnTo>
                      <a:lnTo>
                        <a:pt x="296" y="1811"/>
                      </a:lnTo>
                      <a:lnTo>
                        <a:pt x="296" y="1811"/>
                      </a:lnTo>
                      <a:lnTo>
                        <a:pt x="296" y="1811"/>
                      </a:lnTo>
                      <a:lnTo>
                        <a:pt x="296" y="1810"/>
                      </a:lnTo>
                      <a:lnTo>
                        <a:pt x="296" y="1810"/>
                      </a:lnTo>
                      <a:lnTo>
                        <a:pt x="296" y="1810"/>
                      </a:lnTo>
                      <a:lnTo>
                        <a:pt x="296" y="1809"/>
                      </a:lnTo>
                      <a:lnTo>
                        <a:pt x="296" y="1809"/>
                      </a:lnTo>
                      <a:lnTo>
                        <a:pt x="296" y="1809"/>
                      </a:lnTo>
                      <a:lnTo>
                        <a:pt x="296" y="1807"/>
                      </a:lnTo>
                      <a:lnTo>
                        <a:pt x="296" y="1806"/>
                      </a:lnTo>
                      <a:lnTo>
                        <a:pt x="296" y="1805"/>
                      </a:lnTo>
                      <a:lnTo>
                        <a:pt x="296" y="1805"/>
                      </a:lnTo>
                      <a:lnTo>
                        <a:pt x="296" y="1804"/>
                      </a:lnTo>
                      <a:lnTo>
                        <a:pt x="296" y="1803"/>
                      </a:lnTo>
                      <a:lnTo>
                        <a:pt x="296" y="1803"/>
                      </a:lnTo>
                      <a:lnTo>
                        <a:pt x="296" y="1802"/>
                      </a:lnTo>
                      <a:lnTo>
                        <a:pt x="296" y="1801"/>
                      </a:lnTo>
                      <a:lnTo>
                        <a:pt x="295" y="1801"/>
                      </a:lnTo>
                      <a:lnTo>
                        <a:pt x="295" y="1800"/>
                      </a:lnTo>
                      <a:lnTo>
                        <a:pt x="295" y="1799"/>
                      </a:lnTo>
                      <a:lnTo>
                        <a:pt x="295" y="1799"/>
                      </a:lnTo>
                      <a:lnTo>
                        <a:pt x="295" y="1798"/>
                      </a:lnTo>
                      <a:lnTo>
                        <a:pt x="296" y="1798"/>
                      </a:lnTo>
                      <a:lnTo>
                        <a:pt x="296" y="1797"/>
                      </a:lnTo>
                      <a:lnTo>
                        <a:pt x="296" y="1797"/>
                      </a:lnTo>
                      <a:lnTo>
                        <a:pt x="296" y="1797"/>
                      </a:lnTo>
                      <a:lnTo>
                        <a:pt x="296" y="1796"/>
                      </a:lnTo>
                      <a:lnTo>
                        <a:pt x="296" y="1796"/>
                      </a:lnTo>
                      <a:lnTo>
                        <a:pt x="295" y="1796"/>
                      </a:lnTo>
                      <a:lnTo>
                        <a:pt x="295" y="1795"/>
                      </a:lnTo>
                      <a:lnTo>
                        <a:pt x="294" y="1794"/>
                      </a:lnTo>
                      <a:lnTo>
                        <a:pt x="295" y="1794"/>
                      </a:lnTo>
                      <a:lnTo>
                        <a:pt x="295" y="1794"/>
                      </a:lnTo>
                      <a:lnTo>
                        <a:pt x="295" y="1793"/>
                      </a:lnTo>
                      <a:lnTo>
                        <a:pt x="294" y="1793"/>
                      </a:lnTo>
                      <a:lnTo>
                        <a:pt x="294" y="1792"/>
                      </a:lnTo>
                      <a:lnTo>
                        <a:pt x="294" y="1792"/>
                      </a:lnTo>
                      <a:lnTo>
                        <a:pt x="294" y="1792"/>
                      </a:lnTo>
                      <a:lnTo>
                        <a:pt x="294" y="1792"/>
                      </a:lnTo>
                      <a:lnTo>
                        <a:pt x="294" y="1792"/>
                      </a:lnTo>
                      <a:lnTo>
                        <a:pt x="293" y="1792"/>
                      </a:lnTo>
                      <a:lnTo>
                        <a:pt x="293" y="1791"/>
                      </a:lnTo>
                      <a:lnTo>
                        <a:pt x="293" y="1790"/>
                      </a:lnTo>
                      <a:lnTo>
                        <a:pt x="294" y="1790"/>
                      </a:lnTo>
                      <a:lnTo>
                        <a:pt x="294" y="1790"/>
                      </a:lnTo>
                      <a:lnTo>
                        <a:pt x="294" y="1790"/>
                      </a:lnTo>
                      <a:lnTo>
                        <a:pt x="294" y="1789"/>
                      </a:lnTo>
                      <a:lnTo>
                        <a:pt x="295" y="1788"/>
                      </a:lnTo>
                      <a:lnTo>
                        <a:pt x="296" y="1788"/>
                      </a:lnTo>
                      <a:lnTo>
                        <a:pt x="296" y="1788"/>
                      </a:lnTo>
                      <a:lnTo>
                        <a:pt x="295" y="1787"/>
                      </a:lnTo>
                      <a:lnTo>
                        <a:pt x="296" y="1787"/>
                      </a:lnTo>
                      <a:lnTo>
                        <a:pt x="296" y="1788"/>
                      </a:lnTo>
                      <a:lnTo>
                        <a:pt x="296" y="1787"/>
                      </a:lnTo>
                      <a:lnTo>
                        <a:pt x="296" y="1786"/>
                      </a:lnTo>
                      <a:lnTo>
                        <a:pt x="296" y="1786"/>
                      </a:lnTo>
                      <a:lnTo>
                        <a:pt x="296" y="1785"/>
                      </a:lnTo>
                      <a:lnTo>
                        <a:pt x="297" y="1785"/>
                      </a:lnTo>
                      <a:lnTo>
                        <a:pt x="297" y="1784"/>
                      </a:lnTo>
                      <a:lnTo>
                        <a:pt x="298" y="1784"/>
                      </a:lnTo>
                      <a:lnTo>
                        <a:pt x="298" y="1784"/>
                      </a:lnTo>
                      <a:lnTo>
                        <a:pt x="298" y="1783"/>
                      </a:lnTo>
                      <a:lnTo>
                        <a:pt x="298" y="1783"/>
                      </a:lnTo>
                      <a:lnTo>
                        <a:pt x="298" y="1783"/>
                      </a:lnTo>
                      <a:lnTo>
                        <a:pt x="298" y="1782"/>
                      </a:lnTo>
                      <a:lnTo>
                        <a:pt x="298" y="1782"/>
                      </a:lnTo>
                      <a:lnTo>
                        <a:pt x="298" y="1782"/>
                      </a:lnTo>
                      <a:lnTo>
                        <a:pt x="299" y="1781"/>
                      </a:lnTo>
                      <a:lnTo>
                        <a:pt x="299" y="1780"/>
                      </a:lnTo>
                      <a:lnTo>
                        <a:pt x="300" y="1780"/>
                      </a:lnTo>
                      <a:lnTo>
                        <a:pt x="300" y="1779"/>
                      </a:lnTo>
                      <a:lnTo>
                        <a:pt x="300" y="1778"/>
                      </a:lnTo>
                      <a:lnTo>
                        <a:pt x="299" y="1778"/>
                      </a:lnTo>
                      <a:lnTo>
                        <a:pt x="299" y="1778"/>
                      </a:lnTo>
                      <a:lnTo>
                        <a:pt x="299" y="1777"/>
                      </a:lnTo>
                      <a:lnTo>
                        <a:pt x="299" y="1776"/>
                      </a:lnTo>
                      <a:lnTo>
                        <a:pt x="298" y="1776"/>
                      </a:lnTo>
                      <a:lnTo>
                        <a:pt x="298" y="1776"/>
                      </a:lnTo>
                      <a:lnTo>
                        <a:pt x="297" y="1776"/>
                      </a:lnTo>
                      <a:lnTo>
                        <a:pt x="297" y="1775"/>
                      </a:lnTo>
                      <a:lnTo>
                        <a:pt x="297" y="1775"/>
                      </a:lnTo>
                      <a:lnTo>
                        <a:pt x="298" y="1775"/>
                      </a:lnTo>
                      <a:lnTo>
                        <a:pt x="298" y="1774"/>
                      </a:lnTo>
                      <a:lnTo>
                        <a:pt x="298" y="1773"/>
                      </a:lnTo>
                      <a:lnTo>
                        <a:pt x="298" y="1774"/>
                      </a:lnTo>
                      <a:lnTo>
                        <a:pt x="297" y="1774"/>
                      </a:lnTo>
                      <a:lnTo>
                        <a:pt x="296" y="1773"/>
                      </a:lnTo>
                      <a:lnTo>
                        <a:pt x="296" y="1773"/>
                      </a:lnTo>
                      <a:lnTo>
                        <a:pt x="296" y="1771"/>
                      </a:lnTo>
                      <a:lnTo>
                        <a:pt x="296" y="1771"/>
                      </a:lnTo>
                      <a:lnTo>
                        <a:pt x="296" y="1769"/>
                      </a:lnTo>
                      <a:lnTo>
                        <a:pt x="296" y="1767"/>
                      </a:lnTo>
                      <a:lnTo>
                        <a:pt x="297" y="1765"/>
                      </a:lnTo>
                      <a:lnTo>
                        <a:pt x="297" y="1763"/>
                      </a:lnTo>
                      <a:lnTo>
                        <a:pt x="295" y="1763"/>
                      </a:lnTo>
                      <a:lnTo>
                        <a:pt x="295" y="1761"/>
                      </a:lnTo>
                      <a:lnTo>
                        <a:pt x="295" y="1761"/>
                      </a:lnTo>
                      <a:lnTo>
                        <a:pt x="294" y="1759"/>
                      </a:lnTo>
                      <a:lnTo>
                        <a:pt x="294" y="1759"/>
                      </a:lnTo>
                      <a:lnTo>
                        <a:pt x="294" y="1758"/>
                      </a:lnTo>
                      <a:lnTo>
                        <a:pt x="294" y="1757"/>
                      </a:lnTo>
                      <a:lnTo>
                        <a:pt x="293" y="1757"/>
                      </a:lnTo>
                      <a:lnTo>
                        <a:pt x="292" y="1757"/>
                      </a:lnTo>
                      <a:lnTo>
                        <a:pt x="292" y="1756"/>
                      </a:lnTo>
                      <a:lnTo>
                        <a:pt x="291" y="1756"/>
                      </a:lnTo>
                      <a:lnTo>
                        <a:pt x="290" y="1756"/>
                      </a:lnTo>
                      <a:lnTo>
                        <a:pt x="290" y="1756"/>
                      </a:lnTo>
                      <a:lnTo>
                        <a:pt x="289" y="1755"/>
                      </a:lnTo>
                      <a:lnTo>
                        <a:pt x="289" y="1754"/>
                      </a:lnTo>
                      <a:lnTo>
                        <a:pt x="288" y="1754"/>
                      </a:lnTo>
                      <a:lnTo>
                        <a:pt x="289" y="1754"/>
                      </a:lnTo>
                      <a:lnTo>
                        <a:pt x="289" y="1753"/>
                      </a:lnTo>
                      <a:lnTo>
                        <a:pt x="289" y="1752"/>
                      </a:lnTo>
                      <a:lnTo>
                        <a:pt x="288" y="1752"/>
                      </a:lnTo>
                      <a:lnTo>
                        <a:pt x="288" y="1751"/>
                      </a:lnTo>
                      <a:lnTo>
                        <a:pt x="288" y="1750"/>
                      </a:lnTo>
                      <a:lnTo>
                        <a:pt x="288" y="1750"/>
                      </a:lnTo>
                      <a:lnTo>
                        <a:pt x="288" y="1749"/>
                      </a:lnTo>
                      <a:lnTo>
                        <a:pt x="288" y="1748"/>
                      </a:lnTo>
                      <a:lnTo>
                        <a:pt x="288" y="1748"/>
                      </a:lnTo>
                      <a:lnTo>
                        <a:pt x="288" y="1747"/>
                      </a:lnTo>
                      <a:lnTo>
                        <a:pt x="288" y="1746"/>
                      </a:lnTo>
                      <a:lnTo>
                        <a:pt x="288" y="1746"/>
                      </a:lnTo>
                      <a:lnTo>
                        <a:pt x="288" y="1745"/>
                      </a:lnTo>
                      <a:lnTo>
                        <a:pt x="288" y="1744"/>
                      </a:lnTo>
                      <a:lnTo>
                        <a:pt x="288" y="1744"/>
                      </a:lnTo>
                      <a:lnTo>
                        <a:pt x="288" y="1744"/>
                      </a:lnTo>
                      <a:lnTo>
                        <a:pt x="288" y="1743"/>
                      </a:lnTo>
                      <a:lnTo>
                        <a:pt x="288" y="1742"/>
                      </a:lnTo>
                      <a:lnTo>
                        <a:pt x="288" y="1742"/>
                      </a:lnTo>
                      <a:lnTo>
                        <a:pt x="288" y="1742"/>
                      </a:lnTo>
                      <a:lnTo>
                        <a:pt x="288" y="1741"/>
                      </a:lnTo>
                      <a:lnTo>
                        <a:pt x="288" y="1740"/>
                      </a:lnTo>
                      <a:lnTo>
                        <a:pt x="288" y="1740"/>
                      </a:lnTo>
                      <a:lnTo>
                        <a:pt x="288" y="1740"/>
                      </a:lnTo>
                      <a:lnTo>
                        <a:pt x="288" y="1739"/>
                      </a:lnTo>
                      <a:lnTo>
                        <a:pt x="288" y="1738"/>
                      </a:lnTo>
                      <a:lnTo>
                        <a:pt x="288" y="1738"/>
                      </a:lnTo>
                      <a:lnTo>
                        <a:pt x="288" y="1737"/>
                      </a:lnTo>
                      <a:lnTo>
                        <a:pt x="288" y="1736"/>
                      </a:lnTo>
                      <a:lnTo>
                        <a:pt x="288" y="1735"/>
                      </a:lnTo>
                      <a:lnTo>
                        <a:pt x="288" y="1735"/>
                      </a:lnTo>
                      <a:lnTo>
                        <a:pt x="288" y="1734"/>
                      </a:lnTo>
                      <a:lnTo>
                        <a:pt x="287" y="1734"/>
                      </a:lnTo>
                      <a:lnTo>
                        <a:pt x="287" y="1733"/>
                      </a:lnTo>
                      <a:lnTo>
                        <a:pt x="287" y="1733"/>
                      </a:lnTo>
                      <a:lnTo>
                        <a:pt x="287" y="1732"/>
                      </a:lnTo>
                      <a:lnTo>
                        <a:pt x="287" y="1731"/>
                      </a:lnTo>
                      <a:lnTo>
                        <a:pt x="287" y="1731"/>
                      </a:lnTo>
                      <a:lnTo>
                        <a:pt x="287" y="1730"/>
                      </a:lnTo>
                      <a:lnTo>
                        <a:pt x="288" y="1730"/>
                      </a:lnTo>
                      <a:lnTo>
                        <a:pt x="288" y="1729"/>
                      </a:lnTo>
                      <a:lnTo>
                        <a:pt x="288" y="1729"/>
                      </a:lnTo>
                      <a:lnTo>
                        <a:pt x="288" y="1728"/>
                      </a:lnTo>
                      <a:lnTo>
                        <a:pt x="287" y="1727"/>
                      </a:lnTo>
                      <a:lnTo>
                        <a:pt x="287" y="1727"/>
                      </a:lnTo>
                      <a:lnTo>
                        <a:pt x="288" y="1727"/>
                      </a:lnTo>
                      <a:lnTo>
                        <a:pt x="288" y="1726"/>
                      </a:lnTo>
                      <a:lnTo>
                        <a:pt x="288" y="1725"/>
                      </a:lnTo>
                      <a:lnTo>
                        <a:pt x="288" y="1725"/>
                      </a:lnTo>
                      <a:lnTo>
                        <a:pt x="288" y="1724"/>
                      </a:lnTo>
                      <a:lnTo>
                        <a:pt x="288" y="1724"/>
                      </a:lnTo>
                      <a:lnTo>
                        <a:pt x="288" y="1723"/>
                      </a:lnTo>
                      <a:lnTo>
                        <a:pt x="288" y="1723"/>
                      </a:lnTo>
                      <a:lnTo>
                        <a:pt x="288" y="1722"/>
                      </a:lnTo>
                      <a:lnTo>
                        <a:pt x="288" y="1721"/>
                      </a:lnTo>
                      <a:lnTo>
                        <a:pt x="288" y="1721"/>
                      </a:lnTo>
                      <a:lnTo>
                        <a:pt x="288" y="1721"/>
                      </a:lnTo>
                      <a:lnTo>
                        <a:pt x="288" y="1721"/>
                      </a:lnTo>
                      <a:lnTo>
                        <a:pt x="288" y="1720"/>
                      </a:lnTo>
                      <a:lnTo>
                        <a:pt x="288" y="1719"/>
                      </a:lnTo>
                      <a:lnTo>
                        <a:pt x="288" y="1719"/>
                      </a:lnTo>
                      <a:lnTo>
                        <a:pt x="288" y="1718"/>
                      </a:lnTo>
                      <a:lnTo>
                        <a:pt x="289" y="1718"/>
                      </a:lnTo>
                      <a:lnTo>
                        <a:pt x="289" y="1717"/>
                      </a:lnTo>
                      <a:lnTo>
                        <a:pt x="289" y="1716"/>
                      </a:lnTo>
                      <a:lnTo>
                        <a:pt x="289" y="1716"/>
                      </a:lnTo>
                      <a:lnTo>
                        <a:pt x="290" y="1716"/>
                      </a:lnTo>
                      <a:lnTo>
                        <a:pt x="290" y="1715"/>
                      </a:lnTo>
                      <a:lnTo>
                        <a:pt x="289" y="1714"/>
                      </a:lnTo>
                      <a:lnTo>
                        <a:pt x="289" y="1714"/>
                      </a:lnTo>
                      <a:lnTo>
                        <a:pt x="290" y="1713"/>
                      </a:lnTo>
                      <a:lnTo>
                        <a:pt x="290" y="1712"/>
                      </a:lnTo>
                      <a:lnTo>
                        <a:pt x="290" y="1712"/>
                      </a:lnTo>
                      <a:lnTo>
                        <a:pt x="290" y="1712"/>
                      </a:lnTo>
                      <a:lnTo>
                        <a:pt x="290" y="1711"/>
                      </a:lnTo>
                      <a:lnTo>
                        <a:pt x="291" y="1711"/>
                      </a:lnTo>
                      <a:lnTo>
                        <a:pt x="290" y="1710"/>
                      </a:lnTo>
                      <a:lnTo>
                        <a:pt x="290" y="1710"/>
                      </a:lnTo>
                      <a:lnTo>
                        <a:pt x="291" y="1710"/>
                      </a:lnTo>
                      <a:lnTo>
                        <a:pt x="291" y="1709"/>
                      </a:lnTo>
                      <a:lnTo>
                        <a:pt x="291" y="1708"/>
                      </a:lnTo>
                      <a:lnTo>
                        <a:pt x="291" y="1708"/>
                      </a:lnTo>
                      <a:lnTo>
                        <a:pt x="291" y="1707"/>
                      </a:lnTo>
                      <a:lnTo>
                        <a:pt x="291" y="1706"/>
                      </a:lnTo>
                      <a:lnTo>
                        <a:pt x="291" y="1706"/>
                      </a:lnTo>
                      <a:lnTo>
                        <a:pt x="291" y="1705"/>
                      </a:lnTo>
                      <a:lnTo>
                        <a:pt x="291" y="1704"/>
                      </a:lnTo>
                      <a:lnTo>
                        <a:pt x="290" y="1704"/>
                      </a:lnTo>
                      <a:lnTo>
                        <a:pt x="290" y="1704"/>
                      </a:lnTo>
                      <a:lnTo>
                        <a:pt x="290" y="1703"/>
                      </a:lnTo>
                      <a:lnTo>
                        <a:pt x="290" y="1702"/>
                      </a:lnTo>
                      <a:lnTo>
                        <a:pt x="290" y="1702"/>
                      </a:lnTo>
                      <a:lnTo>
                        <a:pt x="291" y="1702"/>
                      </a:lnTo>
                      <a:lnTo>
                        <a:pt x="291" y="1701"/>
                      </a:lnTo>
                      <a:lnTo>
                        <a:pt x="290" y="1701"/>
                      </a:lnTo>
                      <a:lnTo>
                        <a:pt x="290" y="1700"/>
                      </a:lnTo>
                      <a:lnTo>
                        <a:pt x="290" y="1700"/>
                      </a:lnTo>
                      <a:lnTo>
                        <a:pt x="290" y="1699"/>
                      </a:lnTo>
                      <a:lnTo>
                        <a:pt x="290" y="1698"/>
                      </a:lnTo>
                      <a:lnTo>
                        <a:pt x="290" y="1698"/>
                      </a:lnTo>
                      <a:lnTo>
                        <a:pt x="290" y="1697"/>
                      </a:lnTo>
                      <a:lnTo>
                        <a:pt x="290" y="1697"/>
                      </a:lnTo>
                      <a:lnTo>
                        <a:pt x="290" y="1696"/>
                      </a:lnTo>
                      <a:lnTo>
                        <a:pt x="290" y="1695"/>
                      </a:lnTo>
                      <a:lnTo>
                        <a:pt x="290" y="1695"/>
                      </a:lnTo>
                      <a:lnTo>
                        <a:pt x="290" y="1694"/>
                      </a:lnTo>
                      <a:lnTo>
                        <a:pt x="290" y="1693"/>
                      </a:lnTo>
                      <a:lnTo>
                        <a:pt x="290" y="1693"/>
                      </a:lnTo>
                      <a:lnTo>
                        <a:pt x="291" y="1693"/>
                      </a:lnTo>
                      <a:lnTo>
                        <a:pt x="291" y="1692"/>
                      </a:lnTo>
                      <a:lnTo>
                        <a:pt x="292" y="1691"/>
                      </a:lnTo>
                      <a:lnTo>
                        <a:pt x="292" y="1691"/>
                      </a:lnTo>
                      <a:lnTo>
                        <a:pt x="292" y="1690"/>
                      </a:lnTo>
                      <a:lnTo>
                        <a:pt x="292" y="1689"/>
                      </a:lnTo>
                      <a:lnTo>
                        <a:pt x="292" y="1689"/>
                      </a:lnTo>
                      <a:lnTo>
                        <a:pt x="292" y="1689"/>
                      </a:lnTo>
                      <a:lnTo>
                        <a:pt x="292" y="1688"/>
                      </a:lnTo>
                      <a:lnTo>
                        <a:pt x="292" y="1687"/>
                      </a:lnTo>
                      <a:lnTo>
                        <a:pt x="292" y="1687"/>
                      </a:lnTo>
                      <a:lnTo>
                        <a:pt x="292" y="1686"/>
                      </a:lnTo>
                      <a:lnTo>
                        <a:pt x="292" y="1685"/>
                      </a:lnTo>
                      <a:lnTo>
                        <a:pt x="292" y="1685"/>
                      </a:lnTo>
                      <a:lnTo>
                        <a:pt x="292" y="1684"/>
                      </a:lnTo>
                      <a:lnTo>
                        <a:pt x="292" y="1684"/>
                      </a:lnTo>
                      <a:lnTo>
                        <a:pt x="292" y="1683"/>
                      </a:lnTo>
                      <a:lnTo>
                        <a:pt x="292" y="1683"/>
                      </a:lnTo>
                      <a:lnTo>
                        <a:pt x="292" y="1682"/>
                      </a:lnTo>
                      <a:lnTo>
                        <a:pt x="292" y="1681"/>
                      </a:lnTo>
                      <a:lnTo>
                        <a:pt x="292" y="1681"/>
                      </a:lnTo>
                      <a:lnTo>
                        <a:pt x="292" y="1680"/>
                      </a:lnTo>
                      <a:lnTo>
                        <a:pt x="292" y="1679"/>
                      </a:lnTo>
                      <a:lnTo>
                        <a:pt x="291" y="1679"/>
                      </a:lnTo>
                      <a:lnTo>
                        <a:pt x="291" y="1679"/>
                      </a:lnTo>
                      <a:lnTo>
                        <a:pt x="291" y="1678"/>
                      </a:lnTo>
                      <a:lnTo>
                        <a:pt x="290" y="1678"/>
                      </a:lnTo>
                      <a:lnTo>
                        <a:pt x="290" y="1677"/>
                      </a:lnTo>
                      <a:lnTo>
                        <a:pt x="290" y="1676"/>
                      </a:lnTo>
                      <a:lnTo>
                        <a:pt x="290" y="1676"/>
                      </a:lnTo>
                      <a:lnTo>
                        <a:pt x="290" y="1675"/>
                      </a:lnTo>
                      <a:lnTo>
                        <a:pt x="290" y="1675"/>
                      </a:lnTo>
                      <a:lnTo>
                        <a:pt x="290" y="1674"/>
                      </a:lnTo>
                      <a:lnTo>
                        <a:pt x="290" y="1674"/>
                      </a:lnTo>
                      <a:lnTo>
                        <a:pt x="290" y="1673"/>
                      </a:lnTo>
                      <a:lnTo>
                        <a:pt x="290" y="1672"/>
                      </a:lnTo>
                      <a:lnTo>
                        <a:pt x="290" y="1672"/>
                      </a:lnTo>
                      <a:lnTo>
                        <a:pt x="290" y="1671"/>
                      </a:lnTo>
                      <a:lnTo>
                        <a:pt x="290" y="1670"/>
                      </a:lnTo>
                      <a:lnTo>
                        <a:pt x="290" y="1670"/>
                      </a:lnTo>
                      <a:lnTo>
                        <a:pt x="290" y="1670"/>
                      </a:lnTo>
                      <a:lnTo>
                        <a:pt x="290" y="1669"/>
                      </a:lnTo>
                      <a:lnTo>
                        <a:pt x="290" y="1668"/>
                      </a:lnTo>
                      <a:lnTo>
                        <a:pt x="290" y="1668"/>
                      </a:lnTo>
                      <a:lnTo>
                        <a:pt x="290" y="1667"/>
                      </a:lnTo>
                      <a:lnTo>
                        <a:pt x="290" y="1666"/>
                      </a:lnTo>
                      <a:lnTo>
                        <a:pt x="290" y="1666"/>
                      </a:lnTo>
                      <a:lnTo>
                        <a:pt x="290" y="1665"/>
                      </a:lnTo>
                      <a:lnTo>
                        <a:pt x="290" y="1664"/>
                      </a:lnTo>
                      <a:lnTo>
                        <a:pt x="290" y="1664"/>
                      </a:lnTo>
                      <a:lnTo>
                        <a:pt x="290" y="1663"/>
                      </a:lnTo>
                      <a:lnTo>
                        <a:pt x="290" y="1662"/>
                      </a:lnTo>
                      <a:lnTo>
                        <a:pt x="290" y="1662"/>
                      </a:lnTo>
                      <a:lnTo>
                        <a:pt x="290" y="1661"/>
                      </a:lnTo>
                      <a:lnTo>
                        <a:pt x="290" y="1660"/>
                      </a:lnTo>
                      <a:lnTo>
                        <a:pt x="290" y="1660"/>
                      </a:lnTo>
                      <a:lnTo>
                        <a:pt x="289" y="1659"/>
                      </a:lnTo>
                      <a:lnTo>
                        <a:pt x="289" y="1658"/>
                      </a:lnTo>
                      <a:lnTo>
                        <a:pt x="289" y="1657"/>
                      </a:lnTo>
                      <a:lnTo>
                        <a:pt x="290" y="1657"/>
                      </a:lnTo>
                      <a:lnTo>
                        <a:pt x="290" y="1657"/>
                      </a:lnTo>
                      <a:lnTo>
                        <a:pt x="290" y="1656"/>
                      </a:lnTo>
                      <a:lnTo>
                        <a:pt x="290" y="1655"/>
                      </a:lnTo>
                      <a:lnTo>
                        <a:pt x="290" y="1655"/>
                      </a:lnTo>
                      <a:lnTo>
                        <a:pt x="290" y="1654"/>
                      </a:lnTo>
                      <a:lnTo>
                        <a:pt x="290" y="1653"/>
                      </a:lnTo>
                      <a:lnTo>
                        <a:pt x="290" y="1653"/>
                      </a:lnTo>
                      <a:lnTo>
                        <a:pt x="290" y="1652"/>
                      </a:lnTo>
                      <a:lnTo>
                        <a:pt x="290" y="1651"/>
                      </a:lnTo>
                      <a:lnTo>
                        <a:pt x="290" y="1651"/>
                      </a:lnTo>
                      <a:lnTo>
                        <a:pt x="290" y="1651"/>
                      </a:lnTo>
                      <a:lnTo>
                        <a:pt x="290" y="1650"/>
                      </a:lnTo>
                      <a:lnTo>
                        <a:pt x="290" y="1649"/>
                      </a:lnTo>
                      <a:lnTo>
                        <a:pt x="290" y="1649"/>
                      </a:lnTo>
                      <a:lnTo>
                        <a:pt x="290" y="1649"/>
                      </a:lnTo>
                      <a:lnTo>
                        <a:pt x="290" y="1648"/>
                      </a:lnTo>
                      <a:lnTo>
                        <a:pt x="290" y="1647"/>
                      </a:lnTo>
                      <a:lnTo>
                        <a:pt x="290" y="1647"/>
                      </a:lnTo>
                      <a:lnTo>
                        <a:pt x="290" y="1647"/>
                      </a:lnTo>
                      <a:lnTo>
                        <a:pt x="290" y="1646"/>
                      </a:lnTo>
                      <a:lnTo>
                        <a:pt x="290" y="1645"/>
                      </a:lnTo>
                      <a:lnTo>
                        <a:pt x="290" y="1645"/>
                      </a:lnTo>
                      <a:lnTo>
                        <a:pt x="290" y="1644"/>
                      </a:lnTo>
                      <a:lnTo>
                        <a:pt x="290" y="1643"/>
                      </a:lnTo>
                      <a:lnTo>
                        <a:pt x="291" y="1643"/>
                      </a:lnTo>
                      <a:lnTo>
                        <a:pt x="291" y="1643"/>
                      </a:lnTo>
                      <a:lnTo>
                        <a:pt x="291" y="1642"/>
                      </a:lnTo>
                      <a:lnTo>
                        <a:pt x="291" y="1641"/>
                      </a:lnTo>
                      <a:lnTo>
                        <a:pt x="291" y="1641"/>
                      </a:lnTo>
                      <a:lnTo>
                        <a:pt x="291" y="1640"/>
                      </a:lnTo>
                      <a:lnTo>
                        <a:pt x="291" y="1639"/>
                      </a:lnTo>
                      <a:lnTo>
                        <a:pt x="292" y="1639"/>
                      </a:lnTo>
                      <a:lnTo>
                        <a:pt x="292" y="1638"/>
                      </a:lnTo>
                      <a:lnTo>
                        <a:pt x="292" y="1638"/>
                      </a:lnTo>
                      <a:lnTo>
                        <a:pt x="292" y="1637"/>
                      </a:lnTo>
                      <a:lnTo>
                        <a:pt x="292" y="1636"/>
                      </a:lnTo>
                      <a:lnTo>
                        <a:pt x="292" y="1636"/>
                      </a:lnTo>
                      <a:lnTo>
                        <a:pt x="292" y="1636"/>
                      </a:lnTo>
                      <a:lnTo>
                        <a:pt x="293" y="1636"/>
                      </a:lnTo>
                      <a:lnTo>
                        <a:pt x="293" y="1635"/>
                      </a:lnTo>
                      <a:lnTo>
                        <a:pt x="293" y="1634"/>
                      </a:lnTo>
                      <a:lnTo>
                        <a:pt x="293" y="1634"/>
                      </a:lnTo>
                      <a:lnTo>
                        <a:pt x="294" y="1634"/>
                      </a:lnTo>
                      <a:lnTo>
                        <a:pt x="294" y="1633"/>
                      </a:lnTo>
                      <a:lnTo>
                        <a:pt x="294" y="1632"/>
                      </a:lnTo>
                      <a:lnTo>
                        <a:pt x="294" y="1632"/>
                      </a:lnTo>
                      <a:lnTo>
                        <a:pt x="294" y="1631"/>
                      </a:lnTo>
                      <a:lnTo>
                        <a:pt x="294" y="1630"/>
                      </a:lnTo>
                      <a:lnTo>
                        <a:pt x="294" y="1630"/>
                      </a:lnTo>
                      <a:lnTo>
                        <a:pt x="294" y="1630"/>
                      </a:lnTo>
                      <a:lnTo>
                        <a:pt x="294" y="1629"/>
                      </a:lnTo>
                      <a:lnTo>
                        <a:pt x="293" y="1629"/>
                      </a:lnTo>
                      <a:lnTo>
                        <a:pt x="293" y="1628"/>
                      </a:lnTo>
                      <a:lnTo>
                        <a:pt x="293" y="1628"/>
                      </a:lnTo>
                      <a:lnTo>
                        <a:pt x="292" y="1628"/>
                      </a:lnTo>
                      <a:lnTo>
                        <a:pt x="293" y="1628"/>
                      </a:lnTo>
                      <a:lnTo>
                        <a:pt x="293" y="1627"/>
                      </a:lnTo>
                      <a:lnTo>
                        <a:pt x="293" y="1626"/>
                      </a:lnTo>
                      <a:lnTo>
                        <a:pt x="293" y="1626"/>
                      </a:lnTo>
                      <a:lnTo>
                        <a:pt x="293" y="1625"/>
                      </a:lnTo>
                      <a:lnTo>
                        <a:pt x="293" y="1624"/>
                      </a:lnTo>
                      <a:lnTo>
                        <a:pt x="293" y="1624"/>
                      </a:lnTo>
                      <a:lnTo>
                        <a:pt x="293" y="1623"/>
                      </a:lnTo>
                      <a:lnTo>
                        <a:pt x="293" y="1622"/>
                      </a:lnTo>
                      <a:lnTo>
                        <a:pt x="293" y="1622"/>
                      </a:lnTo>
                      <a:lnTo>
                        <a:pt x="293" y="1621"/>
                      </a:lnTo>
                      <a:lnTo>
                        <a:pt x="294" y="1621"/>
                      </a:lnTo>
                      <a:lnTo>
                        <a:pt x="294" y="1620"/>
                      </a:lnTo>
                      <a:lnTo>
                        <a:pt x="294" y="1620"/>
                      </a:lnTo>
                      <a:lnTo>
                        <a:pt x="294" y="1619"/>
                      </a:lnTo>
                      <a:lnTo>
                        <a:pt x="295" y="1619"/>
                      </a:lnTo>
                      <a:lnTo>
                        <a:pt x="295" y="1618"/>
                      </a:lnTo>
                      <a:lnTo>
                        <a:pt x="295" y="1619"/>
                      </a:lnTo>
                      <a:lnTo>
                        <a:pt x="296" y="1619"/>
                      </a:lnTo>
                      <a:lnTo>
                        <a:pt x="296" y="1618"/>
                      </a:lnTo>
                      <a:lnTo>
                        <a:pt x="296" y="1617"/>
                      </a:lnTo>
                      <a:lnTo>
                        <a:pt x="296" y="1617"/>
                      </a:lnTo>
                      <a:lnTo>
                        <a:pt x="296" y="1617"/>
                      </a:lnTo>
                      <a:lnTo>
                        <a:pt x="296" y="1616"/>
                      </a:lnTo>
                      <a:lnTo>
                        <a:pt x="296" y="1616"/>
                      </a:lnTo>
                      <a:lnTo>
                        <a:pt x="296" y="1615"/>
                      </a:lnTo>
                      <a:lnTo>
                        <a:pt x="295" y="1615"/>
                      </a:lnTo>
                      <a:lnTo>
                        <a:pt x="295" y="1615"/>
                      </a:lnTo>
                      <a:lnTo>
                        <a:pt x="294" y="1615"/>
                      </a:lnTo>
                      <a:lnTo>
                        <a:pt x="294" y="1614"/>
                      </a:lnTo>
                      <a:lnTo>
                        <a:pt x="294" y="1613"/>
                      </a:lnTo>
                      <a:lnTo>
                        <a:pt x="294" y="1613"/>
                      </a:lnTo>
                      <a:lnTo>
                        <a:pt x="293" y="1613"/>
                      </a:lnTo>
                      <a:lnTo>
                        <a:pt x="293" y="1612"/>
                      </a:lnTo>
                      <a:lnTo>
                        <a:pt x="293" y="1611"/>
                      </a:lnTo>
                      <a:lnTo>
                        <a:pt x="292" y="1611"/>
                      </a:lnTo>
                      <a:lnTo>
                        <a:pt x="292" y="1611"/>
                      </a:lnTo>
                      <a:lnTo>
                        <a:pt x="292" y="1611"/>
                      </a:lnTo>
                      <a:lnTo>
                        <a:pt x="292" y="1610"/>
                      </a:lnTo>
                      <a:lnTo>
                        <a:pt x="292" y="1609"/>
                      </a:lnTo>
                      <a:lnTo>
                        <a:pt x="292" y="1609"/>
                      </a:lnTo>
                      <a:lnTo>
                        <a:pt x="292" y="1608"/>
                      </a:lnTo>
                      <a:lnTo>
                        <a:pt x="292" y="1607"/>
                      </a:lnTo>
                      <a:lnTo>
                        <a:pt x="292" y="1607"/>
                      </a:lnTo>
                      <a:lnTo>
                        <a:pt x="291" y="1606"/>
                      </a:lnTo>
                      <a:lnTo>
                        <a:pt x="292" y="1606"/>
                      </a:lnTo>
                      <a:lnTo>
                        <a:pt x="292" y="1605"/>
                      </a:lnTo>
                      <a:lnTo>
                        <a:pt x="291" y="1605"/>
                      </a:lnTo>
                      <a:lnTo>
                        <a:pt x="291" y="1605"/>
                      </a:lnTo>
                      <a:lnTo>
                        <a:pt x="291" y="1604"/>
                      </a:lnTo>
                      <a:lnTo>
                        <a:pt x="292" y="1604"/>
                      </a:lnTo>
                      <a:lnTo>
                        <a:pt x="292" y="1603"/>
                      </a:lnTo>
                      <a:lnTo>
                        <a:pt x="292" y="1604"/>
                      </a:lnTo>
                      <a:lnTo>
                        <a:pt x="292" y="1603"/>
                      </a:lnTo>
                      <a:lnTo>
                        <a:pt x="292" y="1603"/>
                      </a:lnTo>
                      <a:lnTo>
                        <a:pt x="292" y="1602"/>
                      </a:lnTo>
                      <a:lnTo>
                        <a:pt x="292" y="1602"/>
                      </a:lnTo>
                      <a:lnTo>
                        <a:pt x="292" y="1601"/>
                      </a:lnTo>
                      <a:lnTo>
                        <a:pt x="292" y="1601"/>
                      </a:lnTo>
                      <a:lnTo>
                        <a:pt x="292" y="1601"/>
                      </a:lnTo>
                      <a:lnTo>
                        <a:pt x="292" y="1600"/>
                      </a:lnTo>
                      <a:lnTo>
                        <a:pt x="292" y="1599"/>
                      </a:lnTo>
                      <a:lnTo>
                        <a:pt x="292" y="1598"/>
                      </a:lnTo>
                      <a:lnTo>
                        <a:pt x="292" y="1598"/>
                      </a:lnTo>
                      <a:lnTo>
                        <a:pt x="292" y="1597"/>
                      </a:lnTo>
                      <a:lnTo>
                        <a:pt x="292" y="1596"/>
                      </a:lnTo>
                      <a:lnTo>
                        <a:pt x="292" y="1596"/>
                      </a:lnTo>
                      <a:lnTo>
                        <a:pt x="292" y="1596"/>
                      </a:lnTo>
                      <a:lnTo>
                        <a:pt x="292" y="1595"/>
                      </a:lnTo>
                      <a:lnTo>
                        <a:pt x="292" y="1594"/>
                      </a:lnTo>
                      <a:lnTo>
                        <a:pt x="292" y="1594"/>
                      </a:lnTo>
                      <a:lnTo>
                        <a:pt x="292" y="1594"/>
                      </a:lnTo>
                      <a:lnTo>
                        <a:pt x="293" y="1593"/>
                      </a:lnTo>
                      <a:lnTo>
                        <a:pt x="294" y="1593"/>
                      </a:lnTo>
                      <a:lnTo>
                        <a:pt x="293" y="1592"/>
                      </a:lnTo>
                      <a:lnTo>
                        <a:pt x="293" y="1592"/>
                      </a:lnTo>
                      <a:lnTo>
                        <a:pt x="293" y="1591"/>
                      </a:lnTo>
                      <a:lnTo>
                        <a:pt x="293" y="1590"/>
                      </a:lnTo>
                      <a:lnTo>
                        <a:pt x="293" y="1589"/>
                      </a:lnTo>
                      <a:lnTo>
                        <a:pt x="294" y="1588"/>
                      </a:lnTo>
                      <a:lnTo>
                        <a:pt x="294" y="1587"/>
                      </a:lnTo>
                      <a:lnTo>
                        <a:pt x="292" y="1585"/>
                      </a:lnTo>
                      <a:lnTo>
                        <a:pt x="292" y="1584"/>
                      </a:lnTo>
                      <a:lnTo>
                        <a:pt x="293" y="1584"/>
                      </a:lnTo>
                      <a:lnTo>
                        <a:pt x="291" y="1578"/>
                      </a:lnTo>
                      <a:lnTo>
                        <a:pt x="290" y="1577"/>
                      </a:lnTo>
                      <a:lnTo>
                        <a:pt x="290" y="1575"/>
                      </a:lnTo>
                      <a:lnTo>
                        <a:pt x="290" y="1575"/>
                      </a:lnTo>
                      <a:lnTo>
                        <a:pt x="290" y="1573"/>
                      </a:lnTo>
                      <a:lnTo>
                        <a:pt x="290" y="1572"/>
                      </a:lnTo>
                      <a:lnTo>
                        <a:pt x="290" y="1571"/>
                      </a:lnTo>
                      <a:lnTo>
                        <a:pt x="290" y="1571"/>
                      </a:lnTo>
                      <a:lnTo>
                        <a:pt x="289" y="1570"/>
                      </a:lnTo>
                      <a:lnTo>
                        <a:pt x="289" y="1569"/>
                      </a:lnTo>
                      <a:lnTo>
                        <a:pt x="290" y="1569"/>
                      </a:lnTo>
                      <a:lnTo>
                        <a:pt x="290" y="1568"/>
                      </a:lnTo>
                      <a:lnTo>
                        <a:pt x="290" y="1567"/>
                      </a:lnTo>
                      <a:lnTo>
                        <a:pt x="290" y="1566"/>
                      </a:lnTo>
                      <a:lnTo>
                        <a:pt x="290" y="1565"/>
                      </a:lnTo>
                      <a:lnTo>
                        <a:pt x="290" y="1565"/>
                      </a:lnTo>
                      <a:lnTo>
                        <a:pt x="289" y="1564"/>
                      </a:lnTo>
                      <a:lnTo>
                        <a:pt x="288" y="1563"/>
                      </a:lnTo>
                      <a:lnTo>
                        <a:pt x="288" y="1563"/>
                      </a:lnTo>
                      <a:lnTo>
                        <a:pt x="288" y="1562"/>
                      </a:lnTo>
                      <a:lnTo>
                        <a:pt x="289" y="1562"/>
                      </a:lnTo>
                      <a:lnTo>
                        <a:pt x="289" y="1561"/>
                      </a:lnTo>
                      <a:lnTo>
                        <a:pt x="289" y="1561"/>
                      </a:lnTo>
                      <a:lnTo>
                        <a:pt x="290" y="1561"/>
                      </a:lnTo>
                      <a:lnTo>
                        <a:pt x="290" y="1560"/>
                      </a:lnTo>
                      <a:lnTo>
                        <a:pt x="290" y="1560"/>
                      </a:lnTo>
                      <a:lnTo>
                        <a:pt x="290" y="1559"/>
                      </a:lnTo>
                      <a:lnTo>
                        <a:pt x="291" y="1559"/>
                      </a:lnTo>
                      <a:lnTo>
                        <a:pt x="291" y="1558"/>
                      </a:lnTo>
                      <a:lnTo>
                        <a:pt x="290" y="1558"/>
                      </a:lnTo>
                      <a:lnTo>
                        <a:pt x="290" y="1558"/>
                      </a:lnTo>
                      <a:lnTo>
                        <a:pt x="290" y="1557"/>
                      </a:lnTo>
                      <a:lnTo>
                        <a:pt x="290" y="1557"/>
                      </a:lnTo>
                      <a:lnTo>
                        <a:pt x="290" y="1556"/>
                      </a:lnTo>
                      <a:lnTo>
                        <a:pt x="289" y="1556"/>
                      </a:lnTo>
                      <a:lnTo>
                        <a:pt x="289" y="1556"/>
                      </a:lnTo>
                      <a:lnTo>
                        <a:pt x="288" y="1556"/>
                      </a:lnTo>
                      <a:lnTo>
                        <a:pt x="288" y="1556"/>
                      </a:lnTo>
                      <a:lnTo>
                        <a:pt x="288" y="1555"/>
                      </a:lnTo>
                      <a:lnTo>
                        <a:pt x="288" y="1554"/>
                      </a:lnTo>
                      <a:lnTo>
                        <a:pt x="288" y="1554"/>
                      </a:lnTo>
                      <a:lnTo>
                        <a:pt x="288" y="1553"/>
                      </a:lnTo>
                      <a:lnTo>
                        <a:pt x="287" y="1552"/>
                      </a:lnTo>
                      <a:lnTo>
                        <a:pt x="287" y="1552"/>
                      </a:lnTo>
                      <a:lnTo>
                        <a:pt x="287" y="1551"/>
                      </a:lnTo>
                      <a:lnTo>
                        <a:pt x="288" y="1551"/>
                      </a:lnTo>
                      <a:lnTo>
                        <a:pt x="288" y="1550"/>
                      </a:lnTo>
                      <a:lnTo>
                        <a:pt x="288" y="1550"/>
                      </a:lnTo>
                      <a:lnTo>
                        <a:pt x="288" y="1550"/>
                      </a:lnTo>
                      <a:lnTo>
                        <a:pt x="288" y="1550"/>
                      </a:lnTo>
                      <a:lnTo>
                        <a:pt x="288" y="1549"/>
                      </a:lnTo>
                      <a:lnTo>
                        <a:pt x="288" y="1549"/>
                      </a:lnTo>
                      <a:lnTo>
                        <a:pt x="288" y="1548"/>
                      </a:lnTo>
                      <a:lnTo>
                        <a:pt x="289" y="1548"/>
                      </a:lnTo>
                      <a:lnTo>
                        <a:pt x="289" y="1548"/>
                      </a:lnTo>
                      <a:lnTo>
                        <a:pt x="289" y="1544"/>
                      </a:lnTo>
                      <a:lnTo>
                        <a:pt x="290" y="1543"/>
                      </a:lnTo>
                      <a:lnTo>
                        <a:pt x="289" y="1542"/>
                      </a:lnTo>
                      <a:lnTo>
                        <a:pt x="289" y="1533"/>
                      </a:lnTo>
                      <a:lnTo>
                        <a:pt x="290" y="1531"/>
                      </a:lnTo>
                      <a:lnTo>
                        <a:pt x="290" y="1528"/>
                      </a:lnTo>
                      <a:lnTo>
                        <a:pt x="288" y="1526"/>
                      </a:lnTo>
                      <a:lnTo>
                        <a:pt x="288" y="1523"/>
                      </a:lnTo>
                      <a:lnTo>
                        <a:pt x="288" y="1521"/>
                      </a:lnTo>
                      <a:lnTo>
                        <a:pt x="287" y="1519"/>
                      </a:lnTo>
                      <a:lnTo>
                        <a:pt x="285" y="1517"/>
                      </a:lnTo>
                      <a:lnTo>
                        <a:pt x="284" y="1516"/>
                      </a:lnTo>
                      <a:lnTo>
                        <a:pt x="284" y="1514"/>
                      </a:lnTo>
                      <a:lnTo>
                        <a:pt x="284" y="1514"/>
                      </a:lnTo>
                      <a:lnTo>
                        <a:pt x="285" y="1514"/>
                      </a:lnTo>
                      <a:lnTo>
                        <a:pt x="285" y="1513"/>
                      </a:lnTo>
                      <a:lnTo>
                        <a:pt x="284" y="1512"/>
                      </a:lnTo>
                      <a:lnTo>
                        <a:pt x="284" y="1511"/>
                      </a:lnTo>
                      <a:lnTo>
                        <a:pt x="284" y="1510"/>
                      </a:lnTo>
                      <a:lnTo>
                        <a:pt x="284" y="1509"/>
                      </a:lnTo>
                      <a:lnTo>
                        <a:pt x="283" y="1508"/>
                      </a:lnTo>
                      <a:lnTo>
                        <a:pt x="283" y="1508"/>
                      </a:lnTo>
                      <a:lnTo>
                        <a:pt x="283" y="1507"/>
                      </a:lnTo>
                      <a:lnTo>
                        <a:pt x="282" y="1506"/>
                      </a:lnTo>
                      <a:lnTo>
                        <a:pt x="283" y="1504"/>
                      </a:lnTo>
                      <a:lnTo>
                        <a:pt x="283" y="1504"/>
                      </a:lnTo>
                      <a:lnTo>
                        <a:pt x="283" y="1503"/>
                      </a:lnTo>
                      <a:lnTo>
                        <a:pt x="283" y="1502"/>
                      </a:lnTo>
                      <a:lnTo>
                        <a:pt x="284" y="1500"/>
                      </a:lnTo>
                      <a:lnTo>
                        <a:pt x="284" y="1498"/>
                      </a:lnTo>
                      <a:lnTo>
                        <a:pt x="285" y="1498"/>
                      </a:lnTo>
                      <a:lnTo>
                        <a:pt x="285" y="1497"/>
                      </a:lnTo>
                      <a:lnTo>
                        <a:pt x="285" y="1495"/>
                      </a:lnTo>
                      <a:lnTo>
                        <a:pt x="285" y="1494"/>
                      </a:lnTo>
                      <a:lnTo>
                        <a:pt x="286" y="1493"/>
                      </a:lnTo>
                      <a:lnTo>
                        <a:pt x="286" y="1493"/>
                      </a:lnTo>
                      <a:lnTo>
                        <a:pt x="286" y="1492"/>
                      </a:lnTo>
                      <a:lnTo>
                        <a:pt x="287" y="1492"/>
                      </a:lnTo>
                      <a:lnTo>
                        <a:pt x="287" y="1491"/>
                      </a:lnTo>
                      <a:lnTo>
                        <a:pt x="288" y="1491"/>
                      </a:lnTo>
                      <a:lnTo>
                        <a:pt x="288" y="1491"/>
                      </a:lnTo>
                      <a:lnTo>
                        <a:pt x="288" y="1491"/>
                      </a:lnTo>
                      <a:lnTo>
                        <a:pt x="288" y="1490"/>
                      </a:lnTo>
                      <a:lnTo>
                        <a:pt x="289" y="1490"/>
                      </a:lnTo>
                      <a:lnTo>
                        <a:pt x="289" y="1489"/>
                      </a:lnTo>
                      <a:lnTo>
                        <a:pt x="289" y="1489"/>
                      </a:lnTo>
                      <a:lnTo>
                        <a:pt x="289" y="1488"/>
                      </a:lnTo>
                      <a:lnTo>
                        <a:pt x="289" y="1487"/>
                      </a:lnTo>
                      <a:lnTo>
                        <a:pt x="289" y="1487"/>
                      </a:lnTo>
                      <a:lnTo>
                        <a:pt x="289" y="1486"/>
                      </a:lnTo>
                      <a:lnTo>
                        <a:pt x="289" y="1485"/>
                      </a:lnTo>
                      <a:lnTo>
                        <a:pt x="289" y="1485"/>
                      </a:lnTo>
                      <a:lnTo>
                        <a:pt x="290" y="1485"/>
                      </a:lnTo>
                      <a:lnTo>
                        <a:pt x="290" y="1485"/>
                      </a:lnTo>
                      <a:lnTo>
                        <a:pt x="290" y="1484"/>
                      </a:lnTo>
                      <a:lnTo>
                        <a:pt x="290" y="1483"/>
                      </a:lnTo>
                      <a:lnTo>
                        <a:pt x="290" y="1483"/>
                      </a:lnTo>
                      <a:lnTo>
                        <a:pt x="290" y="1483"/>
                      </a:lnTo>
                      <a:lnTo>
                        <a:pt x="290" y="1483"/>
                      </a:lnTo>
                      <a:lnTo>
                        <a:pt x="290" y="1483"/>
                      </a:lnTo>
                      <a:lnTo>
                        <a:pt x="290" y="1482"/>
                      </a:lnTo>
                      <a:lnTo>
                        <a:pt x="290" y="1482"/>
                      </a:lnTo>
                      <a:lnTo>
                        <a:pt x="290" y="1481"/>
                      </a:lnTo>
                      <a:lnTo>
                        <a:pt x="290" y="1480"/>
                      </a:lnTo>
                      <a:lnTo>
                        <a:pt x="291" y="1480"/>
                      </a:lnTo>
                      <a:lnTo>
                        <a:pt x="291" y="1480"/>
                      </a:lnTo>
                      <a:lnTo>
                        <a:pt x="291" y="1479"/>
                      </a:lnTo>
                      <a:lnTo>
                        <a:pt x="291" y="1478"/>
                      </a:lnTo>
                      <a:lnTo>
                        <a:pt x="290" y="1478"/>
                      </a:lnTo>
                      <a:lnTo>
                        <a:pt x="291" y="1478"/>
                      </a:lnTo>
                      <a:lnTo>
                        <a:pt x="291" y="1477"/>
                      </a:lnTo>
                      <a:lnTo>
                        <a:pt x="291" y="1476"/>
                      </a:lnTo>
                      <a:lnTo>
                        <a:pt x="292" y="1476"/>
                      </a:lnTo>
                      <a:lnTo>
                        <a:pt x="292" y="1476"/>
                      </a:lnTo>
                      <a:lnTo>
                        <a:pt x="292" y="1475"/>
                      </a:lnTo>
                      <a:lnTo>
                        <a:pt x="292" y="1474"/>
                      </a:lnTo>
                      <a:lnTo>
                        <a:pt x="292" y="1474"/>
                      </a:lnTo>
                      <a:lnTo>
                        <a:pt x="292" y="1473"/>
                      </a:lnTo>
                      <a:lnTo>
                        <a:pt x="292" y="1472"/>
                      </a:lnTo>
                      <a:lnTo>
                        <a:pt x="292" y="1472"/>
                      </a:lnTo>
                      <a:lnTo>
                        <a:pt x="292" y="1472"/>
                      </a:lnTo>
                      <a:lnTo>
                        <a:pt x="292" y="1472"/>
                      </a:lnTo>
                      <a:lnTo>
                        <a:pt x="292" y="1471"/>
                      </a:lnTo>
                      <a:lnTo>
                        <a:pt x="292" y="1470"/>
                      </a:lnTo>
                      <a:lnTo>
                        <a:pt x="292" y="1470"/>
                      </a:lnTo>
                      <a:lnTo>
                        <a:pt x="292" y="1471"/>
                      </a:lnTo>
                      <a:lnTo>
                        <a:pt x="291" y="1471"/>
                      </a:lnTo>
                      <a:lnTo>
                        <a:pt x="290" y="1471"/>
                      </a:lnTo>
                      <a:lnTo>
                        <a:pt x="290" y="1471"/>
                      </a:lnTo>
                      <a:lnTo>
                        <a:pt x="289" y="1471"/>
                      </a:lnTo>
                      <a:lnTo>
                        <a:pt x="289" y="1472"/>
                      </a:lnTo>
                      <a:lnTo>
                        <a:pt x="288" y="1472"/>
                      </a:lnTo>
                      <a:lnTo>
                        <a:pt x="288" y="1471"/>
                      </a:lnTo>
                      <a:lnTo>
                        <a:pt x="288" y="1470"/>
                      </a:lnTo>
                      <a:lnTo>
                        <a:pt x="288" y="1470"/>
                      </a:lnTo>
                      <a:lnTo>
                        <a:pt x="288" y="1469"/>
                      </a:lnTo>
                      <a:lnTo>
                        <a:pt x="288" y="1468"/>
                      </a:lnTo>
                      <a:lnTo>
                        <a:pt x="287" y="1468"/>
                      </a:lnTo>
                      <a:lnTo>
                        <a:pt x="286" y="1468"/>
                      </a:lnTo>
                      <a:lnTo>
                        <a:pt x="286" y="1467"/>
                      </a:lnTo>
                      <a:lnTo>
                        <a:pt x="286" y="1467"/>
                      </a:lnTo>
                      <a:lnTo>
                        <a:pt x="285" y="1468"/>
                      </a:lnTo>
                      <a:lnTo>
                        <a:pt x="284" y="1468"/>
                      </a:lnTo>
                      <a:lnTo>
                        <a:pt x="285" y="1468"/>
                      </a:lnTo>
                      <a:lnTo>
                        <a:pt x="285" y="1468"/>
                      </a:lnTo>
                      <a:lnTo>
                        <a:pt x="285" y="1469"/>
                      </a:lnTo>
                      <a:lnTo>
                        <a:pt x="285" y="1470"/>
                      </a:lnTo>
                      <a:lnTo>
                        <a:pt x="284" y="1470"/>
                      </a:lnTo>
                      <a:lnTo>
                        <a:pt x="284" y="1470"/>
                      </a:lnTo>
                      <a:lnTo>
                        <a:pt x="283" y="1470"/>
                      </a:lnTo>
                      <a:lnTo>
                        <a:pt x="282" y="1470"/>
                      </a:lnTo>
                      <a:lnTo>
                        <a:pt x="282" y="1470"/>
                      </a:lnTo>
                      <a:lnTo>
                        <a:pt x="281" y="1470"/>
                      </a:lnTo>
                      <a:lnTo>
                        <a:pt x="281" y="1469"/>
                      </a:lnTo>
                      <a:lnTo>
                        <a:pt x="280" y="1469"/>
                      </a:lnTo>
                      <a:lnTo>
                        <a:pt x="279" y="1469"/>
                      </a:lnTo>
                      <a:lnTo>
                        <a:pt x="279" y="1469"/>
                      </a:lnTo>
                      <a:lnTo>
                        <a:pt x="278" y="1469"/>
                      </a:lnTo>
                      <a:lnTo>
                        <a:pt x="278" y="1468"/>
                      </a:lnTo>
                      <a:lnTo>
                        <a:pt x="277" y="1468"/>
                      </a:lnTo>
                      <a:lnTo>
                        <a:pt x="277" y="1468"/>
                      </a:lnTo>
                      <a:lnTo>
                        <a:pt x="277" y="1468"/>
                      </a:lnTo>
                      <a:lnTo>
                        <a:pt x="276" y="1468"/>
                      </a:lnTo>
                      <a:lnTo>
                        <a:pt x="275" y="1468"/>
                      </a:lnTo>
                      <a:lnTo>
                        <a:pt x="275" y="1468"/>
                      </a:lnTo>
                      <a:lnTo>
                        <a:pt x="275" y="1468"/>
                      </a:lnTo>
                      <a:lnTo>
                        <a:pt x="274" y="1468"/>
                      </a:lnTo>
                      <a:lnTo>
                        <a:pt x="274" y="1469"/>
                      </a:lnTo>
                      <a:lnTo>
                        <a:pt x="273" y="1469"/>
                      </a:lnTo>
                      <a:lnTo>
                        <a:pt x="273" y="1470"/>
                      </a:lnTo>
                      <a:lnTo>
                        <a:pt x="273" y="1470"/>
                      </a:lnTo>
                      <a:lnTo>
                        <a:pt x="274" y="1470"/>
                      </a:lnTo>
                      <a:lnTo>
                        <a:pt x="274" y="1471"/>
                      </a:lnTo>
                      <a:lnTo>
                        <a:pt x="274" y="1472"/>
                      </a:lnTo>
                      <a:lnTo>
                        <a:pt x="274" y="1472"/>
                      </a:lnTo>
                      <a:lnTo>
                        <a:pt x="273" y="1472"/>
                      </a:lnTo>
                      <a:lnTo>
                        <a:pt x="273" y="1472"/>
                      </a:lnTo>
                      <a:lnTo>
                        <a:pt x="273" y="1472"/>
                      </a:lnTo>
                      <a:lnTo>
                        <a:pt x="272" y="1472"/>
                      </a:lnTo>
                      <a:lnTo>
                        <a:pt x="271" y="1471"/>
                      </a:lnTo>
                      <a:lnTo>
                        <a:pt x="271" y="1471"/>
                      </a:lnTo>
                      <a:lnTo>
                        <a:pt x="270" y="1470"/>
                      </a:lnTo>
                      <a:lnTo>
                        <a:pt x="270" y="1471"/>
                      </a:lnTo>
                      <a:lnTo>
                        <a:pt x="269" y="1471"/>
                      </a:lnTo>
                      <a:lnTo>
                        <a:pt x="269" y="1472"/>
                      </a:lnTo>
                      <a:lnTo>
                        <a:pt x="268" y="1472"/>
                      </a:lnTo>
                      <a:lnTo>
                        <a:pt x="268" y="1472"/>
                      </a:lnTo>
                      <a:lnTo>
                        <a:pt x="267" y="1473"/>
                      </a:lnTo>
                      <a:lnTo>
                        <a:pt x="267" y="1474"/>
                      </a:lnTo>
                      <a:lnTo>
                        <a:pt x="266" y="1474"/>
                      </a:lnTo>
                      <a:lnTo>
                        <a:pt x="266" y="1473"/>
                      </a:lnTo>
                      <a:lnTo>
                        <a:pt x="265" y="1472"/>
                      </a:lnTo>
                      <a:lnTo>
                        <a:pt x="265" y="1472"/>
                      </a:lnTo>
                      <a:lnTo>
                        <a:pt x="265" y="1472"/>
                      </a:lnTo>
                      <a:lnTo>
                        <a:pt x="264" y="1472"/>
                      </a:lnTo>
                      <a:lnTo>
                        <a:pt x="263" y="1472"/>
                      </a:lnTo>
                      <a:lnTo>
                        <a:pt x="263" y="1472"/>
                      </a:lnTo>
                      <a:lnTo>
                        <a:pt x="262" y="1472"/>
                      </a:lnTo>
                      <a:lnTo>
                        <a:pt x="261" y="1472"/>
                      </a:lnTo>
                      <a:lnTo>
                        <a:pt x="260" y="1472"/>
                      </a:lnTo>
                      <a:lnTo>
                        <a:pt x="260" y="1473"/>
                      </a:lnTo>
                      <a:lnTo>
                        <a:pt x="260" y="1473"/>
                      </a:lnTo>
                      <a:lnTo>
                        <a:pt x="260" y="1472"/>
                      </a:lnTo>
                      <a:lnTo>
                        <a:pt x="259" y="1472"/>
                      </a:lnTo>
                      <a:lnTo>
                        <a:pt x="258" y="1472"/>
                      </a:lnTo>
                      <a:lnTo>
                        <a:pt x="258" y="1472"/>
                      </a:lnTo>
                      <a:lnTo>
                        <a:pt x="258" y="1471"/>
                      </a:lnTo>
                      <a:lnTo>
                        <a:pt x="258" y="1470"/>
                      </a:lnTo>
                      <a:lnTo>
                        <a:pt x="258" y="1470"/>
                      </a:lnTo>
                      <a:lnTo>
                        <a:pt x="258" y="1470"/>
                      </a:lnTo>
                      <a:lnTo>
                        <a:pt x="258" y="1470"/>
                      </a:lnTo>
                      <a:lnTo>
                        <a:pt x="257" y="1470"/>
                      </a:lnTo>
                      <a:lnTo>
                        <a:pt x="257" y="1469"/>
                      </a:lnTo>
                      <a:lnTo>
                        <a:pt x="256" y="1469"/>
                      </a:lnTo>
                      <a:lnTo>
                        <a:pt x="256" y="1469"/>
                      </a:lnTo>
                      <a:lnTo>
                        <a:pt x="255" y="1469"/>
                      </a:lnTo>
                      <a:lnTo>
                        <a:pt x="254" y="1469"/>
                      </a:lnTo>
                      <a:lnTo>
                        <a:pt x="254" y="1469"/>
                      </a:lnTo>
                      <a:lnTo>
                        <a:pt x="253" y="1469"/>
                      </a:lnTo>
                      <a:lnTo>
                        <a:pt x="252" y="1469"/>
                      </a:lnTo>
                      <a:lnTo>
                        <a:pt x="252" y="1470"/>
                      </a:lnTo>
                      <a:lnTo>
                        <a:pt x="251" y="1469"/>
                      </a:lnTo>
                      <a:lnTo>
                        <a:pt x="250" y="1469"/>
                      </a:lnTo>
                      <a:lnTo>
                        <a:pt x="250" y="1468"/>
                      </a:lnTo>
                      <a:lnTo>
                        <a:pt x="249" y="1468"/>
                      </a:lnTo>
                      <a:lnTo>
                        <a:pt x="248" y="1468"/>
                      </a:lnTo>
                      <a:lnTo>
                        <a:pt x="248" y="1467"/>
                      </a:lnTo>
                      <a:lnTo>
                        <a:pt x="247" y="1467"/>
                      </a:lnTo>
                      <a:lnTo>
                        <a:pt x="246" y="1467"/>
                      </a:lnTo>
                      <a:lnTo>
                        <a:pt x="246" y="1468"/>
                      </a:lnTo>
                      <a:lnTo>
                        <a:pt x="246" y="1468"/>
                      </a:lnTo>
                      <a:lnTo>
                        <a:pt x="245" y="1468"/>
                      </a:lnTo>
                      <a:lnTo>
                        <a:pt x="245" y="1469"/>
                      </a:lnTo>
                      <a:lnTo>
                        <a:pt x="244" y="1469"/>
                      </a:lnTo>
                      <a:lnTo>
                        <a:pt x="244" y="1468"/>
                      </a:lnTo>
                      <a:lnTo>
                        <a:pt x="244" y="1468"/>
                      </a:lnTo>
                      <a:lnTo>
                        <a:pt x="244" y="1468"/>
                      </a:lnTo>
                      <a:lnTo>
                        <a:pt x="243" y="1468"/>
                      </a:lnTo>
                      <a:lnTo>
                        <a:pt x="243" y="1468"/>
                      </a:lnTo>
                      <a:lnTo>
                        <a:pt x="242" y="1469"/>
                      </a:lnTo>
                      <a:lnTo>
                        <a:pt x="243" y="1469"/>
                      </a:lnTo>
                      <a:lnTo>
                        <a:pt x="243" y="1470"/>
                      </a:lnTo>
                      <a:lnTo>
                        <a:pt x="244" y="1470"/>
                      </a:lnTo>
                      <a:lnTo>
                        <a:pt x="244" y="1470"/>
                      </a:lnTo>
                      <a:lnTo>
                        <a:pt x="244" y="1471"/>
                      </a:lnTo>
                      <a:lnTo>
                        <a:pt x="244" y="1472"/>
                      </a:lnTo>
                      <a:lnTo>
                        <a:pt x="244" y="1472"/>
                      </a:lnTo>
                      <a:lnTo>
                        <a:pt x="243" y="1472"/>
                      </a:lnTo>
                      <a:lnTo>
                        <a:pt x="242" y="1472"/>
                      </a:lnTo>
                      <a:lnTo>
                        <a:pt x="241" y="1472"/>
                      </a:lnTo>
                      <a:lnTo>
                        <a:pt x="241" y="1474"/>
                      </a:lnTo>
                      <a:lnTo>
                        <a:pt x="241" y="1474"/>
                      </a:lnTo>
                      <a:lnTo>
                        <a:pt x="241" y="1475"/>
                      </a:lnTo>
                      <a:lnTo>
                        <a:pt x="241" y="1476"/>
                      </a:lnTo>
                      <a:lnTo>
                        <a:pt x="241" y="1477"/>
                      </a:lnTo>
                      <a:lnTo>
                        <a:pt x="241" y="1478"/>
                      </a:lnTo>
                      <a:lnTo>
                        <a:pt x="241" y="1479"/>
                      </a:lnTo>
                      <a:lnTo>
                        <a:pt x="241" y="1480"/>
                      </a:lnTo>
                      <a:lnTo>
                        <a:pt x="241" y="1480"/>
                      </a:lnTo>
                      <a:lnTo>
                        <a:pt x="241" y="1481"/>
                      </a:lnTo>
                      <a:lnTo>
                        <a:pt x="241" y="1482"/>
                      </a:lnTo>
                      <a:lnTo>
                        <a:pt x="241" y="1483"/>
                      </a:lnTo>
                      <a:lnTo>
                        <a:pt x="241" y="1483"/>
                      </a:lnTo>
                      <a:lnTo>
                        <a:pt x="241" y="1484"/>
                      </a:lnTo>
                      <a:lnTo>
                        <a:pt x="242" y="1484"/>
                      </a:lnTo>
                      <a:lnTo>
                        <a:pt x="242" y="1485"/>
                      </a:lnTo>
                      <a:lnTo>
                        <a:pt x="242" y="1485"/>
                      </a:lnTo>
                      <a:lnTo>
                        <a:pt x="241" y="1485"/>
                      </a:lnTo>
                      <a:lnTo>
                        <a:pt x="241" y="1486"/>
                      </a:lnTo>
                      <a:lnTo>
                        <a:pt x="241" y="1487"/>
                      </a:lnTo>
                      <a:lnTo>
                        <a:pt x="241" y="1487"/>
                      </a:lnTo>
                      <a:lnTo>
                        <a:pt x="241" y="1487"/>
                      </a:lnTo>
                      <a:lnTo>
                        <a:pt x="242" y="1487"/>
                      </a:lnTo>
                      <a:lnTo>
                        <a:pt x="242" y="1488"/>
                      </a:lnTo>
                      <a:lnTo>
                        <a:pt x="242" y="1489"/>
                      </a:lnTo>
                      <a:lnTo>
                        <a:pt x="242" y="1489"/>
                      </a:lnTo>
                      <a:lnTo>
                        <a:pt x="241" y="1489"/>
                      </a:lnTo>
                      <a:lnTo>
                        <a:pt x="241" y="1490"/>
                      </a:lnTo>
                      <a:lnTo>
                        <a:pt x="241" y="1491"/>
                      </a:lnTo>
                      <a:lnTo>
                        <a:pt x="241" y="1491"/>
                      </a:lnTo>
                      <a:lnTo>
                        <a:pt x="241" y="1492"/>
                      </a:lnTo>
                      <a:lnTo>
                        <a:pt x="241" y="1493"/>
                      </a:lnTo>
                      <a:lnTo>
                        <a:pt x="241" y="1493"/>
                      </a:lnTo>
                      <a:lnTo>
                        <a:pt x="240" y="1493"/>
                      </a:lnTo>
                      <a:lnTo>
                        <a:pt x="240" y="1494"/>
                      </a:lnTo>
                      <a:lnTo>
                        <a:pt x="241" y="1494"/>
                      </a:lnTo>
                      <a:lnTo>
                        <a:pt x="241" y="1495"/>
                      </a:lnTo>
                      <a:lnTo>
                        <a:pt x="241" y="1495"/>
                      </a:lnTo>
                      <a:lnTo>
                        <a:pt x="241" y="1495"/>
                      </a:lnTo>
                      <a:lnTo>
                        <a:pt x="241" y="1496"/>
                      </a:lnTo>
                      <a:lnTo>
                        <a:pt x="241" y="1497"/>
                      </a:lnTo>
                      <a:lnTo>
                        <a:pt x="241" y="1497"/>
                      </a:lnTo>
                      <a:lnTo>
                        <a:pt x="241" y="1498"/>
                      </a:lnTo>
                      <a:lnTo>
                        <a:pt x="241" y="1499"/>
                      </a:lnTo>
                      <a:lnTo>
                        <a:pt x="240" y="1499"/>
                      </a:lnTo>
                      <a:lnTo>
                        <a:pt x="240" y="1499"/>
                      </a:lnTo>
                      <a:lnTo>
                        <a:pt x="241" y="1500"/>
                      </a:lnTo>
                      <a:lnTo>
                        <a:pt x="241" y="1500"/>
                      </a:lnTo>
                      <a:lnTo>
                        <a:pt x="241" y="1501"/>
                      </a:lnTo>
                      <a:lnTo>
                        <a:pt x="241" y="1502"/>
                      </a:lnTo>
                      <a:lnTo>
                        <a:pt x="241" y="1502"/>
                      </a:lnTo>
                      <a:lnTo>
                        <a:pt x="241" y="1502"/>
                      </a:lnTo>
                      <a:lnTo>
                        <a:pt x="241" y="1503"/>
                      </a:lnTo>
                      <a:lnTo>
                        <a:pt x="240" y="1503"/>
                      </a:lnTo>
                      <a:lnTo>
                        <a:pt x="239" y="1504"/>
                      </a:lnTo>
                      <a:lnTo>
                        <a:pt x="239" y="1504"/>
                      </a:lnTo>
                      <a:lnTo>
                        <a:pt x="238" y="1504"/>
                      </a:lnTo>
                      <a:lnTo>
                        <a:pt x="238" y="1505"/>
                      </a:lnTo>
                      <a:lnTo>
                        <a:pt x="238" y="1506"/>
                      </a:lnTo>
                      <a:lnTo>
                        <a:pt x="237" y="1506"/>
                      </a:lnTo>
                      <a:lnTo>
                        <a:pt x="237" y="1506"/>
                      </a:lnTo>
                      <a:lnTo>
                        <a:pt x="238" y="1506"/>
                      </a:lnTo>
                      <a:lnTo>
                        <a:pt x="239" y="1506"/>
                      </a:lnTo>
                      <a:lnTo>
                        <a:pt x="239" y="1507"/>
                      </a:lnTo>
                      <a:lnTo>
                        <a:pt x="239" y="1508"/>
                      </a:lnTo>
                      <a:lnTo>
                        <a:pt x="239" y="1508"/>
                      </a:lnTo>
                      <a:lnTo>
                        <a:pt x="238" y="1508"/>
                      </a:lnTo>
                      <a:lnTo>
                        <a:pt x="237" y="1508"/>
                      </a:lnTo>
                      <a:lnTo>
                        <a:pt x="237" y="1508"/>
                      </a:lnTo>
                      <a:lnTo>
                        <a:pt x="236" y="1508"/>
                      </a:lnTo>
                      <a:lnTo>
                        <a:pt x="236" y="1507"/>
                      </a:lnTo>
                      <a:lnTo>
                        <a:pt x="236" y="1506"/>
                      </a:lnTo>
                      <a:lnTo>
                        <a:pt x="235" y="1506"/>
                      </a:lnTo>
                      <a:lnTo>
                        <a:pt x="235" y="1506"/>
                      </a:lnTo>
                      <a:lnTo>
                        <a:pt x="234" y="1506"/>
                      </a:lnTo>
                      <a:lnTo>
                        <a:pt x="234" y="1507"/>
                      </a:lnTo>
                      <a:lnTo>
                        <a:pt x="233" y="1506"/>
                      </a:lnTo>
                      <a:lnTo>
                        <a:pt x="233" y="1507"/>
                      </a:lnTo>
                      <a:lnTo>
                        <a:pt x="233" y="1508"/>
                      </a:lnTo>
                      <a:lnTo>
                        <a:pt x="232" y="1508"/>
                      </a:lnTo>
                      <a:lnTo>
                        <a:pt x="232" y="1507"/>
                      </a:lnTo>
                      <a:lnTo>
                        <a:pt x="231" y="1507"/>
                      </a:lnTo>
                      <a:lnTo>
                        <a:pt x="231" y="1506"/>
                      </a:lnTo>
                      <a:lnTo>
                        <a:pt x="231" y="1506"/>
                      </a:lnTo>
                      <a:lnTo>
                        <a:pt x="231" y="1506"/>
                      </a:lnTo>
                      <a:lnTo>
                        <a:pt x="230" y="1506"/>
                      </a:lnTo>
                      <a:lnTo>
                        <a:pt x="230" y="1506"/>
                      </a:lnTo>
                      <a:lnTo>
                        <a:pt x="229" y="1506"/>
                      </a:lnTo>
                      <a:lnTo>
                        <a:pt x="229" y="1506"/>
                      </a:lnTo>
                      <a:lnTo>
                        <a:pt x="229" y="1506"/>
                      </a:lnTo>
                      <a:lnTo>
                        <a:pt x="228" y="1506"/>
                      </a:lnTo>
                      <a:lnTo>
                        <a:pt x="227" y="1506"/>
                      </a:lnTo>
                      <a:lnTo>
                        <a:pt x="227" y="1507"/>
                      </a:lnTo>
                      <a:lnTo>
                        <a:pt x="226" y="1507"/>
                      </a:lnTo>
                      <a:lnTo>
                        <a:pt x="225" y="1507"/>
                      </a:lnTo>
                      <a:lnTo>
                        <a:pt x="225" y="1507"/>
                      </a:lnTo>
                      <a:lnTo>
                        <a:pt x="224" y="1507"/>
                      </a:lnTo>
                      <a:lnTo>
                        <a:pt x="223" y="1507"/>
                      </a:lnTo>
                      <a:lnTo>
                        <a:pt x="222" y="1507"/>
                      </a:lnTo>
                      <a:lnTo>
                        <a:pt x="222" y="1507"/>
                      </a:lnTo>
                      <a:lnTo>
                        <a:pt x="221" y="1508"/>
                      </a:lnTo>
                      <a:lnTo>
                        <a:pt x="220" y="1508"/>
                      </a:lnTo>
                      <a:lnTo>
                        <a:pt x="220" y="1508"/>
                      </a:lnTo>
                      <a:lnTo>
                        <a:pt x="219" y="1507"/>
                      </a:lnTo>
                      <a:lnTo>
                        <a:pt x="218" y="1507"/>
                      </a:lnTo>
                      <a:lnTo>
                        <a:pt x="218" y="1507"/>
                      </a:lnTo>
                      <a:lnTo>
                        <a:pt x="217" y="1507"/>
                      </a:lnTo>
                      <a:lnTo>
                        <a:pt x="217" y="1506"/>
                      </a:lnTo>
                      <a:lnTo>
                        <a:pt x="216" y="1506"/>
                      </a:lnTo>
                      <a:lnTo>
                        <a:pt x="216" y="1507"/>
                      </a:lnTo>
                      <a:lnTo>
                        <a:pt x="216" y="1507"/>
                      </a:lnTo>
                      <a:lnTo>
                        <a:pt x="215" y="1506"/>
                      </a:lnTo>
                      <a:lnTo>
                        <a:pt x="214" y="1506"/>
                      </a:lnTo>
                      <a:lnTo>
                        <a:pt x="214" y="1505"/>
                      </a:lnTo>
                      <a:lnTo>
                        <a:pt x="214" y="1504"/>
                      </a:lnTo>
                      <a:lnTo>
                        <a:pt x="214" y="1504"/>
                      </a:lnTo>
                      <a:lnTo>
                        <a:pt x="213" y="1504"/>
                      </a:lnTo>
                      <a:lnTo>
                        <a:pt x="212" y="1503"/>
                      </a:lnTo>
                      <a:lnTo>
                        <a:pt x="213" y="1502"/>
                      </a:lnTo>
                      <a:lnTo>
                        <a:pt x="213" y="1502"/>
                      </a:lnTo>
                      <a:lnTo>
                        <a:pt x="213" y="1501"/>
                      </a:lnTo>
                      <a:lnTo>
                        <a:pt x="213" y="1500"/>
                      </a:lnTo>
                      <a:lnTo>
                        <a:pt x="213" y="1499"/>
                      </a:lnTo>
                      <a:lnTo>
                        <a:pt x="212" y="1499"/>
                      </a:lnTo>
                      <a:lnTo>
                        <a:pt x="212" y="1499"/>
                      </a:lnTo>
                      <a:lnTo>
                        <a:pt x="211" y="1499"/>
                      </a:lnTo>
                      <a:lnTo>
                        <a:pt x="211" y="1498"/>
                      </a:lnTo>
                      <a:lnTo>
                        <a:pt x="211" y="1497"/>
                      </a:lnTo>
                      <a:lnTo>
                        <a:pt x="210" y="1497"/>
                      </a:lnTo>
                      <a:lnTo>
                        <a:pt x="210" y="1497"/>
                      </a:lnTo>
                      <a:lnTo>
                        <a:pt x="210" y="1496"/>
                      </a:lnTo>
                      <a:lnTo>
                        <a:pt x="210" y="1495"/>
                      </a:lnTo>
                      <a:lnTo>
                        <a:pt x="210" y="1495"/>
                      </a:lnTo>
                      <a:lnTo>
                        <a:pt x="210" y="1494"/>
                      </a:lnTo>
                      <a:lnTo>
                        <a:pt x="209" y="1494"/>
                      </a:lnTo>
                      <a:lnTo>
                        <a:pt x="208" y="1494"/>
                      </a:lnTo>
                      <a:lnTo>
                        <a:pt x="208" y="1493"/>
                      </a:lnTo>
                      <a:lnTo>
                        <a:pt x="208" y="1493"/>
                      </a:lnTo>
                      <a:lnTo>
                        <a:pt x="208" y="1493"/>
                      </a:lnTo>
                      <a:lnTo>
                        <a:pt x="208" y="1493"/>
                      </a:lnTo>
                      <a:lnTo>
                        <a:pt x="208" y="1492"/>
                      </a:lnTo>
                      <a:lnTo>
                        <a:pt x="208" y="1491"/>
                      </a:lnTo>
                      <a:lnTo>
                        <a:pt x="208" y="1491"/>
                      </a:lnTo>
                      <a:lnTo>
                        <a:pt x="208" y="1491"/>
                      </a:lnTo>
                      <a:lnTo>
                        <a:pt x="208" y="1491"/>
                      </a:lnTo>
                      <a:lnTo>
                        <a:pt x="208" y="1490"/>
                      </a:lnTo>
                      <a:lnTo>
                        <a:pt x="209" y="1491"/>
                      </a:lnTo>
                      <a:lnTo>
                        <a:pt x="210" y="1490"/>
                      </a:lnTo>
                      <a:lnTo>
                        <a:pt x="210" y="1489"/>
                      </a:lnTo>
                      <a:lnTo>
                        <a:pt x="210" y="1489"/>
                      </a:lnTo>
                      <a:lnTo>
                        <a:pt x="210" y="1489"/>
                      </a:lnTo>
                      <a:lnTo>
                        <a:pt x="209" y="1488"/>
                      </a:lnTo>
                      <a:lnTo>
                        <a:pt x="208" y="1488"/>
                      </a:lnTo>
                      <a:lnTo>
                        <a:pt x="208" y="1487"/>
                      </a:lnTo>
                      <a:lnTo>
                        <a:pt x="208" y="1487"/>
                      </a:lnTo>
                      <a:lnTo>
                        <a:pt x="209" y="1487"/>
                      </a:lnTo>
                      <a:lnTo>
                        <a:pt x="210" y="1487"/>
                      </a:lnTo>
                      <a:lnTo>
                        <a:pt x="210" y="1486"/>
                      </a:lnTo>
                      <a:lnTo>
                        <a:pt x="209" y="1486"/>
                      </a:lnTo>
                      <a:lnTo>
                        <a:pt x="208" y="1485"/>
                      </a:lnTo>
                      <a:lnTo>
                        <a:pt x="208" y="1486"/>
                      </a:lnTo>
                      <a:lnTo>
                        <a:pt x="207" y="1485"/>
                      </a:lnTo>
                      <a:lnTo>
                        <a:pt x="207" y="1485"/>
                      </a:lnTo>
                      <a:lnTo>
                        <a:pt x="207" y="1484"/>
                      </a:lnTo>
                      <a:lnTo>
                        <a:pt x="208" y="1483"/>
                      </a:lnTo>
                      <a:lnTo>
                        <a:pt x="208" y="1483"/>
                      </a:lnTo>
                      <a:lnTo>
                        <a:pt x="207" y="1482"/>
                      </a:lnTo>
                      <a:lnTo>
                        <a:pt x="208" y="1481"/>
                      </a:lnTo>
                      <a:lnTo>
                        <a:pt x="208" y="1480"/>
                      </a:lnTo>
                      <a:lnTo>
                        <a:pt x="208" y="1480"/>
                      </a:lnTo>
                      <a:lnTo>
                        <a:pt x="207" y="1479"/>
                      </a:lnTo>
                      <a:lnTo>
                        <a:pt x="207" y="1478"/>
                      </a:lnTo>
                      <a:lnTo>
                        <a:pt x="206" y="1478"/>
                      </a:lnTo>
                      <a:lnTo>
                        <a:pt x="206" y="1477"/>
                      </a:lnTo>
                      <a:lnTo>
                        <a:pt x="205" y="1477"/>
                      </a:lnTo>
                      <a:lnTo>
                        <a:pt x="205" y="1476"/>
                      </a:lnTo>
                      <a:lnTo>
                        <a:pt x="206" y="1476"/>
                      </a:lnTo>
                      <a:lnTo>
                        <a:pt x="206" y="1476"/>
                      </a:lnTo>
                      <a:lnTo>
                        <a:pt x="207" y="1475"/>
                      </a:lnTo>
                      <a:lnTo>
                        <a:pt x="207" y="1474"/>
                      </a:lnTo>
                      <a:lnTo>
                        <a:pt x="206" y="1474"/>
                      </a:lnTo>
                      <a:lnTo>
                        <a:pt x="205" y="1474"/>
                      </a:lnTo>
                      <a:lnTo>
                        <a:pt x="205" y="1473"/>
                      </a:lnTo>
                      <a:lnTo>
                        <a:pt x="204" y="1473"/>
                      </a:lnTo>
                      <a:lnTo>
                        <a:pt x="203" y="1472"/>
                      </a:lnTo>
                      <a:lnTo>
                        <a:pt x="204" y="1472"/>
                      </a:lnTo>
                      <a:lnTo>
                        <a:pt x="204" y="1472"/>
                      </a:lnTo>
                      <a:lnTo>
                        <a:pt x="204" y="1471"/>
                      </a:lnTo>
                      <a:lnTo>
                        <a:pt x="203" y="1471"/>
                      </a:lnTo>
                      <a:lnTo>
                        <a:pt x="203" y="1470"/>
                      </a:lnTo>
                      <a:lnTo>
                        <a:pt x="204" y="1470"/>
                      </a:lnTo>
                      <a:lnTo>
                        <a:pt x="205" y="1470"/>
                      </a:lnTo>
                      <a:lnTo>
                        <a:pt x="205" y="1470"/>
                      </a:lnTo>
                      <a:lnTo>
                        <a:pt x="205" y="1469"/>
                      </a:lnTo>
                      <a:lnTo>
                        <a:pt x="204" y="1468"/>
                      </a:lnTo>
                      <a:lnTo>
                        <a:pt x="203" y="1468"/>
                      </a:lnTo>
                      <a:lnTo>
                        <a:pt x="203" y="1467"/>
                      </a:lnTo>
                      <a:lnTo>
                        <a:pt x="202" y="1467"/>
                      </a:lnTo>
                      <a:lnTo>
                        <a:pt x="201" y="1466"/>
                      </a:lnTo>
                      <a:lnTo>
                        <a:pt x="202" y="1466"/>
                      </a:lnTo>
                      <a:lnTo>
                        <a:pt x="202" y="1466"/>
                      </a:lnTo>
                      <a:lnTo>
                        <a:pt x="202" y="1465"/>
                      </a:lnTo>
                      <a:lnTo>
                        <a:pt x="202" y="1464"/>
                      </a:lnTo>
                      <a:lnTo>
                        <a:pt x="202" y="1464"/>
                      </a:lnTo>
                      <a:lnTo>
                        <a:pt x="202" y="1463"/>
                      </a:lnTo>
                      <a:lnTo>
                        <a:pt x="201" y="1462"/>
                      </a:lnTo>
                      <a:lnTo>
                        <a:pt x="201" y="1462"/>
                      </a:lnTo>
                      <a:lnTo>
                        <a:pt x="201" y="1462"/>
                      </a:lnTo>
                      <a:lnTo>
                        <a:pt x="201" y="1461"/>
                      </a:lnTo>
                      <a:lnTo>
                        <a:pt x="200" y="1461"/>
                      </a:lnTo>
                      <a:lnTo>
                        <a:pt x="200" y="1460"/>
                      </a:lnTo>
                      <a:lnTo>
                        <a:pt x="199" y="1460"/>
                      </a:lnTo>
                      <a:lnTo>
                        <a:pt x="199" y="1460"/>
                      </a:lnTo>
                      <a:lnTo>
                        <a:pt x="198" y="1459"/>
                      </a:lnTo>
                      <a:lnTo>
                        <a:pt x="198" y="1459"/>
                      </a:lnTo>
                      <a:lnTo>
                        <a:pt x="197" y="1459"/>
                      </a:lnTo>
                      <a:lnTo>
                        <a:pt x="197" y="1459"/>
                      </a:lnTo>
                      <a:lnTo>
                        <a:pt x="197" y="1459"/>
                      </a:lnTo>
                      <a:lnTo>
                        <a:pt x="196" y="1459"/>
                      </a:lnTo>
                      <a:lnTo>
                        <a:pt x="196" y="1460"/>
                      </a:lnTo>
                      <a:lnTo>
                        <a:pt x="195" y="1460"/>
                      </a:lnTo>
                      <a:lnTo>
                        <a:pt x="195" y="1459"/>
                      </a:lnTo>
                      <a:lnTo>
                        <a:pt x="195" y="1459"/>
                      </a:lnTo>
                      <a:lnTo>
                        <a:pt x="195" y="1458"/>
                      </a:lnTo>
                      <a:lnTo>
                        <a:pt x="196" y="1457"/>
                      </a:lnTo>
                      <a:lnTo>
                        <a:pt x="195" y="1457"/>
                      </a:lnTo>
                      <a:lnTo>
                        <a:pt x="195" y="1457"/>
                      </a:lnTo>
                      <a:lnTo>
                        <a:pt x="194" y="1457"/>
                      </a:lnTo>
                      <a:lnTo>
                        <a:pt x="193" y="1457"/>
                      </a:lnTo>
                      <a:lnTo>
                        <a:pt x="193" y="1456"/>
                      </a:lnTo>
                      <a:lnTo>
                        <a:pt x="193" y="1456"/>
                      </a:lnTo>
                      <a:lnTo>
                        <a:pt x="193" y="1455"/>
                      </a:lnTo>
                      <a:lnTo>
                        <a:pt x="193" y="1455"/>
                      </a:lnTo>
                      <a:lnTo>
                        <a:pt x="193" y="1454"/>
                      </a:lnTo>
                      <a:lnTo>
                        <a:pt x="193" y="1453"/>
                      </a:lnTo>
                      <a:lnTo>
                        <a:pt x="192" y="1453"/>
                      </a:lnTo>
                      <a:lnTo>
                        <a:pt x="191" y="1453"/>
                      </a:lnTo>
                      <a:lnTo>
                        <a:pt x="191" y="1452"/>
                      </a:lnTo>
                      <a:lnTo>
                        <a:pt x="190" y="1452"/>
                      </a:lnTo>
                      <a:lnTo>
                        <a:pt x="189" y="1452"/>
                      </a:lnTo>
                      <a:lnTo>
                        <a:pt x="189" y="1453"/>
                      </a:lnTo>
                      <a:lnTo>
                        <a:pt x="189" y="1452"/>
                      </a:lnTo>
                      <a:lnTo>
                        <a:pt x="188" y="1452"/>
                      </a:lnTo>
                      <a:lnTo>
                        <a:pt x="187" y="1451"/>
                      </a:lnTo>
                      <a:lnTo>
                        <a:pt x="186" y="1451"/>
                      </a:lnTo>
                      <a:lnTo>
                        <a:pt x="186" y="1451"/>
                      </a:lnTo>
                      <a:lnTo>
                        <a:pt x="186" y="1450"/>
                      </a:lnTo>
                      <a:lnTo>
                        <a:pt x="185" y="1450"/>
                      </a:lnTo>
                      <a:lnTo>
                        <a:pt x="184" y="1451"/>
                      </a:lnTo>
                      <a:lnTo>
                        <a:pt x="184" y="1451"/>
                      </a:lnTo>
                      <a:lnTo>
                        <a:pt x="183" y="1451"/>
                      </a:lnTo>
                      <a:lnTo>
                        <a:pt x="182" y="1451"/>
                      </a:lnTo>
                      <a:lnTo>
                        <a:pt x="182" y="1451"/>
                      </a:lnTo>
                      <a:lnTo>
                        <a:pt x="182" y="1451"/>
                      </a:lnTo>
                      <a:lnTo>
                        <a:pt x="181" y="1451"/>
                      </a:lnTo>
                      <a:lnTo>
                        <a:pt x="181" y="1451"/>
                      </a:lnTo>
                      <a:lnTo>
                        <a:pt x="180" y="1451"/>
                      </a:lnTo>
                      <a:lnTo>
                        <a:pt x="180" y="1451"/>
                      </a:lnTo>
                      <a:lnTo>
                        <a:pt x="179" y="1451"/>
                      </a:lnTo>
                      <a:lnTo>
                        <a:pt x="178" y="1451"/>
                      </a:lnTo>
                      <a:lnTo>
                        <a:pt x="178" y="1451"/>
                      </a:lnTo>
                      <a:lnTo>
                        <a:pt x="177" y="1451"/>
                      </a:lnTo>
                      <a:lnTo>
                        <a:pt x="176" y="1451"/>
                      </a:lnTo>
                      <a:lnTo>
                        <a:pt x="176" y="1451"/>
                      </a:lnTo>
                      <a:lnTo>
                        <a:pt x="175" y="1451"/>
                      </a:lnTo>
                      <a:lnTo>
                        <a:pt x="174" y="1450"/>
                      </a:lnTo>
                      <a:lnTo>
                        <a:pt x="174" y="1449"/>
                      </a:lnTo>
                      <a:lnTo>
                        <a:pt x="174" y="1449"/>
                      </a:lnTo>
                      <a:lnTo>
                        <a:pt x="173" y="1449"/>
                      </a:lnTo>
                      <a:lnTo>
                        <a:pt x="172" y="1449"/>
                      </a:lnTo>
                      <a:lnTo>
                        <a:pt x="172" y="1449"/>
                      </a:lnTo>
                      <a:lnTo>
                        <a:pt x="171" y="1449"/>
                      </a:lnTo>
                      <a:lnTo>
                        <a:pt x="171" y="1448"/>
                      </a:lnTo>
                      <a:lnTo>
                        <a:pt x="171" y="1447"/>
                      </a:lnTo>
                      <a:lnTo>
                        <a:pt x="170" y="1447"/>
                      </a:lnTo>
                      <a:lnTo>
                        <a:pt x="170" y="1447"/>
                      </a:lnTo>
                      <a:lnTo>
                        <a:pt x="170" y="1447"/>
                      </a:lnTo>
                      <a:lnTo>
                        <a:pt x="169" y="1447"/>
                      </a:lnTo>
                      <a:lnTo>
                        <a:pt x="169" y="1446"/>
                      </a:lnTo>
                      <a:lnTo>
                        <a:pt x="169" y="1445"/>
                      </a:lnTo>
                      <a:lnTo>
                        <a:pt x="170" y="1445"/>
                      </a:lnTo>
                      <a:lnTo>
                        <a:pt x="169" y="1444"/>
                      </a:lnTo>
                      <a:lnTo>
                        <a:pt x="169" y="1443"/>
                      </a:lnTo>
                      <a:lnTo>
                        <a:pt x="168" y="1443"/>
                      </a:lnTo>
                      <a:lnTo>
                        <a:pt x="168" y="1444"/>
                      </a:lnTo>
                      <a:lnTo>
                        <a:pt x="167" y="1444"/>
                      </a:lnTo>
                      <a:lnTo>
                        <a:pt x="167" y="1443"/>
                      </a:lnTo>
                      <a:lnTo>
                        <a:pt x="167" y="1443"/>
                      </a:lnTo>
                      <a:lnTo>
                        <a:pt x="168" y="1442"/>
                      </a:lnTo>
                      <a:lnTo>
                        <a:pt x="168" y="1441"/>
                      </a:lnTo>
                      <a:lnTo>
                        <a:pt x="169" y="1440"/>
                      </a:lnTo>
                      <a:lnTo>
                        <a:pt x="168" y="1440"/>
                      </a:lnTo>
                      <a:lnTo>
                        <a:pt x="168" y="1439"/>
                      </a:lnTo>
                      <a:lnTo>
                        <a:pt x="167" y="1438"/>
                      </a:lnTo>
                      <a:lnTo>
                        <a:pt x="167" y="1438"/>
                      </a:lnTo>
                      <a:lnTo>
                        <a:pt x="167" y="1437"/>
                      </a:lnTo>
                      <a:lnTo>
                        <a:pt x="167" y="1436"/>
                      </a:lnTo>
                      <a:lnTo>
                        <a:pt x="167" y="1436"/>
                      </a:lnTo>
                      <a:lnTo>
                        <a:pt x="167" y="1435"/>
                      </a:lnTo>
                      <a:lnTo>
                        <a:pt x="167" y="1434"/>
                      </a:lnTo>
                      <a:lnTo>
                        <a:pt x="166" y="1434"/>
                      </a:lnTo>
                      <a:lnTo>
                        <a:pt x="165" y="1433"/>
                      </a:lnTo>
                      <a:lnTo>
                        <a:pt x="165" y="1432"/>
                      </a:lnTo>
                      <a:lnTo>
                        <a:pt x="164" y="1432"/>
                      </a:lnTo>
                      <a:lnTo>
                        <a:pt x="164" y="1431"/>
                      </a:lnTo>
                      <a:lnTo>
                        <a:pt x="164" y="1430"/>
                      </a:lnTo>
                      <a:lnTo>
                        <a:pt x="164" y="1430"/>
                      </a:lnTo>
                      <a:lnTo>
                        <a:pt x="164" y="1429"/>
                      </a:lnTo>
                      <a:lnTo>
                        <a:pt x="164" y="1428"/>
                      </a:lnTo>
                      <a:lnTo>
                        <a:pt x="163" y="1428"/>
                      </a:lnTo>
                      <a:lnTo>
                        <a:pt x="163" y="1428"/>
                      </a:lnTo>
                      <a:lnTo>
                        <a:pt x="162" y="1428"/>
                      </a:lnTo>
                      <a:lnTo>
                        <a:pt x="161" y="1428"/>
                      </a:lnTo>
                      <a:lnTo>
                        <a:pt x="161" y="1427"/>
                      </a:lnTo>
                      <a:lnTo>
                        <a:pt x="162" y="1427"/>
                      </a:lnTo>
                      <a:lnTo>
                        <a:pt x="162" y="1426"/>
                      </a:lnTo>
                      <a:lnTo>
                        <a:pt x="161" y="1426"/>
                      </a:lnTo>
                      <a:lnTo>
                        <a:pt x="161" y="1425"/>
                      </a:lnTo>
                      <a:lnTo>
                        <a:pt x="160" y="1424"/>
                      </a:lnTo>
                      <a:lnTo>
                        <a:pt x="160" y="1424"/>
                      </a:lnTo>
                      <a:lnTo>
                        <a:pt x="160" y="1423"/>
                      </a:lnTo>
                      <a:lnTo>
                        <a:pt x="159" y="1423"/>
                      </a:lnTo>
                      <a:lnTo>
                        <a:pt x="159" y="1422"/>
                      </a:lnTo>
                      <a:lnTo>
                        <a:pt x="159" y="1422"/>
                      </a:lnTo>
                      <a:lnTo>
                        <a:pt x="158" y="1423"/>
                      </a:lnTo>
                      <a:lnTo>
                        <a:pt x="157" y="1422"/>
                      </a:lnTo>
                      <a:lnTo>
                        <a:pt x="157" y="1422"/>
                      </a:lnTo>
                      <a:lnTo>
                        <a:pt x="157" y="1421"/>
                      </a:lnTo>
                      <a:lnTo>
                        <a:pt x="156" y="1420"/>
                      </a:lnTo>
                      <a:lnTo>
                        <a:pt x="156" y="1419"/>
                      </a:lnTo>
                      <a:lnTo>
                        <a:pt x="155" y="1419"/>
                      </a:lnTo>
                      <a:lnTo>
                        <a:pt x="155" y="1419"/>
                      </a:lnTo>
                      <a:lnTo>
                        <a:pt x="154" y="1418"/>
                      </a:lnTo>
                      <a:lnTo>
                        <a:pt x="153" y="1417"/>
                      </a:lnTo>
                      <a:lnTo>
                        <a:pt x="153" y="1417"/>
                      </a:lnTo>
                      <a:lnTo>
                        <a:pt x="153" y="1417"/>
                      </a:lnTo>
                      <a:lnTo>
                        <a:pt x="152" y="1417"/>
                      </a:lnTo>
                      <a:lnTo>
                        <a:pt x="151" y="1417"/>
                      </a:lnTo>
                      <a:lnTo>
                        <a:pt x="151" y="1417"/>
                      </a:lnTo>
                      <a:lnTo>
                        <a:pt x="150" y="1417"/>
                      </a:lnTo>
                      <a:lnTo>
                        <a:pt x="149" y="1417"/>
                      </a:lnTo>
                      <a:lnTo>
                        <a:pt x="148" y="1417"/>
                      </a:lnTo>
                      <a:lnTo>
                        <a:pt x="148" y="1417"/>
                      </a:lnTo>
                      <a:lnTo>
                        <a:pt x="148" y="1416"/>
                      </a:lnTo>
                      <a:lnTo>
                        <a:pt x="147" y="1416"/>
                      </a:lnTo>
                      <a:lnTo>
                        <a:pt x="146" y="1415"/>
                      </a:lnTo>
                      <a:lnTo>
                        <a:pt x="146" y="1415"/>
                      </a:lnTo>
                      <a:lnTo>
                        <a:pt x="146" y="1414"/>
                      </a:lnTo>
                      <a:lnTo>
                        <a:pt x="146" y="1414"/>
                      </a:lnTo>
                      <a:lnTo>
                        <a:pt x="145" y="1414"/>
                      </a:lnTo>
                      <a:lnTo>
                        <a:pt x="145" y="1413"/>
                      </a:lnTo>
                      <a:lnTo>
                        <a:pt x="144" y="1413"/>
                      </a:lnTo>
                      <a:lnTo>
                        <a:pt x="145" y="1412"/>
                      </a:lnTo>
                      <a:lnTo>
                        <a:pt x="145" y="1411"/>
                      </a:lnTo>
                      <a:lnTo>
                        <a:pt x="146" y="1411"/>
                      </a:lnTo>
                      <a:lnTo>
                        <a:pt x="146" y="1411"/>
                      </a:lnTo>
                      <a:lnTo>
                        <a:pt x="146" y="1409"/>
                      </a:lnTo>
                      <a:lnTo>
                        <a:pt x="146" y="1408"/>
                      </a:lnTo>
                      <a:lnTo>
                        <a:pt x="146" y="1407"/>
                      </a:lnTo>
                      <a:lnTo>
                        <a:pt x="146" y="1406"/>
                      </a:lnTo>
                      <a:lnTo>
                        <a:pt x="146" y="1405"/>
                      </a:lnTo>
                      <a:lnTo>
                        <a:pt x="146" y="1404"/>
                      </a:lnTo>
                      <a:lnTo>
                        <a:pt x="146" y="1403"/>
                      </a:lnTo>
                      <a:lnTo>
                        <a:pt x="144" y="1401"/>
                      </a:lnTo>
                      <a:lnTo>
                        <a:pt x="144" y="1400"/>
                      </a:lnTo>
                      <a:lnTo>
                        <a:pt x="142" y="1398"/>
                      </a:lnTo>
                      <a:lnTo>
                        <a:pt x="141" y="1398"/>
                      </a:lnTo>
                      <a:lnTo>
                        <a:pt x="140" y="1397"/>
                      </a:lnTo>
                      <a:lnTo>
                        <a:pt x="140" y="1397"/>
                      </a:lnTo>
                      <a:lnTo>
                        <a:pt x="138" y="1397"/>
                      </a:lnTo>
                      <a:lnTo>
                        <a:pt x="138" y="1396"/>
                      </a:lnTo>
                      <a:lnTo>
                        <a:pt x="138" y="1396"/>
                      </a:lnTo>
                      <a:lnTo>
                        <a:pt x="138" y="1396"/>
                      </a:lnTo>
                      <a:lnTo>
                        <a:pt x="138" y="1395"/>
                      </a:lnTo>
                      <a:lnTo>
                        <a:pt x="138" y="1395"/>
                      </a:lnTo>
                      <a:lnTo>
                        <a:pt x="139" y="1394"/>
                      </a:lnTo>
                      <a:lnTo>
                        <a:pt x="140" y="1394"/>
                      </a:lnTo>
                      <a:lnTo>
                        <a:pt x="140" y="1394"/>
                      </a:lnTo>
                      <a:lnTo>
                        <a:pt x="139" y="1392"/>
                      </a:lnTo>
                      <a:lnTo>
                        <a:pt x="138" y="1392"/>
                      </a:lnTo>
                      <a:lnTo>
                        <a:pt x="138" y="1391"/>
                      </a:lnTo>
                      <a:lnTo>
                        <a:pt x="138" y="1390"/>
                      </a:lnTo>
                      <a:lnTo>
                        <a:pt x="137" y="1388"/>
                      </a:lnTo>
                      <a:lnTo>
                        <a:pt x="138" y="1386"/>
                      </a:lnTo>
                      <a:lnTo>
                        <a:pt x="139" y="1385"/>
                      </a:lnTo>
                      <a:lnTo>
                        <a:pt x="139" y="1384"/>
                      </a:lnTo>
                      <a:lnTo>
                        <a:pt x="140" y="1381"/>
                      </a:lnTo>
                      <a:lnTo>
                        <a:pt x="140" y="1381"/>
                      </a:lnTo>
                      <a:lnTo>
                        <a:pt x="140" y="1379"/>
                      </a:lnTo>
                      <a:lnTo>
                        <a:pt x="140" y="1378"/>
                      </a:lnTo>
                      <a:lnTo>
                        <a:pt x="140" y="1377"/>
                      </a:lnTo>
                      <a:lnTo>
                        <a:pt x="139" y="1376"/>
                      </a:lnTo>
                      <a:lnTo>
                        <a:pt x="139" y="1375"/>
                      </a:lnTo>
                      <a:lnTo>
                        <a:pt x="139" y="1375"/>
                      </a:lnTo>
                      <a:lnTo>
                        <a:pt x="139" y="1374"/>
                      </a:lnTo>
                      <a:lnTo>
                        <a:pt x="139" y="1373"/>
                      </a:lnTo>
                      <a:lnTo>
                        <a:pt x="139" y="1373"/>
                      </a:lnTo>
                      <a:lnTo>
                        <a:pt x="138" y="1372"/>
                      </a:lnTo>
                      <a:lnTo>
                        <a:pt x="138" y="1372"/>
                      </a:lnTo>
                      <a:lnTo>
                        <a:pt x="137" y="1372"/>
                      </a:lnTo>
                      <a:lnTo>
                        <a:pt x="136" y="1373"/>
                      </a:lnTo>
                      <a:lnTo>
                        <a:pt x="136" y="1373"/>
                      </a:lnTo>
                      <a:lnTo>
                        <a:pt x="135" y="1372"/>
                      </a:lnTo>
                      <a:lnTo>
                        <a:pt x="135" y="1371"/>
                      </a:lnTo>
                      <a:lnTo>
                        <a:pt x="135" y="1371"/>
                      </a:lnTo>
                      <a:lnTo>
                        <a:pt x="136" y="1371"/>
                      </a:lnTo>
                      <a:lnTo>
                        <a:pt x="136" y="1370"/>
                      </a:lnTo>
                      <a:lnTo>
                        <a:pt x="136" y="1369"/>
                      </a:lnTo>
                      <a:lnTo>
                        <a:pt x="136" y="1369"/>
                      </a:lnTo>
                      <a:lnTo>
                        <a:pt x="136" y="1369"/>
                      </a:lnTo>
                      <a:lnTo>
                        <a:pt x="137" y="1369"/>
                      </a:lnTo>
                      <a:lnTo>
                        <a:pt x="137" y="1368"/>
                      </a:lnTo>
                      <a:lnTo>
                        <a:pt x="137" y="1367"/>
                      </a:lnTo>
                      <a:lnTo>
                        <a:pt x="137" y="1367"/>
                      </a:lnTo>
                      <a:lnTo>
                        <a:pt x="138" y="1367"/>
                      </a:lnTo>
                      <a:lnTo>
                        <a:pt x="138" y="1366"/>
                      </a:lnTo>
                      <a:lnTo>
                        <a:pt x="138" y="1365"/>
                      </a:lnTo>
                      <a:lnTo>
                        <a:pt x="138" y="1366"/>
                      </a:lnTo>
                      <a:lnTo>
                        <a:pt x="138" y="1366"/>
                      </a:lnTo>
                      <a:lnTo>
                        <a:pt x="138" y="1367"/>
                      </a:lnTo>
                      <a:lnTo>
                        <a:pt x="139" y="1367"/>
                      </a:lnTo>
                      <a:lnTo>
                        <a:pt x="140" y="1367"/>
                      </a:lnTo>
                      <a:lnTo>
                        <a:pt x="140" y="1366"/>
                      </a:lnTo>
                      <a:lnTo>
                        <a:pt x="139" y="1365"/>
                      </a:lnTo>
                      <a:lnTo>
                        <a:pt x="139" y="1365"/>
                      </a:lnTo>
                      <a:lnTo>
                        <a:pt x="138" y="1365"/>
                      </a:lnTo>
                      <a:lnTo>
                        <a:pt x="138" y="1364"/>
                      </a:lnTo>
                      <a:lnTo>
                        <a:pt x="138" y="1363"/>
                      </a:lnTo>
                      <a:lnTo>
                        <a:pt x="138" y="1363"/>
                      </a:lnTo>
                      <a:lnTo>
                        <a:pt x="138" y="1363"/>
                      </a:lnTo>
                      <a:lnTo>
                        <a:pt x="138" y="1362"/>
                      </a:lnTo>
                      <a:lnTo>
                        <a:pt x="138" y="1361"/>
                      </a:lnTo>
                      <a:lnTo>
                        <a:pt x="138" y="1360"/>
                      </a:lnTo>
                      <a:lnTo>
                        <a:pt x="139" y="1360"/>
                      </a:lnTo>
                      <a:lnTo>
                        <a:pt x="140" y="1360"/>
                      </a:lnTo>
                      <a:lnTo>
                        <a:pt x="140" y="1360"/>
                      </a:lnTo>
                      <a:lnTo>
                        <a:pt x="140" y="1360"/>
                      </a:lnTo>
                      <a:lnTo>
                        <a:pt x="140" y="1359"/>
                      </a:lnTo>
                      <a:lnTo>
                        <a:pt x="141" y="1358"/>
                      </a:lnTo>
                      <a:lnTo>
                        <a:pt x="142" y="1358"/>
                      </a:lnTo>
                      <a:lnTo>
                        <a:pt x="142" y="1358"/>
                      </a:lnTo>
                      <a:lnTo>
                        <a:pt x="142" y="1358"/>
                      </a:lnTo>
                      <a:lnTo>
                        <a:pt x="143" y="1358"/>
                      </a:lnTo>
                      <a:lnTo>
                        <a:pt x="143" y="1357"/>
                      </a:lnTo>
                      <a:lnTo>
                        <a:pt x="144" y="1358"/>
                      </a:lnTo>
                      <a:lnTo>
                        <a:pt x="144" y="1358"/>
                      </a:lnTo>
                      <a:lnTo>
                        <a:pt x="144" y="1358"/>
                      </a:lnTo>
                      <a:lnTo>
                        <a:pt x="144" y="1358"/>
                      </a:lnTo>
                      <a:lnTo>
                        <a:pt x="144" y="1357"/>
                      </a:lnTo>
                      <a:lnTo>
                        <a:pt x="144" y="1356"/>
                      </a:lnTo>
                      <a:lnTo>
                        <a:pt x="145" y="1356"/>
                      </a:lnTo>
                      <a:lnTo>
                        <a:pt x="145" y="1356"/>
                      </a:lnTo>
                      <a:lnTo>
                        <a:pt x="145" y="1355"/>
                      </a:lnTo>
                      <a:lnTo>
                        <a:pt x="146" y="1355"/>
                      </a:lnTo>
                      <a:lnTo>
                        <a:pt x="146" y="1354"/>
                      </a:lnTo>
                      <a:lnTo>
                        <a:pt x="146" y="1354"/>
                      </a:lnTo>
                      <a:lnTo>
                        <a:pt x="147" y="1354"/>
                      </a:lnTo>
                      <a:lnTo>
                        <a:pt x="147" y="1353"/>
                      </a:lnTo>
                      <a:lnTo>
                        <a:pt x="146" y="1353"/>
                      </a:lnTo>
                      <a:lnTo>
                        <a:pt x="146" y="1353"/>
                      </a:lnTo>
                      <a:lnTo>
                        <a:pt x="146" y="1352"/>
                      </a:lnTo>
                      <a:lnTo>
                        <a:pt x="146" y="1352"/>
                      </a:lnTo>
                      <a:lnTo>
                        <a:pt x="145" y="1352"/>
                      </a:lnTo>
                      <a:lnTo>
                        <a:pt x="145" y="1351"/>
                      </a:lnTo>
                      <a:lnTo>
                        <a:pt x="144" y="1351"/>
                      </a:lnTo>
                      <a:lnTo>
                        <a:pt x="144" y="1351"/>
                      </a:lnTo>
                      <a:lnTo>
                        <a:pt x="144" y="1350"/>
                      </a:lnTo>
                      <a:lnTo>
                        <a:pt x="144" y="1350"/>
                      </a:lnTo>
                      <a:lnTo>
                        <a:pt x="144" y="1350"/>
                      </a:lnTo>
                      <a:lnTo>
                        <a:pt x="145" y="1349"/>
                      </a:lnTo>
                      <a:lnTo>
                        <a:pt x="145" y="1348"/>
                      </a:lnTo>
                      <a:lnTo>
                        <a:pt x="145" y="1348"/>
                      </a:lnTo>
                      <a:lnTo>
                        <a:pt x="145" y="1347"/>
                      </a:lnTo>
                      <a:lnTo>
                        <a:pt x="144" y="1346"/>
                      </a:lnTo>
                      <a:lnTo>
                        <a:pt x="144" y="1346"/>
                      </a:lnTo>
                      <a:lnTo>
                        <a:pt x="143" y="1346"/>
                      </a:lnTo>
                      <a:lnTo>
                        <a:pt x="143" y="1345"/>
                      </a:lnTo>
                      <a:lnTo>
                        <a:pt x="142" y="1345"/>
                      </a:lnTo>
                      <a:lnTo>
                        <a:pt x="143" y="1344"/>
                      </a:lnTo>
                      <a:lnTo>
                        <a:pt x="144" y="1344"/>
                      </a:lnTo>
                      <a:lnTo>
                        <a:pt x="143" y="1344"/>
                      </a:lnTo>
                      <a:lnTo>
                        <a:pt x="142" y="1344"/>
                      </a:lnTo>
                      <a:lnTo>
                        <a:pt x="142" y="1343"/>
                      </a:lnTo>
                      <a:lnTo>
                        <a:pt x="143" y="1343"/>
                      </a:lnTo>
                      <a:lnTo>
                        <a:pt x="143" y="1342"/>
                      </a:lnTo>
                      <a:lnTo>
                        <a:pt x="144" y="1342"/>
                      </a:lnTo>
                      <a:lnTo>
                        <a:pt x="144" y="1341"/>
                      </a:lnTo>
                      <a:lnTo>
                        <a:pt x="144" y="1341"/>
                      </a:lnTo>
                      <a:lnTo>
                        <a:pt x="144" y="1342"/>
                      </a:lnTo>
                      <a:lnTo>
                        <a:pt x="145" y="1342"/>
                      </a:lnTo>
                      <a:lnTo>
                        <a:pt x="146" y="1342"/>
                      </a:lnTo>
                      <a:lnTo>
                        <a:pt x="146" y="1341"/>
                      </a:lnTo>
                      <a:lnTo>
                        <a:pt x="145" y="1341"/>
                      </a:lnTo>
                      <a:lnTo>
                        <a:pt x="145" y="1341"/>
                      </a:lnTo>
                      <a:lnTo>
                        <a:pt x="144" y="1341"/>
                      </a:lnTo>
                      <a:lnTo>
                        <a:pt x="144" y="1340"/>
                      </a:lnTo>
                      <a:lnTo>
                        <a:pt x="144" y="1339"/>
                      </a:lnTo>
                      <a:lnTo>
                        <a:pt x="144" y="1339"/>
                      </a:lnTo>
                      <a:lnTo>
                        <a:pt x="144" y="1339"/>
                      </a:lnTo>
                      <a:lnTo>
                        <a:pt x="144" y="1338"/>
                      </a:lnTo>
                      <a:lnTo>
                        <a:pt x="144" y="1337"/>
                      </a:lnTo>
                      <a:lnTo>
                        <a:pt x="144" y="1337"/>
                      </a:lnTo>
                      <a:lnTo>
                        <a:pt x="144" y="1337"/>
                      </a:lnTo>
                      <a:lnTo>
                        <a:pt x="143" y="1337"/>
                      </a:lnTo>
                      <a:lnTo>
                        <a:pt x="142" y="1337"/>
                      </a:lnTo>
                      <a:lnTo>
                        <a:pt x="142" y="1337"/>
                      </a:lnTo>
                      <a:lnTo>
                        <a:pt x="142" y="1336"/>
                      </a:lnTo>
                      <a:lnTo>
                        <a:pt x="142" y="1335"/>
                      </a:lnTo>
                      <a:lnTo>
                        <a:pt x="142" y="1335"/>
                      </a:lnTo>
                      <a:lnTo>
                        <a:pt x="142" y="1334"/>
                      </a:lnTo>
                      <a:lnTo>
                        <a:pt x="142" y="1334"/>
                      </a:lnTo>
                      <a:lnTo>
                        <a:pt x="142" y="1333"/>
                      </a:lnTo>
                      <a:lnTo>
                        <a:pt x="142" y="1333"/>
                      </a:lnTo>
                      <a:lnTo>
                        <a:pt x="142" y="1333"/>
                      </a:lnTo>
                      <a:lnTo>
                        <a:pt x="141" y="1333"/>
                      </a:lnTo>
                      <a:lnTo>
                        <a:pt x="140" y="1333"/>
                      </a:lnTo>
                      <a:lnTo>
                        <a:pt x="140" y="1332"/>
                      </a:lnTo>
                      <a:lnTo>
                        <a:pt x="140" y="1331"/>
                      </a:lnTo>
                      <a:lnTo>
                        <a:pt x="140" y="1331"/>
                      </a:lnTo>
                      <a:lnTo>
                        <a:pt x="140" y="1330"/>
                      </a:lnTo>
                      <a:lnTo>
                        <a:pt x="140" y="1329"/>
                      </a:lnTo>
                      <a:lnTo>
                        <a:pt x="140" y="1329"/>
                      </a:lnTo>
                      <a:lnTo>
                        <a:pt x="141" y="1329"/>
                      </a:lnTo>
                      <a:lnTo>
                        <a:pt x="141" y="1328"/>
                      </a:lnTo>
                      <a:lnTo>
                        <a:pt x="141" y="1327"/>
                      </a:lnTo>
                      <a:lnTo>
                        <a:pt x="140" y="1327"/>
                      </a:lnTo>
                      <a:lnTo>
                        <a:pt x="140" y="1327"/>
                      </a:lnTo>
                      <a:lnTo>
                        <a:pt x="140" y="1327"/>
                      </a:lnTo>
                      <a:lnTo>
                        <a:pt x="139" y="1327"/>
                      </a:lnTo>
                      <a:lnTo>
                        <a:pt x="139" y="1327"/>
                      </a:lnTo>
                      <a:lnTo>
                        <a:pt x="139" y="1327"/>
                      </a:lnTo>
                      <a:lnTo>
                        <a:pt x="138" y="1327"/>
                      </a:lnTo>
                      <a:lnTo>
                        <a:pt x="138" y="1327"/>
                      </a:lnTo>
                      <a:lnTo>
                        <a:pt x="137" y="1327"/>
                      </a:lnTo>
                      <a:lnTo>
                        <a:pt x="136" y="1327"/>
                      </a:lnTo>
                      <a:lnTo>
                        <a:pt x="136" y="1327"/>
                      </a:lnTo>
                      <a:lnTo>
                        <a:pt x="136" y="1327"/>
                      </a:lnTo>
                      <a:lnTo>
                        <a:pt x="135" y="1327"/>
                      </a:lnTo>
                      <a:lnTo>
                        <a:pt x="135" y="1326"/>
                      </a:lnTo>
                      <a:lnTo>
                        <a:pt x="135" y="1325"/>
                      </a:lnTo>
                      <a:lnTo>
                        <a:pt x="134" y="1325"/>
                      </a:lnTo>
                      <a:lnTo>
                        <a:pt x="134" y="1325"/>
                      </a:lnTo>
                      <a:lnTo>
                        <a:pt x="134" y="1324"/>
                      </a:lnTo>
                      <a:lnTo>
                        <a:pt x="133" y="1324"/>
                      </a:lnTo>
                      <a:lnTo>
                        <a:pt x="133" y="1323"/>
                      </a:lnTo>
                      <a:lnTo>
                        <a:pt x="133" y="1322"/>
                      </a:lnTo>
                      <a:lnTo>
                        <a:pt x="133" y="1322"/>
                      </a:lnTo>
                      <a:lnTo>
                        <a:pt x="133" y="1321"/>
                      </a:lnTo>
                      <a:lnTo>
                        <a:pt x="132" y="1321"/>
                      </a:lnTo>
                      <a:lnTo>
                        <a:pt x="132" y="1321"/>
                      </a:lnTo>
                      <a:lnTo>
                        <a:pt x="131" y="1321"/>
                      </a:lnTo>
                      <a:lnTo>
                        <a:pt x="130" y="1321"/>
                      </a:lnTo>
                      <a:lnTo>
                        <a:pt x="129" y="1321"/>
                      </a:lnTo>
                      <a:lnTo>
                        <a:pt x="129" y="1321"/>
                      </a:lnTo>
                      <a:lnTo>
                        <a:pt x="129" y="1320"/>
                      </a:lnTo>
                      <a:lnTo>
                        <a:pt x="128" y="1320"/>
                      </a:lnTo>
                      <a:lnTo>
                        <a:pt x="128" y="1320"/>
                      </a:lnTo>
                      <a:lnTo>
                        <a:pt x="127" y="1320"/>
                      </a:lnTo>
                      <a:lnTo>
                        <a:pt x="127" y="1319"/>
                      </a:lnTo>
                      <a:lnTo>
                        <a:pt x="127" y="1319"/>
                      </a:lnTo>
                      <a:lnTo>
                        <a:pt x="127" y="1320"/>
                      </a:lnTo>
                      <a:lnTo>
                        <a:pt x="126" y="1320"/>
                      </a:lnTo>
                      <a:lnTo>
                        <a:pt x="125" y="1320"/>
                      </a:lnTo>
                      <a:lnTo>
                        <a:pt x="125" y="1319"/>
                      </a:lnTo>
                      <a:lnTo>
                        <a:pt x="125" y="1318"/>
                      </a:lnTo>
                      <a:lnTo>
                        <a:pt x="125" y="1318"/>
                      </a:lnTo>
                      <a:lnTo>
                        <a:pt x="124" y="1318"/>
                      </a:lnTo>
                      <a:lnTo>
                        <a:pt x="123" y="1318"/>
                      </a:lnTo>
                      <a:lnTo>
                        <a:pt x="123" y="1317"/>
                      </a:lnTo>
                      <a:lnTo>
                        <a:pt x="123" y="1317"/>
                      </a:lnTo>
                      <a:lnTo>
                        <a:pt x="122" y="1317"/>
                      </a:lnTo>
                      <a:lnTo>
                        <a:pt x="121" y="1316"/>
                      </a:lnTo>
                      <a:lnTo>
                        <a:pt x="121" y="1316"/>
                      </a:lnTo>
                      <a:lnTo>
                        <a:pt x="121" y="1316"/>
                      </a:lnTo>
                      <a:lnTo>
                        <a:pt x="120" y="1315"/>
                      </a:lnTo>
                      <a:lnTo>
                        <a:pt x="119" y="1315"/>
                      </a:lnTo>
                      <a:lnTo>
                        <a:pt x="119" y="1315"/>
                      </a:lnTo>
                      <a:lnTo>
                        <a:pt x="119" y="1314"/>
                      </a:lnTo>
                      <a:lnTo>
                        <a:pt x="118" y="1314"/>
                      </a:lnTo>
                      <a:lnTo>
                        <a:pt x="117" y="1314"/>
                      </a:lnTo>
                      <a:lnTo>
                        <a:pt x="117" y="1314"/>
                      </a:lnTo>
                      <a:lnTo>
                        <a:pt x="116" y="1314"/>
                      </a:lnTo>
                      <a:lnTo>
                        <a:pt x="116" y="1315"/>
                      </a:lnTo>
                      <a:lnTo>
                        <a:pt x="115" y="1314"/>
                      </a:lnTo>
                      <a:lnTo>
                        <a:pt x="115" y="1314"/>
                      </a:lnTo>
                      <a:lnTo>
                        <a:pt x="115" y="1313"/>
                      </a:lnTo>
                      <a:lnTo>
                        <a:pt x="114" y="1313"/>
                      </a:lnTo>
                      <a:lnTo>
                        <a:pt x="113" y="1312"/>
                      </a:lnTo>
                      <a:lnTo>
                        <a:pt x="113" y="1312"/>
                      </a:lnTo>
                      <a:lnTo>
                        <a:pt x="113" y="1311"/>
                      </a:lnTo>
                      <a:lnTo>
                        <a:pt x="113" y="1311"/>
                      </a:lnTo>
                      <a:lnTo>
                        <a:pt x="113" y="1310"/>
                      </a:lnTo>
                      <a:lnTo>
                        <a:pt x="112" y="1310"/>
                      </a:lnTo>
                      <a:lnTo>
                        <a:pt x="112" y="1310"/>
                      </a:lnTo>
                      <a:lnTo>
                        <a:pt x="111" y="1310"/>
                      </a:lnTo>
                      <a:lnTo>
                        <a:pt x="111" y="1309"/>
                      </a:lnTo>
                      <a:lnTo>
                        <a:pt x="111" y="1308"/>
                      </a:lnTo>
                      <a:lnTo>
                        <a:pt x="111" y="1308"/>
                      </a:lnTo>
                      <a:lnTo>
                        <a:pt x="110" y="1308"/>
                      </a:lnTo>
                      <a:lnTo>
                        <a:pt x="110" y="1307"/>
                      </a:lnTo>
                      <a:lnTo>
                        <a:pt x="110" y="1307"/>
                      </a:lnTo>
                      <a:lnTo>
                        <a:pt x="109" y="1306"/>
                      </a:lnTo>
                      <a:lnTo>
                        <a:pt x="109" y="1306"/>
                      </a:lnTo>
                      <a:lnTo>
                        <a:pt x="109" y="1305"/>
                      </a:lnTo>
                      <a:lnTo>
                        <a:pt x="109" y="1304"/>
                      </a:lnTo>
                      <a:lnTo>
                        <a:pt x="109" y="1304"/>
                      </a:lnTo>
                      <a:lnTo>
                        <a:pt x="109" y="1303"/>
                      </a:lnTo>
                      <a:lnTo>
                        <a:pt x="108" y="1303"/>
                      </a:lnTo>
                      <a:lnTo>
                        <a:pt x="108" y="1302"/>
                      </a:lnTo>
                      <a:lnTo>
                        <a:pt x="108" y="1301"/>
                      </a:lnTo>
                      <a:lnTo>
                        <a:pt x="108" y="1301"/>
                      </a:lnTo>
                      <a:lnTo>
                        <a:pt x="108" y="1301"/>
                      </a:lnTo>
                      <a:lnTo>
                        <a:pt x="108" y="1300"/>
                      </a:lnTo>
                      <a:lnTo>
                        <a:pt x="108" y="1299"/>
                      </a:lnTo>
                      <a:lnTo>
                        <a:pt x="108" y="1299"/>
                      </a:lnTo>
                      <a:lnTo>
                        <a:pt x="108" y="1298"/>
                      </a:lnTo>
                      <a:lnTo>
                        <a:pt x="108" y="1297"/>
                      </a:lnTo>
                      <a:lnTo>
                        <a:pt x="108" y="1297"/>
                      </a:lnTo>
                      <a:lnTo>
                        <a:pt x="108" y="1296"/>
                      </a:lnTo>
                      <a:lnTo>
                        <a:pt x="108" y="1295"/>
                      </a:lnTo>
                      <a:lnTo>
                        <a:pt x="108" y="1295"/>
                      </a:lnTo>
                      <a:lnTo>
                        <a:pt x="108" y="1294"/>
                      </a:lnTo>
                      <a:lnTo>
                        <a:pt x="107" y="1294"/>
                      </a:lnTo>
                      <a:lnTo>
                        <a:pt x="106" y="1294"/>
                      </a:lnTo>
                      <a:lnTo>
                        <a:pt x="106" y="1293"/>
                      </a:lnTo>
                      <a:lnTo>
                        <a:pt x="106" y="1293"/>
                      </a:lnTo>
                      <a:lnTo>
                        <a:pt x="105" y="1294"/>
                      </a:lnTo>
                      <a:lnTo>
                        <a:pt x="105" y="1295"/>
                      </a:lnTo>
                      <a:lnTo>
                        <a:pt x="105" y="1294"/>
                      </a:lnTo>
                      <a:lnTo>
                        <a:pt x="104" y="1295"/>
                      </a:lnTo>
                      <a:lnTo>
                        <a:pt x="104" y="1295"/>
                      </a:lnTo>
                      <a:lnTo>
                        <a:pt x="104" y="1294"/>
                      </a:lnTo>
                      <a:lnTo>
                        <a:pt x="104" y="1294"/>
                      </a:lnTo>
                      <a:lnTo>
                        <a:pt x="104" y="1293"/>
                      </a:lnTo>
                      <a:lnTo>
                        <a:pt x="104" y="1293"/>
                      </a:lnTo>
                      <a:lnTo>
                        <a:pt x="105" y="1293"/>
                      </a:lnTo>
                      <a:lnTo>
                        <a:pt x="106" y="1293"/>
                      </a:lnTo>
                      <a:lnTo>
                        <a:pt x="106" y="1292"/>
                      </a:lnTo>
                      <a:lnTo>
                        <a:pt x="106" y="1291"/>
                      </a:lnTo>
                      <a:lnTo>
                        <a:pt x="106" y="1291"/>
                      </a:lnTo>
                      <a:lnTo>
                        <a:pt x="105" y="1291"/>
                      </a:lnTo>
                      <a:lnTo>
                        <a:pt x="105" y="1290"/>
                      </a:lnTo>
                      <a:lnTo>
                        <a:pt x="104" y="1290"/>
                      </a:lnTo>
                      <a:lnTo>
                        <a:pt x="105" y="1290"/>
                      </a:lnTo>
                      <a:lnTo>
                        <a:pt x="105" y="1289"/>
                      </a:lnTo>
                      <a:lnTo>
                        <a:pt x="106" y="1289"/>
                      </a:lnTo>
                      <a:lnTo>
                        <a:pt x="106" y="1289"/>
                      </a:lnTo>
                      <a:lnTo>
                        <a:pt x="106" y="1288"/>
                      </a:lnTo>
                      <a:lnTo>
                        <a:pt x="106" y="1287"/>
                      </a:lnTo>
                      <a:lnTo>
                        <a:pt x="106" y="1287"/>
                      </a:lnTo>
                      <a:lnTo>
                        <a:pt x="107" y="1287"/>
                      </a:lnTo>
                      <a:lnTo>
                        <a:pt x="107" y="1286"/>
                      </a:lnTo>
                      <a:lnTo>
                        <a:pt x="107" y="1285"/>
                      </a:lnTo>
                      <a:lnTo>
                        <a:pt x="108" y="1285"/>
                      </a:lnTo>
                      <a:lnTo>
                        <a:pt x="108" y="1285"/>
                      </a:lnTo>
                      <a:lnTo>
                        <a:pt x="107" y="1285"/>
                      </a:lnTo>
                      <a:lnTo>
                        <a:pt x="107" y="1284"/>
                      </a:lnTo>
                      <a:lnTo>
                        <a:pt x="106" y="1283"/>
                      </a:lnTo>
                      <a:lnTo>
                        <a:pt x="106" y="1282"/>
                      </a:lnTo>
                      <a:lnTo>
                        <a:pt x="106" y="1282"/>
                      </a:lnTo>
                      <a:lnTo>
                        <a:pt x="105" y="1282"/>
                      </a:lnTo>
                      <a:lnTo>
                        <a:pt x="104" y="1282"/>
                      </a:lnTo>
                      <a:lnTo>
                        <a:pt x="104" y="1282"/>
                      </a:lnTo>
                      <a:lnTo>
                        <a:pt x="104" y="1282"/>
                      </a:lnTo>
                      <a:lnTo>
                        <a:pt x="103" y="1282"/>
                      </a:lnTo>
                      <a:lnTo>
                        <a:pt x="103" y="1282"/>
                      </a:lnTo>
                      <a:lnTo>
                        <a:pt x="103" y="1281"/>
                      </a:lnTo>
                      <a:lnTo>
                        <a:pt x="102" y="1281"/>
                      </a:lnTo>
                      <a:lnTo>
                        <a:pt x="102" y="1281"/>
                      </a:lnTo>
                      <a:lnTo>
                        <a:pt x="102" y="1282"/>
                      </a:lnTo>
                      <a:lnTo>
                        <a:pt x="101" y="1282"/>
                      </a:lnTo>
                      <a:lnTo>
                        <a:pt x="101" y="1281"/>
                      </a:lnTo>
                      <a:lnTo>
                        <a:pt x="101" y="1280"/>
                      </a:lnTo>
                      <a:lnTo>
                        <a:pt x="100" y="1280"/>
                      </a:lnTo>
                      <a:lnTo>
                        <a:pt x="100" y="1281"/>
                      </a:lnTo>
                      <a:lnTo>
                        <a:pt x="100" y="1282"/>
                      </a:lnTo>
                      <a:lnTo>
                        <a:pt x="100" y="1281"/>
                      </a:lnTo>
                      <a:lnTo>
                        <a:pt x="100" y="1281"/>
                      </a:lnTo>
                      <a:lnTo>
                        <a:pt x="100" y="1280"/>
                      </a:lnTo>
                      <a:lnTo>
                        <a:pt x="99" y="1280"/>
                      </a:lnTo>
                      <a:lnTo>
                        <a:pt x="98" y="1279"/>
                      </a:lnTo>
                      <a:lnTo>
                        <a:pt x="98" y="1278"/>
                      </a:lnTo>
                      <a:lnTo>
                        <a:pt x="98" y="1278"/>
                      </a:lnTo>
                      <a:lnTo>
                        <a:pt x="99" y="1278"/>
                      </a:lnTo>
                      <a:lnTo>
                        <a:pt x="100" y="1277"/>
                      </a:lnTo>
                      <a:lnTo>
                        <a:pt x="100" y="1276"/>
                      </a:lnTo>
                      <a:lnTo>
                        <a:pt x="99" y="1276"/>
                      </a:lnTo>
                      <a:lnTo>
                        <a:pt x="98" y="1276"/>
                      </a:lnTo>
                      <a:lnTo>
                        <a:pt x="98" y="1276"/>
                      </a:lnTo>
                      <a:lnTo>
                        <a:pt x="98" y="1276"/>
                      </a:lnTo>
                      <a:lnTo>
                        <a:pt x="98" y="1275"/>
                      </a:lnTo>
                      <a:lnTo>
                        <a:pt x="98" y="1274"/>
                      </a:lnTo>
                      <a:lnTo>
                        <a:pt x="98" y="1274"/>
                      </a:lnTo>
                      <a:lnTo>
                        <a:pt x="97" y="1274"/>
                      </a:lnTo>
                      <a:lnTo>
                        <a:pt x="96" y="1274"/>
                      </a:lnTo>
                      <a:lnTo>
                        <a:pt x="96" y="1274"/>
                      </a:lnTo>
                      <a:lnTo>
                        <a:pt x="95" y="1274"/>
                      </a:lnTo>
                      <a:lnTo>
                        <a:pt x="94" y="1274"/>
                      </a:lnTo>
                      <a:lnTo>
                        <a:pt x="94" y="1273"/>
                      </a:lnTo>
                      <a:lnTo>
                        <a:pt x="95" y="1272"/>
                      </a:lnTo>
                      <a:lnTo>
                        <a:pt x="95" y="1272"/>
                      </a:lnTo>
                      <a:lnTo>
                        <a:pt x="95" y="1271"/>
                      </a:lnTo>
                      <a:lnTo>
                        <a:pt x="95" y="1270"/>
                      </a:lnTo>
                      <a:lnTo>
                        <a:pt x="96" y="1270"/>
                      </a:lnTo>
                      <a:lnTo>
                        <a:pt x="96" y="1270"/>
                      </a:lnTo>
                      <a:lnTo>
                        <a:pt x="96" y="1269"/>
                      </a:lnTo>
                      <a:lnTo>
                        <a:pt x="95" y="1269"/>
                      </a:lnTo>
                      <a:lnTo>
                        <a:pt x="96" y="1268"/>
                      </a:lnTo>
                      <a:lnTo>
                        <a:pt x="95" y="1268"/>
                      </a:lnTo>
                      <a:lnTo>
                        <a:pt x="94" y="1268"/>
                      </a:lnTo>
                      <a:lnTo>
                        <a:pt x="94" y="1268"/>
                      </a:lnTo>
                      <a:lnTo>
                        <a:pt x="94" y="1268"/>
                      </a:lnTo>
                      <a:lnTo>
                        <a:pt x="94" y="1267"/>
                      </a:lnTo>
                      <a:lnTo>
                        <a:pt x="94" y="1267"/>
                      </a:lnTo>
                      <a:lnTo>
                        <a:pt x="94" y="1266"/>
                      </a:lnTo>
                      <a:lnTo>
                        <a:pt x="95" y="1266"/>
                      </a:lnTo>
                      <a:lnTo>
                        <a:pt x="95" y="1265"/>
                      </a:lnTo>
                      <a:lnTo>
                        <a:pt x="96" y="1265"/>
                      </a:lnTo>
                      <a:lnTo>
                        <a:pt x="95" y="1265"/>
                      </a:lnTo>
                      <a:lnTo>
                        <a:pt x="94" y="1265"/>
                      </a:lnTo>
                      <a:lnTo>
                        <a:pt x="94" y="1264"/>
                      </a:lnTo>
                      <a:lnTo>
                        <a:pt x="94" y="1264"/>
                      </a:lnTo>
                      <a:lnTo>
                        <a:pt x="94" y="1263"/>
                      </a:lnTo>
                      <a:lnTo>
                        <a:pt x="94" y="1262"/>
                      </a:lnTo>
                      <a:lnTo>
                        <a:pt x="93" y="1261"/>
                      </a:lnTo>
                      <a:lnTo>
                        <a:pt x="93" y="1261"/>
                      </a:lnTo>
                      <a:lnTo>
                        <a:pt x="93" y="1260"/>
                      </a:lnTo>
                      <a:lnTo>
                        <a:pt x="93" y="1259"/>
                      </a:lnTo>
                      <a:lnTo>
                        <a:pt x="93" y="1259"/>
                      </a:lnTo>
                      <a:lnTo>
                        <a:pt x="92" y="1259"/>
                      </a:lnTo>
                      <a:lnTo>
                        <a:pt x="92" y="1258"/>
                      </a:lnTo>
                      <a:lnTo>
                        <a:pt x="93" y="1258"/>
                      </a:lnTo>
                      <a:lnTo>
                        <a:pt x="92" y="1257"/>
                      </a:lnTo>
                      <a:lnTo>
                        <a:pt x="92" y="1258"/>
                      </a:lnTo>
                      <a:lnTo>
                        <a:pt x="91" y="1258"/>
                      </a:lnTo>
                      <a:lnTo>
                        <a:pt x="91" y="1258"/>
                      </a:lnTo>
                      <a:lnTo>
                        <a:pt x="91" y="1257"/>
                      </a:lnTo>
                      <a:lnTo>
                        <a:pt x="91" y="1257"/>
                      </a:lnTo>
                      <a:lnTo>
                        <a:pt x="91" y="1256"/>
                      </a:lnTo>
                      <a:lnTo>
                        <a:pt x="91" y="1255"/>
                      </a:lnTo>
                      <a:lnTo>
                        <a:pt x="91" y="1255"/>
                      </a:lnTo>
                      <a:lnTo>
                        <a:pt x="90" y="1255"/>
                      </a:lnTo>
                      <a:lnTo>
                        <a:pt x="90" y="1255"/>
                      </a:lnTo>
                      <a:lnTo>
                        <a:pt x="90" y="1254"/>
                      </a:lnTo>
                      <a:lnTo>
                        <a:pt x="91" y="1253"/>
                      </a:lnTo>
                      <a:lnTo>
                        <a:pt x="91" y="1253"/>
                      </a:lnTo>
                      <a:lnTo>
                        <a:pt x="91" y="1253"/>
                      </a:lnTo>
                      <a:lnTo>
                        <a:pt x="91" y="1252"/>
                      </a:lnTo>
                      <a:lnTo>
                        <a:pt x="91" y="1252"/>
                      </a:lnTo>
                      <a:lnTo>
                        <a:pt x="91" y="1251"/>
                      </a:lnTo>
                      <a:lnTo>
                        <a:pt x="90" y="1251"/>
                      </a:lnTo>
                      <a:lnTo>
                        <a:pt x="90" y="1251"/>
                      </a:lnTo>
                      <a:lnTo>
                        <a:pt x="89" y="1250"/>
                      </a:lnTo>
                      <a:lnTo>
                        <a:pt x="89" y="1250"/>
                      </a:lnTo>
                      <a:lnTo>
                        <a:pt x="88" y="1249"/>
                      </a:lnTo>
                      <a:lnTo>
                        <a:pt x="88" y="1249"/>
                      </a:lnTo>
                      <a:lnTo>
                        <a:pt x="87" y="1249"/>
                      </a:lnTo>
                      <a:lnTo>
                        <a:pt x="87" y="1249"/>
                      </a:lnTo>
                      <a:lnTo>
                        <a:pt x="87" y="1248"/>
                      </a:lnTo>
                      <a:lnTo>
                        <a:pt x="87" y="1248"/>
                      </a:lnTo>
                      <a:lnTo>
                        <a:pt x="87" y="1247"/>
                      </a:lnTo>
                      <a:lnTo>
                        <a:pt x="88" y="1247"/>
                      </a:lnTo>
                      <a:lnTo>
                        <a:pt x="88" y="1247"/>
                      </a:lnTo>
                      <a:lnTo>
                        <a:pt x="88" y="1246"/>
                      </a:lnTo>
                      <a:lnTo>
                        <a:pt x="88" y="1245"/>
                      </a:lnTo>
                      <a:lnTo>
                        <a:pt x="87" y="1245"/>
                      </a:lnTo>
                      <a:lnTo>
                        <a:pt x="87" y="1245"/>
                      </a:lnTo>
                      <a:lnTo>
                        <a:pt x="87" y="1245"/>
                      </a:lnTo>
                      <a:lnTo>
                        <a:pt x="87" y="1245"/>
                      </a:lnTo>
                      <a:lnTo>
                        <a:pt x="87" y="1245"/>
                      </a:lnTo>
                      <a:lnTo>
                        <a:pt x="86" y="1245"/>
                      </a:lnTo>
                      <a:lnTo>
                        <a:pt x="85" y="1245"/>
                      </a:lnTo>
                      <a:lnTo>
                        <a:pt x="85" y="1244"/>
                      </a:lnTo>
                      <a:lnTo>
                        <a:pt x="85" y="1244"/>
                      </a:lnTo>
                      <a:lnTo>
                        <a:pt x="85" y="1243"/>
                      </a:lnTo>
                      <a:lnTo>
                        <a:pt x="85" y="1242"/>
                      </a:lnTo>
                      <a:lnTo>
                        <a:pt x="85" y="1242"/>
                      </a:lnTo>
                      <a:lnTo>
                        <a:pt x="85" y="1241"/>
                      </a:lnTo>
                      <a:lnTo>
                        <a:pt x="85" y="1241"/>
                      </a:lnTo>
                      <a:lnTo>
                        <a:pt x="85" y="1240"/>
                      </a:lnTo>
                      <a:lnTo>
                        <a:pt x="84" y="1240"/>
                      </a:lnTo>
                      <a:lnTo>
                        <a:pt x="84" y="1240"/>
                      </a:lnTo>
                      <a:lnTo>
                        <a:pt x="84" y="1239"/>
                      </a:lnTo>
                      <a:lnTo>
                        <a:pt x="85" y="1239"/>
                      </a:lnTo>
                      <a:lnTo>
                        <a:pt x="85" y="1238"/>
                      </a:lnTo>
                      <a:lnTo>
                        <a:pt x="85" y="1238"/>
                      </a:lnTo>
                      <a:lnTo>
                        <a:pt x="84" y="1238"/>
                      </a:lnTo>
                      <a:lnTo>
                        <a:pt x="84" y="1238"/>
                      </a:lnTo>
                      <a:lnTo>
                        <a:pt x="83" y="1238"/>
                      </a:lnTo>
                      <a:lnTo>
                        <a:pt x="83" y="1238"/>
                      </a:lnTo>
                      <a:lnTo>
                        <a:pt x="83" y="1238"/>
                      </a:lnTo>
                      <a:lnTo>
                        <a:pt x="83" y="1237"/>
                      </a:lnTo>
                      <a:lnTo>
                        <a:pt x="83" y="1237"/>
                      </a:lnTo>
                      <a:lnTo>
                        <a:pt x="83" y="1236"/>
                      </a:lnTo>
                      <a:lnTo>
                        <a:pt x="82" y="1236"/>
                      </a:lnTo>
                      <a:lnTo>
                        <a:pt x="81" y="1236"/>
                      </a:lnTo>
                      <a:lnTo>
                        <a:pt x="81" y="1236"/>
                      </a:lnTo>
                      <a:lnTo>
                        <a:pt x="81" y="1236"/>
                      </a:lnTo>
                      <a:lnTo>
                        <a:pt x="81" y="1235"/>
                      </a:lnTo>
                      <a:lnTo>
                        <a:pt x="81" y="1234"/>
                      </a:lnTo>
                      <a:lnTo>
                        <a:pt x="80" y="1234"/>
                      </a:lnTo>
                      <a:lnTo>
                        <a:pt x="79" y="1233"/>
                      </a:lnTo>
                      <a:lnTo>
                        <a:pt x="79" y="1232"/>
                      </a:lnTo>
                      <a:lnTo>
                        <a:pt x="79" y="1232"/>
                      </a:lnTo>
                      <a:lnTo>
                        <a:pt x="78" y="1232"/>
                      </a:lnTo>
                      <a:lnTo>
                        <a:pt x="77" y="1232"/>
                      </a:lnTo>
                      <a:lnTo>
                        <a:pt x="77" y="1231"/>
                      </a:lnTo>
                      <a:lnTo>
                        <a:pt x="76" y="1231"/>
                      </a:lnTo>
                      <a:lnTo>
                        <a:pt x="76" y="1230"/>
                      </a:lnTo>
                      <a:lnTo>
                        <a:pt x="75" y="1230"/>
                      </a:lnTo>
                      <a:lnTo>
                        <a:pt x="75" y="1230"/>
                      </a:lnTo>
                      <a:lnTo>
                        <a:pt x="75" y="1229"/>
                      </a:lnTo>
                      <a:lnTo>
                        <a:pt x="75" y="1229"/>
                      </a:lnTo>
                      <a:lnTo>
                        <a:pt x="74" y="1229"/>
                      </a:lnTo>
                      <a:lnTo>
                        <a:pt x="74" y="1228"/>
                      </a:lnTo>
                      <a:lnTo>
                        <a:pt x="73" y="1228"/>
                      </a:lnTo>
                      <a:lnTo>
                        <a:pt x="72" y="1228"/>
                      </a:lnTo>
                      <a:lnTo>
                        <a:pt x="72" y="1228"/>
                      </a:lnTo>
                      <a:lnTo>
                        <a:pt x="72" y="1228"/>
                      </a:lnTo>
                      <a:lnTo>
                        <a:pt x="71" y="1228"/>
                      </a:lnTo>
                      <a:lnTo>
                        <a:pt x="71" y="1227"/>
                      </a:lnTo>
                      <a:lnTo>
                        <a:pt x="70" y="1227"/>
                      </a:lnTo>
                      <a:lnTo>
                        <a:pt x="70" y="1226"/>
                      </a:lnTo>
                      <a:lnTo>
                        <a:pt x="70" y="1226"/>
                      </a:lnTo>
                      <a:lnTo>
                        <a:pt x="69" y="1226"/>
                      </a:lnTo>
                      <a:lnTo>
                        <a:pt x="68" y="1226"/>
                      </a:lnTo>
                      <a:lnTo>
                        <a:pt x="68" y="1226"/>
                      </a:lnTo>
                      <a:lnTo>
                        <a:pt x="68" y="1226"/>
                      </a:lnTo>
                      <a:lnTo>
                        <a:pt x="67" y="1226"/>
                      </a:lnTo>
                      <a:lnTo>
                        <a:pt x="66" y="1226"/>
                      </a:lnTo>
                      <a:lnTo>
                        <a:pt x="66" y="1225"/>
                      </a:lnTo>
                      <a:lnTo>
                        <a:pt x="66" y="1225"/>
                      </a:lnTo>
                      <a:lnTo>
                        <a:pt x="65" y="1225"/>
                      </a:lnTo>
                      <a:lnTo>
                        <a:pt x="64" y="1225"/>
                      </a:lnTo>
                      <a:lnTo>
                        <a:pt x="64" y="1225"/>
                      </a:lnTo>
                      <a:lnTo>
                        <a:pt x="64" y="1224"/>
                      </a:lnTo>
                      <a:lnTo>
                        <a:pt x="63" y="1223"/>
                      </a:lnTo>
                      <a:lnTo>
                        <a:pt x="62" y="1223"/>
                      </a:lnTo>
                      <a:lnTo>
                        <a:pt x="62" y="1223"/>
                      </a:lnTo>
                      <a:lnTo>
                        <a:pt x="62" y="1222"/>
                      </a:lnTo>
                      <a:lnTo>
                        <a:pt x="62" y="1221"/>
                      </a:lnTo>
                      <a:lnTo>
                        <a:pt x="62" y="1221"/>
                      </a:lnTo>
                      <a:lnTo>
                        <a:pt x="62" y="1221"/>
                      </a:lnTo>
                      <a:lnTo>
                        <a:pt x="61" y="1221"/>
                      </a:lnTo>
                      <a:lnTo>
                        <a:pt x="60" y="1221"/>
                      </a:lnTo>
                      <a:lnTo>
                        <a:pt x="60" y="1221"/>
                      </a:lnTo>
                      <a:lnTo>
                        <a:pt x="60" y="1221"/>
                      </a:lnTo>
                      <a:lnTo>
                        <a:pt x="59" y="1221"/>
                      </a:lnTo>
                      <a:lnTo>
                        <a:pt x="59" y="1221"/>
                      </a:lnTo>
                      <a:lnTo>
                        <a:pt x="58" y="1221"/>
                      </a:lnTo>
                      <a:lnTo>
                        <a:pt x="58" y="1221"/>
                      </a:lnTo>
                      <a:lnTo>
                        <a:pt x="57" y="1221"/>
                      </a:lnTo>
                      <a:lnTo>
                        <a:pt x="56" y="1221"/>
                      </a:lnTo>
                      <a:lnTo>
                        <a:pt x="56" y="1221"/>
                      </a:lnTo>
                      <a:lnTo>
                        <a:pt x="56" y="1222"/>
                      </a:lnTo>
                      <a:lnTo>
                        <a:pt x="55" y="1222"/>
                      </a:lnTo>
                      <a:lnTo>
                        <a:pt x="54" y="1223"/>
                      </a:lnTo>
                      <a:lnTo>
                        <a:pt x="53" y="1223"/>
                      </a:lnTo>
                      <a:lnTo>
                        <a:pt x="53" y="1223"/>
                      </a:lnTo>
                      <a:lnTo>
                        <a:pt x="53" y="1223"/>
                      </a:lnTo>
                      <a:lnTo>
                        <a:pt x="53" y="1223"/>
                      </a:lnTo>
                      <a:lnTo>
                        <a:pt x="52" y="1223"/>
                      </a:lnTo>
                      <a:lnTo>
                        <a:pt x="51" y="1223"/>
                      </a:lnTo>
                      <a:lnTo>
                        <a:pt x="51" y="1223"/>
                      </a:lnTo>
                      <a:lnTo>
                        <a:pt x="50" y="1223"/>
                      </a:lnTo>
                      <a:lnTo>
                        <a:pt x="49" y="1223"/>
                      </a:lnTo>
                      <a:lnTo>
                        <a:pt x="49" y="1223"/>
                      </a:lnTo>
                      <a:lnTo>
                        <a:pt x="48" y="1223"/>
                      </a:lnTo>
                      <a:lnTo>
                        <a:pt x="47" y="1223"/>
                      </a:lnTo>
                      <a:lnTo>
                        <a:pt x="47" y="1223"/>
                      </a:lnTo>
                      <a:lnTo>
                        <a:pt x="46" y="1223"/>
                      </a:lnTo>
                      <a:lnTo>
                        <a:pt x="45" y="1223"/>
                      </a:lnTo>
                      <a:lnTo>
                        <a:pt x="45" y="1223"/>
                      </a:lnTo>
                      <a:lnTo>
                        <a:pt x="44" y="1223"/>
                      </a:lnTo>
                      <a:lnTo>
                        <a:pt x="44" y="1222"/>
                      </a:lnTo>
                      <a:lnTo>
                        <a:pt x="43" y="1222"/>
                      </a:lnTo>
                      <a:lnTo>
                        <a:pt x="43" y="1223"/>
                      </a:lnTo>
                      <a:lnTo>
                        <a:pt x="43" y="1223"/>
                      </a:lnTo>
                      <a:lnTo>
                        <a:pt x="43" y="1222"/>
                      </a:lnTo>
                      <a:lnTo>
                        <a:pt x="42" y="1222"/>
                      </a:lnTo>
                      <a:lnTo>
                        <a:pt x="41" y="1222"/>
                      </a:lnTo>
                      <a:lnTo>
                        <a:pt x="41" y="1221"/>
                      </a:lnTo>
                      <a:lnTo>
                        <a:pt x="41" y="1221"/>
                      </a:lnTo>
                      <a:lnTo>
                        <a:pt x="41" y="1221"/>
                      </a:lnTo>
                      <a:lnTo>
                        <a:pt x="40" y="1221"/>
                      </a:lnTo>
                      <a:lnTo>
                        <a:pt x="40" y="1220"/>
                      </a:lnTo>
                      <a:lnTo>
                        <a:pt x="39" y="1220"/>
                      </a:lnTo>
                      <a:lnTo>
                        <a:pt x="39" y="1219"/>
                      </a:lnTo>
                      <a:lnTo>
                        <a:pt x="39" y="1219"/>
                      </a:lnTo>
                      <a:lnTo>
                        <a:pt x="39" y="1219"/>
                      </a:lnTo>
                      <a:lnTo>
                        <a:pt x="38" y="1219"/>
                      </a:lnTo>
                      <a:lnTo>
                        <a:pt x="38" y="1218"/>
                      </a:lnTo>
                      <a:lnTo>
                        <a:pt x="37" y="1218"/>
                      </a:lnTo>
                      <a:lnTo>
                        <a:pt x="37" y="1217"/>
                      </a:lnTo>
                      <a:lnTo>
                        <a:pt x="37" y="1217"/>
                      </a:lnTo>
                      <a:lnTo>
                        <a:pt x="37" y="1217"/>
                      </a:lnTo>
                      <a:lnTo>
                        <a:pt x="37" y="1216"/>
                      </a:lnTo>
                      <a:lnTo>
                        <a:pt x="37" y="1215"/>
                      </a:lnTo>
                      <a:lnTo>
                        <a:pt x="36" y="1215"/>
                      </a:lnTo>
                      <a:lnTo>
                        <a:pt x="36" y="1216"/>
                      </a:lnTo>
                      <a:lnTo>
                        <a:pt x="36" y="1215"/>
                      </a:lnTo>
                      <a:lnTo>
                        <a:pt x="36" y="1215"/>
                      </a:lnTo>
                      <a:lnTo>
                        <a:pt x="36" y="1214"/>
                      </a:lnTo>
                      <a:lnTo>
                        <a:pt x="36" y="1213"/>
                      </a:lnTo>
                      <a:lnTo>
                        <a:pt x="35" y="1213"/>
                      </a:lnTo>
                      <a:lnTo>
                        <a:pt x="35" y="1213"/>
                      </a:lnTo>
                      <a:lnTo>
                        <a:pt x="34" y="1213"/>
                      </a:lnTo>
                      <a:lnTo>
                        <a:pt x="34" y="1212"/>
                      </a:lnTo>
                      <a:lnTo>
                        <a:pt x="35" y="1212"/>
                      </a:lnTo>
                      <a:lnTo>
                        <a:pt x="35" y="1211"/>
                      </a:lnTo>
                      <a:lnTo>
                        <a:pt x="36" y="1211"/>
                      </a:lnTo>
                      <a:lnTo>
                        <a:pt x="36" y="1211"/>
                      </a:lnTo>
                      <a:lnTo>
                        <a:pt x="35" y="1211"/>
                      </a:lnTo>
                      <a:lnTo>
                        <a:pt x="35" y="1210"/>
                      </a:lnTo>
                      <a:lnTo>
                        <a:pt x="36" y="1210"/>
                      </a:lnTo>
                      <a:lnTo>
                        <a:pt x="36" y="1209"/>
                      </a:lnTo>
                      <a:lnTo>
                        <a:pt x="35" y="1209"/>
                      </a:lnTo>
                      <a:lnTo>
                        <a:pt x="35" y="1209"/>
                      </a:lnTo>
                      <a:lnTo>
                        <a:pt x="35" y="1208"/>
                      </a:lnTo>
                      <a:lnTo>
                        <a:pt x="35" y="1207"/>
                      </a:lnTo>
                      <a:lnTo>
                        <a:pt x="34" y="1207"/>
                      </a:lnTo>
                      <a:lnTo>
                        <a:pt x="34" y="1208"/>
                      </a:lnTo>
                      <a:lnTo>
                        <a:pt x="34" y="1208"/>
                      </a:lnTo>
                      <a:lnTo>
                        <a:pt x="34" y="1207"/>
                      </a:lnTo>
                      <a:lnTo>
                        <a:pt x="33" y="1207"/>
                      </a:lnTo>
                      <a:lnTo>
                        <a:pt x="32" y="1207"/>
                      </a:lnTo>
                      <a:lnTo>
                        <a:pt x="32" y="1207"/>
                      </a:lnTo>
                      <a:lnTo>
                        <a:pt x="32" y="1207"/>
                      </a:lnTo>
                      <a:lnTo>
                        <a:pt x="31" y="1207"/>
                      </a:lnTo>
                      <a:lnTo>
                        <a:pt x="30" y="1207"/>
                      </a:lnTo>
                      <a:lnTo>
                        <a:pt x="30" y="1207"/>
                      </a:lnTo>
                      <a:lnTo>
                        <a:pt x="30" y="1206"/>
                      </a:lnTo>
                      <a:lnTo>
                        <a:pt x="29" y="1205"/>
                      </a:lnTo>
                      <a:lnTo>
                        <a:pt x="28" y="1205"/>
                      </a:lnTo>
                      <a:lnTo>
                        <a:pt x="28" y="1205"/>
                      </a:lnTo>
                      <a:lnTo>
                        <a:pt x="28" y="1204"/>
                      </a:lnTo>
                      <a:lnTo>
                        <a:pt x="28" y="1203"/>
                      </a:lnTo>
                      <a:lnTo>
                        <a:pt x="27" y="1203"/>
                      </a:lnTo>
                      <a:lnTo>
                        <a:pt x="27" y="1202"/>
                      </a:lnTo>
                      <a:lnTo>
                        <a:pt x="27" y="1202"/>
                      </a:lnTo>
                      <a:lnTo>
                        <a:pt x="27" y="1201"/>
                      </a:lnTo>
                      <a:lnTo>
                        <a:pt x="26" y="1201"/>
                      </a:lnTo>
                      <a:lnTo>
                        <a:pt x="26" y="1200"/>
                      </a:lnTo>
                      <a:lnTo>
                        <a:pt x="26" y="1200"/>
                      </a:lnTo>
                      <a:lnTo>
                        <a:pt x="26" y="1200"/>
                      </a:lnTo>
                      <a:lnTo>
                        <a:pt x="25" y="1200"/>
                      </a:lnTo>
                      <a:lnTo>
                        <a:pt x="25" y="1199"/>
                      </a:lnTo>
                      <a:lnTo>
                        <a:pt x="25" y="1198"/>
                      </a:lnTo>
                      <a:lnTo>
                        <a:pt x="24" y="1198"/>
                      </a:lnTo>
                      <a:lnTo>
                        <a:pt x="24" y="1198"/>
                      </a:lnTo>
                      <a:lnTo>
                        <a:pt x="24" y="1198"/>
                      </a:lnTo>
                      <a:lnTo>
                        <a:pt x="24" y="1197"/>
                      </a:lnTo>
                      <a:lnTo>
                        <a:pt x="23" y="1196"/>
                      </a:lnTo>
                      <a:lnTo>
                        <a:pt x="23" y="1196"/>
                      </a:lnTo>
                      <a:lnTo>
                        <a:pt x="23" y="1195"/>
                      </a:lnTo>
                      <a:lnTo>
                        <a:pt x="22" y="1194"/>
                      </a:lnTo>
                      <a:lnTo>
                        <a:pt x="22" y="1194"/>
                      </a:lnTo>
                      <a:lnTo>
                        <a:pt x="22" y="1193"/>
                      </a:lnTo>
                      <a:lnTo>
                        <a:pt x="23" y="1193"/>
                      </a:lnTo>
                      <a:lnTo>
                        <a:pt x="22" y="1192"/>
                      </a:lnTo>
                      <a:lnTo>
                        <a:pt x="22" y="1192"/>
                      </a:lnTo>
                      <a:lnTo>
                        <a:pt x="22" y="1192"/>
                      </a:lnTo>
                      <a:lnTo>
                        <a:pt x="21" y="1191"/>
                      </a:lnTo>
                      <a:lnTo>
                        <a:pt x="21" y="1190"/>
                      </a:lnTo>
                      <a:lnTo>
                        <a:pt x="20" y="1190"/>
                      </a:lnTo>
                      <a:lnTo>
                        <a:pt x="20" y="1191"/>
                      </a:lnTo>
                      <a:lnTo>
                        <a:pt x="20" y="1192"/>
                      </a:lnTo>
                      <a:lnTo>
                        <a:pt x="20" y="1192"/>
                      </a:lnTo>
                      <a:lnTo>
                        <a:pt x="20" y="1191"/>
                      </a:lnTo>
                      <a:lnTo>
                        <a:pt x="19" y="1191"/>
                      </a:lnTo>
                      <a:lnTo>
                        <a:pt x="19" y="1192"/>
                      </a:lnTo>
                      <a:lnTo>
                        <a:pt x="18" y="1192"/>
                      </a:lnTo>
                      <a:lnTo>
                        <a:pt x="18" y="1191"/>
                      </a:lnTo>
                      <a:lnTo>
                        <a:pt x="18" y="1191"/>
                      </a:lnTo>
                      <a:lnTo>
                        <a:pt x="18" y="1190"/>
                      </a:lnTo>
                      <a:lnTo>
                        <a:pt x="18" y="1190"/>
                      </a:lnTo>
                      <a:lnTo>
                        <a:pt x="17" y="1190"/>
                      </a:lnTo>
                      <a:lnTo>
                        <a:pt x="17" y="1189"/>
                      </a:lnTo>
                      <a:lnTo>
                        <a:pt x="16" y="1189"/>
                      </a:lnTo>
                      <a:lnTo>
                        <a:pt x="15" y="1188"/>
                      </a:lnTo>
                      <a:lnTo>
                        <a:pt x="15" y="1188"/>
                      </a:lnTo>
                      <a:lnTo>
                        <a:pt x="15" y="1188"/>
                      </a:lnTo>
                      <a:lnTo>
                        <a:pt x="15" y="1187"/>
                      </a:lnTo>
                      <a:lnTo>
                        <a:pt x="14" y="1187"/>
                      </a:lnTo>
                      <a:lnTo>
                        <a:pt x="14" y="1186"/>
                      </a:lnTo>
                      <a:lnTo>
                        <a:pt x="14" y="1186"/>
                      </a:lnTo>
                      <a:lnTo>
                        <a:pt x="14" y="1185"/>
                      </a:lnTo>
                      <a:lnTo>
                        <a:pt x="13" y="1185"/>
                      </a:lnTo>
                      <a:lnTo>
                        <a:pt x="13" y="1184"/>
                      </a:lnTo>
                      <a:lnTo>
                        <a:pt x="13" y="1184"/>
                      </a:lnTo>
                      <a:lnTo>
                        <a:pt x="13" y="1183"/>
                      </a:lnTo>
                      <a:lnTo>
                        <a:pt x="12" y="1183"/>
                      </a:lnTo>
                      <a:lnTo>
                        <a:pt x="12" y="1183"/>
                      </a:lnTo>
                      <a:lnTo>
                        <a:pt x="12" y="1182"/>
                      </a:lnTo>
                      <a:lnTo>
                        <a:pt x="11" y="1182"/>
                      </a:lnTo>
                      <a:lnTo>
                        <a:pt x="18" y="1179"/>
                      </a:lnTo>
                      <a:lnTo>
                        <a:pt x="15" y="1174"/>
                      </a:lnTo>
                      <a:lnTo>
                        <a:pt x="13" y="1169"/>
                      </a:lnTo>
                      <a:lnTo>
                        <a:pt x="12" y="1168"/>
                      </a:lnTo>
                      <a:lnTo>
                        <a:pt x="15" y="1155"/>
                      </a:lnTo>
                      <a:lnTo>
                        <a:pt x="18" y="1153"/>
                      </a:lnTo>
                      <a:lnTo>
                        <a:pt x="18" y="1152"/>
                      </a:lnTo>
                      <a:lnTo>
                        <a:pt x="19" y="1152"/>
                      </a:lnTo>
                      <a:lnTo>
                        <a:pt x="19" y="1152"/>
                      </a:lnTo>
                      <a:lnTo>
                        <a:pt x="20" y="1152"/>
                      </a:lnTo>
                      <a:lnTo>
                        <a:pt x="20" y="1151"/>
                      </a:lnTo>
                      <a:lnTo>
                        <a:pt x="20" y="1150"/>
                      </a:lnTo>
                      <a:lnTo>
                        <a:pt x="20" y="1150"/>
                      </a:lnTo>
                      <a:lnTo>
                        <a:pt x="20" y="1150"/>
                      </a:lnTo>
                      <a:lnTo>
                        <a:pt x="20" y="1149"/>
                      </a:lnTo>
                      <a:lnTo>
                        <a:pt x="20" y="1148"/>
                      </a:lnTo>
                      <a:lnTo>
                        <a:pt x="20" y="1148"/>
                      </a:lnTo>
                      <a:lnTo>
                        <a:pt x="20" y="1148"/>
                      </a:lnTo>
                      <a:lnTo>
                        <a:pt x="20" y="1147"/>
                      </a:lnTo>
                      <a:lnTo>
                        <a:pt x="20" y="1146"/>
                      </a:lnTo>
                      <a:lnTo>
                        <a:pt x="20" y="1146"/>
                      </a:lnTo>
                      <a:lnTo>
                        <a:pt x="20" y="1146"/>
                      </a:lnTo>
                      <a:lnTo>
                        <a:pt x="20" y="1145"/>
                      </a:lnTo>
                      <a:lnTo>
                        <a:pt x="20" y="1144"/>
                      </a:lnTo>
                      <a:lnTo>
                        <a:pt x="20" y="1143"/>
                      </a:lnTo>
                      <a:lnTo>
                        <a:pt x="21" y="1143"/>
                      </a:lnTo>
                      <a:lnTo>
                        <a:pt x="21" y="1142"/>
                      </a:lnTo>
                      <a:lnTo>
                        <a:pt x="21" y="1141"/>
                      </a:lnTo>
                      <a:lnTo>
                        <a:pt x="21" y="1141"/>
                      </a:lnTo>
                      <a:lnTo>
                        <a:pt x="22" y="1141"/>
                      </a:lnTo>
                      <a:lnTo>
                        <a:pt x="22" y="1140"/>
                      </a:lnTo>
                      <a:lnTo>
                        <a:pt x="22" y="1139"/>
                      </a:lnTo>
                      <a:lnTo>
                        <a:pt x="22" y="1139"/>
                      </a:lnTo>
                      <a:lnTo>
                        <a:pt x="22" y="1138"/>
                      </a:lnTo>
                      <a:lnTo>
                        <a:pt x="22" y="1137"/>
                      </a:lnTo>
                      <a:lnTo>
                        <a:pt x="23" y="1137"/>
                      </a:lnTo>
                      <a:lnTo>
                        <a:pt x="23" y="1136"/>
                      </a:lnTo>
                      <a:lnTo>
                        <a:pt x="23" y="1135"/>
                      </a:lnTo>
                      <a:lnTo>
                        <a:pt x="24" y="1135"/>
                      </a:lnTo>
                      <a:lnTo>
                        <a:pt x="24" y="1134"/>
                      </a:lnTo>
                      <a:lnTo>
                        <a:pt x="24" y="1133"/>
                      </a:lnTo>
                      <a:lnTo>
                        <a:pt x="24" y="1133"/>
                      </a:lnTo>
                      <a:lnTo>
                        <a:pt x="24" y="1132"/>
                      </a:lnTo>
                      <a:lnTo>
                        <a:pt x="24" y="1132"/>
                      </a:lnTo>
                      <a:lnTo>
                        <a:pt x="24" y="1131"/>
                      </a:lnTo>
                      <a:lnTo>
                        <a:pt x="24" y="1131"/>
                      </a:lnTo>
                      <a:lnTo>
                        <a:pt x="24" y="1130"/>
                      </a:lnTo>
                      <a:lnTo>
                        <a:pt x="25" y="1130"/>
                      </a:lnTo>
                      <a:lnTo>
                        <a:pt x="25" y="1129"/>
                      </a:lnTo>
                      <a:lnTo>
                        <a:pt x="26" y="1129"/>
                      </a:lnTo>
                      <a:lnTo>
                        <a:pt x="26" y="1129"/>
                      </a:lnTo>
                      <a:lnTo>
                        <a:pt x="26" y="1128"/>
                      </a:lnTo>
                      <a:lnTo>
                        <a:pt x="26" y="1128"/>
                      </a:lnTo>
                      <a:lnTo>
                        <a:pt x="26" y="1127"/>
                      </a:lnTo>
                      <a:lnTo>
                        <a:pt x="27" y="1127"/>
                      </a:lnTo>
                      <a:lnTo>
                        <a:pt x="28" y="1127"/>
                      </a:lnTo>
                      <a:lnTo>
                        <a:pt x="28" y="1127"/>
                      </a:lnTo>
                      <a:lnTo>
                        <a:pt x="29" y="1127"/>
                      </a:lnTo>
                      <a:lnTo>
                        <a:pt x="30" y="1127"/>
                      </a:lnTo>
                      <a:lnTo>
                        <a:pt x="30" y="1127"/>
                      </a:lnTo>
                      <a:lnTo>
                        <a:pt x="30" y="1126"/>
                      </a:lnTo>
                      <a:lnTo>
                        <a:pt x="31" y="1126"/>
                      </a:lnTo>
                      <a:lnTo>
                        <a:pt x="32" y="1126"/>
                      </a:lnTo>
                      <a:lnTo>
                        <a:pt x="32" y="1126"/>
                      </a:lnTo>
                      <a:lnTo>
                        <a:pt x="33" y="1126"/>
                      </a:lnTo>
                      <a:lnTo>
                        <a:pt x="34" y="1126"/>
                      </a:lnTo>
                      <a:lnTo>
                        <a:pt x="34" y="1125"/>
                      </a:lnTo>
                      <a:lnTo>
                        <a:pt x="34" y="1126"/>
                      </a:lnTo>
                      <a:lnTo>
                        <a:pt x="34" y="1126"/>
                      </a:lnTo>
                      <a:lnTo>
                        <a:pt x="35" y="1126"/>
                      </a:lnTo>
                      <a:lnTo>
                        <a:pt x="35" y="1125"/>
                      </a:lnTo>
                      <a:lnTo>
                        <a:pt x="36" y="1125"/>
                      </a:lnTo>
                      <a:lnTo>
                        <a:pt x="36" y="1124"/>
                      </a:lnTo>
                      <a:lnTo>
                        <a:pt x="36" y="1124"/>
                      </a:lnTo>
                      <a:lnTo>
                        <a:pt x="37" y="1124"/>
                      </a:lnTo>
                      <a:lnTo>
                        <a:pt x="37" y="1123"/>
                      </a:lnTo>
                      <a:lnTo>
                        <a:pt x="37" y="1123"/>
                      </a:lnTo>
                      <a:lnTo>
                        <a:pt x="37" y="1122"/>
                      </a:lnTo>
                      <a:lnTo>
                        <a:pt x="37" y="1122"/>
                      </a:lnTo>
                      <a:lnTo>
                        <a:pt x="38" y="1121"/>
                      </a:lnTo>
                      <a:lnTo>
                        <a:pt x="39" y="1121"/>
                      </a:lnTo>
                      <a:lnTo>
                        <a:pt x="39" y="1121"/>
                      </a:lnTo>
                      <a:lnTo>
                        <a:pt x="40" y="1121"/>
                      </a:lnTo>
                      <a:lnTo>
                        <a:pt x="41" y="1121"/>
                      </a:lnTo>
                      <a:lnTo>
                        <a:pt x="41" y="1122"/>
                      </a:lnTo>
                      <a:lnTo>
                        <a:pt x="41" y="1122"/>
                      </a:lnTo>
                      <a:lnTo>
                        <a:pt x="42" y="1122"/>
                      </a:lnTo>
                      <a:lnTo>
                        <a:pt x="43" y="1122"/>
                      </a:lnTo>
                      <a:lnTo>
                        <a:pt x="43" y="1121"/>
                      </a:lnTo>
                      <a:lnTo>
                        <a:pt x="43" y="1121"/>
                      </a:lnTo>
                      <a:lnTo>
                        <a:pt x="44" y="1121"/>
                      </a:lnTo>
                      <a:lnTo>
                        <a:pt x="45" y="1121"/>
                      </a:lnTo>
                      <a:lnTo>
                        <a:pt x="45" y="1121"/>
                      </a:lnTo>
                      <a:lnTo>
                        <a:pt x="45" y="1120"/>
                      </a:lnTo>
                      <a:lnTo>
                        <a:pt x="46" y="1120"/>
                      </a:lnTo>
                      <a:lnTo>
                        <a:pt x="47" y="1120"/>
                      </a:lnTo>
                      <a:lnTo>
                        <a:pt x="47" y="1120"/>
                      </a:lnTo>
                      <a:lnTo>
                        <a:pt x="48" y="1120"/>
                      </a:lnTo>
                      <a:lnTo>
                        <a:pt x="48" y="1121"/>
                      </a:lnTo>
                      <a:lnTo>
                        <a:pt x="49" y="1121"/>
                      </a:lnTo>
                      <a:lnTo>
                        <a:pt x="49" y="1121"/>
                      </a:lnTo>
                      <a:lnTo>
                        <a:pt x="49" y="1120"/>
                      </a:lnTo>
                      <a:lnTo>
                        <a:pt x="50" y="1120"/>
                      </a:lnTo>
                      <a:lnTo>
                        <a:pt x="51" y="1120"/>
                      </a:lnTo>
                      <a:lnTo>
                        <a:pt x="51" y="1120"/>
                      </a:lnTo>
                      <a:lnTo>
                        <a:pt x="51" y="1119"/>
                      </a:lnTo>
                      <a:lnTo>
                        <a:pt x="52" y="1119"/>
                      </a:lnTo>
                      <a:lnTo>
                        <a:pt x="53" y="1119"/>
                      </a:lnTo>
                      <a:lnTo>
                        <a:pt x="53" y="1119"/>
                      </a:lnTo>
                      <a:lnTo>
                        <a:pt x="54" y="1119"/>
                      </a:lnTo>
                      <a:lnTo>
                        <a:pt x="54" y="1118"/>
                      </a:lnTo>
                      <a:lnTo>
                        <a:pt x="54" y="1118"/>
                      </a:lnTo>
                      <a:lnTo>
                        <a:pt x="53" y="1118"/>
                      </a:lnTo>
                      <a:lnTo>
                        <a:pt x="53" y="1117"/>
                      </a:lnTo>
                      <a:lnTo>
                        <a:pt x="54" y="1117"/>
                      </a:lnTo>
                      <a:lnTo>
                        <a:pt x="54" y="1116"/>
                      </a:lnTo>
                      <a:lnTo>
                        <a:pt x="53" y="1116"/>
                      </a:lnTo>
                      <a:lnTo>
                        <a:pt x="53" y="1116"/>
                      </a:lnTo>
                      <a:lnTo>
                        <a:pt x="54" y="1116"/>
                      </a:lnTo>
                      <a:lnTo>
                        <a:pt x="54" y="1115"/>
                      </a:lnTo>
                      <a:lnTo>
                        <a:pt x="53" y="1115"/>
                      </a:lnTo>
                      <a:lnTo>
                        <a:pt x="53" y="1114"/>
                      </a:lnTo>
                      <a:lnTo>
                        <a:pt x="53" y="1114"/>
                      </a:lnTo>
                      <a:lnTo>
                        <a:pt x="53" y="1113"/>
                      </a:lnTo>
                      <a:lnTo>
                        <a:pt x="53" y="1112"/>
                      </a:lnTo>
                      <a:lnTo>
                        <a:pt x="53" y="1112"/>
                      </a:lnTo>
                      <a:lnTo>
                        <a:pt x="53" y="1111"/>
                      </a:lnTo>
                      <a:lnTo>
                        <a:pt x="53" y="1110"/>
                      </a:lnTo>
                      <a:lnTo>
                        <a:pt x="54" y="1110"/>
                      </a:lnTo>
                      <a:lnTo>
                        <a:pt x="54" y="1110"/>
                      </a:lnTo>
                      <a:lnTo>
                        <a:pt x="55" y="1110"/>
                      </a:lnTo>
                      <a:lnTo>
                        <a:pt x="55" y="1109"/>
                      </a:lnTo>
                      <a:lnTo>
                        <a:pt x="56" y="1109"/>
                      </a:lnTo>
                      <a:lnTo>
                        <a:pt x="56" y="1108"/>
                      </a:lnTo>
                      <a:lnTo>
                        <a:pt x="56" y="1108"/>
                      </a:lnTo>
                      <a:lnTo>
                        <a:pt x="56" y="1108"/>
                      </a:lnTo>
                      <a:lnTo>
                        <a:pt x="56" y="1107"/>
                      </a:lnTo>
                      <a:lnTo>
                        <a:pt x="57" y="1107"/>
                      </a:lnTo>
                      <a:lnTo>
                        <a:pt x="57" y="1106"/>
                      </a:lnTo>
                      <a:lnTo>
                        <a:pt x="57" y="1106"/>
                      </a:lnTo>
                      <a:lnTo>
                        <a:pt x="58" y="1106"/>
                      </a:lnTo>
                      <a:lnTo>
                        <a:pt x="58" y="1106"/>
                      </a:lnTo>
                      <a:lnTo>
                        <a:pt x="58" y="1106"/>
                      </a:lnTo>
                      <a:lnTo>
                        <a:pt x="58" y="1107"/>
                      </a:lnTo>
                      <a:lnTo>
                        <a:pt x="59" y="1107"/>
                      </a:lnTo>
                      <a:lnTo>
                        <a:pt x="60" y="1107"/>
                      </a:lnTo>
                      <a:lnTo>
                        <a:pt x="60" y="1106"/>
                      </a:lnTo>
                      <a:lnTo>
                        <a:pt x="60" y="1106"/>
                      </a:lnTo>
                      <a:lnTo>
                        <a:pt x="60" y="1106"/>
                      </a:lnTo>
                      <a:lnTo>
                        <a:pt x="60" y="1105"/>
                      </a:lnTo>
                      <a:lnTo>
                        <a:pt x="60" y="1104"/>
                      </a:lnTo>
                      <a:lnTo>
                        <a:pt x="60" y="1103"/>
                      </a:lnTo>
                      <a:lnTo>
                        <a:pt x="61" y="1103"/>
                      </a:lnTo>
                      <a:lnTo>
                        <a:pt x="61" y="1103"/>
                      </a:lnTo>
                      <a:lnTo>
                        <a:pt x="62" y="1103"/>
                      </a:lnTo>
                      <a:lnTo>
                        <a:pt x="62" y="1102"/>
                      </a:lnTo>
                      <a:lnTo>
                        <a:pt x="62" y="1102"/>
                      </a:lnTo>
                      <a:lnTo>
                        <a:pt x="62" y="1101"/>
                      </a:lnTo>
                      <a:lnTo>
                        <a:pt x="63" y="1101"/>
                      </a:lnTo>
                      <a:lnTo>
                        <a:pt x="64" y="1101"/>
                      </a:lnTo>
                      <a:lnTo>
                        <a:pt x="64" y="1100"/>
                      </a:lnTo>
                      <a:lnTo>
                        <a:pt x="63" y="1100"/>
                      </a:lnTo>
                      <a:lnTo>
                        <a:pt x="64" y="1100"/>
                      </a:lnTo>
                      <a:lnTo>
                        <a:pt x="64" y="1099"/>
                      </a:lnTo>
                      <a:lnTo>
                        <a:pt x="64" y="1099"/>
                      </a:lnTo>
                      <a:lnTo>
                        <a:pt x="64" y="1099"/>
                      </a:lnTo>
                      <a:lnTo>
                        <a:pt x="65" y="1099"/>
                      </a:lnTo>
                      <a:lnTo>
                        <a:pt x="65" y="1098"/>
                      </a:lnTo>
                      <a:lnTo>
                        <a:pt x="65" y="1097"/>
                      </a:lnTo>
                      <a:lnTo>
                        <a:pt x="65" y="1097"/>
                      </a:lnTo>
                      <a:lnTo>
                        <a:pt x="65" y="1096"/>
                      </a:lnTo>
                      <a:lnTo>
                        <a:pt x="66" y="1096"/>
                      </a:lnTo>
                      <a:lnTo>
                        <a:pt x="66" y="1095"/>
                      </a:lnTo>
                      <a:lnTo>
                        <a:pt x="66" y="1095"/>
                      </a:lnTo>
                      <a:lnTo>
                        <a:pt x="66" y="1094"/>
                      </a:lnTo>
                      <a:lnTo>
                        <a:pt x="66" y="1093"/>
                      </a:lnTo>
                      <a:lnTo>
                        <a:pt x="66" y="1093"/>
                      </a:lnTo>
                      <a:lnTo>
                        <a:pt x="66" y="1093"/>
                      </a:lnTo>
                      <a:lnTo>
                        <a:pt x="66" y="1092"/>
                      </a:lnTo>
                      <a:lnTo>
                        <a:pt x="66" y="1091"/>
                      </a:lnTo>
                      <a:lnTo>
                        <a:pt x="66" y="1091"/>
                      </a:lnTo>
                      <a:lnTo>
                        <a:pt x="67" y="1091"/>
                      </a:lnTo>
                      <a:lnTo>
                        <a:pt x="66" y="1090"/>
                      </a:lnTo>
                      <a:lnTo>
                        <a:pt x="66" y="1089"/>
                      </a:lnTo>
                      <a:lnTo>
                        <a:pt x="66" y="1089"/>
                      </a:lnTo>
                      <a:lnTo>
                        <a:pt x="65" y="1089"/>
                      </a:lnTo>
                      <a:lnTo>
                        <a:pt x="65" y="1088"/>
                      </a:lnTo>
                      <a:lnTo>
                        <a:pt x="64" y="1088"/>
                      </a:lnTo>
                      <a:lnTo>
                        <a:pt x="64" y="1087"/>
                      </a:lnTo>
                      <a:lnTo>
                        <a:pt x="64" y="1087"/>
                      </a:lnTo>
                      <a:lnTo>
                        <a:pt x="64" y="1086"/>
                      </a:lnTo>
                      <a:lnTo>
                        <a:pt x="64" y="1085"/>
                      </a:lnTo>
                      <a:lnTo>
                        <a:pt x="64" y="1084"/>
                      </a:lnTo>
                      <a:lnTo>
                        <a:pt x="64" y="1084"/>
                      </a:lnTo>
                      <a:lnTo>
                        <a:pt x="64" y="1083"/>
                      </a:lnTo>
                      <a:lnTo>
                        <a:pt x="64" y="1082"/>
                      </a:lnTo>
                      <a:lnTo>
                        <a:pt x="64" y="1082"/>
                      </a:lnTo>
                      <a:lnTo>
                        <a:pt x="63" y="1082"/>
                      </a:lnTo>
                      <a:lnTo>
                        <a:pt x="63" y="1081"/>
                      </a:lnTo>
                      <a:lnTo>
                        <a:pt x="63" y="1080"/>
                      </a:lnTo>
                      <a:lnTo>
                        <a:pt x="63" y="1080"/>
                      </a:lnTo>
                      <a:lnTo>
                        <a:pt x="63" y="1079"/>
                      </a:lnTo>
                      <a:lnTo>
                        <a:pt x="64" y="1079"/>
                      </a:lnTo>
                      <a:lnTo>
                        <a:pt x="66" y="1078"/>
                      </a:lnTo>
                      <a:lnTo>
                        <a:pt x="68" y="1078"/>
                      </a:lnTo>
                      <a:lnTo>
                        <a:pt x="69" y="1079"/>
                      </a:lnTo>
                      <a:lnTo>
                        <a:pt x="71" y="1080"/>
                      </a:lnTo>
                      <a:lnTo>
                        <a:pt x="72" y="1080"/>
                      </a:lnTo>
                      <a:lnTo>
                        <a:pt x="72" y="1080"/>
                      </a:lnTo>
                      <a:lnTo>
                        <a:pt x="73" y="1080"/>
                      </a:lnTo>
                      <a:lnTo>
                        <a:pt x="74" y="1080"/>
                      </a:lnTo>
                      <a:lnTo>
                        <a:pt x="75" y="1081"/>
                      </a:lnTo>
                      <a:lnTo>
                        <a:pt x="76" y="1081"/>
                      </a:lnTo>
                      <a:lnTo>
                        <a:pt x="77" y="1081"/>
                      </a:lnTo>
                      <a:lnTo>
                        <a:pt x="77" y="1080"/>
                      </a:lnTo>
                      <a:lnTo>
                        <a:pt x="78" y="1078"/>
                      </a:lnTo>
                      <a:lnTo>
                        <a:pt x="79" y="1078"/>
                      </a:lnTo>
                      <a:lnTo>
                        <a:pt x="79" y="1077"/>
                      </a:lnTo>
                      <a:lnTo>
                        <a:pt x="80" y="1077"/>
                      </a:lnTo>
                      <a:lnTo>
                        <a:pt x="81" y="1076"/>
                      </a:lnTo>
                      <a:lnTo>
                        <a:pt x="81" y="1076"/>
                      </a:lnTo>
                      <a:lnTo>
                        <a:pt x="81" y="1076"/>
                      </a:lnTo>
                      <a:lnTo>
                        <a:pt x="82" y="1075"/>
                      </a:lnTo>
                      <a:lnTo>
                        <a:pt x="83" y="1074"/>
                      </a:lnTo>
                      <a:lnTo>
                        <a:pt x="83" y="1074"/>
                      </a:lnTo>
                      <a:lnTo>
                        <a:pt x="84" y="1074"/>
                      </a:lnTo>
                      <a:lnTo>
                        <a:pt x="83" y="1074"/>
                      </a:lnTo>
                      <a:lnTo>
                        <a:pt x="84" y="1073"/>
                      </a:lnTo>
                      <a:lnTo>
                        <a:pt x="84" y="1072"/>
                      </a:lnTo>
                      <a:lnTo>
                        <a:pt x="85" y="1073"/>
                      </a:lnTo>
                      <a:lnTo>
                        <a:pt x="85" y="1073"/>
                      </a:lnTo>
                      <a:lnTo>
                        <a:pt x="85" y="1074"/>
                      </a:lnTo>
                      <a:lnTo>
                        <a:pt x="85" y="1074"/>
                      </a:lnTo>
                      <a:lnTo>
                        <a:pt x="85" y="1075"/>
                      </a:lnTo>
                      <a:lnTo>
                        <a:pt x="86" y="1076"/>
                      </a:lnTo>
                      <a:lnTo>
                        <a:pt x="87" y="1076"/>
                      </a:lnTo>
                      <a:lnTo>
                        <a:pt x="87" y="1076"/>
                      </a:lnTo>
                      <a:lnTo>
                        <a:pt x="87" y="1076"/>
                      </a:lnTo>
                      <a:lnTo>
                        <a:pt x="88" y="1077"/>
                      </a:lnTo>
                      <a:lnTo>
                        <a:pt x="89" y="1078"/>
                      </a:lnTo>
                      <a:lnTo>
                        <a:pt x="89" y="1078"/>
                      </a:lnTo>
                      <a:lnTo>
                        <a:pt x="90" y="1078"/>
                      </a:lnTo>
                      <a:lnTo>
                        <a:pt x="91" y="1078"/>
                      </a:lnTo>
                      <a:lnTo>
                        <a:pt x="91" y="1079"/>
                      </a:lnTo>
                      <a:lnTo>
                        <a:pt x="92" y="1079"/>
                      </a:lnTo>
                      <a:lnTo>
                        <a:pt x="93" y="1079"/>
                      </a:lnTo>
                      <a:lnTo>
                        <a:pt x="94" y="1078"/>
                      </a:lnTo>
                      <a:lnTo>
                        <a:pt x="94" y="1078"/>
                      </a:lnTo>
                      <a:lnTo>
                        <a:pt x="94" y="1079"/>
                      </a:lnTo>
                      <a:lnTo>
                        <a:pt x="95" y="1079"/>
                      </a:lnTo>
                      <a:lnTo>
                        <a:pt x="96" y="1079"/>
                      </a:lnTo>
                      <a:lnTo>
                        <a:pt x="96" y="1079"/>
                      </a:lnTo>
                      <a:lnTo>
                        <a:pt x="96" y="1080"/>
                      </a:lnTo>
                      <a:lnTo>
                        <a:pt x="97" y="1080"/>
                      </a:lnTo>
                      <a:lnTo>
                        <a:pt x="97" y="1080"/>
                      </a:lnTo>
                      <a:lnTo>
                        <a:pt x="98" y="1080"/>
                      </a:lnTo>
                      <a:lnTo>
                        <a:pt x="98" y="1080"/>
                      </a:lnTo>
                      <a:lnTo>
                        <a:pt x="106" y="1079"/>
                      </a:lnTo>
                      <a:lnTo>
                        <a:pt x="107" y="1076"/>
                      </a:lnTo>
                      <a:lnTo>
                        <a:pt x="107" y="1076"/>
                      </a:lnTo>
                      <a:lnTo>
                        <a:pt x="107" y="1075"/>
                      </a:lnTo>
                      <a:lnTo>
                        <a:pt x="107" y="1074"/>
                      </a:lnTo>
                      <a:lnTo>
                        <a:pt x="107" y="1074"/>
                      </a:lnTo>
                      <a:lnTo>
                        <a:pt x="108" y="1074"/>
                      </a:lnTo>
                      <a:lnTo>
                        <a:pt x="108" y="1073"/>
                      </a:lnTo>
                      <a:lnTo>
                        <a:pt x="108" y="1073"/>
                      </a:lnTo>
                      <a:lnTo>
                        <a:pt x="108" y="1072"/>
                      </a:lnTo>
                      <a:lnTo>
                        <a:pt x="108" y="1072"/>
                      </a:lnTo>
                      <a:lnTo>
                        <a:pt x="108" y="1072"/>
                      </a:lnTo>
                      <a:lnTo>
                        <a:pt x="108" y="1071"/>
                      </a:lnTo>
                      <a:lnTo>
                        <a:pt x="107" y="1071"/>
                      </a:lnTo>
                      <a:lnTo>
                        <a:pt x="108" y="1070"/>
                      </a:lnTo>
                      <a:lnTo>
                        <a:pt x="108" y="1070"/>
                      </a:lnTo>
                      <a:lnTo>
                        <a:pt x="107" y="1070"/>
                      </a:lnTo>
                      <a:lnTo>
                        <a:pt x="108" y="1070"/>
                      </a:lnTo>
                      <a:lnTo>
                        <a:pt x="108" y="1070"/>
                      </a:lnTo>
                      <a:lnTo>
                        <a:pt x="108" y="1069"/>
                      </a:lnTo>
                      <a:lnTo>
                        <a:pt x="109" y="1070"/>
                      </a:lnTo>
                      <a:lnTo>
                        <a:pt x="109" y="1069"/>
                      </a:lnTo>
                      <a:lnTo>
                        <a:pt x="110" y="1069"/>
                      </a:lnTo>
                      <a:lnTo>
                        <a:pt x="110" y="1069"/>
                      </a:lnTo>
                      <a:lnTo>
                        <a:pt x="110" y="1068"/>
                      </a:lnTo>
                      <a:lnTo>
                        <a:pt x="111" y="1068"/>
                      </a:lnTo>
                      <a:lnTo>
                        <a:pt x="112" y="1068"/>
                      </a:lnTo>
                      <a:lnTo>
                        <a:pt x="112" y="1068"/>
                      </a:lnTo>
                      <a:lnTo>
                        <a:pt x="112" y="1067"/>
                      </a:lnTo>
                      <a:lnTo>
                        <a:pt x="112" y="1066"/>
                      </a:lnTo>
                      <a:lnTo>
                        <a:pt x="112" y="1065"/>
                      </a:lnTo>
                      <a:lnTo>
                        <a:pt x="112" y="1065"/>
                      </a:lnTo>
                      <a:lnTo>
                        <a:pt x="112" y="1064"/>
                      </a:lnTo>
                      <a:lnTo>
                        <a:pt x="112" y="1063"/>
                      </a:lnTo>
                      <a:lnTo>
                        <a:pt x="113" y="1063"/>
                      </a:lnTo>
                      <a:lnTo>
                        <a:pt x="113" y="1063"/>
                      </a:lnTo>
                      <a:lnTo>
                        <a:pt x="112" y="1063"/>
                      </a:lnTo>
                      <a:lnTo>
                        <a:pt x="113" y="1063"/>
                      </a:lnTo>
                      <a:lnTo>
                        <a:pt x="113" y="1062"/>
                      </a:lnTo>
                      <a:lnTo>
                        <a:pt x="113" y="1062"/>
                      </a:lnTo>
                      <a:lnTo>
                        <a:pt x="114" y="1062"/>
                      </a:lnTo>
                      <a:lnTo>
                        <a:pt x="115" y="1061"/>
                      </a:lnTo>
                      <a:lnTo>
                        <a:pt x="114" y="1061"/>
                      </a:lnTo>
                      <a:lnTo>
                        <a:pt x="114" y="1060"/>
                      </a:lnTo>
                      <a:lnTo>
                        <a:pt x="114" y="1059"/>
                      </a:lnTo>
                      <a:lnTo>
                        <a:pt x="114" y="1059"/>
                      </a:lnTo>
                      <a:lnTo>
                        <a:pt x="113" y="1059"/>
                      </a:lnTo>
                      <a:lnTo>
                        <a:pt x="113" y="1058"/>
                      </a:lnTo>
                      <a:lnTo>
                        <a:pt x="113" y="1057"/>
                      </a:lnTo>
                      <a:lnTo>
                        <a:pt x="113" y="1057"/>
                      </a:lnTo>
                      <a:lnTo>
                        <a:pt x="113" y="1057"/>
                      </a:lnTo>
                      <a:lnTo>
                        <a:pt x="113" y="1056"/>
                      </a:lnTo>
                      <a:lnTo>
                        <a:pt x="113" y="1055"/>
                      </a:lnTo>
                      <a:lnTo>
                        <a:pt x="113" y="1055"/>
                      </a:lnTo>
                      <a:lnTo>
                        <a:pt x="113" y="1055"/>
                      </a:lnTo>
                      <a:lnTo>
                        <a:pt x="114" y="1055"/>
                      </a:lnTo>
                      <a:lnTo>
                        <a:pt x="115" y="1054"/>
                      </a:lnTo>
                      <a:lnTo>
                        <a:pt x="114" y="1053"/>
                      </a:lnTo>
                      <a:lnTo>
                        <a:pt x="114" y="1053"/>
                      </a:lnTo>
                      <a:lnTo>
                        <a:pt x="113" y="1053"/>
                      </a:lnTo>
                      <a:lnTo>
                        <a:pt x="113" y="1052"/>
                      </a:lnTo>
                      <a:lnTo>
                        <a:pt x="113" y="1051"/>
                      </a:lnTo>
                      <a:lnTo>
                        <a:pt x="113" y="1051"/>
                      </a:lnTo>
                      <a:lnTo>
                        <a:pt x="113" y="1051"/>
                      </a:lnTo>
                      <a:lnTo>
                        <a:pt x="114" y="1051"/>
                      </a:lnTo>
                      <a:lnTo>
                        <a:pt x="115" y="1051"/>
                      </a:lnTo>
                      <a:lnTo>
                        <a:pt x="115" y="1051"/>
                      </a:lnTo>
                      <a:lnTo>
                        <a:pt x="116" y="1051"/>
                      </a:lnTo>
                      <a:lnTo>
                        <a:pt x="117" y="1051"/>
                      </a:lnTo>
                      <a:lnTo>
                        <a:pt x="117" y="1052"/>
                      </a:lnTo>
                      <a:lnTo>
                        <a:pt x="118" y="1052"/>
                      </a:lnTo>
                      <a:lnTo>
                        <a:pt x="119" y="1052"/>
                      </a:lnTo>
                      <a:lnTo>
                        <a:pt x="119" y="1052"/>
                      </a:lnTo>
                      <a:lnTo>
                        <a:pt x="120" y="1051"/>
                      </a:lnTo>
                      <a:lnTo>
                        <a:pt x="120" y="1051"/>
                      </a:lnTo>
                      <a:lnTo>
                        <a:pt x="121" y="1051"/>
                      </a:lnTo>
                      <a:lnTo>
                        <a:pt x="121" y="1051"/>
                      </a:lnTo>
                      <a:lnTo>
                        <a:pt x="121" y="1050"/>
                      </a:lnTo>
                      <a:lnTo>
                        <a:pt x="121" y="1049"/>
                      </a:lnTo>
                      <a:lnTo>
                        <a:pt x="122" y="1049"/>
                      </a:lnTo>
                      <a:lnTo>
                        <a:pt x="123" y="1049"/>
                      </a:lnTo>
                      <a:lnTo>
                        <a:pt x="123" y="1049"/>
                      </a:lnTo>
                      <a:lnTo>
                        <a:pt x="124" y="1049"/>
                      </a:lnTo>
                      <a:lnTo>
                        <a:pt x="125" y="1049"/>
                      </a:lnTo>
                      <a:lnTo>
                        <a:pt x="125" y="1049"/>
                      </a:lnTo>
                      <a:lnTo>
                        <a:pt x="125" y="1048"/>
                      </a:lnTo>
                      <a:lnTo>
                        <a:pt x="125" y="1048"/>
                      </a:lnTo>
                      <a:lnTo>
                        <a:pt x="124" y="1048"/>
                      </a:lnTo>
                      <a:lnTo>
                        <a:pt x="124" y="1047"/>
                      </a:lnTo>
                      <a:lnTo>
                        <a:pt x="125" y="1047"/>
                      </a:lnTo>
                      <a:lnTo>
                        <a:pt x="125" y="1046"/>
                      </a:lnTo>
                      <a:lnTo>
                        <a:pt x="125" y="1046"/>
                      </a:lnTo>
                      <a:lnTo>
                        <a:pt x="125" y="1047"/>
                      </a:lnTo>
                      <a:lnTo>
                        <a:pt x="125" y="1047"/>
                      </a:lnTo>
                      <a:lnTo>
                        <a:pt x="125" y="1047"/>
                      </a:lnTo>
                      <a:lnTo>
                        <a:pt x="126" y="1047"/>
                      </a:lnTo>
                      <a:lnTo>
                        <a:pt x="126" y="1046"/>
                      </a:lnTo>
                      <a:lnTo>
                        <a:pt x="126" y="1045"/>
                      </a:lnTo>
                      <a:lnTo>
                        <a:pt x="126" y="1044"/>
                      </a:lnTo>
                      <a:lnTo>
                        <a:pt x="127" y="1044"/>
                      </a:lnTo>
                      <a:lnTo>
                        <a:pt x="127" y="1044"/>
                      </a:lnTo>
                      <a:lnTo>
                        <a:pt x="127" y="1043"/>
                      </a:lnTo>
                      <a:lnTo>
                        <a:pt x="127" y="1043"/>
                      </a:lnTo>
                      <a:lnTo>
                        <a:pt x="128" y="1043"/>
                      </a:lnTo>
                      <a:lnTo>
                        <a:pt x="128" y="1044"/>
                      </a:lnTo>
                      <a:lnTo>
                        <a:pt x="129" y="1044"/>
                      </a:lnTo>
                      <a:lnTo>
                        <a:pt x="129" y="1044"/>
                      </a:lnTo>
                      <a:lnTo>
                        <a:pt x="130" y="1044"/>
                      </a:lnTo>
                      <a:lnTo>
                        <a:pt x="131" y="1044"/>
                      </a:lnTo>
                      <a:lnTo>
                        <a:pt x="131" y="1043"/>
                      </a:lnTo>
                      <a:lnTo>
                        <a:pt x="131" y="1042"/>
                      </a:lnTo>
                      <a:lnTo>
                        <a:pt x="132" y="1042"/>
                      </a:lnTo>
                      <a:lnTo>
                        <a:pt x="132" y="1043"/>
                      </a:lnTo>
                      <a:lnTo>
                        <a:pt x="133" y="1042"/>
                      </a:lnTo>
                      <a:lnTo>
                        <a:pt x="134" y="1042"/>
                      </a:lnTo>
                      <a:lnTo>
                        <a:pt x="134" y="1043"/>
                      </a:lnTo>
                      <a:lnTo>
                        <a:pt x="135" y="1044"/>
                      </a:lnTo>
                      <a:lnTo>
                        <a:pt x="136" y="1044"/>
                      </a:lnTo>
                      <a:lnTo>
                        <a:pt x="136" y="1044"/>
                      </a:lnTo>
                      <a:lnTo>
                        <a:pt x="136" y="1045"/>
                      </a:lnTo>
                      <a:lnTo>
                        <a:pt x="136" y="1045"/>
                      </a:lnTo>
                      <a:lnTo>
                        <a:pt x="136" y="1046"/>
                      </a:lnTo>
                      <a:lnTo>
                        <a:pt x="137" y="1046"/>
                      </a:lnTo>
                      <a:lnTo>
                        <a:pt x="138" y="1047"/>
                      </a:lnTo>
                      <a:lnTo>
                        <a:pt x="138" y="1047"/>
                      </a:lnTo>
                      <a:lnTo>
                        <a:pt x="139" y="1047"/>
                      </a:lnTo>
                      <a:lnTo>
                        <a:pt x="140" y="1047"/>
                      </a:lnTo>
                      <a:lnTo>
                        <a:pt x="140" y="1047"/>
                      </a:lnTo>
                      <a:lnTo>
                        <a:pt x="141" y="1047"/>
                      </a:lnTo>
                      <a:lnTo>
                        <a:pt x="142" y="1046"/>
                      </a:lnTo>
                      <a:lnTo>
                        <a:pt x="142" y="1046"/>
                      </a:lnTo>
                      <a:lnTo>
                        <a:pt x="142" y="1045"/>
                      </a:lnTo>
                      <a:lnTo>
                        <a:pt x="142" y="1044"/>
                      </a:lnTo>
                      <a:lnTo>
                        <a:pt x="143" y="1044"/>
                      </a:lnTo>
                      <a:lnTo>
                        <a:pt x="144" y="1044"/>
                      </a:lnTo>
                      <a:lnTo>
                        <a:pt x="144" y="1044"/>
                      </a:lnTo>
                      <a:lnTo>
                        <a:pt x="144" y="1044"/>
                      </a:lnTo>
                      <a:lnTo>
                        <a:pt x="144" y="1043"/>
                      </a:lnTo>
                      <a:lnTo>
                        <a:pt x="145" y="1043"/>
                      </a:lnTo>
                      <a:lnTo>
                        <a:pt x="146" y="1043"/>
                      </a:lnTo>
                      <a:lnTo>
                        <a:pt x="146" y="1042"/>
                      </a:lnTo>
                      <a:lnTo>
                        <a:pt x="146" y="1043"/>
                      </a:lnTo>
                      <a:lnTo>
                        <a:pt x="147" y="1043"/>
                      </a:lnTo>
                      <a:lnTo>
                        <a:pt x="148" y="1043"/>
                      </a:lnTo>
                      <a:lnTo>
                        <a:pt x="148" y="1043"/>
                      </a:lnTo>
                      <a:lnTo>
                        <a:pt x="149" y="1042"/>
                      </a:lnTo>
                      <a:lnTo>
                        <a:pt x="150" y="1042"/>
                      </a:lnTo>
                      <a:lnTo>
                        <a:pt x="150" y="1043"/>
                      </a:lnTo>
                      <a:lnTo>
                        <a:pt x="151" y="1043"/>
                      </a:lnTo>
                      <a:lnTo>
                        <a:pt x="151" y="1044"/>
                      </a:lnTo>
                      <a:lnTo>
                        <a:pt x="151" y="1044"/>
                      </a:lnTo>
                      <a:lnTo>
                        <a:pt x="151" y="1043"/>
                      </a:lnTo>
                      <a:lnTo>
                        <a:pt x="151" y="1042"/>
                      </a:lnTo>
                      <a:lnTo>
                        <a:pt x="151" y="1042"/>
                      </a:lnTo>
                      <a:lnTo>
                        <a:pt x="151" y="1041"/>
                      </a:lnTo>
                      <a:lnTo>
                        <a:pt x="151" y="1041"/>
                      </a:lnTo>
                      <a:lnTo>
                        <a:pt x="151" y="1040"/>
                      </a:lnTo>
                      <a:lnTo>
                        <a:pt x="151" y="1040"/>
                      </a:lnTo>
                      <a:lnTo>
                        <a:pt x="152" y="1040"/>
                      </a:lnTo>
                      <a:lnTo>
                        <a:pt x="153" y="1040"/>
                      </a:lnTo>
                      <a:lnTo>
                        <a:pt x="153" y="1039"/>
                      </a:lnTo>
                      <a:lnTo>
                        <a:pt x="152" y="1039"/>
                      </a:lnTo>
                      <a:lnTo>
                        <a:pt x="152" y="1038"/>
                      </a:lnTo>
                      <a:lnTo>
                        <a:pt x="151" y="1038"/>
                      </a:lnTo>
                      <a:lnTo>
                        <a:pt x="152" y="1037"/>
                      </a:lnTo>
                      <a:lnTo>
                        <a:pt x="153" y="1037"/>
                      </a:lnTo>
                      <a:lnTo>
                        <a:pt x="153" y="1037"/>
                      </a:lnTo>
                      <a:lnTo>
                        <a:pt x="154" y="1036"/>
                      </a:lnTo>
                      <a:lnTo>
                        <a:pt x="155" y="1036"/>
                      </a:lnTo>
                      <a:lnTo>
                        <a:pt x="155" y="1035"/>
                      </a:lnTo>
                      <a:lnTo>
                        <a:pt x="155" y="1034"/>
                      </a:lnTo>
                      <a:lnTo>
                        <a:pt x="155" y="1034"/>
                      </a:lnTo>
                      <a:lnTo>
                        <a:pt x="155" y="1033"/>
                      </a:lnTo>
                      <a:lnTo>
                        <a:pt x="155" y="1032"/>
                      </a:lnTo>
                      <a:lnTo>
                        <a:pt x="155" y="1032"/>
                      </a:lnTo>
                      <a:lnTo>
                        <a:pt x="156" y="1032"/>
                      </a:lnTo>
                      <a:lnTo>
                        <a:pt x="156" y="1031"/>
                      </a:lnTo>
                      <a:lnTo>
                        <a:pt x="156" y="1030"/>
                      </a:lnTo>
                      <a:lnTo>
                        <a:pt x="157" y="1030"/>
                      </a:lnTo>
                      <a:lnTo>
                        <a:pt x="156" y="1030"/>
                      </a:lnTo>
                      <a:lnTo>
                        <a:pt x="156" y="1029"/>
                      </a:lnTo>
                      <a:lnTo>
                        <a:pt x="156" y="1028"/>
                      </a:lnTo>
                      <a:lnTo>
                        <a:pt x="155" y="1028"/>
                      </a:lnTo>
                      <a:lnTo>
                        <a:pt x="155" y="1028"/>
                      </a:lnTo>
                      <a:lnTo>
                        <a:pt x="155" y="1027"/>
                      </a:lnTo>
                      <a:lnTo>
                        <a:pt x="156" y="1027"/>
                      </a:lnTo>
                      <a:lnTo>
                        <a:pt x="156" y="1026"/>
                      </a:lnTo>
                      <a:lnTo>
                        <a:pt x="155" y="1026"/>
                      </a:lnTo>
                      <a:lnTo>
                        <a:pt x="155" y="1025"/>
                      </a:lnTo>
                      <a:lnTo>
                        <a:pt x="155" y="1025"/>
                      </a:lnTo>
                      <a:lnTo>
                        <a:pt x="155" y="1024"/>
                      </a:lnTo>
                      <a:lnTo>
                        <a:pt x="156" y="1024"/>
                      </a:lnTo>
                      <a:lnTo>
                        <a:pt x="156" y="1023"/>
                      </a:lnTo>
                      <a:lnTo>
                        <a:pt x="155" y="1023"/>
                      </a:lnTo>
                      <a:lnTo>
                        <a:pt x="155" y="1023"/>
                      </a:lnTo>
                      <a:lnTo>
                        <a:pt x="155" y="1022"/>
                      </a:lnTo>
                      <a:lnTo>
                        <a:pt x="155" y="1022"/>
                      </a:lnTo>
                      <a:lnTo>
                        <a:pt x="155" y="1021"/>
                      </a:lnTo>
                      <a:lnTo>
                        <a:pt x="155" y="1021"/>
                      </a:lnTo>
                      <a:lnTo>
                        <a:pt x="154" y="1021"/>
                      </a:lnTo>
                      <a:lnTo>
                        <a:pt x="154" y="1020"/>
                      </a:lnTo>
                      <a:lnTo>
                        <a:pt x="155" y="1020"/>
                      </a:lnTo>
                      <a:lnTo>
                        <a:pt x="155" y="1019"/>
                      </a:lnTo>
                      <a:lnTo>
                        <a:pt x="154" y="1019"/>
                      </a:lnTo>
                      <a:lnTo>
                        <a:pt x="154" y="1019"/>
                      </a:lnTo>
                      <a:lnTo>
                        <a:pt x="153" y="1019"/>
                      </a:lnTo>
                      <a:lnTo>
                        <a:pt x="153" y="1018"/>
                      </a:lnTo>
                      <a:lnTo>
                        <a:pt x="154" y="1018"/>
                      </a:lnTo>
                      <a:lnTo>
                        <a:pt x="154" y="1017"/>
                      </a:lnTo>
                      <a:lnTo>
                        <a:pt x="155" y="1017"/>
                      </a:lnTo>
                      <a:lnTo>
                        <a:pt x="155" y="1017"/>
                      </a:lnTo>
                      <a:lnTo>
                        <a:pt x="155" y="1016"/>
                      </a:lnTo>
                      <a:lnTo>
                        <a:pt x="155" y="1015"/>
                      </a:lnTo>
                      <a:lnTo>
                        <a:pt x="155" y="1015"/>
                      </a:lnTo>
                      <a:lnTo>
                        <a:pt x="155" y="1015"/>
                      </a:lnTo>
                      <a:lnTo>
                        <a:pt x="155" y="1015"/>
                      </a:lnTo>
                      <a:lnTo>
                        <a:pt x="154" y="1015"/>
                      </a:lnTo>
                      <a:lnTo>
                        <a:pt x="154" y="1015"/>
                      </a:lnTo>
                      <a:lnTo>
                        <a:pt x="153" y="1015"/>
                      </a:lnTo>
                      <a:lnTo>
                        <a:pt x="153" y="1014"/>
                      </a:lnTo>
                      <a:lnTo>
                        <a:pt x="153" y="1013"/>
                      </a:lnTo>
                      <a:lnTo>
                        <a:pt x="153" y="1013"/>
                      </a:lnTo>
                      <a:lnTo>
                        <a:pt x="153" y="1013"/>
                      </a:lnTo>
                      <a:lnTo>
                        <a:pt x="153" y="1012"/>
                      </a:lnTo>
                      <a:lnTo>
                        <a:pt x="153" y="1011"/>
                      </a:lnTo>
                      <a:lnTo>
                        <a:pt x="153" y="1011"/>
                      </a:lnTo>
                      <a:lnTo>
                        <a:pt x="153" y="1011"/>
                      </a:lnTo>
                      <a:lnTo>
                        <a:pt x="152" y="1010"/>
                      </a:lnTo>
                      <a:lnTo>
                        <a:pt x="151" y="1010"/>
                      </a:lnTo>
                      <a:lnTo>
                        <a:pt x="151" y="1009"/>
                      </a:lnTo>
                      <a:lnTo>
                        <a:pt x="150" y="1009"/>
                      </a:lnTo>
                      <a:lnTo>
                        <a:pt x="149" y="1009"/>
                      </a:lnTo>
                      <a:lnTo>
                        <a:pt x="149" y="1010"/>
                      </a:lnTo>
                      <a:lnTo>
                        <a:pt x="148" y="1010"/>
                      </a:lnTo>
                      <a:lnTo>
                        <a:pt x="148" y="1010"/>
                      </a:lnTo>
                      <a:lnTo>
                        <a:pt x="148" y="1009"/>
                      </a:lnTo>
                      <a:lnTo>
                        <a:pt x="148" y="1009"/>
                      </a:lnTo>
                      <a:lnTo>
                        <a:pt x="148" y="1009"/>
                      </a:lnTo>
                      <a:lnTo>
                        <a:pt x="148" y="1009"/>
                      </a:lnTo>
                      <a:lnTo>
                        <a:pt x="148" y="1008"/>
                      </a:lnTo>
                      <a:lnTo>
                        <a:pt x="147" y="1008"/>
                      </a:lnTo>
                      <a:lnTo>
                        <a:pt x="147" y="1009"/>
                      </a:lnTo>
                      <a:lnTo>
                        <a:pt x="146" y="1009"/>
                      </a:lnTo>
                      <a:lnTo>
                        <a:pt x="146" y="1008"/>
                      </a:lnTo>
                      <a:lnTo>
                        <a:pt x="146" y="1008"/>
                      </a:lnTo>
                      <a:lnTo>
                        <a:pt x="145" y="1008"/>
                      </a:lnTo>
                      <a:lnTo>
                        <a:pt x="145" y="1007"/>
                      </a:lnTo>
                      <a:lnTo>
                        <a:pt x="145" y="1006"/>
                      </a:lnTo>
                      <a:lnTo>
                        <a:pt x="146" y="1006"/>
                      </a:lnTo>
                      <a:lnTo>
                        <a:pt x="146" y="1006"/>
                      </a:lnTo>
                      <a:lnTo>
                        <a:pt x="145" y="1006"/>
                      </a:lnTo>
                      <a:lnTo>
                        <a:pt x="144" y="1006"/>
                      </a:lnTo>
                      <a:lnTo>
                        <a:pt x="144" y="1006"/>
                      </a:lnTo>
                      <a:lnTo>
                        <a:pt x="143" y="1005"/>
                      </a:lnTo>
                      <a:lnTo>
                        <a:pt x="143" y="1004"/>
                      </a:lnTo>
                      <a:lnTo>
                        <a:pt x="143" y="1004"/>
                      </a:lnTo>
                      <a:lnTo>
                        <a:pt x="143" y="1003"/>
                      </a:lnTo>
                      <a:lnTo>
                        <a:pt x="144" y="1003"/>
                      </a:lnTo>
                      <a:lnTo>
                        <a:pt x="144" y="1002"/>
                      </a:lnTo>
                      <a:lnTo>
                        <a:pt x="144" y="1002"/>
                      </a:lnTo>
                      <a:lnTo>
                        <a:pt x="144" y="1001"/>
                      </a:lnTo>
                      <a:lnTo>
                        <a:pt x="143" y="1000"/>
                      </a:lnTo>
                      <a:lnTo>
                        <a:pt x="142" y="1000"/>
                      </a:lnTo>
                      <a:lnTo>
                        <a:pt x="142" y="1000"/>
                      </a:lnTo>
                      <a:lnTo>
                        <a:pt x="141" y="1000"/>
                      </a:lnTo>
                      <a:lnTo>
                        <a:pt x="140" y="1000"/>
                      </a:lnTo>
                      <a:lnTo>
                        <a:pt x="140" y="1000"/>
                      </a:lnTo>
                      <a:lnTo>
                        <a:pt x="139" y="1000"/>
                      </a:lnTo>
                      <a:lnTo>
                        <a:pt x="138" y="999"/>
                      </a:lnTo>
                      <a:lnTo>
                        <a:pt x="138" y="999"/>
                      </a:lnTo>
                      <a:lnTo>
                        <a:pt x="137" y="999"/>
                      </a:lnTo>
                      <a:lnTo>
                        <a:pt x="136" y="1000"/>
                      </a:lnTo>
                      <a:lnTo>
                        <a:pt x="136" y="1000"/>
                      </a:lnTo>
                      <a:lnTo>
                        <a:pt x="136" y="1001"/>
                      </a:lnTo>
                      <a:lnTo>
                        <a:pt x="137" y="1001"/>
                      </a:lnTo>
                      <a:lnTo>
                        <a:pt x="137" y="1002"/>
                      </a:lnTo>
                      <a:lnTo>
                        <a:pt x="138" y="1002"/>
                      </a:lnTo>
                      <a:lnTo>
                        <a:pt x="138" y="1002"/>
                      </a:lnTo>
                      <a:lnTo>
                        <a:pt x="139" y="1003"/>
                      </a:lnTo>
                      <a:lnTo>
                        <a:pt x="139" y="1004"/>
                      </a:lnTo>
                      <a:lnTo>
                        <a:pt x="139" y="1004"/>
                      </a:lnTo>
                      <a:lnTo>
                        <a:pt x="138" y="1004"/>
                      </a:lnTo>
                      <a:lnTo>
                        <a:pt x="138" y="1004"/>
                      </a:lnTo>
                      <a:lnTo>
                        <a:pt x="138" y="1004"/>
                      </a:lnTo>
                      <a:lnTo>
                        <a:pt x="137" y="1004"/>
                      </a:lnTo>
                      <a:lnTo>
                        <a:pt x="136" y="1003"/>
                      </a:lnTo>
                      <a:lnTo>
                        <a:pt x="136" y="1002"/>
                      </a:lnTo>
                      <a:lnTo>
                        <a:pt x="136" y="1002"/>
                      </a:lnTo>
                      <a:lnTo>
                        <a:pt x="136" y="1001"/>
                      </a:lnTo>
                      <a:lnTo>
                        <a:pt x="135" y="1000"/>
                      </a:lnTo>
                      <a:lnTo>
                        <a:pt x="134" y="1000"/>
                      </a:lnTo>
                      <a:lnTo>
                        <a:pt x="134" y="1000"/>
                      </a:lnTo>
                      <a:lnTo>
                        <a:pt x="133" y="1000"/>
                      </a:lnTo>
                      <a:lnTo>
                        <a:pt x="132" y="1000"/>
                      </a:lnTo>
                      <a:lnTo>
                        <a:pt x="132" y="1000"/>
                      </a:lnTo>
                      <a:lnTo>
                        <a:pt x="131" y="1000"/>
                      </a:lnTo>
                      <a:lnTo>
                        <a:pt x="130" y="1001"/>
                      </a:lnTo>
                      <a:lnTo>
                        <a:pt x="129" y="1001"/>
                      </a:lnTo>
                      <a:lnTo>
                        <a:pt x="129" y="1000"/>
                      </a:lnTo>
                      <a:lnTo>
                        <a:pt x="129" y="1000"/>
                      </a:lnTo>
                      <a:lnTo>
                        <a:pt x="129" y="999"/>
                      </a:lnTo>
                      <a:lnTo>
                        <a:pt x="129" y="998"/>
                      </a:lnTo>
                      <a:lnTo>
                        <a:pt x="129" y="998"/>
                      </a:lnTo>
                      <a:lnTo>
                        <a:pt x="129" y="996"/>
                      </a:lnTo>
                      <a:lnTo>
                        <a:pt x="130" y="996"/>
                      </a:lnTo>
                      <a:lnTo>
                        <a:pt x="130" y="995"/>
                      </a:lnTo>
                      <a:lnTo>
                        <a:pt x="131" y="995"/>
                      </a:lnTo>
                      <a:lnTo>
                        <a:pt x="132" y="995"/>
                      </a:lnTo>
                      <a:lnTo>
                        <a:pt x="132" y="996"/>
                      </a:lnTo>
                      <a:lnTo>
                        <a:pt x="132" y="996"/>
                      </a:lnTo>
                      <a:lnTo>
                        <a:pt x="133" y="996"/>
                      </a:lnTo>
                      <a:lnTo>
                        <a:pt x="134" y="996"/>
                      </a:lnTo>
                      <a:lnTo>
                        <a:pt x="134" y="995"/>
                      </a:lnTo>
                      <a:lnTo>
                        <a:pt x="134" y="994"/>
                      </a:lnTo>
                      <a:lnTo>
                        <a:pt x="134" y="994"/>
                      </a:lnTo>
                      <a:lnTo>
                        <a:pt x="133" y="993"/>
                      </a:lnTo>
                      <a:lnTo>
                        <a:pt x="132" y="993"/>
                      </a:lnTo>
                      <a:lnTo>
                        <a:pt x="132" y="993"/>
                      </a:lnTo>
                      <a:lnTo>
                        <a:pt x="131" y="993"/>
                      </a:lnTo>
                      <a:lnTo>
                        <a:pt x="130" y="993"/>
                      </a:lnTo>
                      <a:lnTo>
                        <a:pt x="130" y="992"/>
                      </a:lnTo>
                      <a:lnTo>
                        <a:pt x="130" y="992"/>
                      </a:lnTo>
                      <a:lnTo>
                        <a:pt x="130" y="991"/>
                      </a:lnTo>
                      <a:lnTo>
                        <a:pt x="130" y="990"/>
                      </a:lnTo>
                      <a:lnTo>
                        <a:pt x="130" y="990"/>
                      </a:lnTo>
                      <a:lnTo>
                        <a:pt x="131" y="989"/>
                      </a:lnTo>
                      <a:lnTo>
                        <a:pt x="131" y="988"/>
                      </a:lnTo>
                      <a:lnTo>
                        <a:pt x="131" y="988"/>
                      </a:lnTo>
                      <a:lnTo>
                        <a:pt x="131" y="987"/>
                      </a:lnTo>
                      <a:lnTo>
                        <a:pt x="130" y="986"/>
                      </a:lnTo>
                      <a:lnTo>
                        <a:pt x="129" y="986"/>
                      </a:lnTo>
                      <a:lnTo>
                        <a:pt x="129" y="986"/>
                      </a:lnTo>
                      <a:lnTo>
                        <a:pt x="128" y="986"/>
                      </a:lnTo>
                      <a:lnTo>
                        <a:pt x="127" y="987"/>
                      </a:lnTo>
                      <a:lnTo>
                        <a:pt x="127" y="987"/>
                      </a:lnTo>
                      <a:lnTo>
                        <a:pt x="126" y="987"/>
                      </a:lnTo>
                      <a:lnTo>
                        <a:pt x="126" y="988"/>
                      </a:lnTo>
                      <a:lnTo>
                        <a:pt x="125" y="988"/>
                      </a:lnTo>
                      <a:lnTo>
                        <a:pt x="125" y="989"/>
                      </a:lnTo>
                      <a:lnTo>
                        <a:pt x="125" y="990"/>
                      </a:lnTo>
                      <a:lnTo>
                        <a:pt x="125" y="990"/>
                      </a:lnTo>
                      <a:lnTo>
                        <a:pt x="126" y="991"/>
                      </a:lnTo>
                      <a:lnTo>
                        <a:pt x="126" y="992"/>
                      </a:lnTo>
                      <a:lnTo>
                        <a:pt x="125" y="992"/>
                      </a:lnTo>
                      <a:lnTo>
                        <a:pt x="125" y="992"/>
                      </a:lnTo>
                      <a:lnTo>
                        <a:pt x="124" y="992"/>
                      </a:lnTo>
                      <a:lnTo>
                        <a:pt x="123" y="992"/>
                      </a:lnTo>
                      <a:lnTo>
                        <a:pt x="123" y="992"/>
                      </a:lnTo>
                      <a:lnTo>
                        <a:pt x="122" y="992"/>
                      </a:lnTo>
                      <a:lnTo>
                        <a:pt x="121" y="992"/>
                      </a:lnTo>
                      <a:lnTo>
                        <a:pt x="121" y="992"/>
                      </a:lnTo>
                      <a:lnTo>
                        <a:pt x="121" y="991"/>
                      </a:lnTo>
                      <a:lnTo>
                        <a:pt x="121" y="990"/>
                      </a:lnTo>
                      <a:lnTo>
                        <a:pt x="122" y="990"/>
                      </a:lnTo>
                      <a:lnTo>
                        <a:pt x="122" y="989"/>
                      </a:lnTo>
                      <a:lnTo>
                        <a:pt x="123" y="988"/>
                      </a:lnTo>
                      <a:lnTo>
                        <a:pt x="122" y="988"/>
                      </a:lnTo>
                      <a:lnTo>
                        <a:pt x="122" y="987"/>
                      </a:lnTo>
                      <a:lnTo>
                        <a:pt x="122" y="986"/>
                      </a:lnTo>
                      <a:lnTo>
                        <a:pt x="121" y="985"/>
                      </a:lnTo>
                      <a:lnTo>
                        <a:pt x="121" y="985"/>
                      </a:lnTo>
                      <a:lnTo>
                        <a:pt x="120" y="984"/>
                      </a:lnTo>
                      <a:lnTo>
                        <a:pt x="121" y="983"/>
                      </a:lnTo>
                      <a:lnTo>
                        <a:pt x="121" y="983"/>
                      </a:lnTo>
                      <a:lnTo>
                        <a:pt x="121" y="983"/>
                      </a:lnTo>
                      <a:lnTo>
                        <a:pt x="122" y="983"/>
                      </a:lnTo>
                      <a:lnTo>
                        <a:pt x="123" y="983"/>
                      </a:lnTo>
                      <a:lnTo>
                        <a:pt x="123" y="983"/>
                      </a:lnTo>
                      <a:lnTo>
                        <a:pt x="124" y="983"/>
                      </a:lnTo>
                      <a:lnTo>
                        <a:pt x="125" y="983"/>
                      </a:lnTo>
                      <a:lnTo>
                        <a:pt x="125" y="982"/>
                      </a:lnTo>
                      <a:lnTo>
                        <a:pt x="125" y="981"/>
                      </a:lnTo>
                      <a:lnTo>
                        <a:pt x="125" y="981"/>
                      </a:lnTo>
                      <a:lnTo>
                        <a:pt x="124" y="980"/>
                      </a:lnTo>
                      <a:lnTo>
                        <a:pt x="123" y="979"/>
                      </a:lnTo>
                      <a:lnTo>
                        <a:pt x="123" y="979"/>
                      </a:lnTo>
                      <a:lnTo>
                        <a:pt x="122" y="980"/>
                      </a:lnTo>
                      <a:lnTo>
                        <a:pt x="121" y="981"/>
                      </a:lnTo>
                      <a:lnTo>
                        <a:pt x="121" y="981"/>
                      </a:lnTo>
                      <a:lnTo>
                        <a:pt x="120" y="981"/>
                      </a:lnTo>
                      <a:lnTo>
                        <a:pt x="120" y="981"/>
                      </a:lnTo>
                      <a:lnTo>
                        <a:pt x="119" y="981"/>
                      </a:lnTo>
                      <a:lnTo>
                        <a:pt x="119" y="980"/>
                      </a:lnTo>
                      <a:lnTo>
                        <a:pt x="119" y="979"/>
                      </a:lnTo>
                      <a:lnTo>
                        <a:pt x="119" y="978"/>
                      </a:lnTo>
                      <a:lnTo>
                        <a:pt x="118" y="977"/>
                      </a:lnTo>
                      <a:lnTo>
                        <a:pt x="117" y="977"/>
                      </a:lnTo>
                      <a:lnTo>
                        <a:pt x="117" y="977"/>
                      </a:lnTo>
                      <a:lnTo>
                        <a:pt x="116" y="977"/>
                      </a:lnTo>
                      <a:lnTo>
                        <a:pt x="115" y="978"/>
                      </a:lnTo>
                      <a:lnTo>
                        <a:pt x="115" y="978"/>
                      </a:lnTo>
                      <a:lnTo>
                        <a:pt x="114" y="978"/>
                      </a:lnTo>
                      <a:lnTo>
                        <a:pt x="114" y="977"/>
                      </a:lnTo>
                      <a:lnTo>
                        <a:pt x="114" y="977"/>
                      </a:lnTo>
                      <a:lnTo>
                        <a:pt x="114" y="976"/>
                      </a:lnTo>
                      <a:lnTo>
                        <a:pt x="115" y="975"/>
                      </a:lnTo>
                      <a:lnTo>
                        <a:pt x="115" y="975"/>
                      </a:lnTo>
                      <a:lnTo>
                        <a:pt x="116" y="975"/>
                      </a:lnTo>
                      <a:lnTo>
                        <a:pt x="117" y="975"/>
                      </a:lnTo>
                      <a:lnTo>
                        <a:pt x="117" y="975"/>
                      </a:lnTo>
                      <a:lnTo>
                        <a:pt x="117" y="974"/>
                      </a:lnTo>
                      <a:lnTo>
                        <a:pt x="117" y="973"/>
                      </a:lnTo>
                      <a:lnTo>
                        <a:pt x="117" y="972"/>
                      </a:lnTo>
                      <a:lnTo>
                        <a:pt x="116" y="972"/>
                      </a:lnTo>
                      <a:lnTo>
                        <a:pt x="116" y="971"/>
                      </a:lnTo>
                      <a:lnTo>
                        <a:pt x="115" y="972"/>
                      </a:lnTo>
                      <a:lnTo>
                        <a:pt x="115" y="972"/>
                      </a:lnTo>
                      <a:lnTo>
                        <a:pt x="114" y="973"/>
                      </a:lnTo>
                      <a:lnTo>
                        <a:pt x="114" y="973"/>
                      </a:lnTo>
                      <a:lnTo>
                        <a:pt x="113" y="974"/>
                      </a:lnTo>
                      <a:lnTo>
                        <a:pt x="113" y="974"/>
                      </a:lnTo>
                      <a:lnTo>
                        <a:pt x="112" y="974"/>
                      </a:lnTo>
                      <a:lnTo>
                        <a:pt x="111" y="973"/>
                      </a:lnTo>
                      <a:lnTo>
                        <a:pt x="111" y="973"/>
                      </a:lnTo>
                      <a:lnTo>
                        <a:pt x="111" y="972"/>
                      </a:lnTo>
                      <a:lnTo>
                        <a:pt x="112" y="971"/>
                      </a:lnTo>
                      <a:lnTo>
                        <a:pt x="113" y="971"/>
                      </a:lnTo>
                      <a:lnTo>
                        <a:pt x="113" y="971"/>
                      </a:lnTo>
                      <a:lnTo>
                        <a:pt x="114" y="971"/>
                      </a:lnTo>
                      <a:lnTo>
                        <a:pt x="115" y="971"/>
                      </a:lnTo>
                      <a:lnTo>
                        <a:pt x="115" y="971"/>
                      </a:lnTo>
                      <a:lnTo>
                        <a:pt x="116" y="971"/>
                      </a:lnTo>
                      <a:lnTo>
                        <a:pt x="116" y="970"/>
                      </a:lnTo>
                      <a:lnTo>
                        <a:pt x="116" y="969"/>
                      </a:lnTo>
                      <a:lnTo>
                        <a:pt x="116" y="969"/>
                      </a:lnTo>
                      <a:lnTo>
                        <a:pt x="115" y="969"/>
                      </a:lnTo>
                      <a:lnTo>
                        <a:pt x="115" y="968"/>
                      </a:lnTo>
                      <a:lnTo>
                        <a:pt x="114" y="968"/>
                      </a:lnTo>
                      <a:lnTo>
                        <a:pt x="113" y="968"/>
                      </a:lnTo>
                      <a:lnTo>
                        <a:pt x="113" y="969"/>
                      </a:lnTo>
                      <a:lnTo>
                        <a:pt x="113" y="969"/>
                      </a:lnTo>
                      <a:lnTo>
                        <a:pt x="113" y="970"/>
                      </a:lnTo>
                      <a:lnTo>
                        <a:pt x="112" y="971"/>
                      </a:lnTo>
                      <a:lnTo>
                        <a:pt x="111" y="971"/>
                      </a:lnTo>
                      <a:lnTo>
                        <a:pt x="111" y="971"/>
                      </a:lnTo>
                      <a:lnTo>
                        <a:pt x="110" y="971"/>
                      </a:lnTo>
                      <a:lnTo>
                        <a:pt x="110" y="971"/>
                      </a:lnTo>
                      <a:lnTo>
                        <a:pt x="110" y="971"/>
                      </a:lnTo>
                      <a:lnTo>
                        <a:pt x="110" y="969"/>
                      </a:lnTo>
                      <a:lnTo>
                        <a:pt x="109" y="969"/>
                      </a:lnTo>
                      <a:lnTo>
                        <a:pt x="108" y="969"/>
                      </a:lnTo>
                      <a:lnTo>
                        <a:pt x="108" y="968"/>
                      </a:lnTo>
                      <a:lnTo>
                        <a:pt x="108" y="969"/>
                      </a:lnTo>
                      <a:lnTo>
                        <a:pt x="107" y="969"/>
                      </a:lnTo>
                      <a:lnTo>
                        <a:pt x="107" y="970"/>
                      </a:lnTo>
                      <a:lnTo>
                        <a:pt x="107" y="971"/>
                      </a:lnTo>
                      <a:lnTo>
                        <a:pt x="108" y="971"/>
                      </a:lnTo>
                      <a:lnTo>
                        <a:pt x="107" y="972"/>
                      </a:lnTo>
                      <a:lnTo>
                        <a:pt x="107" y="973"/>
                      </a:lnTo>
                      <a:lnTo>
                        <a:pt x="106" y="973"/>
                      </a:lnTo>
                      <a:lnTo>
                        <a:pt x="106" y="973"/>
                      </a:lnTo>
                      <a:lnTo>
                        <a:pt x="105" y="973"/>
                      </a:lnTo>
                      <a:lnTo>
                        <a:pt x="105" y="972"/>
                      </a:lnTo>
                      <a:lnTo>
                        <a:pt x="104" y="971"/>
                      </a:lnTo>
                      <a:lnTo>
                        <a:pt x="105" y="970"/>
                      </a:lnTo>
                      <a:lnTo>
                        <a:pt x="105" y="969"/>
                      </a:lnTo>
                      <a:lnTo>
                        <a:pt x="106" y="969"/>
                      </a:lnTo>
                      <a:lnTo>
                        <a:pt x="106" y="967"/>
                      </a:lnTo>
                      <a:lnTo>
                        <a:pt x="106" y="966"/>
                      </a:lnTo>
                      <a:lnTo>
                        <a:pt x="105" y="966"/>
                      </a:lnTo>
                      <a:lnTo>
                        <a:pt x="104" y="965"/>
                      </a:lnTo>
                      <a:lnTo>
                        <a:pt x="104" y="966"/>
                      </a:lnTo>
                      <a:lnTo>
                        <a:pt x="104" y="966"/>
                      </a:lnTo>
                      <a:lnTo>
                        <a:pt x="103" y="966"/>
                      </a:lnTo>
                      <a:lnTo>
                        <a:pt x="102" y="967"/>
                      </a:lnTo>
                      <a:lnTo>
                        <a:pt x="102" y="968"/>
                      </a:lnTo>
                      <a:lnTo>
                        <a:pt x="102" y="969"/>
                      </a:lnTo>
                      <a:lnTo>
                        <a:pt x="101" y="969"/>
                      </a:lnTo>
                      <a:lnTo>
                        <a:pt x="100" y="969"/>
                      </a:lnTo>
                      <a:lnTo>
                        <a:pt x="100" y="969"/>
                      </a:lnTo>
                      <a:lnTo>
                        <a:pt x="99" y="969"/>
                      </a:lnTo>
                      <a:lnTo>
                        <a:pt x="99" y="968"/>
                      </a:lnTo>
                      <a:lnTo>
                        <a:pt x="98" y="967"/>
                      </a:lnTo>
                      <a:lnTo>
                        <a:pt x="98" y="966"/>
                      </a:lnTo>
                      <a:lnTo>
                        <a:pt x="98" y="966"/>
                      </a:lnTo>
                      <a:lnTo>
                        <a:pt x="96" y="966"/>
                      </a:lnTo>
                      <a:lnTo>
                        <a:pt x="96" y="967"/>
                      </a:lnTo>
                      <a:lnTo>
                        <a:pt x="95" y="967"/>
                      </a:lnTo>
                      <a:lnTo>
                        <a:pt x="94" y="968"/>
                      </a:lnTo>
                      <a:lnTo>
                        <a:pt x="94" y="968"/>
                      </a:lnTo>
                      <a:lnTo>
                        <a:pt x="93" y="967"/>
                      </a:lnTo>
                      <a:lnTo>
                        <a:pt x="92" y="967"/>
                      </a:lnTo>
                      <a:lnTo>
                        <a:pt x="91" y="967"/>
                      </a:lnTo>
                      <a:lnTo>
                        <a:pt x="91" y="966"/>
                      </a:lnTo>
                      <a:lnTo>
                        <a:pt x="91" y="966"/>
                      </a:lnTo>
                      <a:lnTo>
                        <a:pt x="91" y="965"/>
                      </a:lnTo>
                      <a:lnTo>
                        <a:pt x="91" y="964"/>
                      </a:lnTo>
                      <a:lnTo>
                        <a:pt x="92" y="964"/>
                      </a:lnTo>
                      <a:lnTo>
                        <a:pt x="93" y="964"/>
                      </a:lnTo>
                      <a:lnTo>
                        <a:pt x="94" y="964"/>
                      </a:lnTo>
                      <a:lnTo>
                        <a:pt x="94" y="963"/>
                      </a:lnTo>
                      <a:lnTo>
                        <a:pt x="94" y="962"/>
                      </a:lnTo>
                      <a:lnTo>
                        <a:pt x="94" y="962"/>
                      </a:lnTo>
                      <a:lnTo>
                        <a:pt x="93" y="961"/>
                      </a:lnTo>
                      <a:lnTo>
                        <a:pt x="92" y="961"/>
                      </a:lnTo>
                      <a:lnTo>
                        <a:pt x="91" y="960"/>
                      </a:lnTo>
                      <a:lnTo>
                        <a:pt x="91" y="960"/>
                      </a:lnTo>
                      <a:lnTo>
                        <a:pt x="89" y="959"/>
                      </a:lnTo>
                      <a:lnTo>
                        <a:pt x="89" y="958"/>
                      </a:lnTo>
                      <a:lnTo>
                        <a:pt x="89" y="958"/>
                      </a:lnTo>
                      <a:lnTo>
                        <a:pt x="89" y="957"/>
                      </a:lnTo>
                      <a:lnTo>
                        <a:pt x="89" y="956"/>
                      </a:lnTo>
                      <a:lnTo>
                        <a:pt x="88" y="956"/>
                      </a:lnTo>
                      <a:lnTo>
                        <a:pt x="88" y="955"/>
                      </a:lnTo>
                      <a:lnTo>
                        <a:pt x="87" y="955"/>
                      </a:lnTo>
                      <a:lnTo>
                        <a:pt x="87" y="955"/>
                      </a:lnTo>
                      <a:lnTo>
                        <a:pt x="86" y="955"/>
                      </a:lnTo>
                      <a:lnTo>
                        <a:pt x="85" y="956"/>
                      </a:lnTo>
                      <a:lnTo>
                        <a:pt x="85" y="956"/>
                      </a:lnTo>
                      <a:lnTo>
                        <a:pt x="84" y="957"/>
                      </a:lnTo>
                      <a:lnTo>
                        <a:pt x="83" y="958"/>
                      </a:lnTo>
                      <a:lnTo>
                        <a:pt x="83" y="957"/>
                      </a:lnTo>
                      <a:lnTo>
                        <a:pt x="82" y="957"/>
                      </a:lnTo>
                      <a:lnTo>
                        <a:pt x="81" y="956"/>
                      </a:lnTo>
                      <a:lnTo>
                        <a:pt x="81" y="956"/>
                      </a:lnTo>
                      <a:lnTo>
                        <a:pt x="80" y="956"/>
                      </a:lnTo>
                      <a:lnTo>
                        <a:pt x="79" y="955"/>
                      </a:lnTo>
                      <a:lnTo>
                        <a:pt x="78" y="955"/>
                      </a:lnTo>
                      <a:lnTo>
                        <a:pt x="77" y="955"/>
                      </a:lnTo>
                      <a:lnTo>
                        <a:pt x="77" y="955"/>
                      </a:lnTo>
                      <a:lnTo>
                        <a:pt x="76" y="955"/>
                      </a:lnTo>
                      <a:lnTo>
                        <a:pt x="75" y="954"/>
                      </a:lnTo>
                      <a:lnTo>
                        <a:pt x="76" y="954"/>
                      </a:lnTo>
                      <a:lnTo>
                        <a:pt x="76" y="953"/>
                      </a:lnTo>
                      <a:lnTo>
                        <a:pt x="76" y="952"/>
                      </a:lnTo>
                      <a:lnTo>
                        <a:pt x="77" y="952"/>
                      </a:lnTo>
                      <a:lnTo>
                        <a:pt x="77" y="951"/>
                      </a:lnTo>
                      <a:lnTo>
                        <a:pt x="78" y="951"/>
                      </a:lnTo>
                      <a:lnTo>
                        <a:pt x="79" y="951"/>
                      </a:lnTo>
                      <a:lnTo>
                        <a:pt x="79" y="950"/>
                      </a:lnTo>
                      <a:lnTo>
                        <a:pt x="80" y="950"/>
                      </a:lnTo>
                      <a:lnTo>
                        <a:pt x="81" y="949"/>
                      </a:lnTo>
                      <a:lnTo>
                        <a:pt x="81" y="948"/>
                      </a:lnTo>
                      <a:lnTo>
                        <a:pt x="82" y="948"/>
                      </a:lnTo>
                      <a:lnTo>
                        <a:pt x="83" y="948"/>
                      </a:lnTo>
                      <a:lnTo>
                        <a:pt x="83" y="948"/>
                      </a:lnTo>
                      <a:lnTo>
                        <a:pt x="84" y="948"/>
                      </a:lnTo>
                      <a:lnTo>
                        <a:pt x="84" y="948"/>
                      </a:lnTo>
                      <a:lnTo>
                        <a:pt x="84" y="947"/>
                      </a:lnTo>
                      <a:lnTo>
                        <a:pt x="83" y="946"/>
                      </a:lnTo>
                      <a:lnTo>
                        <a:pt x="83" y="946"/>
                      </a:lnTo>
                      <a:lnTo>
                        <a:pt x="81" y="946"/>
                      </a:lnTo>
                      <a:lnTo>
                        <a:pt x="80" y="946"/>
                      </a:lnTo>
                      <a:lnTo>
                        <a:pt x="79" y="946"/>
                      </a:lnTo>
                      <a:lnTo>
                        <a:pt x="79" y="946"/>
                      </a:lnTo>
                      <a:lnTo>
                        <a:pt x="77" y="946"/>
                      </a:lnTo>
                      <a:lnTo>
                        <a:pt x="77" y="945"/>
                      </a:lnTo>
                      <a:lnTo>
                        <a:pt x="76" y="946"/>
                      </a:lnTo>
                      <a:lnTo>
                        <a:pt x="75" y="947"/>
                      </a:lnTo>
                      <a:lnTo>
                        <a:pt x="75" y="948"/>
                      </a:lnTo>
                      <a:lnTo>
                        <a:pt x="75" y="948"/>
                      </a:lnTo>
                      <a:lnTo>
                        <a:pt x="76" y="949"/>
                      </a:lnTo>
                      <a:lnTo>
                        <a:pt x="76" y="950"/>
                      </a:lnTo>
                      <a:lnTo>
                        <a:pt x="75" y="950"/>
                      </a:lnTo>
                      <a:lnTo>
                        <a:pt x="75" y="950"/>
                      </a:lnTo>
                      <a:lnTo>
                        <a:pt x="74" y="950"/>
                      </a:lnTo>
                      <a:lnTo>
                        <a:pt x="73" y="949"/>
                      </a:lnTo>
                      <a:lnTo>
                        <a:pt x="72" y="949"/>
                      </a:lnTo>
                      <a:lnTo>
                        <a:pt x="72" y="948"/>
                      </a:lnTo>
                      <a:lnTo>
                        <a:pt x="72" y="948"/>
                      </a:lnTo>
                      <a:lnTo>
                        <a:pt x="71" y="947"/>
                      </a:lnTo>
                      <a:lnTo>
                        <a:pt x="70" y="947"/>
                      </a:lnTo>
                      <a:lnTo>
                        <a:pt x="70" y="947"/>
                      </a:lnTo>
                      <a:lnTo>
                        <a:pt x="69" y="948"/>
                      </a:lnTo>
                      <a:lnTo>
                        <a:pt x="68" y="948"/>
                      </a:lnTo>
                      <a:lnTo>
                        <a:pt x="68" y="947"/>
                      </a:lnTo>
                      <a:lnTo>
                        <a:pt x="68" y="946"/>
                      </a:lnTo>
                      <a:lnTo>
                        <a:pt x="68" y="945"/>
                      </a:lnTo>
                      <a:lnTo>
                        <a:pt x="68" y="945"/>
                      </a:lnTo>
                      <a:lnTo>
                        <a:pt x="69" y="945"/>
                      </a:lnTo>
                      <a:lnTo>
                        <a:pt x="70" y="944"/>
                      </a:lnTo>
                      <a:lnTo>
                        <a:pt x="70" y="943"/>
                      </a:lnTo>
                      <a:lnTo>
                        <a:pt x="71" y="943"/>
                      </a:lnTo>
                      <a:lnTo>
                        <a:pt x="72" y="942"/>
                      </a:lnTo>
                      <a:lnTo>
                        <a:pt x="72" y="941"/>
                      </a:lnTo>
                      <a:lnTo>
                        <a:pt x="72" y="941"/>
                      </a:lnTo>
                      <a:lnTo>
                        <a:pt x="71" y="940"/>
                      </a:lnTo>
                      <a:lnTo>
                        <a:pt x="70" y="940"/>
                      </a:lnTo>
                      <a:lnTo>
                        <a:pt x="70" y="940"/>
                      </a:lnTo>
                      <a:lnTo>
                        <a:pt x="69" y="940"/>
                      </a:lnTo>
                      <a:lnTo>
                        <a:pt x="68" y="941"/>
                      </a:lnTo>
                      <a:lnTo>
                        <a:pt x="68" y="941"/>
                      </a:lnTo>
                      <a:lnTo>
                        <a:pt x="68" y="942"/>
                      </a:lnTo>
                      <a:lnTo>
                        <a:pt x="67" y="942"/>
                      </a:lnTo>
                      <a:lnTo>
                        <a:pt x="66" y="943"/>
                      </a:lnTo>
                      <a:lnTo>
                        <a:pt x="66" y="944"/>
                      </a:lnTo>
                      <a:lnTo>
                        <a:pt x="66" y="945"/>
                      </a:lnTo>
                      <a:lnTo>
                        <a:pt x="66" y="945"/>
                      </a:lnTo>
                      <a:lnTo>
                        <a:pt x="66" y="945"/>
                      </a:lnTo>
                      <a:lnTo>
                        <a:pt x="65" y="945"/>
                      </a:lnTo>
                      <a:lnTo>
                        <a:pt x="64" y="945"/>
                      </a:lnTo>
                      <a:lnTo>
                        <a:pt x="64" y="945"/>
                      </a:lnTo>
                      <a:lnTo>
                        <a:pt x="64" y="944"/>
                      </a:lnTo>
                      <a:lnTo>
                        <a:pt x="63" y="943"/>
                      </a:lnTo>
                      <a:lnTo>
                        <a:pt x="62" y="943"/>
                      </a:lnTo>
                      <a:lnTo>
                        <a:pt x="62" y="943"/>
                      </a:lnTo>
                      <a:lnTo>
                        <a:pt x="61" y="943"/>
                      </a:lnTo>
                      <a:lnTo>
                        <a:pt x="60" y="943"/>
                      </a:lnTo>
                      <a:lnTo>
                        <a:pt x="60" y="943"/>
                      </a:lnTo>
                      <a:lnTo>
                        <a:pt x="60" y="942"/>
                      </a:lnTo>
                      <a:lnTo>
                        <a:pt x="60" y="941"/>
                      </a:lnTo>
                      <a:lnTo>
                        <a:pt x="60" y="941"/>
                      </a:lnTo>
                      <a:lnTo>
                        <a:pt x="60" y="941"/>
                      </a:lnTo>
                      <a:lnTo>
                        <a:pt x="61" y="941"/>
                      </a:lnTo>
                      <a:lnTo>
                        <a:pt x="62" y="941"/>
                      </a:lnTo>
                      <a:lnTo>
                        <a:pt x="62" y="941"/>
                      </a:lnTo>
                      <a:lnTo>
                        <a:pt x="63" y="941"/>
                      </a:lnTo>
                      <a:lnTo>
                        <a:pt x="64" y="941"/>
                      </a:lnTo>
                      <a:lnTo>
                        <a:pt x="64" y="942"/>
                      </a:lnTo>
                      <a:lnTo>
                        <a:pt x="64" y="943"/>
                      </a:lnTo>
                      <a:lnTo>
                        <a:pt x="65" y="943"/>
                      </a:lnTo>
                      <a:lnTo>
                        <a:pt x="66" y="942"/>
                      </a:lnTo>
                      <a:lnTo>
                        <a:pt x="66" y="941"/>
                      </a:lnTo>
                      <a:lnTo>
                        <a:pt x="66" y="941"/>
                      </a:lnTo>
                      <a:lnTo>
                        <a:pt x="65" y="940"/>
                      </a:lnTo>
                      <a:lnTo>
                        <a:pt x="64" y="939"/>
                      </a:lnTo>
                      <a:lnTo>
                        <a:pt x="64" y="939"/>
                      </a:lnTo>
                      <a:lnTo>
                        <a:pt x="63" y="939"/>
                      </a:lnTo>
                      <a:lnTo>
                        <a:pt x="62" y="939"/>
                      </a:lnTo>
                      <a:lnTo>
                        <a:pt x="62" y="938"/>
                      </a:lnTo>
                      <a:lnTo>
                        <a:pt x="61" y="938"/>
                      </a:lnTo>
                      <a:lnTo>
                        <a:pt x="60" y="939"/>
                      </a:lnTo>
                      <a:lnTo>
                        <a:pt x="60" y="939"/>
                      </a:lnTo>
                      <a:lnTo>
                        <a:pt x="60" y="940"/>
                      </a:lnTo>
                      <a:lnTo>
                        <a:pt x="60" y="941"/>
                      </a:lnTo>
                      <a:lnTo>
                        <a:pt x="58" y="941"/>
                      </a:lnTo>
                      <a:lnTo>
                        <a:pt x="58" y="940"/>
                      </a:lnTo>
                      <a:lnTo>
                        <a:pt x="58" y="939"/>
                      </a:lnTo>
                      <a:lnTo>
                        <a:pt x="58" y="939"/>
                      </a:lnTo>
                      <a:lnTo>
                        <a:pt x="58" y="938"/>
                      </a:lnTo>
                      <a:lnTo>
                        <a:pt x="58" y="938"/>
                      </a:lnTo>
                      <a:lnTo>
                        <a:pt x="58" y="937"/>
                      </a:lnTo>
                      <a:lnTo>
                        <a:pt x="58" y="937"/>
                      </a:lnTo>
                      <a:lnTo>
                        <a:pt x="58" y="936"/>
                      </a:lnTo>
                      <a:lnTo>
                        <a:pt x="58" y="935"/>
                      </a:lnTo>
                      <a:lnTo>
                        <a:pt x="58" y="935"/>
                      </a:lnTo>
                      <a:lnTo>
                        <a:pt x="57" y="935"/>
                      </a:lnTo>
                      <a:lnTo>
                        <a:pt x="56" y="936"/>
                      </a:lnTo>
                      <a:lnTo>
                        <a:pt x="56" y="937"/>
                      </a:lnTo>
                      <a:lnTo>
                        <a:pt x="55" y="937"/>
                      </a:lnTo>
                      <a:lnTo>
                        <a:pt x="56" y="938"/>
                      </a:lnTo>
                      <a:lnTo>
                        <a:pt x="56" y="939"/>
                      </a:lnTo>
                      <a:lnTo>
                        <a:pt x="56" y="939"/>
                      </a:lnTo>
                      <a:lnTo>
                        <a:pt x="56" y="940"/>
                      </a:lnTo>
                      <a:lnTo>
                        <a:pt x="56" y="941"/>
                      </a:lnTo>
                      <a:lnTo>
                        <a:pt x="56" y="941"/>
                      </a:lnTo>
                      <a:lnTo>
                        <a:pt x="55" y="941"/>
                      </a:lnTo>
                      <a:lnTo>
                        <a:pt x="54" y="942"/>
                      </a:lnTo>
                      <a:lnTo>
                        <a:pt x="53" y="941"/>
                      </a:lnTo>
                      <a:lnTo>
                        <a:pt x="53" y="941"/>
                      </a:lnTo>
                      <a:lnTo>
                        <a:pt x="52" y="941"/>
                      </a:lnTo>
                      <a:lnTo>
                        <a:pt x="52" y="940"/>
                      </a:lnTo>
                      <a:lnTo>
                        <a:pt x="52" y="939"/>
                      </a:lnTo>
                      <a:lnTo>
                        <a:pt x="52" y="937"/>
                      </a:lnTo>
                      <a:lnTo>
                        <a:pt x="52" y="937"/>
                      </a:lnTo>
                      <a:lnTo>
                        <a:pt x="53" y="936"/>
                      </a:lnTo>
                      <a:lnTo>
                        <a:pt x="53" y="935"/>
                      </a:lnTo>
                      <a:lnTo>
                        <a:pt x="54" y="935"/>
                      </a:lnTo>
                      <a:lnTo>
                        <a:pt x="55" y="935"/>
                      </a:lnTo>
                      <a:lnTo>
                        <a:pt x="56" y="935"/>
                      </a:lnTo>
                      <a:lnTo>
                        <a:pt x="56" y="934"/>
                      </a:lnTo>
                      <a:lnTo>
                        <a:pt x="56" y="933"/>
                      </a:lnTo>
                      <a:lnTo>
                        <a:pt x="55" y="933"/>
                      </a:lnTo>
                      <a:lnTo>
                        <a:pt x="54" y="933"/>
                      </a:lnTo>
                      <a:lnTo>
                        <a:pt x="53" y="933"/>
                      </a:lnTo>
                      <a:lnTo>
                        <a:pt x="53" y="933"/>
                      </a:lnTo>
                      <a:lnTo>
                        <a:pt x="52" y="933"/>
                      </a:lnTo>
                      <a:lnTo>
                        <a:pt x="51" y="934"/>
                      </a:lnTo>
                      <a:lnTo>
                        <a:pt x="50" y="934"/>
                      </a:lnTo>
                      <a:lnTo>
                        <a:pt x="49" y="934"/>
                      </a:lnTo>
                      <a:lnTo>
                        <a:pt x="49" y="933"/>
                      </a:lnTo>
                      <a:lnTo>
                        <a:pt x="48" y="933"/>
                      </a:lnTo>
                      <a:lnTo>
                        <a:pt x="47" y="932"/>
                      </a:lnTo>
                      <a:lnTo>
                        <a:pt x="47" y="932"/>
                      </a:lnTo>
                      <a:lnTo>
                        <a:pt x="46" y="933"/>
                      </a:lnTo>
                      <a:lnTo>
                        <a:pt x="45" y="933"/>
                      </a:lnTo>
                      <a:lnTo>
                        <a:pt x="46" y="934"/>
                      </a:lnTo>
                      <a:lnTo>
                        <a:pt x="47" y="935"/>
                      </a:lnTo>
                      <a:lnTo>
                        <a:pt x="47" y="935"/>
                      </a:lnTo>
                      <a:lnTo>
                        <a:pt x="46" y="936"/>
                      </a:lnTo>
                      <a:lnTo>
                        <a:pt x="45" y="936"/>
                      </a:lnTo>
                      <a:lnTo>
                        <a:pt x="45" y="935"/>
                      </a:lnTo>
                      <a:lnTo>
                        <a:pt x="45" y="935"/>
                      </a:lnTo>
                      <a:lnTo>
                        <a:pt x="44" y="935"/>
                      </a:lnTo>
                      <a:lnTo>
                        <a:pt x="44" y="935"/>
                      </a:lnTo>
                      <a:lnTo>
                        <a:pt x="43" y="935"/>
                      </a:lnTo>
                      <a:lnTo>
                        <a:pt x="43" y="936"/>
                      </a:lnTo>
                      <a:lnTo>
                        <a:pt x="42" y="937"/>
                      </a:lnTo>
                      <a:lnTo>
                        <a:pt x="41" y="937"/>
                      </a:lnTo>
                      <a:lnTo>
                        <a:pt x="40" y="937"/>
                      </a:lnTo>
                      <a:lnTo>
                        <a:pt x="40" y="936"/>
                      </a:lnTo>
                      <a:lnTo>
                        <a:pt x="39" y="935"/>
                      </a:lnTo>
                      <a:lnTo>
                        <a:pt x="39" y="935"/>
                      </a:lnTo>
                      <a:lnTo>
                        <a:pt x="40" y="934"/>
                      </a:lnTo>
                      <a:lnTo>
                        <a:pt x="39" y="933"/>
                      </a:lnTo>
                      <a:lnTo>
                        <a:pt x="39" y="932"/>
                      </a:lnTo>
                      <a:lnTo>
                        <a:pt x="39" y="931"/>
                      </a:lnTo>
                      <a:lnTo>
                        <a:pt x="39" y="931"/>
                      </a:lnTo>
                      <a:lnTo>
                        <a:pt x="40" y="931"/>
                      </a:lnTo>
                      <a:lnTo>
                        <a:pt x="41" y="931"/>
                      </a:lnTo>
                      <a:lnTo>
                        <a:pt x="41" y="931"/>
                      </a:lnTo>
                      <a:lnTo>
                        <a:pt x="42" y="931"/>
                      </a:lnTo>
                      <a:lnTo>
                        <a:pt x="43" y="932"/>
                      </a:lnTo>
                      <a:lnTo>
                        <a:pt x="43" y="932"/>
                      </a:lnTo>
                      <a:lnTo>
                        <a:pt x="44" y="931"/>
                      </a:lnTo>
                      <a:lnTo>
                        <a:pt x="44" y="931"/>
                      </a:lnTo>
                      <a:lnTo>
                        <a:pt x="44" y="930"/>
                      </a:lnTo>
                      <a:lnTo>
                        <a:pt x="44" y="929"/>
                      </a:lnTo>
                      <a:lnTo>
                        <a:pt x="43" y="929"/>
                      </a:lnTo>
                      <a:lnTo>
                        <a:pt x="43" y="929"/>
                      </a:lnTo>
                      <a:lnTo>
                        <a:pt x="41" y="928"/>
                      </a:lnTo>
                      <a:lnTo>
                        <a:pt x="41" y="927"/>
                      </a:lnTo>
                      <a:lnTo>
                        <a:pt x="39" y="927"/>
                      </a:lnTo>
                      <a:lnTo>
                        <a:pt x="39" y="927"/>
                      </a:lnTo>
                      <a:lnTo>
                        <a:pt x="38" y="928"/>
                      </a:lnTo>
                      <a:lnTo>
                        <a:pt x="37" y="929"/>
                      </a:lnTo>
                      <a:lnTo>
                        <a:pt x="37" y="929"/>
                      </a:lnTo>
                      <a:lnTo>
                        <a:pt x="38" y="930"/>
                      </a:lnTo>
                      <a:lnTo>
                        <a:pt x="39" y="931"/>
                      </a:lnTo>
                      <a:lnTo>
                        <a:pt x="38" y="931"/>
                      </a:lnTo>
                      <a:lnTo>
                        <a:pt x="38" y="932"/>
                      </a:lnTo>
                      <a:lnTo>
                        <a:pt x="37" y="932"/>
                      </a:lnTo>
                      <a:lnTo>
                        <a:pt x="36" y="933"/>
                      </a:lnTo>
                      <a:lnTo>
                        <a:pt x="35" y="932"/>
                      </a:lnTo>
                      <a:lnTo>
                        <a:pt x="35" y="931"/>
                      </a:lnTo>
                      <a:lnTo>
                        <a:pt x="34" y="931"/>
                      </a:lnTo>
                      <a:lnTo>
                        <a:pt x="34" y="930"/>
                      </a:lnTo>
                      <a:lnTo>
                        <a:pt x="34" y="929"/>
                      </a:lnTo>
                      <a:lnTo>
                        <a:pt x="34" y="929"/>
                      </a:lnTo>
                      <a:lnTo>
                        <a:pt x="35" y="928"/>
                      </a:lnTo>
                      <a:lnTo>
                        <a:pt x="37" y="928"/>
                      </a:lnTo>
                      <a:lnTo>
                        <a:pt x="37" y="927"/>
                      </a:lnTo>
                      <a:lnTo>
                        <a:pt x="39" y="926"/>
                      </a:lnTo>
                      <a:lnTo>
                        <a:pt x="39" y="926"/>
                      </a:lnTo>
                      <a:lnTo>
                        <a:pt x="39" y="924"/>
                      </a:lnTo>
                      <a:lnTo>
                        <a:pt x="39" y="924"/>
                      </a:lnTo>
                      <a:lnTo>
                        <a:pt x="40" y="923"/>
                      </a:lnTo>
                      <a:lnTo>
                        <a:pt x="41" y="923"/>
                      </a:lnTo>
                      <a:lnTo>
                        <a:pt x="41" y="924"/>
                      </a:lnTo>
                      <a:lnTo>
                        <a:pt x="41" y="924"/>
                      </a:lnTo>
                      <a:lnTo>
                        <a:pt x="42" y="925"/>
                      </a:lnTo>
                      <a:lnTo>
                        <a:pt x="42" y="926"/>
                      </a:lnTo>
                      <a:lnTo>
                        <a:pt x="43" y="926"/>
                      </a:lnTo>
                      <a:lnTo>
                        <a:pt x="43" y="926"/>
                      </a:lnTo>
                      <a:lnTo>
                        <a:pt x="44" y="925"/>
                      </a:lnTo>
                      <a:lnTo>
                        <a:pt x="44" y="924"/>
                      </a:lnTo>
                      <a:lnTo>
                        <a:pt x="43" y="924"/>
                      </a:lnTo>
                      <a:lnTo>
                        <a:pt x="43" y="923"/>
                      </a:lnTo>
                      <a:lnTo>
                        <a:pt x="42" y="922"/>
                      </a:lnTo>
                      <a:lnTo>
                        <a:pt x="41" y="922"/>
                      </a:lnTo>
                      <a:lnTo>
                        <a:pt x="40" y="922"/>
                      </a:lnTo>
                      <a:lnTo>
                        <a:pt x="39" y="921"/>
                      </a:lnTo>
                      <a:lnTo>
                        <a:pt x="39" y="920"/>
                      </a:lnTo>
                      <a:lnTo>
                        <a:pt x="38" y="920"/>
                      </a:lnTo>
                      <a:lnTo>
                        <a:pt x="37" y="920"/>
                      </a:lnTo>
                      <a:lnTo>
                        <a:pt x="37" y="919"/>
                      </a:lnTo>
                      <a:lnTo>
                        <a:pt x="36" y="919"/>
                      </a:lnTo>
                      <a:lnTo>
                        <a:pt x="35" y="920"/>
                      </a:lnTo>
                      <a:lnTo>
                        <a:pt x="35" y="920"/>
                      </a:lnTo>
                      <a:lnTo>
                        <a:pt x="35" y="921"/>
                      </a:lnTo>
                      <a:lnTo>
                        <a:pt x="35" y="922"/>
                      </a:lnTo>
                      <a:lnTo>
                        <a:pt x="36" y="922"/>
                      </a:lnTo>
                      <a:lnTo>
                        <a:pt x="36" y="923"/>
                      </a:lnTo>
                      <a:lnTo>
                        <a:pt x="36" y="924"/>
                      </a:lnTo>
                      <a:lnTo>
                        <a:pt x="35" y="924"/>
                      </a:lnTo>
                      <a:lnTo>
                        <a:pt x="34" y="924"/>
                      </a:lnTo>
                      <a:lnTo>
                        <a:pt x="34" y="924"/>
                      </a:lnTo>
                      <a:lnTo>
                        <a:pt x="33" y="924"/>
                      </a:lnTo>
                      <a:lnTo>
                        <a:pt x="32" y="923"/>
                      </a:lnTo>
                      <a:lnTo>
                        <a:pt x="32" y="922"/>
                      </a:lnTo>
                      <a:lnTo>
                        <a:pt x="32" y="922"/>
                      </a:lnTo>
                      <a:lnTo>
                        <a:pt x="32" y="921"/>
                      </a:lnTo>
                      <a:lnTo>
                        <a:pt x="33" y="920"/>
                      </a:lnTo>
                      <a:lnTo>
                        <a:pt x="34" y="920"/>
                      </a:lnTo>
                      <a:lnTo>
                        <a:pt x="34" y="919"/>
                      </a:lnTo>
                      <a:lnTo>
                        <a:pt x="34" y="918"/>
                      </a:lnTo>
                      <a:lnTo>
                        <a:pt x="34" y="918"/>
                      </a:lnTo>
                      <a:lnTo>
                        <a:pt x="34" y="917"/>
                      </a:lnTo>
                      <a:lnTo>
                        <a:pt x="34" y="916"/>
                      </a:lnTo>
                      <a:lnTo>
                        <a:pt x="33" y="916"/>
                      </a:lnTo>
                      <a:lnTo>
                        <a:pt x="32" y="917"/>
                      </a:lnTo>
                      <a:lnTo>
                        <a:pt x="32" y="918"/>
                      </a:lnTo>
                      <a:lnTo>
                        <a:pt x="32" y="918"/>
                      </a:lnTo>
                      <a:lnTo>
                        <a:pt x="31" y="919"/>
                      </a:lnTo>
                      <a:lnTo>
                        <a:pt x="30" y="919"/>
                      </a:lnTo>
                      <a:lnTo>
                        <a:pt x="30" y="920"/>
                      </a:lnTo>
                      <a:lnTo>
                        <a:pt x="28" y="920"/>
                      </a:lnTo>
                      <a:lnTo>
                        <a:pt x="28" y="919"/>
                      </a:lnTo>
                      <a:lnTo>
                        <a:pt x="27" y="918"/>
                      </a:lnTo>
                      <a:lnTo>
                        <a:pt x="27" y="918"/>
                      </a:lnTo>
                      <a:lnTo>
                        <a:pt x="26" y="917"/>
                      </a:lnTo>
                      <a:lnTo>
                        <a:pt x="26" y="916"/>
                      </a:lnTo>
                      <a:lnTo>
                        <a:pt x="25" y="916"/>
                      </a:lnTo>
                      <a:lnTo>
                        <a:pt x="25" y="916"/>
                      </a:lnTo>
                      <a:lnTo>
                        <a:pt x="26" y="916"/>
                      </a:lnTo>
                      <a:lnTo>
                        <a:pt x="26" y="916"/>
                      </a:lnTo>
                      <a:lnTo>
                        <a:pt x="27" y="916"/>
                      </a:lnTo>
                      <a:lnTo>
                        <a:pt x="28" y="916"/>
                      </a:lnTo>
                      <a:lnTo>
                        <a:pt x="28" y="915"/>
                      </a:lnTo>
                      <a:lnTo>
                        <a:pt x="28" y="915"/>
                      </a:lnTo>
                      <a:lnTo>
                        <a:pt x="28" y="914"/>
                      </a:lnTo>
                      <a:lnTo>
                        <a:pt x="27" y="913"/>
                      </a:lnTo>
                      <a:lnTo>
                        <a:pt x="27" y="912"/>
                      </a:lnTo>
                      <a:lnTo>
                        <a:pt x="27" y="912"/>
                      </a:lnTo>
                      <a:lnTo>
                        <a:pt x="28" y="912"/>
                      </a:lnTo>
                      <a:lnTo>
                        <a:pt x="28" y="912"/>
                      </a:lnTo>
                      <a:lnTo>
                        <a:pt x="29" y="912"/>
                      </a:lnTo>
                      <a:lnTo>
                        <a:pt x="29" y="912"/>
                      </a:lnTo>
                      <a:lnTo>
                        <a:pt x="30" y="913"/>
                      </a:lnTo>
                      <a:lnTo>
                        <a:pt x="30" y="913"/>
                      </a:lnTo>
                      <a:lnTo>
                        <a:pt x="31" y="913"/>
                      </a:lnTo>
                      <a:lnTo>
                        <a:pt x="32" y="913"/>
                      </a:lnTo>
                      <a:lnTo>
                        <a:pt x="32" y="912"/>
                      </a:lnTo>
                      <a:lnTo>
                        <a:pt x="32" y="912"/>
                      </a:lnTo>
                      <a:lnTo>
                        <a:pt x="31" y="911"/>
                      </a:lnTo>
                      <a:lnTo>
                        <a:pt x="30" y="910"/>
                      </a:lnTo>
                      <a:lnTo>
                        <a:pt x="29" y="910"/>
                      </a:lnTo>
                      <a:lnTo>
                        <a:pt x="28" y="909"/>
                      </a:lnTo>
                      <a:lnTo>
                        <a:pt x="28" y="909"/>
                      </a:lnTo>
                      <a:lnTo>
                        <a:pt x="27" y="910"/>
                      </a:lnTo>
                      <a:lnTo>
                        <a:pt x="27" y="910"/>
                      </a:lnTo>
                      <a:lnTo>
                        <a:pt x="26" y="910"/>
                      </a:lnTo>
                      <a:lnTo>
                        <a:pt x="25" y="910"/>
                      </a:lnTo>
                      <a:lnTo>
                        <a:pt x="24" y="910"/>
                      </a:lnTo>
                      <a:lnTo>
                        <a:pt x="24" y="910"/>
                      </a:lnTo>
                      <a:lnTo>
                        <a:pt x="24" y="909"/>
                      </a:lnTo>
                      <a:lnTo>
                        <a:pt x="24" y="908"/>
                      </a:lnTo>
                      <a:lnTo>
                        <a:pt x="24" y="907"/>
                      </a:lnTo>
                      <a:lnTo>
                        <a:pt x="25" y="907"/>
                      </a:lnTo>
                      <a:lnTo>
                        <a:pt x="26" y="906"/>
                      </a:lnTo>
                      <a:lnTo>
                        <a:pt x="26" y="906"/>
                      </a:lnTo>
                      <a:lnTo>
                        <a:pt x="27" y="906"/>
                      </a:lnTo>
                      <a:lnTo>
                        <a:pt x="28" y="906"/>
                      </a:lnTo>
                      <a:lnTo>
                        <a:pt x="28" y="906"/>
                      </a:lnTo>
                      <a:lnTo>
                        <a:pt x="29" y="905"/>
                      </a:lnTo>
                      <a:lnTo>
                        <a:pt x="30" y="905"/>
                      </a:lnTo>
                      <a:lnTo>
                        <a:pt x="30" y="904"/>
                      </a:lnTo>
                      <a:lnTo>
                        <a:pt x="30" y="903"/>
                      </a:lnTo>
                      <a:lnTo>
                        <a:pt x="29" y="903"/>
                      </a:lnTo>
                      <a:lnTo>
                        <a:pt x="28" y="902"/>
                      </a:lnTo>
                      <a:lnTo>
                        <a:pt x="28" y="901"/>
                      </a:lnTo>
                      <a:lnTo>
                        <a:pt x="27" y="901"/>
                      </a:lnTo>
                      <a:lnTo>
                        <a:pt x="26" y="901"/>
                      </a:lnTo>
                      <a:lnTo>
                        <a:pt x="26" y="902"/>
                      </a:lnTo>
                      <a:lnTo>
                        <a:pt x="26" y="903"/>
                      </a:lnTo>
                      <a:lnTo>
                        <a:pt x="26" y="903"/>
                      </a:lnTo>
                      <a:lnTo>
                        <a:pt x="25" y="904"/>
                      </a:lnTo>
                      <a:lnTo>
                        <a:pt x="24" y="905"/>
                      </a:lnTo>
                      <a:lnTo>
                        <a:pt x="24" y="905"/>
                      </a:lnTo>
                      <a:lnTo>
                        <a:pt x="23" y="905"/>
                      </a:lnTo>
                      <a:lnTo>
                        <a:pt x="22" y="904"/>
                      </a:lnTo>
                      <a:lnTo>
                        <a:pt x="22" y="904"/>
                      </a:lnTo>
                      <a:lnTo>
                        <a:pt x="22" y="903"/>
                      </a:lnTo>
                      <a:lnTo>
                        <a:pt x="22" y="903"/>
                      </a:lnTo>
                      <a:lnTo>
                        <a:pt x="22" y="902"/>
                      </a:lnTo>
                      <a:lnTo>
                        <a:pt x="22" y="901"/>
                      </a:lnTo>
                      <a:lnTo>
                        <a:pt x="23" y="901"/>
                      </a:lnTo>
                      <a:lnTo>
                        <a:pt x="24" y="901"/>
                      </a:lnTo>
                      <a:lnTo>
                        <a:pt x="24" y="901"/>
                      </a:lnTo>
                      <a:lnTo>
                        <a:pt x="26" y="900"/>
                      </a:lnTo>
                      <a:lnTo>
                        <a:pt x="26" y="900"/>
                      </a:lnTo>
                      <a:lnTo>
                        <a:pt x="27" y="899"/>
                      </a:lnTo>
                      <a:lnTo>
                        <a:pt x="27" y="899"/>
                      </a:lnTo>
                      <a:lnTo>
                        <a:pt x="28" y="898"/>
                      </a:lnTo>
                      <a:lnTo>
                        <a:pt x="27" y="897"/>
                      </a:lnTo>
                      <a:lnTo>
                        <a:pt x="26" y="896"/>
                      </a:lnTo>
                      <a:lnTo>
                        <a:pt x="25" y="896"/>
                      </a:lnTo>
                      <a:lnTo>
                        <a:pt x="24" y="897"/>
                      </a:lnTo>
                      <a:lnTo>
                        <a:pt x="24" y="897"/>
                      </a:lnTo>
                      <a:lnTo>
                        <a:pt x="24" y="898"/>
                      </a:lnTo>
                      <a:lnTo>
                        <a:pt x="23" y="899"/>
                      </a:lnTo>
                      <a:lnTo>
                        <a:pt x="22" y="899"/>
                      </a:lnTo>
                      <a:lnTo>
                        <a:pt x="22" y="899"/>
                      </a:lnTo>
                      <a:lnTo>
                        <a:pt x="20" y="899"/>
                      </a:lnTo>
                      <a:lnTo>
                        <a:pt x="20" y="899"/>
                      </a:lnTo>
                      <a:lnTo>
                        <a:pt x="19" y="899"/>
                      </a:lnTo>
                      <a:lnTo>
                        <a:pt x="19" y="898"/>
                      </a:lnTo>
                      <a:lnTo>
                        <a:pt x="19" y="897"/>
                      </a:lnTo>
                      <a:lnTo>
                        <a:pt x="19" y="897"/>
                      </a:lnTo>
                      <a:lnTo>
                        <a:pt x="20" y="897"/>
                      </a:lnTo>
                      <a:lnTo>
                        <a:pt x="21" y="896"/>
                      </a:lnTo>
                      <a:lnTo>
                        <a:pt x="22" y="896"/>
                      </a:lnTo>
                      <a:lnTo>
                        <a:pt x="23" y="896"/>
                      </a:lnTo>
                      <a:lnTo>
                        <a:pt x="24" y="895"/>
                      </a:lnTo>
                      <a:lnTo>
                        <a:pt x="25" y="895"/>
                      </a:lnTo>
                      <a:lnTo>
                        <a:pt x="26" y="895"/>
                      </a:lnTo>
                      <a:lnTo>
                        <a:pt x="26" y="894"/>
                      </a:lnTo>
                      <a:lnTo>
                        <a:pt x="26" y="893"/>
                      </a:lnTo>
                      <a:lnTo>
                        <a:pt x="26" y="893"/>
                      </a:lnTo>
                      <a:lnTo>
                        <a:pt x="25" y="893"/>
                      </a:lnTo>
                      <a:lnTo>
                        <a:pt x="24" y="893"/>
                      </a:lnTo>
                      <a:lnTo>
                        <a:pt x="24" y="893"/>
                      </a:lnTo>
                      <a:lnTo>
                        <a:pt x="23" y="893"/>
                      </a:lnTo>
                      <a:lnTo>
                        <a:pt x="22" y="893"/>
                      </a:lnTo>
                      <a:lnTo>
                        <a:pt x="22" y="893"/>
                      </a:lnTo>
                      <a:lnTo>
                        <a:pt x="21" y="893"/>
                      </a:lnTo>
                      <a:lnTo>
                        <a:pt x="20" y="893"/>
                      </a:lnTo>
                      <a:lnTo>
                        <a:pt x="20" y="894"/>
                      </a:lnTo>
                      <a:lnTo>
                        <a:pt x="20" y="895"/>
                      </a:lnTo>
                      <a:lnTo>
                        <a:pt x="20" y="895"/>
                      </a:lnTo>
                      <a:lnTo>
                        <a:pt x="19" y="895"/>
                      </a:lnTo>
                      <a:lnTo>
                        <a:pt x="18" y="895"/>
                      </a:lnTo>
                      <a:lnTo>
                        <a:pt x="18" y="894"/>
                      </a:lnTo>
                      <a:lnTo>
                        <a:pt x="18" y="893"/>
                      </a:lnTo>
                      <a:lnTo>
                        <a:pt x="17" y="893"/>
                      </a:lnTo>
                      <a:lnTo>
                        <a:pt x="16" y="893"/>
                      </a:lnTo>
                      <a:lnTo>
                        <a:pt x="15" y="892"/>
                      </a:lnTo>
                      <a:lnTo>
                        <a:pt x="15" y="891"/>
                      </a:lnTo>
                      <a:lnTo>
                        <a:pt x="14" y="891"/>
                      </a:lnTo>
                      <a:lnTo>
                        <a:pt x="13" y="890"/>
                      </a:lnTo>
                      <a:lnTo>
                        <a:pt x="13" y="889"/>
                      </a:lnTo>
                      <a:lnTo>
                        <a:pt x="13" y="888"/>
                      </a:lnTo>
                      <a:lnTo>
                        <a:pt x="13" y="887"/>
                      </a:lnTo>
                      <a:lnTo>
                        <a:pt x="13" y="886"/>
                      </a:lnTo>
                      <a:lnTo>
                        <a:pt x="13" y="885"/>
                      </a:lnTo>
                      <a:lnTo>
                        <a:pt x="13" y="884"/>
                      </a:lnTo>
                      <a:lnTo>
                        <a:pt x="13" y="884"/>
                      </a:lnTo>
                      <a:lnTo>
                        <a:pt x="14" y="883"/>
                      </a:lnTo>
                      <a:lnTo>
                        <a:pt x="15" y="883"/>
                      </a:lnTo>
                      <a:lnTo>
                        <a:pt x="15" y="882"/>
                      </a:lnTo>
                      <a:lnTo>
                        <a:pt x="16" y="882"/>
                      </a:lnTo>
                      <a:lnTo>
                        <a:pt x="16" y="882"/>
                      </a:lnTo>
                      <a:lnTo>
                        <a:pt x="16" y="881"/>
                      </a:lnTo>
                      <a:lnTo>
                        <a:pt x="16" y="880"/>
                      </a:lnTo>
                      <a:lnTo>
                        <a:pt x="16" y="880"/>
                      </a:lnTo>
                      <a:lnTo>
                        <a:pt x="15" y="879"/>
                      </a:lnTo>
                      <a:lnTo>
                        <a:pt x="15" y="878"/>
                      </a:lnTo>
                      <a:lnTo>
                        <a:pt x="15" y="878"/>
                      </a:lnTo>
                      <a:lnTo>
                        <a:pt x="14" y="878"/>
                      </a:lnTo>
                      <a:lnTo>
                        <a:pt x="13" y="878"/>
                      </a:lnTo>
                      <a:lnTo>
                        <a:pt x="13" y="878"/>
                      </a:lnTo>
                      <a:lnTo>
                        <a:pt x="12" y="878"/>
                      </a:lnTo>
                      <a:lnTo>
                        <a:pt x="11" y="878"/>
                      </a:lnTo>
                      <a:lnTo>
                        <a:pt x="11" y="878"/>
                      </a:lnTo>
                      <a:lnTo>
                        <a:pt x="10" y="878"/>
                      </a:lnTo>
                      <a:lnTo>
                        <a:pt x="10" y="877"/>
                      </a:lnTo>
                      <a:lnTo>
                        <a:pt x="10" y="876"/>
                      </a:lnTo>
                      <a:lnTo>
                        <a:pt x="10" y="875"/>
                      </a:lnTo>
                      <a:lnTo>
                        <a:pt x="9" y="874"/>
                      </a:lnTo>
                      <a:lnTo>
                        <a:pt x="9" y="874"/>
                      </a:lnTo>
                      <a:lnTo>
                        <a:pt x="8" y="874"/>
                      </a:lnTo>
                      <a:lnTo>
                        <a:pt x="7" y="873"/>
                      </a:lnTo>
                      <a:lnTo>
                        <a:pt x="7" y="872"/>
                      </a:lnTo>
                      <a:lnTo>
                        <a:pt x="7" y="872"/>
                      </a:lnTo>
                      <a:lnTo>
                        <a:pt x="7" y="872"/>
                      </a:lnTo>
                      <a:lnTo>
                        <a:pt x="7" y="871"/>
                      </a:lnTo>
                      <a:lnTo>
                        <a:pt x="7" y="870"/>
                      </a:lnTo>
                      <a:lnTo>
                        <a:pt x="8" y="870"/>
                      </a:lnTo>
                      <a:lnTo>
                        <a:pt x="9" y="870"/>
                      </a:lnTo>
                      <a:lnTo>
                        <a:pt x="9" y="871"/>
                      </a:lnTo>
                      <a:lnTo>
                        <a:pt x="10" y="872"/>
                      </a:lnTo>
                      <a:lnTo>
                        <a:pt x="11" y="872"/>
                      </a:lnTo>
                      <a:lnTo>
                        <a:pt x="11" y="872"/>
                      </a:lnTo>
                      <a:lnTo>
                        <a:pt x="12" y="872"/>
                      </a:lnTo>
                      <a:lnTo>
                        <a:pt x="12" y="872"/>
                      </a:lnTo>
                      <a:lnTo>
                        <a:pt x="13" y="871"/>
                      </a:lnTo>
                      <a:lnTo>
                        <a:pt x="13" y="870"/>
                      </a:lnTo>
                      <a:lnTo>
                        <a:pt x="12" y="870"/>
                      </a:lnTo>
                      <a:lnTo>
                        <a:pt x="12" y="870"/>
                      </a:lnTo>
                      <a:lnTo>
                        <a:pt x="11" y="869"/>
                      </a:lnTo>
                      <a:lnTo>
                        <a:pt x="11" y="869"/>
                      </a:lnTo>
                      <a:lnTo>
                        <a:pt x="10" y="869"/>
                      </a:lnTo>
                      <a:lnTo>
                        <a:pt x="9" y="869"/>
                      </a:lnTo>
                      <a:lnTo>
                        <a:pt x="8" y="870"/>
                      </a:lnTo>
                      <a:lnTo>
                        <a:pt x="7" y="870"/>
                      </a:lnTo>
                      <a:lnTo>
                        <a:pt x="6" y="870"/>
                      </a:lnTo>
                      <a:lnTo>
                        <a:pt x="5" y="871"/>
                      </a:lnTo>
                      <a:lnTo>
                        <a:pt x="5" y="871"/>
                      </a:lnTo>
                      <a:lnTo>
                        <a:pt x="5" y="872"/>
                      </a:lnTo>
                      <a:lnTo>
                        <a:pt x="4" y="872"/>
                      </a:lnTo>
                      <a:lnTo>
                        <a:pt x="3" y="872"/>
                      </a:lnTo>
                      <a:lnTo>
                        <a:pt x="3" y="872"/>
                      </a:lnTo>
                      <a:lnTo>
                        <a:pt x="2" y="872"/>
                      </a:lnTo>
                      <a:lnTo>
                        <a:pt x="3" y="871"/>
                      </a:lnTo>
                      <a:lnTo>
                        <a:pt x="3" y="870"/>
                      </a:lnTo>
                      <a:lnTo>
                        <a:pt x="3" y="869"/>
                      </a:lnTo>
                      <a:lnTo>
                        <a:pt x="3" y="867"/>
                      </a:lnTo>
                      <a:lnTo>
                        <a:pt x="3" y="867"/>
                      </a:lnTo>
                      <a:lnTo>
                        <a:pt x="3" y="866"/>
                      </a:lnTo>
                      <a:lnTo>
                        <a:pt x="2" y="865"/>
                      </a:lnTo>
                      <a:lnTo>
                        <a:pt x="1" y="865"/>
                      </a:lnTo>
                      <a:lnTo>
                        <a:pt x="1" y="865"/>
                      </a:lnTo>
                      <a:lnTo>
                        <a:pt x="0" y="864"/>
                      </a:lnTo>
                      <a:lnTo>
                        <a:pt x="0" y="863"/>
                      </a:lnTo>
                      <a:lnTo>
                        <a:pt x="0" y="862"/>
                      </a:lnTo>
                      <a:lnTo>
                        <a:pt x="1" y="861"/>
                      </a:lnTo>
                      <a:lnTo>
                        <a:pt x="1" y="861"/>
                      </a:lnTo>
                      <a:lnTo>
                        <a:pt x="2" y="860"/>
                      </a:lnTo>
                      <a:lnTo>
                        <a:pt x="2" y="859"/>
                      </a:lnTo>
                      <a:lnTo>
                        <a:pt x="3" y="859"/>
                      </a:lnTo>
                      <a:lnTo>
                        <a:pt x="4" y="859"/>
                      </a:lnTo>
                      <a:lnTo>
                        <a:pt x="5" y="859"/>
                      </a:lnTo>
                      <a:lnTo>
                        <a:pt x="5" y="859"/>
                      </a:lnTo>
                      <a:lnTo>
                        <a:pt x="6" y="860"/>
                      </a:lnTo>
                      <a:lnTo>
                        <a:pt x="7" y="861"/>
                      </a:lnTo>
                      <a:lnTo>
                        <a:pt x="9" y="861"/>
                      </a:lnTo>
                      <a:lnTo>
                        <a:pt x="10" y="862"/>
                      </a:lnTo>
                      <a:lnTo>
                        <a:pt x="11" y="862"/>
                      </a:lnTo>
                      <a:lnTo>
                        <a:pt x="11" y="863"/>
                      </a:lnTo>
                      <a:lnTo>
                        <a:pt x="11" y="863"/>
                      </a:lnTo>
                      <a:lnTo>
                        <a:pt x="11" y="864"/>
                      </a:lnTo>
                      <a:lnTo>
                        <a:pt x="11" y="865"/>
                      </a:lnTo>
                      <a:lnTo>
                        <a:pt x="12" y="865"/>
                      </a:lnTo>
                      <a:lnTo>
                        <a:pt x="13" y="865"/>
                      </a:lnTo>
                      <a:lnTo>
                        <a:pt x="13" y="865"/>
                      </a:lnTo>
                      <a:lnTo>
                        <a:pt x="14" y="865"/>
                      </a:lnTo>
                      <a:lnTo>
                        <a:pt x="15" y="865"/>
                      </a:lnTo>
                      <a:lnTo>
                        <a:pt x="15" y="864"/>
                      </a:lnTo>
                      <a:lnTo>
                        <a:pt x="15" y="863"/>
                      </a:lnTo>
                      <a:lnTo>
                        <a:pt x="15" y="863"/>
                      </a:lnTo>
                      <a:lnTo>
                        <a:pt x="16" y="861"/>
                      </a:lnTo>
                      <a:lnTo>
                        <a:pt x="16" y="860"/>
                      </a:lnTo>
                      <a:lnTo>
                        <a:pt x="15" y="859"/>
                      </a:lnTo>
                      <a:lnTo>
                        <a:pt x="15" y="858"/>
                      </a:lnTo>
                      <a:lnTo>
                        <a:pt x="15" y="857"/>
                      </a:lnTo>
                      <a:lnTo>
                        <a:pt x="14" y="857"/>
                      </a:lnTo>
                      <a:lnTo>
                        <a:pt x="13" y="857"/>
                      </a:lnTo>
                      <a:lnTo>
                        <a:pt x="13" y="857"/>
                      </a:lnTo>
                      <a:lnTo>
                        <a:pt x="11" y="857"/>
                      </a:lnTo>
                      <a:lnTo>
                        <a:pt x="11" y="857"/>
                      </a:lnTo>
                      <a:lnTo>
                        <a:pt x="10" y="856"/>
                      </a:lnTo>
                      <a:lnTo>
                        <a:pt x="9" y="855"/>
                      </a:lnTo>
                      <a:lnTo>
                        <a:pt x="9" y="855"/>
                      </a:lnTo>
                      <a:lnTo>
                        <a:pt x="8" y="853"/>
                      </a:lnTo>
                      <a:lnTo>
                        <a:pt x="8" y="853"/>
                      </a:lnTo>
                      <a:lnTo>
                        <a:pt x="9" y="852"/>
                      </a:lnTo>
                      <a:lnTo>
                        <a:pt x="9" y="851"/>
                      </a:lnTo>
                      <a:lnTo>
                        <a:pt x="10" y="851"/>
                      </a:lnTo>
                      <a:lnTo>
                        <a:pt x="11" y="851"/>
                      </a:lnTo>
                      <a:lnTo>
                        <a:pt x="12" y="851"/>
                      </a:lnTo>
                      <a:lnTo>
                        <a:pt x="13" y="850"/>
                      </a:lnTo>
                      <a:lnTo>
                        <a:pt x="13" y="849"/>
                      </a:lnTo>
                      <a:lnTo>
                        <a:pt x="14" y="848"/>
                      </a:lnTo>
                      <a:lnTo>
                        <a:pt x="14" y="848"/>
                      </a:lnTo>
                      <a:lnTo>
                        <a:pt x="15" y="846"/>
                      </a:lnTo>
                      <a:lnTo>
                        <a:pt x="15" y="846"/>
                      </a:lnTo>
                      <a:lnTo>
                        <a:pt x="15" y="844"/>
                      </a:lnTo>
                      <a:lnTo>
                        <a:pt x="15" y="843"/>
                      </a:lnTo>
                      <a:lnTo>
                        <a:pt x="15" y="842"/>
                      </a:lnTo>
                      <a:lnTo>
                        <a:pt x="15" y="842"/>
                      </a:lnTo>
                      <a:lnTo>
                        <a:pt x="16" y="841"/>
                      </a:lnTo>
                      <a:lnTo>
                        <a:pt x="16" y="840"/>
                      </a:lnTo>
                      <a:lnTo>
                        <a:pt x="17" y="840"/>
                      </a:lnTo>
                      <a:lnTo>
                        <a:pt x="18" y="840"/>
                      </a:lnTo>
                      <a:lnTo>
                        <a:pt x="18" y="840"/>
                      </a:lnTo>
                      <a:lnTo>
                        <a:pt x="19" y="841"/>
                      </a:lnTo>
                      <a:lnTo>
                        <a:pt x="19" y="842"/>
                      </a:lnTo>
                      <a:lnTo>
                        <a:pt x="19" y="843"/>
                      </a:lnTo>
                      <a:lnTo>
                        <a:pt x="19" y="844"/>
                      </a:lnTo>
                      <a:lnTo>
                        <a:pt x="19" y="844"/>
                      </a:lnTo>
                      <a:lnTo>
                        <a:pt x="18" y="845"/>
                      </a:lnTo>
                      <a:lnTo>
                        <a:pt x="18" y="846"/>
                      </a:lnTo>
                      <a:lnTo>
                        <a:pt x="18" y="847"/>
                      </a:lnTo>
                      <a:lnTo>
                        <a:pt x="18" y="848"/>
                      </a:lnTo>
                      <a:lnTo>
                        <a:pt x="18" y="848"/>
                      </a:lnTo>
                      <a:lnTo>
                        <a:pt x="18" y="848"/>
                      </a:lnTo>
                      <a:lnTo>
                        <a:pt x="19" y="849"/>
                      </a:lnTo>
                      <a:lnTo>
                        <a:pt x="20" y="848"/>
                      </a:lnTo>
                      <a:lnTo>
                        <a:pt x="20" y="848"/>
                      </a:lnTo>
                      <a:lnTo>
                        <a:pt x="21" y="848"/>
                      </a:lnTo>
                      <a:lnTo>
                        <a:pt x="21" y="848"/>
                      </a:lnTo>
                      <a:lnTo>
                        <a:pt x="22" y="846"/>
                      </a:lnTo>
                      <a:lnTo>
                        <a:pt x="22" y="845"/>
                      </a:lnTo>
                      <a:lnTo>
                        <a:pt x="22" y="844"/>
                      </a:lnTo>
                      <a:lnTo>
                        <a:pt x="22" y="843"/>
                      </a:lnTo>
                      <a:lnTo>
                        <a:pt x="22" y="842"/>
                      </a:lnTo>
                      <a:lnTo>
                        <a:pt x="22" y="842"/>
                      </a:lnTo>
                      <a:lnTo>
                        <a:pt x="22" y="841"/>
                      </a:lnTo>
                      <a:lnTo>
                        <a:pt x="22" y="840"/>
                      </a:lnTo>
                      <a:lnTo>
                        <a:pt x="22" y="840"/>
                      </a:lnTo>
                      <a:lnTo>
                        <a:pt x="21" y="839"/>
                      </a:lnTo>
                      <a:lnTo>
                        <a:pt x="20" y="838"/>
                      </a:lnTo>
                      <a:lnTo>
                        <a:pt x="19" y="837"/>
                      </a:lnTo>
                      <a:lnTo>
                        <a:pt x="18" y="836"/>
                      </a:lnTo>
                      <a:lnTo>
                        <a:pt x="18" y="836"/>
                      </a:lnTo>
                      <a:lnTo>
                        <a:pt x="17" y="836"/>
                      </a:lnTo>
                      <a:lnTo>
                        <a:pt x="16" y="836"/>
                      </a:lnTo>
                      <a:lnTo>
                        <a:pt x="15" y="836"/>
                      </a:lnTo>
                      <a:lnTo>
                        <a:pt x="15" y="836"/>
                      </a:lnTo>
                      <a:lnTo>
                        <a:pt x="14" y="836"/>
                      </a:lnTo>
                      <a:lnTo>
                        <a:pt x="13" y="835"/>
                      </a:lnTo>
                      <a:lnTo>
                        <a:pt x="13" y="834"/>
                      </a:lnTo>
                      <a:lnTo>
                        <a:pt x="13" y="834"/>
                      </a:lnTo>
                      <a:lnTo>
                        <a:pt x="13" y="833"/>
                      </a:lnTo>
                      <a:lnTo>
                        <a:pt x="14" y="832"/>
                      </a:lnTo>
                      <a:lnTo>
                        <a:pt x="15" y="831"/>
                      </a:lnTo>
                      <a:lnTo>
                        <a:pt x="15" y="830"/>
                      </a:lnTo>
                      <a:lnTo>
                        <a:pt x="15" y="830"/>
                      </a:lnTo>
                      <a:lnTo>
                        <a:pt x="16" y="829"/>
                      </a:lnTo>
                      <a:lnTo>
                        <a:pt x="17" y="828"/>
                      </a:lnTo>
                      <a:lnTo>
                        <a:pt x="18" y="828"/>
                      </a:lnTo>
                      <a:lnTo>
                        <a:pt x="19" y="827"/>
                      </a:lnTo>
                      <a:lnTo>
                        <a:pt x="20" y="827"/>
                      </a:lnTo>
                      <a:lnTo>
                        <a:pt x="21" y="826"/>
                      </a:lnTo>
                      <a:lnTo>
                        <a:pt x="22" y="825"/>
                      </a:lnTo>
                      <a:lnTo>
                        <a:pt x="23" y="824"/>
                      </a:lnTo>
                      <a:lnTo>
                        <a:pt x="24" y="823"/>
                      </a:lnTo>
                      <a:lnTo>
                        <a:pt x="24" y="823"/>
                      </a:lnTo>
                      <a:lnTo>
                        <a:pt x="24" y="821"/>
                      </a:lnTo>
                      <a:lnTo>
                        <a:pt x="24" y="821"/>
                      </a:lnTo>
                      <a:lnTo>
                        <a:pt x="24" y="819"/>
                      </a:lnTo>
                      <a:lnTo>
                        <a:pt x="24" y="817"/>
                      </a:lnTo>
                      <a:lnTo>
                        <a:pt x="24" y="817"/>
                      </a:lnTo>
                      <a:lnTo>
                        <a:pt x="23" y="815"/>
                      </a:lnTo>
                      <a:lnTo>
                        <a:pt x="23" y="814"/>
                      </a:lnTo>
                      <a:lnTo>
                        <a:pt x="22" y="814"/>
                      </a:lnTo>
                      <a:lnTo>
                        <a:pt x="22" y="814"/>
                      </a:lnTo>
                      <a:lnTo>
                        <a:pt x="21" y="814"/>
                      </a:lnTo>
                      <a:lnTo>
                        <a:pt x="20" y="813"/>
                      </a:lnTo>
                      <a:lnTo>
                        <a:pt x="20" y="813"/>
                      </a:lnTo>
                      <a:lnTo>
                        <a:pt x="21" y="812"/>
                      </a:lnTo>
                      <a:lnTo>
                        <a:pt x="22" y="811"/>
                      </a:lnTo>
                      <a:lnTo>
                        <a:pt x="22" y="811"/>
                      </a:lnTo>
                      <a:lnTo>
                        <a:pt x="23" y="811"/>
                      </a:lnTo>
                      <a:lnTo>
                        <a:pt x="24" y="810"/>
                      </a:lnTo>
                      <a:lnTo>
                        <a:pt x="24" y="810"/>
                      </a:lnTo>
                      <a:lnTo>
                        <a:pt x="25" y="810"/>
                      </a:lnTo>
                      <a:lnTo>
                        <a:pt x="26" y="809"/>
                      </a:lnTo>
                      <a:lnTo>
                        <a:pt x="26" y="808"/>
                      </a:lnTo>
                      <a:lnTo>
                        <a:pt x="26" y="808"/>
                      </a:lnTo>
                      <a:lnTo>
                        <a:pt x="26" y="806"/>
                      </a:lnTo>
                      <a:lnTo>
                        <a:pt x="25" y="806"/>
                      </a:lnTo>
                      <a:lnTo>
                        <a:pt x="24" y="805"/>
                      </a:lnTo>
                      <a:lnTo>
                        <a:pt x="24" y="804"/>
                      </a:lnTo>
                      <a:lnTo>
                        <a:pt x="23" y="804"/>
                      </a:lnTo>
                      <a:lnTo>
                        <a:pt x="23" y="803"/>
                      </a:lnTo>
                      <a:lnTo>
                        <a:pt x="24" y="802"/>
                      </a:lnTo>
                      <a:lnTo>
                        <a:pt x="24" y="802"/>
                      </a:lnTo>
                      <a:lnTo>
                        <a:pt x="24" y="801"/>
                      </a:lnTo>
                      <a:lnTo>
                        <a:pt x="25" y="801"/>
                      </a:lnTo>
                      <a:lnTo>
                        <a:pt x="26" y="801"/>
                      </a:lnTo>
                      <a:lnTo>
                        <a:pt x="26" y="801"/>
                      </a:lnTo>
                      <a:lnTo>
                        <a:pt x="28" y="801"/>
                      </a:lnTo>
                      <a:lnTo>
                        <a:pt x="29" y="801"/>
                      </a:lnTo>
                      <a:lnTo>
                        <a:pt x="30" y="802"/>
                      </a:lnTo>
                      <a:lnTo>
                        <a:pt x="31" y="802"/>
                      </a:lnTo>
                      <a:lnTo>
                        <a:pt x="31" y="802"/>
                      </a:lnTo>
                      <a:lnTo>
                        <a:pt x="31" y="803"/>
                      </a:lnTo>
                      <a:lnTo>
                        <a:pt x="31" y="804"/>
                      </a:lnTo>
                      <a:lnTo>
                        <a:pt x="30" y="804"/>
                      </a:lnTo>
                      <a:lnTo>
                        <a:pt x="30" y="805"/>
                      </a:lnTo>
                      <a:lnTo>
                        <a:pt x="29" y="806"/>
                      </a:lnTo>
                      <a:lnTo>
                        <a:pt x="29" y="807"/>
                      </a:lnTo>
                      <a:lnTo>
                        <a:pt x="30" y="808"/>
                      </a:lnTo>
                      <a:lnTo>
                        <a:pt x="30" y="808"/>
                      </a:lnTo>
                      <a:lnTo>
                        <a:pt x="30" y="808"/>
                      </a:lnTo>
                      <a:lnTo>
                        <a:pt x="32" y="809"/>
                      </a:lnTo>
                      <a:lnTo>
                        <a:pt x="32" y="809"/>
                      </a:lnTo>
                      <a:lnTo>
                        <a:pt x="33" y="809"/>
                      </a:lnTo>
                      <a:lnTo>
                        <a:pt x="34" y="808"/>
                      </a:lnTo>
                      <a:lnTo>
                        <a:pt x="34" y="808"/>
                      </a:lnTo>
                      <a:lnTo>
                        <a:pt x="34" y="806"/>
                      </a:lnTo>
                      <a:lnTo>
                        <a:pt x="34" y="806"/>
                      </a:lnTo>
                      <a:lnTo>
                        <a:pt x="35" y="805"/>
                      </a:lnTo>
                      <a:lnTo>
                        <a:pt x="35" y="804"/>
                      </a:lnTo>
                      <a:lnTo>
                        <a:pt x="36" y="804"/>
                      </a:lnTo>
                      <a:lnTo>
                        <a:pt x="35" y="802"/>
                      </a:lnTo>
                      <a:lnTo>
                        <a:pt x="35" y="802"/>
                      </a:lnTo>
                      <a:lnTo>
                        <a:pt x="34" y="801"/>
                      </a:lnTo>
                      <a:lnTo>
                        <a:pt x="34" y="801"/>
                      </a:lnTo>
                      <a:lnTo>
                        <a:pt x="33" y="800"/>
                      </a:lnTo>
                      <a:lnTo>
                        <a:pt x="32" y="800"/>
                      </a:lnTo>
                      <a:lnTo>
                        <a:pt x="33" y="799"/>
                      </a:lnTo>
                      <a:lnTo>
                        <a:pt x="33" y="798"/>
                      </a:lnTo>
                      <a:lnTo>
                        <a:pt x="33" y="798"/>
                      </a:lnTo>
                      <a:lnTo>
                        <a:pt x="34" y="798"/>
                      </a:lnTo>
                      <a:lnTo>
                        <a:pt x="34" y="798"/>
                      </a:lnTo>
                      <a:lnTo>
                        <a:pt x="36" y="797"/>
                      </a:lnTo>
                      <a:lnTo>
                        <a:pt x="37" y="797"/>
                      </a:lnTo>
                      <a:lnTo>
                        <a:pt x="38" y="797"/>
                      </a:lnTo>
                      <a:lnTo>
                        <a:pt x="39" y="796"/>
                      </a:lnTo>
                      <a:lnTo>
                        <a:pt x="39" y="796"/>
                      </a:lnTo>
                      <a:lnTo>
                        <a:pt x="39" y="796"/>
                      </a:lnTo>
                      <a:lnTo>
                        <a:pt x="39" y="795"/>
                      </a:lnTo>
                      <a:lnTo>
                        <a:pt x="39" y="794"/>
                      </a:lnTo>
                      <a:lnTo>
                        <a:pt x="38" y="794"/>
                      </a:lnTo>
                      <a:lnTo>
                        <a:pt x="37" y="794"/>
                      </a:lnTo>
                      <a:lnTo>
                        <a:pt x="37" y="794"/>
                      </a:lnTo>
                      <a:lnTo>
                        <a:pt x="36" y="795"/>
                      </a:lnTo>
                      <a:lnTo>
                        <a:pt x="35" y="795"/>
                      </a:lnTo>
                      <a:lnTo>
                        <a:pt x="34" y="796"/>
                      </a:lnTo>
                      <a:lnTo>
                        <a:pt x="34" y="796"/>
                      </a:lnTo>
                      <a:lnTo>
                        <a:pt x="33" y="796"/>
                      </a:lnTo>
                      <a:lnTo>
                        <a:pt x="33" y="795"/>
                      </a:lnTo>
                      <a:lnTo>
                        <a:pt x="32" y="795"/>
                      </a:lnTo>
                      <a:lnTo>
                        <a:pt x="32" y="794"/>
                      </a:lnTo>
                      <a:lnTo>
                        <a:pt x="32" y="794"/>
                      </a:lnTo>
                      <a:lnTo>
                        <a:pt x="33" y="793"/>
                      </a:lnTo>
                      <a:lnTo>
                        <a:pt x="34" y="792"/>
                      </a:lnTo>
                      <a:lnTo>
                        <a:pt x="34" y="792"/>
                      </a:lnTo>
                      <a:lnTo>
                        <a:pt x="35" y="791"/>
                      </a:lnTo>
                      <a:lnTo>
                        <a:pt x="36" y="791"/>
                      </a:lnTo>
                      <a:lnTo>
                        <a:pt x="37" y="791"/>
                      </a:lnTo>
                      <a:lnTo>
                        <a:pt x="37" y="792"/>
                      </a:lnTo>
                      <a:lnTo>
                        <a:pt x="38" y="792"/>
                      </a:lnTo>
                      <a:lnTo>
                        <a:pt x="39" y="792"/>
                      </a:lnTo>
                      <a:lnTo>
                        <a:pt x="39" y="793"/>
                      </a:lnTo>
                      <a:lnTo>
                        <a:pt x="40" y="794"/>
                      </a:lnTo>
                      <a:lnTo>
                        <a:pt x="41" y="794"/>
                      </a:lnTo>
                      <a:lnTo>
                        <a:pt x="41" y="794"/>
                      </a:lnTo>
                      <a:lnTo>
                        <a:pt x="42" y="794"/>
                      </a:lnTo>
                      <a:lnTo>
                        <a:pt x="43" y="793"/>
                      </a:lnTo>
                      <a:lnTo>
                        <a:pt x="43" y="792"/>
                      </a:lnTo>
                      <a:lnTo>
                        <a:pt x="43" y="792"/>
                      </a:lnTo>
                      <a:lnTo>
                        <a:pt x="43" y="791"/>
                      </a:lnTo>
                      <a:lnTo>
                        <a:pt x="42" y="790"/>
                      </a:lnTo>
                      <a:lnTo>
                        <a:pt x="42" y="790"/>
                      </a:lnTo>
                      <a:lnTo>
                        <a:pt x="41" y="789"/>
                      </a:lnTo>
                      <a:lnTo>
                        <a:pt x="41" y="788"/>
                      </a:lnTo>
                      <a:lnTo>
                        <a:pt x="40" y="787"/>
                      </a:lnTo>
                      <a:lnTo>
                        <a:pt x="39" y="787"/>
                      </a:lnTo>
                      <a:lnTo>
                        <a:pt x="39" y="786"/>
                      </a:lnTo>
                      <a:lnTo>
                        <a:pt x="39" y="785"/>
                      </a:lnTo>
                      <a:lnTo>
                        <a:pt x="39" y="785"/>
                      </a:lnTo>
                      <a:lnTo>
                        <a:pt x="39" y="784"/>
                      </a:lnTo>
                      <a:lnTo>
                        <a:pt x="39" y="783"/>
                      </a:lnTo>
                      <a:lnTo>
                        <a:pt x="40" y="783"/>
                      </a:lnTo>
                      <a:lnTo>
                        <a:pt x="41" y="783"/>
                      </a:lnTo>
                      <a:lnTo>
                        <a:pt x="41" y="782"/>
                      </a:lnTo>
                      <a:lnTo>
                        <a:pt x="42" y="782"/>
                      </a:lnTo>
                      <a:lnTo>
                        <a:pt x="42" y="781"/>
                      </a:lnTo>
                      <a:lnTo>
                        <a:pt x="41" y="781"/>
                      </a:lnTo>
                      <a:lnTo>
                        <a:pt x="41" y="780"/>
                      </a:lnTo>
                      <a:lnTo>
                        <a:pt x="41" y="780"/>
                      </a:lnTo>
                      <a:lnTo>
                        <a:pt x="39" y="780"/>
                      </a:lnTo>
                      <a:lnTo>
                        <a:pt x="39" y="780"/>
                      </a:lnTo>
                      <a:lnTo>
                        <a:pt x="38" y="779"/>
                      </a:lnTo>
                      <a:lnTo>
                        <a:pt x="37" y="779"/>
                      </a:lnTo>
                      <a:lnTo>
                        <a:pt x="37" y="779"/>
                      </a:lnTo>
                      <a:lnTo>
                        <a:pt x="36" y="779"/>
                      </a:lnTo>
                      <a:lnTo>
                        <a:pt x="36" y="778"/>
                      </a:lnTo>
                      <a:lnTo>
                        <a:pt x="36" y="777"/>
                      </a:lnTo>
                      <a:lnTo>
                        <a:pt x="37" y="777"/>
                      </a:lnTo>
                      <a:lnTo>
                        <a:pt x="37" y="777"/>
                      </a:lnTo>
                      <a:lnTo>
                        <a:pt x="37" y="776"/>
                      </a:lnTo>
                      <a:lnTo>
                        <a:pt x="39" y="776"/>
                      </a:lnTo>
                      <a:lnTo>
                        <a:pt x="39" y="776"/>
                      </a:lnTo>
                      <a:lnTo>
                        <a:pt x="40" y="776"/>
                      </a:lnTo>
                      <a:lnTo>
                        <a:pt x="41" y="775"/>
                      </a:lnTo>
                      <a:lnTo>
                        <a:pt x="41" y="775"/>
                      </a:lnTo>
                      <a:lnTo>
                        <a:pt x="42" y="774"/>
                      </a:lnTo>
                      <a:lnTo>
                        <a:pt x="42" y="773"/>
                      </a:lnTo>
                      <a:lnTo>
                        <a:pt x="43" y="773"/>
                      </a:lnTo>
                      <a:lnTo>
                        <a:pt x="43" y="772"/>
                      </a:lnTo>
                      <a:lnTo>
                        <a:pt x="44" y="771"/>
                      </a:lnTo>
                      <a:lnTo>
                        <a:pt x="45" y="770"/>
                      </a:lnTo>
                      <a:lnTo>
                        <a:pt x="45" y="769"/>
                      </a:lnTo>
                      <a:lnTo>
                        <a:pt x="46" y="768"/>
                      </a:lnTo>
                      <a:lnTo>
                        <a:pt x="46" y="768"/>
                      </a:lnTo>
                      <a:lnTo>
                        <a:pt x="47" y="767"/>
                      </a:lnTo>
                      <a:lnTo>
                        <a:pt x="47" y="766"/>
                      </a:lnTo>
                      <a:lnTo>
                        <a:pt x="47" y="766"/>
                      </a:lnTo>
                      <a:lnTo>
                        <a:pt x="46" y="765"/>
                      </a:lnTo>
                      <a:lnTo>
                        <a:pt x="45" y="765"/>
                      </a:lnTo>
                      <a:lnTo>
                        <a:pt x="45" y="765"/>
                      </a:lnTo>
                      <a:lnTo>
                        <a:pt x="44" y="765"/>
                      </a:lnTo>
                      <a:lnTo>
                        <a:pt x="43" y="766"/>
                      </a:lnTo>
                      <a:lnTo>
                        <a:pt x="43" y="766"/>
                      </a:lnTo>
                      <a:lnTo>
                        <a:pt x="42" y="766"/>
                      </a:lnTo>
                      <a:lnTo>
                        <a:pt x="41" y="766"/>
                      </a:lnTo>
                      <a:lnTo>
                        <a:pt x="41" y="766"/>
                      </a:lnTo>
                      <a:lnTo>
                        <a:pt x="39" y="767"/>
                      </a:lnTo>
                      <a:lnTo>
                        <a:pt x="39" y="767"/>
                      </a:lnTo>
                      <a:lnTo>
                        <a:pt x="37" y="767"/>
                      </a:lnTo>
                      <a:lnTo>
                        <a:pt x="37" y="766"/>
                      </a:lnTo>
                      <a:lnTo>
                        <a:pt x="37" y="766"/>
                      </a:lnTo>
                      <a:lnTo>
                        <a:pt x="37" y="765"/>
                      </a:lnTo>
                      <a:lnTo>
                        <a:pt x="37" y="764"/>
                      </a:lnTo>
                      <a:lnTo>
                        <a:pt x="38" y="764"/>
                      </a:lnTo>
                      <a:lnTo>
                        <a:pt x="39" y="764"/>
                      </a:lnTo>
                      <a:lnTo>
                        <a:pt x="39" y="763"/>
                      </a:lnTo>
                      <a:lnTo>
                        <a:pt x="39" y="762"/>
                      </a:lnTo>
                      <a:lnTo>
                        <a:pt x="39" y="762"/>
                      </a:lnTo>
                      <a:lnTo>
                        <a:pt x="38" y="762"/>
                      </a:lnTo>
                      <a:lnTo>
                        <a:pt x="38" y="761"/>
                      </a:lnTo>
                      <a:lnTo>
                        <a:pt x="37" y="761"/>
                      </a:lnTo>
                      <a:lnTo>
                        <a:pt x="36" y="762"/>
                      </a:lnTo>
                      <a:lnTo>
                        <a:pt x="35" y="762"/>
                      </a:lnTo>
                      <a:lnTo>
                        <a:pt x="34" y="761"/>
                      </a:lnTo>
                      <a:lnTo>
                        <a:pt x="34" y="761"/>
                      </a:lnTo>
                      <a:lnTo>
                        <a:pt x="34" y="760"/>
                      </a:lnTo>
                      <a:lnTo>
                        <a:pt x="33" y="760"/>
                      </a:lnTo>
                      <a:lnTo>
                        <a:pt x="33" y="759"/>
                      </a:lnTo>
                      <a:lnTo>
                        <a:pt x="34" y="758"/>
                      </a:lnTo>
                      <a:lnTo>
                        <a:pt x="34" y="758"/>
                      </a:lnTo>
                      <a:lnTo>
                        <a:pt x="34" y="758"/>
                      </a:lnTo>
                      <a:lnTo>
                        <a:pt x="35" y="758"/>
                      </a:lnTo>
                      <a:lnTo>
                        <a:pt x="36" y="758"/>
                      </a:lnTo>
                      <a:lnTo>
                        <a:pt x="36" y="758"/>
                      </a:lnTo>
                      <a:lnTo>
                        <a:pt x="37" y="758"/>
                      </a:lnTo>
                      <a:lnTo>
                        <a:pt x="37" y="758"/>
                      </a:lnTo>
                      <a:lnTo>
                        <a:pt x="39" y="759"/>
                      </a:lnTo>
                      <a:lnTo>
                        <a:pt x="39" y="760"/>
                      </a:lnTo>
                      <a:lnTo>
                        <a:pt x="41" y="760"/>
                      </a:lnTo>
                      <a:lnTo>
                        <a:pt x="41" y="760"/>
                      </a:lnTo>
                      <a:lnTo>
                        <a:pt x="41" y="761"/>
                      </a:lnTo>
                      <a:lnTo>
                        <a:pt x="41" y="762"/>
                      </a:lnTo>
                      <a:lnTo>
                        <a:pt x="41" y="762"/>
                      </a:lnTo>
                      <a:lnTo>
                        <a:pt x="41" y="763"/>
                      </a:lnTo>
                      <a:lnTo>
                        <a:pt x="42" y="763"/>
                      </a:lnTo>
                      <a:lnTo>
                        <a:pt x="42" y="764"/>
                      </a:lnTo>
                      <a:lnTo>
                        <a:pt x="43" y="764"/>
                      </a:lnTo>
                      <a:lnTo>
                        <a:pt x="43" y="763"/>
                      </a:lnTo>
                      <a:lnTo>
                        <a:pt x="43" y="763"/>
                      </a:lnTo>
                      <a:lnTo>
                        <a:pt x="43" y="762"/>
                      </a:lnTo>
                      <a:lnTo>
                        <a:pt x="44" y="762"/>
                      </a:lnTo>
                      <a:lnTo>
                        <a:pt x="45" y="762"/>
                      </a:lnTo>
                      <a:lnTo>
                        <a:pt x="45" y="761"/>
                      </a:lnTo>
                      <a:lnTo>
                        <a:pt x="45" y="760"/>
                      </a:lnTo>
                      <a:lnTo>
                        <a:pt x="44" y="760"/>
                      </a:lnTo>
                      <a:lnTo>
                        <a:pt x="44" y="758"/>
                      </a:lnTo>
                      <a:lnTo>
                        <a:pt x="44" y="758"/>
                      </a:lnTo>
                      <a:lnTo>
                        <a:pt x="44" y="756"/>
                      </a:lnTo>
                      <a:lnTo>
                        <a:pt x="45" y="756"/>
                      </a:lnTo>
                      <a:lnTo>
                        <a:pt x="45" y="756"/>
                      </a:lnTo>
                      <a:lnTo>
                        <a:pt x="45" y="755"/>
                      </a:lnTo>
                      <a:lnTo>
                        <a:pt x="46" y="754"/>
                      </a:lnTo>
                      <a:lnTo>
                        <a:pt x="47" y="754"/>
                      </a:lnTo>
                      <a:lnTo>
                        <a:pt x="47" y="754"/>
                      </a:lnTo>
                      <a:lnTo>
                        <a:pt x="48" y="754"/>
                      </a:lnTo>
                      <a:lnTo>
                        <a:pt x="49" y="754"/>
                      </a:lnTo>
                      <a:lnTo>
                        <a:pt x="49" y="754"/>
                      </a:lnTo>
                      <a:lnTo>
                        <a:pt x="49" y="753"/>
                      </a:lnTo>
                      <a:lnTo>
                        <a:pt x="49" y="752"/>
                      </a:lnTo>
                      <a:lnTo>
                        <a:pt x="50" y="752"/>
                      </a:lnTo>
                      <a:lnTo>
                        <a:pt x="49" y="751"/>
                      </a:lnTo>
                      <a:lnTo>
                        <a:pt x="49" y="750"/>
                      </a:lnTo>
                      <a:lnTo>
                        <a:pt x="48" y="750"/>
                      </a:lnTo>
                      <a:lnTo>
                        <a:pt x="47" y="750"/>
                      </a:lnTo>
                      <a:lnTo>
                        <a:pt x="47" y="751"/>
                      </a:lnTo>
                      <a:lnTo>
                        <a:pt x="46" y="751"/>
                      </a:lnTo>
                      <a:lnTo>
                        <a:pt x="44" y="752"/>
                      </a:lnTo>
                      <a:lnTo>
                        <a:pt x="43" y="752"/>
                      </a:lnTo>
                      <a:lnTo>
                        <a:pt x="43" y="753"/>
                      </a:lnTo>
                      <a:lnTo>
                        <a:pt x="42" y="753"/>
                      </a:lnTo>
                      <a:lnTo>
                        <a:pt x="41" y="753"/>
                      </a:lnTo>
                      <a:lnTo>
                        <a:pt x="41" y="752"/>
                      </a:lnTo>
                      <a:lnTo>
                        <a:pt x="41" y="752"/>
                      </a:lnTo>
                      <a:lnTo>
                        <a:pt x="41" y="751"/>
                      </a:lnTo>
                      <a:lnTo>
                        <a:pt x="41" y="750"/>
                      </a:lnTo>
                      <a:lnTo>
                        <a:pt x="41" y="749"/>
                      </a:lnTo>
                      <a:lnTo>
                        <a:pt x="42" y="749"/>
                      </a:lnTo>
                      <a:lnTo>
                        <a:pt x="43" y="748"/>
                      </a:lnTo>
                      <a:lnTo>
                        <a:pt x="45" y="747"/>
                      </a:lnTo>
                      <a:lnTo>
                        <a:pt x="46" y="747"/>
                      </a:lnTo>
                      <a:lnTo>
                        <a:pt x="47" y="747"/>
                      </a:lnTo>
                      <a:lnTo>
                        <a:pt x="48" y="746"/>
                      </a:lnTo>
                      <a:lnTo>
                        <a:pt x="49" y="746"/>
                      </a:lnTo>
                      <a:lnTo>
                        <a:pt x="49" y="745"/>
                      </a:lnTo>
                      <a:lnTo>
                        <a:pt x="49" y="745"/>
                      </a:lnTo>
                      <a:lnTo>
                        <a:pt x="49" y="745"/>
                      </a:lnTo>
                      <a:lnTo>
                        <a:pt x="49" y="744"/>
                      </a:lnTo>
                      <a:lnTo>
                        <a:pt x="48" y="744"/>
                      </a:lnTo>
                      <a:lnTo>
                        <a:pt x="47" y="743"/>
                      </a:lnTo>
                      <a:lnTo>
                        <a:pt x="47" y="743"/>
                      </a:lnTo>
                      <a:lnTo>
                        <a:pt x="46" y="743"/>
                      </a:lnTo>
                      <a:lnTo>
                        <a:pt x="45" y="743"/>
                      </a:lnTo>
                      <a:lnTo>
                        <a:pt x="45" y="743"/>
                      </a:lnTo>
                      <a:lnTo>
                        <a:pt x="44" y="743"/>
                      </a:lnTo>
                      <a:lnTo>
                        <a:pt x="43" y="743"/>
                      </a:lnTo>
                      <a:lnTo>
                        <a:pt x="42" y="743"/>
                      </a:lnTo>
                      <a:lnTo>
                        <a:pt x="41" y="743"/>
                      </a:lnTo>
                      <a:lnTo>
                        <a:pt x="41" y="743"/>
                      </a:lnTo>
                      <a:lnTo>
                        <a:pt x="40" y="743"/>
                      </a:lnTo>
                      <a:lnTo>
                        <a:pt x="39" y="744"/>
                      </a:lnTo>
                      <a:lnTo>
                        <a:pt x="39" y="745"/>
                      </a:lnTo>
                      <a:lnTo>
                        <a:pt x="39" y="745"/>
                      </a:lnTo>
                      <a:lnTo>
                        <a:pt x="38" y="745"/>
                      </a:lnTo>
                      <a:lnTo>
                        <a:pt x="38" y="745"/>
                      </a:lnTo>
                      <a:lnTo>
                        <a:pt x="37" y="745"/>
                      </a:lnTo>
                      <a:lnTo>
                        <a:pt x="37" y="744"/>
                      </a:lnTo>
                      <a:lnTo>
                        <a:pt x="37" y="743"/>
                      </a:lnTo>
                      <a:lnTo>
                        <a:pt x="37" y="743"/>
                      </a:lnTo>
                      <a:lnTo>
                        <a:pt x="37" y="742"/>
                      </a:lnTo>
                      <a:lnTo>
                        <a:pt x="38" y="741"/>
                      </a:lnTo>
                      <a:lnTo>
                        <a:pt x="39" y="741"/>
                      </a:lnTo>
                      <a:lnTo>
                        <a:pt x="39" y="740"/>
                      </a:lnTo>
                      <a:lnTo>
                        <a:pt x="39" y="740"/>
                      </a:lnTo>
                      <a:lnTo>
                        <a:pt x="39" y="739"/>
                      </a:lnTo>
                      <a:lnTo>
                        <a:pt x="40" y="739"/>
                      </a:lnTo>
                      <a:lnTo>
                        <a:pt x="41" y="739"/>
                      </a:lnTo>
                      <a:lnTo>
                        <a:pt x="41" y="738"/>
                      </a:lnTo>
                      <a:lnTo>
                        <a:pt x="41" y="737"/>
                      </a:lnTo>
                      <a:lnTo>
                        <a:pt x="41" y="737"/>
                      </a:lnTo>
                      <a:lnTo>
                        <a:pt x="42" y="737"/>
                      </a:lnTo>
                      <a:lnTo>
                        <a:pt x="42" y="736"/>
                      </a:lnTo>
                      <a:lnTo>
                        <a:pt x="43" y="736"/>
                      </a:lnTo>
                      <a:lnTo>
                        <a:pt x="43" y="736"/>
                      </a:lnTo>
                      <a:lnTo>
                        <a:pt x="44" y="735"/>
                      </a:lnTo>
                      <a:lnTo>
                        <a:pt x="45" y="735"/>
                      </a:lnTo>
                      <a:lnTo>
                        <a:pt x="44" y="734"/>
                      </a:lnTo>
                      <a:lnTo>
                        <a:pt x="44" y="733"/>
                      </a:lnTo>
                      <a:lnTo>
                        <a:pt x="44" y="733"/>
                      </a:lnTo>
                      <a:lnTo>
                        <a:pt x="44" y="732"/>
                      </a:lnTo>
                      <a:lnTo>
                        <a:pt x="44" y="731"/>
                      </a:lnTo>
                      <a:lnTo>
                        <a:pt x="44" y="731"/>
                      </a:lnTo>
                      <a:lnTo>
                        <a:pt x="43" y="731"/>
                      </a:lnTo>
                      <a:lnTo>
                        <a:pt x="43" y="731"/>
                      </a:lnTo>
                      <a:lnTo>
                        <a:pt x="42" y="731"/>
                      </a:lnTo>
                      <a:lnTo>
                        <a:pt x="41" y="731"/>
                      </a:lnTo>
                      <a:lnTo>
                        <a:pt x="41" y="730"/>
                      </a:lnTo>
                      <a:lnTo>
                        <a:pt x="41" y="729"/>
                      </a:lnTo>
                      <a:lnTo>
                        <a:pt x="41" y="728"/>
                      </a:lnTo>
                      <a:lnTo>
                        <a:pt x="42" y="727"/>
                      </a:lnTo>
                      <a:lnTo>
                        <a:pt x="43" y="726"/>
                      </a:lnTo>
                      <a:lnTo>
                        <a:pt x="43" y="725"/>
                      </a:lnTo>
                      <a:lnTo>
                        <a:pt x="43" y="723"/>
                      </a:lnTo>
                      <a:lnTo>
                        <a:pt x="43" y="722"/>
                      </a:lnTo>
                      <a:lnTo>
                        <a:pt x="43" y="722"/>
                      </a:lnTo>
                      <a:lnTo>
                        <a:pt x="43" y="721"/>
                      </a:lnTo>
                      <a:lnTo>
                        <a:pt x="42" y="721"/>
                      </a:lnTo>
                      <a:lnTo>
                        <a:pt x="41" y="720"/>
                      </a:lnTo>
                      <a:lnTo>
                        <a:pt x="39" y="720"/>
                      </a:lnTo>
                      <a:lnTo>
                        <a:pt x="39" y="720"/>
                      </a:lnTo>
                      <a:lnTo>
                        <a:pt x="38" y="719"/>
                      </a:lnTo>
                      <a:lnTo>
                        <a:pt x="37" y="719"/>
                      </a:lnTo>
                      <a:lnTo>
                        <a:pt x="36" y="718"/>
                      </a:lnTo>
                      <a:lnTo>
                        <a:pt x="34" y="718"/>
                      </a:lnTo>
                      <a:lnTo>
                        <a:pt x="34" y="717"/>
                      </a:lnTo>
                      <a:lnTo>
                        <a:pt x="33" y="717"/>
                      </a:lnTo>
                      <a:lnTo>
                        <a:pt x="33" y="716"/>
                      </a:lnTo>
                      <a:lnTo>
                        <a:pt x="33" y="716"/>
                      </a:lnTo>
                      <a:lnTo>
                        <a:pt x="34" y="715"/>
                      </a:lnTo>
                      <a:lnTo>
                        <a:pt x="34" y="714"/>
                      </a:lnTo>
                      <a:lnTo>
                        <a:pt x="35" y="714"/>
                      </a:lnTo>
                      <a:lnTo>
                        <a:pt x="35" y="714"/>
                      </a:lnTo>
                      <a:lnTo>
                        <a:pt x="36" y="713"/>
                      </a:lnTo>
                      <a:lnTo>
                        <a:pt x="36" y="712"/>
                      </a:lnTo>
                      <a:lnTo>
                        <a:pt x="37" y="712"/>
                      </a:lnTo>
                      <a:lnTo>
                        <a:pt x="37" y="712"/>
                      </a:lnTo>
                      <a:lnTo>
                        <a:pt x="37" y="712"/>
                      </a:lnTo>
                      <a:lnTo>
                        <a:pt x="38" y="712"/>
                      </a:lnTo>
                      <a:lnTo>
                        <a:pt x="37" y="713"/>
                      </a:lnTo>
                      <a:lnTo>
                        <a:pt x="37" y="714"/>
                      </a:lnTo>
                      <a:lnTo>
                        <a:pt x="37" y="714"/>
                      </a:lnTo>
                      <a:lnTo>
                        <a:pt x="37" y="715"/>
                      </a:lnTo>
                      <a:lnTo>
                        <a:pt x="37" y="716"/>
                      </a:lnTo>
                      <a:lnTo>
                        <a:pt x="38" y="716"/>
                      </a:lnTo>
                      <a:lnTo>
                        <a:pt x="39" y="716"/>
                      </a:lnTo>
                      <a:lnTo>
                        <a:pt x="39" y="716"/>
                      </a:lnTo>
                      <a:lnTo>
                        <a:pt x="40" y="715"/>
                      </a:lnTo>
                      <a:lnTo>
                        <a:pt x="40" y="714"/>
                      </a:lnTo>
                      <a:lnTo>
                        <a:pt x="40" y="714"/>
                      </a:lnTo>
                      <a:lnTo>
                        <a:pt x="40" y="713"/>
                      </a:lnTo>
                      <a:lnTo>
                        <a:pt x="40" y="712"/>
                      </a:lnTo>
                      <a:lnTo>
                        <a:pt x="40" y="712"/>
                      </a:lnTo>
                      <a:lnTo>
                        <a:pt x="41" y="711"/>
                      </a:lnTo>
                      <a:lnTo>
                        <a:pt x="41" y="710"/>
                      </a:lnTo>
                      <a:lnTo>
                        <a:pt x="41" y="709"/>
                      </a:lnTo>
                      <a:lnTo>
                        <a:pt x="42" y="707"/>
                      </a:lnTo>
                      <a:lnTo>
                        <a:pt x="42" y="706"/>
                      </a:lnTo>
                      <a:lnTo>
                        <a:pt x="42" y="705"/>
                      </a:lnTo>
                      <a:lnTo>
                        <a:pt x="42" y="705"/>
                      </a:lnTo>
                      <a:lnTo>
                        <a:pt x="42" y="704"/>
                      </a:lnTo>
                      <a:lnTo>
                        <a:pt x="42" y="703"/>
                      </a:lnTo>
                      <a:lnTo>
                        <a:pt x="41" y="703"/>
                      </a:lnTo>
                      <a:lnTo>
                        <a:pt x="41" y="702"/>
                      </a:lnTo>
                      <a:lnTo>
                        <a:pt x="41" y="702"/>
                      </a:lnTo>
                      <a:lnTo>
                        <a:pt x="40" y="701"/>
                      </a:lnTo>
                      <a:lnTo>
                        <a:pt x="39" y="701"/>
                      </a:lnTo>
                      <a:lnTo>
                        <a:pt x="39" y="701"/>
                      </a:lnTo>
                      <a:lnTo>
                        <a:pt x="39" y="700"/>
                      </a:lnTo>
                      <a:lnTo>
                        <a:pt x="39" y="699"/>
                      </a:lnTo>
                      <a:lnTo>
                        <a:pt x="40" y="699"/>
                      </a:lnTo>
                      <a:lnTo>
                        <a:pt x="41" y="699"/>
                      </a:lnTo>
                      <a:lnTo>
                        <a:pt x="41" y="699"/>
                      </a:lnTo>
                      <a:lnTo>
                        <a:pt x="42" y="698"/>
                      </a:lnTo>
                      <a:lnTo>
                        <a:pt x="42" y="697"/>
                      </a:lnTo>
                      <a:lnTo>
                        <a:pt x="43" y="697"/>
                      </a:lnTo>
                      <a:lnTo>
                        <a:pt x="43" y="696"/>
                      </a:lnTo>
                      <a:lnTo>
                        <a:pt x="43" y="695"/>
                      </a:lnTo>
                      <a:lnTo>
                        <a:pt x="43" y="695"/>
                      </a:lnTo>
                      <a:lnTo>
                        <a:pt x="43" y="694"/>
                      </a:lnTo>
                      <a:lnTo>
                        <a:pt x="44" y="694"/>
                      </a:lnTo>
                      <a:lnTo>
                        <a:pt x="44" y="693"/>
                      </a:lnTo>
                      <a:lnTo>
                        <a:pt x="45" y="693"/>
                      </a:lnTo>
                      <a:lnTo>
                        <a:pt x="44" y="693"/>
                      </a:lnTo>
                      <a:lnTo>
                        <a:pt x="44" y="692"/>
                      </a:lnTo>
                      <a:lnTo>
                        <a:pt x="43" y="692"/>
                      </a:lnTo>
                      <a:lnTo>
                        <a:pt x="43" y="692"/>
                      </a:lnTo>
                      <a:lnTo>
                        <a:pt x="42" y="693"/>
                      </a:lnTo>
                      <a:lnTo>
                        <a:pt x="41" y="693"/>
                      </a:lnTo>
                      <a:lnTo>
                        <a:pt x="41" y="693"/>
                      </a:lnTo>
                      <a:lnTo>
                        <a:pt x="40" y="694"/>
                      </a:lnTo>
                      <a:lnTo>
                        <a:pt x="39" y="695"/>
                      </a:lnTo>
                      <a:lnTo>
                        <a:pt x="39" y="695"/>
                      </a:lnTo>
                      <a:lnTo>
                        <a:pt x="39" y="696"/>
                      </a:lnTo>
                      <a:lnTo>
                        <a:pt x="39" y="697"/>
                      </a:lnTo>
                      <a:lnTo>
                        <a:pt x="39" y="697"/>
                      </a:lnTo>
                      <a:lnTo>
                        <a:pt x="39" y="698"/>
                      </a:lnTo>
                      <a:lnTo>
                        <a:pt x="38" y="698"/>
                      </a:lnTo>
                      <a:lnTo>
                        <a:pt x="37" y="697"/>
                      </a:lnTo>
                      <a:lnTo>
                        <a:pt x="37" y="697"/>
                      </a:lnTo>
                      <a:lnTo>
                        <a:pt x="36" y="697"/>
                      </a:lnTo>
                      <a:lnTo>
                        <a:pt x="35" y="696"/>
                      </a:lnTo>
                      <a:lnTo>
                        <a:pt x="35" y="695"/>
                      </a:lnTo>
                      <a:lnTo>
                        <a:pt x="35" y="695"/>
                      </a:lnTo>
                      <a:lnTo>
                        <a:pt x="36" y="694"/>
                      </a:lnTo>
                      <a:lnTo>
                        <a:pt x="37" y="694"/>
                      </a:lnTo>
                      <a:lnTo>
                        <a:pt x="37" y="693"/>
                      </a:lnTo>
                      <a:lnTo>
                        <a:pt x="38" y="693"/>
                      </a:lnTo>
                      <a:lnTo>
                        <a:pt x="38" y="693"/>
                      </a:lnTo>
                      <a:lnTo>
                        <a:pt x="38" y="692"/>
                      </a:lnTo>
                      <a:lnTo>
                        <a:pt x="38" y="691"/>
                      </a:lnTo>
                      <a:lnTo>
                        <a:pt x="37" y="691"/>
                      </a:lnTo>
                      <a:lnTo>
                        <a:pt x="37" y="690"/>
                      </a:lnTo>
                      <a:lnTo>
                        <a:pt x="35" y="690"/>
                      </a:lnTo>
                      <a:lnTo>
                        <a:pt x="34" y="690"/>
                      </a:lnTo>
                      <a:lnTo>
                        <a:pt x="34" y="690"/>
                      </a:lnTo>
                      <a:lnTo>
                        <a:pt x="33" y="690"/>
                      </a:lnTo>
                      <a:lnTo>
                        <a:pt x="32" y="690"/>
                      </a:lnTo>
                      <a:lnTo>
                        <a:pt x="32" y="690"/>
                      </a:lnTo>
                      <a:lnTo>
                        <a:pt x="31" y="689"/>
                      </a:lnTo>
                      <a:lnTo>
                        <a:pt x="30" y="688"/>
                      </a:lnTo>
                      <a:lnTo>
                        <a:pt x="30" y="688"/>
                      </a:lnTo>
                      <a:lnTo>
                        <a:pt x="29" y="688"/>
                      </a:lnTo>
                      <a:lnTo>
                        <a:pt x="28" y="688"/>
                      </a:lnTo>
                      <a:lnTo>
                        <a:pt x="28" y="688"/>
                      </a:lnTo>
                      <a:lnTo>
                        <a:pt x="28" y="688"/>
                      </a:lnTo>
                      <a:lnTo>
                        <a:pt x="28" y="687"/>
                      </a:lnTo>
                      <a:lnTo>
                        <a:pt x="29" y="686"/>
                      </a:lnTo>
                      <a:lnTo>
                        <a:pt x="30" y="685"/>
                      </a:lnTo>
                      <a:lnTo>
                        <a:pt x="31" y="684"/>
                      </a:lnTo>
                      <a:lnTo>
                        <a:pt x="32" y="684"/>
                      </a:lnTo>
                      <a:lnTo>
                        <a:pt x="33" y="684"/>
                      </a:lnTo>
                      <a:lnTo>
                        <a:pt x="34" y="685"/>
                      </a:lnTo>
                      <a:lnTo>
                        <a:pt x="34" y="686"/>
                      </a:lnTo>
                      <a:lnTo>
                        <a:pt x="34" y="686"/>
                      </a:lnTo>
                      <a:lnTo>
                        <a:pt x="34" y="687"/>
                      </a:lnTo>
                      <a:lnTo>
                        <a:pt x="34" y="688"/>
                      </a:lnTo>
                      <a:lnTo>
                        <a:pt x="34" y="689"/>
                      </a:lnTo>
                      <a:lnTo>
                        <a:pt x="35" y="690"/>
                      </a:lnTo>
                      <a:lnTo>
                        <a:pt x="36" y="690"/>
                      </a:lnTo>
                      <a:lnTo>
                        <a:pt x="37" y="690"/>
                      </a:lnTo>
                      <a:lnTo>
                        <a:pt x="37" y="689"/>
                      </a:lnTo>
                      <a:lnTo>
                        <a:pt x="37" y="689"/>
                      </a:lnTo>
                      <a:lnTo>
                        <a:pt x="37" y="688"/>
                      </a:lnTo>
                      <a:lnTo>
                        <a:pt x="38" y="688"/>
                      </a:lnTo>
                      <a:lnTo>
                        <a:pt x="37" y="687"/>
                      </a:lnTo>
                      <a:lnTo>
                        <a:pt x="37" y="686"/>
                      </a:lnTo>
                      <a:lnTo>
                        <a:pt x="37" y="686"/>
                      </a:lnTo>
                      <a:lnTo>
                        <a:pt x="37" y="685"/>
                      </a:lnTo>
                      <a:lnTo>
                        <a:pt x="36" y="684"/>
                      </a:lnTo>
                      <a:lnTo>
                        <a:pt x="37" y="684"/>
                      </a:lnTo>
                      <a:lnTo>
                        <a:pt x="37" y="682"/>
                      </a:lnTo>
                      <a:lnTo>
                        <a:pt x="37" y="682"/>
                      </a:lnTo>
                      <a:lnTo>
                        <a:pt x="37" y="681"/>
                      </a:lnTo>
                      <a:lnTo>
                        <a:pt x="36" y="681"/>
                      </a:lnTo>
                      <a:lnTo>
                        <a:pt x="35" y="681"/>
                      </a:lnTo>
                      <a:lnTo>
                        <a:pt x="34" y="682"/>
                      </a:lnTo>
                      <a:lnTo>
                        <a:pt x="34" y="682"/>
                      </a:lnTo>
                      <a:lnTo>
                        <a:pt x="34" y="683"/>
                      </a:lnTo>
                      <a:lnTo>
                        <a:pt x="33" y="684"/>
                      </a:lnTo>
                      <a:lnTo>
                        <a:pt x="32" y="684"/>
                      </a:lnTo>
                      <a:lnTo>
                        <a:pt x="32" y="684"/>
                      </a:lnTo>
                      <a:lnTo>
                        <a:pt x="31" y="683"/>
                      </a:lnTo>
                      <a:lnTo>
                        <a:pt x="31" y="682"/>
                      </a:lnTo>
                      <a:lnTo>
                        <a:pt x="31" y="682"/>
                      </a:lnTo>
                      <a:lnTo>
                        <a:pt x="32" y="681"/>
                      </a:lnTo>
                      <a:lnTo>
                        <a:pt x="32" y="680"/>
                      </a:lnTo>
                      <a:lnTo>
                        <a:pt x="32" y="679"/>
                      </a:lnTo>
                      <a:lnTo>
                        <a:pt x="34" y="678"/>
                      </a:lnTo>
                      <a:lnTo>
                        <a:pt x="34" y="677"/>
                      </a:lnTo>
                      <a:lnTo>
                        <a:pt x="34" y="676"/>
                      </a:lnTo>
                      <a:lnTo>
                        <a:pt x="34" y="676"/>
                      </a:lnTo>
                      <a:lnTo>
                        <a:pt x="34" y="675"/>
                      </a:lnTo>
                      <a:lnTo>
                        <a:pt x="34" y="674"/>
                      </a:lnTo>
                      <a:lnTo>
                        <a:pt x="33" y="674"/>
                      </a:lnTo>
                      <a:lnTo>
                        <a:pt x="32" y="674"/>
                      </a:lnTo>
                      <a:lnTo>
                        <a:pt x="32" y="674"/>
                      </a:lnTo>
                      <a:lnTo>
                        <a:pt x="31" y="674"/>
                      </a:lnTo>
                      <a:lnTo>
                        <a:pt x="30" y="673"/>
                      </a:lnTo>
                      <a:lnTo>
                        <a:pt x="30" y="672"/>
                      </a:lnTo>
                      <a:lnTo>
                        <a:pt x="30" y="672"/>
                      </a:lnTo>
                      <a:lnTo>
                        <a:pt x="29" y="672"/>
                      </a:lnTo>
                      <a:lnTo>
                        <a:pt x="28" y="672"/>
                      </a:lnTo>
                      <a:lnTo>
                        <a:pt x="28" y="673"/>
                      </a:lnTo>
                      <a:lnTo>
                        <a:pt x="28" y="674"/>
                      </a:lnTo>
                      <a:lnTo>
                        <a:pt x="29" y="674"/>
                      </a:lnTo>
                      <a:lnTo>
                        <a:pt x="30" y="675"/>
                      </a:lnTo>
                      <a:lnTo>
                        <a:pt x="30" y="676"/>
                      </a:lnTo>
                      <a:lnTo>
                        <a:pt x="30" y="676"/>
                      </a:lnTo>
                      <a:lnTo>
                        <a:pt x="30" y="677"/>
                      </a:lnTo>
                      <a:lnTo>
                        <a:pt x="29" y="678"/>
                      </a:lnTo>
                      <a:lnTo>
                        <a:pt x="28" y="678"/>
                      </a:lnTo>
                      <a:lnTo>
                        <a:pt x="27" y="677"/>
                      </a:lnTo>
                      <a:lnTo>
                        <a:pt x="26" y="676"/>
                      </a:lnTo>
                      <a:lnTo>
                        <a:pt x="26" y="676"/>
                      </a:lnTo>
                      <a:lnTo>
                        <a:pt x="26" y="674"/>
                      </a:lnTo>
                      <a:lnTo>
                        <a:pt x="27" y="672"/>
                      </a:lnTo>
                      <a:lnTo>
                        <a:pt x="28" y="671"/>
                      </a:lnTo>
                      <a:lnTo>
                        <a:pt x="28" y="670"/>
                      </a:lnTo>
                      <a:lnTo>
                        <a:pt x="29" y="669"/>
                      </a:lnTo>
                      <a:lnTo>
                        <a:pt x="30" y="669"/>
                      </a:lnTo>
                      <a:lnTo>
                        <a:pt x="30" y="669"/>
                      </a:lnTo>
                      <a:lnTo>
                        <a:pt x="32" y="669"/>
                      </a:lnTo>
                      <a:lnTo>
                        <a:pt x="32" y="670"/>
                      </a:lnTo>
                      <a:lnTo>
                        <a:pt x="33" y="670"/>
                      </a:lnTo>
                      <a:lnTo>
                        <a:pt x="34" y="670"/>
                      </a:lnTo>
                      <a:lnTo>
                        <a:pt x="34" y="670"/>
                      </a:lnTo>
                      <a:lnTo>
                        <a:pt x="34" y="669"/>
                      </a:lnTo>
                      <a:lnTo>
                        <a:pt x="34" y="669"/>
                      </a:lnTo>
                      <a:lnTo>
                        <a:pt x="34" y="668"/>
                      </a:lnTo>
                      <a:lnTo>
                        <a:pt x="34" y="667"/>
                      </a:lnTo>
                      <a:lnTo>
                        <a:pt x="32" y="667"/>
                      </a:lnTo>
                      <a:lnTo>
                        <a:pt x="31" y="667"/>
                      </a:lnTo>
                      <a:lnTo>
                        <a:pt x="30" y="667"/>
                      </a:lnTo>
                      <a:lnTo>
                        <a:pt x="29" y="668"/>
                      </a:lnTo>
                      <a:lnTo>
                        <a:pt x="28" y="669"/>
                      </a:lnTo>
                      <a:lnTo>
                        <a:pt x="27" y="669"/>
                      </a:lnTo>
                      <a:lnTo>
                        <a:pt x="26" y="668"/>
                      </a:lnTo>
                      <a:lnTo>
                        <a:pt x="26" y="667"/>
                      </a:lnTo>
                      <a:lnTo>
                        <a:pt x="26" y="666"/>
                      </a:lnTo>
                      <a:lnTo>
                        <a:pt x="26" y="665"/>
                      </a:lnTo>
                      <a:lnTo>
                        <a:pt x="28" y="664"/>
                      </a:lnTo>
                      <a:lnTo>
                        <a:pt x="29" y="663"/>
                      </a:lnTo>
                      <a:lnTo>
                        <a:pt x="30" y="663"/>
                      </a:lnTo>
                      <a:lnTo>
                        <a:pt x="31" y="662"/>
                      </a:lnTo>
                      <a:lnTo>
                        <a:pt x="32" y="661"/>
                      </a:lnTo>
                      <a:lnTo>
                        <a:pt x="32" y="660"/>
                      </a:lnTo>
                      <a:lnTo>
                        <a:pt x="32" y="659"/>
                      </a:lnTo>
                      <a:lnTo>
                        <a:pt x="32" y="659"/>
                      </a:lnTo>
                      <a:lnTo>
                        <a:pt x="32" y="658"/>
                      </a:lnTo>
                      <a:lnTo>
                        <a:pt x="31" y="657"/>
                      </a:lnTo>
                      <a:lnTo>
                        <a:pt x="30" y="657"/>
                      </a:lnTo>
                      <a:lnTo>
                        <a:pt x="30" y="657"/>
                      </a:lnTo>
                      <a:lnTo>
                        <a:pt x="29" y="658"/>
                      </a:lnTo>
                      <a:lnTo>
                        <a:pt x="28" y="659"/>
                      </a:lnTo>
                      <a:lnTo>
                        <a:pt x="28" y="660"/>
                      </a:lnTo>
                      <a:lnTo>
                        <a:pt x="28" y="661"/>
                      </a:lnTo>
                      <a:lnTo>
                        <a:pt x="28" y="661"/>
                      </a:lnTo>
                      <a:lnTo>
                        <a:pt x="28" y="662"/>
                      </a:lnTo>
                      <a:lnTo>
                        <a:pt x="28" y="662"/>
                      </a:lnTo>
                      <a:lnTo>
                        <a:pt x="27" y="662"/>
                      </a:lnTo>
                      <a:lnTo>
                        <a:pt x="26" y="662"/>
                      </a:lnTo>
                      <a:lnTo>
                        <a:pt x="25" y="663"/>
                      </a:lnTo>
                      <a:lnTo>
                        <a:pt x="24" y="662"/>
                      </a:lnTo>
                      <a:lnTo>
                        <a:pt x="24" y="661"/>
                      </a:lnTo>
                      <a:lnTo>
                        <a:pt x="25" y="661"/>
                      </a:lnTo>
                      <a:lnTo>
                        <a:pt x="25" y="661"/>
                      </a:lnTo>
                      <a:lnTo>
                        <a:pt x="26" y="660"/>
                      </a:lnTo>
                      <a:lnTo>
                        <a:pt x="26" y="659"/>
                      </a:lnTo>
                      <a:lnTo>
                        <a:pt x="27" y="657"/>
                      </a:lnTo>
                      <a:lnTo>
                        <a:pt x="28" y="656"/>
                      </a:lnTo>
                      <a:lnTo>
                        <a:pt x="28" y="655"/>
                      </a:lnTo>
                      <a:lnTo>
                        <a:pt x="28" y="655"/>
                      </a:lnTo>
                      <a:lnTo>
                        <a:pt x="28" y="654"/>
                      </a:lnTo>
                      <a:lnTo>
                        <a:pt x="27" y="654"/>
                      </a:lnTo>
                      <a:lnTo>
                        <a:pt x="26" y="654"/>
                      </a:lnTo>
                      <a:lnTo>
                        <a:pt x="26" y="654"/>
                      </a:lnTo>
                      <a:lnTo>
                        <a:pt x="24" y="654"/>
                      </a:lnTo>
                      <a:lnTo>
                        <a:pt x="24" y="654"/>
                      </a:lnTo>
                      <a:lnTo>
                        <a:pt x="23" y="654"/>
                      </a:lnTo>
                      <a:lnTo>
                        <a:pt x="22" y="655"/>
                      </a:lnTo>
                      <a:lnTo>
                        <a:pt x="22" y="655"/>
                      </a:lnTo>
                      <a:lnTo>
                        <a:pt x="21" y="655"/>
                      </a:lnTo>
                      <a:lnTo>
                        <a:pt x="20" y="655"/>
                      </a:lnTo>
                      <a:lnTo>
                        <a:pt x="20" y="654"/>
                      </a:lnTo>
                      <a:lnTo>
                        <a:pt x="20" y="653"/>
                      </a:lnTo>
                      <a:lnTo>
                        <a:pt x="20" y="653"/>
                      </a:lnTo>
                      <a:lnTo>
                        <a:pt x="20" y="652"/>
                      </a:lnTo>
                      <a:lnTo>
                        <a:pt x="21" y="652"/>
                      </a:lnTo>
                      <a:lnTo>
                        <a:pt x="21" y="650"/>
                      </a:lnTo>
                      <a:lnTo>
                        <a:pt x="21" y="650"/>
                      </a:lnTo>
                      <a:lnTo>
                        <a:pt x="21" y="648"/>
                      </a:lnTo>
                      <a:lnTo>
                        <a:pt x="22" y="648"/>
                      </a:lnTo>
                      <a:lnTo>
                        <a:pt x="22" y="647"/>
                      </a:lnTo>
                      <a:lnTo>
                        <a:pt x="23" y="646"/>
                      </a:lnTo>
                      <a:lnTo>
                        <a:pt x="24" y="646"/>
                      </a:lnTo>
                      <a:lnTo>
                        <a:pt x="25" y="646"/>
                      </a:lnTo>
                      <a:lnTo>
                        <a:pt x="26" y="646"/>
                      </a:lnTo>
                      <a:lnTo>
                        <a:pt x="26" y="646"/>
                      </a:lnTo>
                      <a:lnTo>
                        <a:pt x="27" y="646"/>
                      </a:lnTo>
                      <a:lnTo>
                        <a:pt x="27" y="645"/>
                      </a:lnTo>
                      <a:lnTo>
                        <a:pt x="27" y="644"/>
                      </a:lnTo>
                      <a:lnTo>
                        <a:pt x="27" y="644"/>
                      </a:lnTo>
                      <a:lnTo>
                        <a:pt x="26" y="643"/>
                      </a:lnTo>
                      <a:lnTo>
                        <a:pt x="26" y="642"/>
                      </a:lnTo>
                      <a:lnTo>
                        <a:pt x="24" y="642"/>
                      </a:lnTo>
                      <a:lnTo>
                        <a:pt x="24" y="641"/>
                      </a:lnTo>
                      <a:lnTo>
                        <a:pt x="23" y="640"/>
                      </a:lnTo>
                      <a:lnTo>
                        <a:pt x="22" y="639"/>
                      </a:lnTo>
                      <a:lnTo>
                        <a:pt x="23" y="638"/>
                      </a:lnTo>
                      <a:lnTo>
                        <a:pt x="24" y="638"/>
                      </a:lnTo>
                      <a:lnTo>
                        <a:pt x="24" y="638"/>
                      </a:lnTo>
                      <a:lnTo>
                        <a:pt x="25" y="639"/>
                      </a:lnTo>
                      <a:lnTo>
                        <a:pt x="26" y="640"/>
                      </a:lnTo>
                      <a:lnTo>
                        <a:pt x="26" y="641"/>
                      </a:lnTo>
                      <a:lnTo>
                        <a:pt x="27" y="642"/>
                      </a:lnTo>
                      <a:lnTo>
                        <a:pt x="28" y="642"/>
                      </a:lnTo>
                      <a:lnTo>
                        <a:pt x="28" y="641"/>
                      </a:lnTo>
                      <a:lnTo>
                        <a:pt x="28" y="640"/>
                      </a:lnTo>
                      <a:lnTo>
                        <a:pt x="28" y="640"/>
                      </a:lnTo>
                      <a:lnTo>
                        <a:pt x="28" y="639"/>
                      </a:lnTo>
                      <a:lnTo>
                        <a:pt x="28" y="638"/>
                      </a:lnTo>
                      <a:lnTo>
                        <a:pt x="28" y="638"/>
                      </a:lnTo>
                      <a:lnTo>
                        <a:pt x="27" y="636"/>
                      </a:lnTo>
                      <a:lnTo>
                        <a:pt x="27" y="635"/>
                      </a:lnTo>
                      <a:lnTo>
                        <a:pt x="26" y="634"/>
                      </a:lnTo>
                      <a:lnTo>
                        <a:pt x="25" y="634"/>
                      </a:lnTo>
                      <a:lnTo>
                        <a:pt x="24" y="634"/>
                      </a:lnTo>
                      <a:lnTo>
                        <a:pt x="24" y="634"/>
                      </a:lnTo>
                      <a:lnTo>
                        <a:pt x="23" y="634"/>
                      </a:lnTo>
                      <a:lnTo>
                        <a:pt x="22" y="633"/>
                      </a:lnTo>
                      <a:lnTo>
                        <a:pt x="22" y="632"/>
                      </a:lnTo>
                      <a:lnTo>
                        <a:pt x="22" y="631"/>
                      </a:lnTo>
                      <a:lnTo>
                        <a:pt x="22" y="630"/>
                      </a:lnTo>
                      <a:lnTo>
                        <a:pt x="22" y="629"/>
                      </a:lnTo>
                      <a:lnTo>
                        <a:pt x="22" y="629"/>
                      </a:lnTo>
                      <a:lnTo>
                        <a:pt x="23" y="628"/>
                      </a:lnTo>
                      <a:lnTo>
                        <a:pt x="23" y="627"/>
                      </a:lnTo>
                      <a:lnTo>
                        <a:pt x="23" y="626"/>
                      </a:lnTo>
                      <a:lnTo>
                        <a:pt x="23" y="625"/>
                      </a:lnTo>
                      <a:lnTo>
                        <a:pt x="24" y="624"/>
                      </a:lnTo>
                      <a:lnTo>
                        <a:pt x="24" y="623"/>
                      </a:lnTo>
                      <a:lnTo>
                        <a:pt x="24" y="623"/>
                      </a:lnTo>
                      <a:lnTo>
                        <a:pt x="25" y="622"/>
                      </a:lnTo>
                      <a:lnTo>
                        <a:pt x="26" y="621"/>
                      </a:lnTo>
                      <a:lnTo>
                        <a:pt x="26" y="619"/>
                      </a:lnTo>
                      <a:lnTo>
                        <a:pt x="27" y="618"/>
                      </a:lnTo>
                      <a:lnTo>
                        <a:pt x="27" y="617"/>
                      </a:lnTo>
                      <a:lnTo>
                        <a:pt x="27" y="616"/>
                      </a:lnTo>
                      <a:lnTo>
                        <a:pt x="27" y="615"/>
                      </a:lnTo>
                      <a:lnTo>
                        <a:pt x="27" y="615"/>
                      </a:lnTo>
                      <a:lnTo>
                        <a:pt x="28" y="615"/>
                      </a:lnTo>
                      <a:lnTo>
                        <a:pt x="89" y="621"/>
                      </a:lnTo>
                      <a:lnTo>
                        <a:pt x="372" y="635"/>
                      </a:lnTo>
                      <a:lnTo>
                        <a:pt x="372" y="634"/>
                      </a:lnTo>
                      <a:lnTo>
                        <a:pt x="372" y="634"/>
                      </a:lnTo>
                      <a:lnTo>
                        <a:pt x="372" y="634"/>
                      </a:lnTo>
                      <a:lnTo>
                        <a:pt x="371" y="633"/>
                      </a:lnTo>
                      <a:lnTo>
                        <a:pt x="370" y="633"/>
                      </a:lnTo>
                      <a:lnTo>
                        <a:pt x="370" y="632"/>
                      </a:lnTo>
                      <a:lnTo>
                        <a:pt x="370" y="632"/>
                      </a:lnTo>
                      <a:lnTo>
                        <a:pt x="370" y="631"/>
                      </a:lnTo>
                      <a:lnTo>
                        <a:pt x="371" y="631"/>
                      </a:lnTo>
                      <a:lnTo>
                        <a:pt x="371" y="630"/>
                      </a:lnTo>
                      <a:lnTo>
                        <a:pt x="372" y="630"/>
                      </a:lnTo>
                      <a:lnTo>
                        <a:pt x="372" y="629"/>
                      </a:lnTo>
                      <a:lnTo>
                        <a:pt x="371" y="629"/>
                      </a:lnTo>
                      <a:lnTo>
                        <a:pt x="370" y="629"/>
                      </a:lnTo>
                      <a:lnTo>
                        <a:pt x="370" y="629"/>
                      </a:lnTo>
                      <a:lnTo>
                        <a:pt x="371" y="629"/>
                      </a:lnTo>
                      <a:lnTo>
                        <a:pt x="371" y="628"/>
                      </a:lnTo>
                      <a:lnTo>
                        <a:pt x="371" y="627"/>
                      </a:lnTo>
                      <a:lnTo>
                        <a:pt x="370" y="627"/>
                      </a:lnTo>
                      <a:lnTo>
                        <a:pt x="370" y="628"/>
                      </a:lnTo>
                      <a:lnTo>
                        <a:pt x="370" y="627"/>
                      </a:lnTo>
                      <a:lnTo>
                        <a:pt x="370" y="627"/>
                      </a:lnTo>
                      <a:lnTo>
                        <a:pt x="370" y="627"/>
                      </a:lnTo>
                      <a:lnTo>
                        <a:pt x="369" y="627"/>
                      </a:lnTo>
                      <a:lnTo>
                        <a:pt x="368" y="627"/>
                      </a:lnTo>
                      <a:lnTo>
                        <a:pt x="368" y="627"/>
                      </a:lnTo>
                      <a:lnTo>
                        <a:pt x="367" y="627"/>
                      </a:lnTo>
                      <a:lnTo>
                        <a:pt x="366" y="627"/>
                      </a:lnTo>
                      <a:lnTo>
                        <a:pt x="366" y="627"/>
                      </a:lnTo>
                      <a:lnTo>
                        <a:pt x="365" y="628"/>
                      </a:lnTo>
                      <a:lnTo>
                        <a:pt x="365" y="627"/>
                      </a:lnTo>
                      <a:lnTo>
                        <a:pt x="365" y="627"/>
                      </a:lnTo>
                      <a:lnTo>
                        <a:pt x="365" y="626"/>
                      </a:lnTo>
                      <a:lnTo>
                        <a:pt x="366" y="626"/>
                      </a:lnTo>
                      <a:lnTo>
                        <a:pt x="366" y="625"/>
                      </a:lnTo>
                      <a:lnTo>
                        <a:pt x="366" y="625"/>
                      </a:lnTo>
                      <a:lnTo>
                        <a:pt x="367" y="625"/>
                      </a:lnTo>
                      <a:lnTo>
                        <a:pt x="368" y="626"/>
                      </a:lnTo>
                      <a:lnTo>
                        <a:pt x="368" y="625"/>
                      </a:lnTo>
                      <a:lnTo>
                        <a:pt x="368" y="625"/>
                      </a:lnTo>
                      <a:lnTo>
                        <a:pt x="367" y="625"/>
                      </a:lnTo>
                      <a:lnTo>
                        <a:pt x="367" y="624"/>
                      </a:lnTo>
                      <a:lnTo>
                        <a:pt x="366" y="624"/>
                      </a:lnTo>
                      <a:lnTo>
                        <a:pt x="366" y="624"/>
                      </a:lnTo>
                      <a:lnTo>
                        <a:pt x="366" y="623"/>
                      </a:lnTo>
                      <a:lnTo>
                        <a:pt x="365" y="623"/>
                      </a:lnTo>
                      <a:lnTo>
                        <a:pt x="365" y="624"/>
                      </a:lnTo>
                      <a:lnTo>
                        <a:pt x="364" y="624"/>
                      </a:lnTo>
                      <a:lnTo>
                        <a:pt x="364" y="625"/>
                      </a:lnTo>
                      <a:lnTo>
                        <a:pt x="364" y="625"/>
                      </a:lnTo>
                      <a:lnTo>
                        <a:pt x="364" y="625"/>
                      </a:lnTo>
                      <a:lnTo>
                        <a:pt x="364" y="626"/>
                      </a:lnTo>
                      <a:lnTo>
                        <a:pt x="364" y="627"/>
                      </a:lnTo>
                      <a:lnTo>
                        <a:pt x="363" y="626"/>
                      </a:lnTo>
                      <a:lnTo>
                        <a:pt x="362" y="625"/>
                      </a:lnTo>
                      <a:lnTo>
                        <a:pt x="362" y="625"/>
                      </a:lnTo>
                      <a:lnTo>
                        <a:pt x="361" y="625"/>
                      </a:lnTo>
                      <a:lnTo>
                        <a:pt x="360" y="625"/>
                      </a:lnTo>
                      <a:lnTo>
                        <a:pt x="360" y="624"/>
                      </a:lnTo>
                      <a:lnTo>
                        <a:pt x="360" y="623"/>
                      </a:lnTo>
                      <a:lnTo>
                        <a:pt x="361" y="623"/>
                      </a:lnTo>
                      <a:lnTo>
                        <a:pt x="361" y="623"/>
                      </a:lnTo>
                      <a:lnTo>
                        <a:pt x="362" y="623"/>
                      </a:lnTo>
                      <a:lnTo>
                        <a:pt x="362" y="623"/>
                      </a:lnTo>
                      <a:lnTo>
                        <a:pt x="362" y="622"/>
                      </a:lnTo>
                      <a:lnTo>
                        <a:pt x="361" y="622"/>
                      </a:lnTo>
                      <a:lnTo>
                        <a:pt x="361" y="621"/>
                      </a:lnTo>
                      <a:lnTo>
                        <a:pt x="360" y="621"/>
                      </a:lnTo>
                      <a:lnTo>
                        <a:pt x="360" y="621"/>
                      </a:lnTo>
                      <a:lnTo>
                        <a:pt x="360" y="621"/>
                      </a:lnTo>
                      <a:lnTo>
                        <a:pt x="360" y="620"/>
                      </a:lnTo>
                      <a:lnTo>
                        <a:pt x="360" y="619"/>
                      </a:lnTo>
                      <a:lnTo>
                        <a:pt x="360" y="619"/>
                      </a:lnTo>
                      <a:lnTo>
                        <a:pt x="359" y="619"/>
                      </a:lnTo>
                      <a:lnTo>
                        <a:pt x="358" y="619"/>
                      </a:lnTo>
                      <a:lnTo>
                        <a:pt x="358" y="620"/>
                      </a:lnTo>
                      <a:lnTo>
                        <a:pt x="358" y="620"/>
                      </a:lnTo>
                      <a:lnTo>
                        <a:pt x="357" y="620"/>
                      </a:lnTo>
                      <a:lnTo>
                        <a:pt x="357" y="619"/>
                      </a:lnTo>
                      <a:lnTo>
                        <a:pt x="356" y="619"/>
                      </a:lnTo>
                      <a:lnTo>
                        <a:pt x="356" y="619"/>
                      </a:lnTo>
                      <a:lnTo>
                        <a:pt x="356" y="618"/>
                      </a:lnTo>
                      <a:lnTo>
                        <a:pt x="357" y="618"/>
                      </a:lnTo>
                      <a:lnTo>
                        <a:pt x="358" y="618"/>
                      </a:lnTo>
                      <a:lnTo>
                        <a:pt x="358" y="618"/>
                      </a:lnTo>
                      <a:lnTo>
                        <a:pt x="359" y="618"/>
                      </a:lnTo>
                      <a:lnTo>
                        <a:pt x="359" y="617"/>
                      </a:lnTo>
                      <a:lnTo>
                        <a:pt x="358" y="617"/>
                      </a:lnTo>
                      <a:lnTo>
                        <a:pt x="358" y="617"/>
                      </a:lnTo>
                      <a:lnTo>
                        <a:pt x="358" y="617"/>
                      </a:lnTo>
                      <a:lnTo>
                        <a:pt x="358" y="617"/>
                      </a:lnTo>
                      <a:lnTo>
                        <a:pt x="357" y="616"/>
                      </a:lnTo>
                      <a:lnTo>
                        <a:pt x="357" y="615"/>
                      </a:lnTo>
                      <a:lnTo>
                        <a:pt x="357" y="615"/>
                      </a:lnTo>
                      <a:lnTo>
                        <a:pt x="358" y="615"/>
                      </a:lnTo>
                      <a:lnTo>
                        <a:pt x="358" y="615"/>
                      </a:lnTo>
                      <a:lnTo>
                        <a:pt x="359" y="615"/>
                      </a:lnTo>
                      <a:lnTo>
                        <a:pt x="360" y="615"/>
                      </a:lnTo>
                      <a:lnTo>
                        <a:pt x="360" y="614"/>
                      </a:lnTo>
                      <a:lnTo>
                        <a:pt x="359" y="614"/>
                      </a:lnTo>
                      <a:lnTo>
                        <a:pt x="358" y="614"/>
                      </a:lnTo>
                      <a:lnTo>
                        <a:pt x="358" y="613"/>
                      </a:lnTo>
                      <a:lnTo>
                        <a:pt x="358" y="613"/>
                      </a:lnTo>
                      <a:lnTo>
                        <a:pt x="358" y="613"/>
                      </a:lnTo>
                      <a:lnTo>
                        <a:pt x="358" y="612"/>
                      </a:lnTo>
                      <a:lnTo>
                        <a:pt x="358" y="611"/>
                      </a:lnTo>
                      <a:lnTo>
                        <a:pt x="358" y="610"/>
                      </a:lnTo>
                      <a:lnTo>
                        <a:pt x="358" y="610"/>
                      </a:lnTo>
                      <a:lnTo>
                        <a:pt x="358" y="609"/>
                      </a:lnTo>
                      <a:lnTo>
                        <a:pt x="358" y="609"/>
                      </a:lnTo>
                      <a:lnTo>
                        <a:pt x="358" y="610"/>
                      </a:lnTo>
                      <a:lnTo>
                        <a:pt x="359" y="610"/>
                      </a:lnTo>
                      <a:lnTo>
                        <a:pt x="360" y="610"/>
                      </a:lnTo>
                      <a:lnTo>
                        <a:pt x="360" y="610"/>
                      </a:lnTo>
                      <a:lnTo>
                        <a:pt x="360" y="610"/>
                      </a:lnTo>
                      <a:lnTo>
                        <a:pt x="360" y="609"/>
                      </a:lnTo>
                      <a:lnTo>
                        <a:pt x="359" y="609"/>
                      </a:lnTo>
                      <a:lnTo>
                        <a:pt x="359" y="608"/>
                      </a:lnTo>
                      <a:lnTo>
                        <a:pt x="358" y="608"/>
                      </a:lnTo>
                      <a:lnTo>
                        <a:pt x="358" y="608"/>
                      </a:lnTo>
                      <a:lnTo>
                        <a:pt x="358" y="608"/>
                      </a:lnTo>
                      <a:lnTo>
                        <a:pt x="358" y="607"/>
                      </a:lnTo>
                      <a:lnTo>
                        <a:pt x="358" y="608"/>
                      </a:lnTo>
                      <a:lnTo>
                        <a:pt x="357" y="608"/>
                      </a:lnTo>
                      <a:lnTo>
                        <a:pt x="357" y="607"/>
                      </a:lnTo>
                      <a:lnTo>
                        <a:pt x="356" y="607"/>
                      </a:lnTo>
                      <a:lnTo>
                        <a:pt x="356" y="606"/>
                      </a:lnTo>
                      <a:lnTo>
                        <a:pt x="357" y="606"/>
                      </a:lnTo>
                      <a:lnTo>
                        <a:pt x="358" y="606"/>
                      </a:lnTo>
                      <a:lnTo>
                        <a:pt x="358" y="607"/>
                      </a:lnTo>
                      <a:lnTo>
                        <a:pt x="358" y="606"/>
                      </a:lnTo>
                      <a:lnTo>
                        <a:pt x="359" y="606"/>
                      </a:lnTo>
                      <a:lnTo>
                        <a:pt x="359" y="606"/>
                      </a:lnTo>
                      <a:lnTo>
                        <a:pt x="358" y="606"/>
                      </a:lnTo>
                      <a:lnTo>
                        <a:pt x="358" y="605"/>
                      </a:lnTo>
                      <a:lnTo>
                        <a:pt x="358" y="605"/>
                      </a:lnTo>
                      <a:lnTo>
                        <a:pt x="358" y="604"/>
                      </a:lnTo>
                      <a:lnTo>
                        <a:pt x="358" y="604"/>
                      </a:lnTo>
                      <a:lnTo>
                        <a:pt x="358" y="603"/>
                      </a:lnTo>
                      <a:lnTo>
                        <a:pt x="359" y="603"/>
                      </a:lnTo>
                      <a:lnTo>
                        <a:pt x="360" y="603"/>
                      </a:lnTo>
                      <a:lnTo>
                        <a:pt x="360" y="602"/>
                      </a:lnTo>
                      <a:lnTo>
                        <a:pt x="360" y="602"/>
                      </a:lnTo>
                      <a:lnTo>
                        <a:pt x="360" y="602"/>
                      </a:lnTo>
                      <a:lnTo>
                        <a:pt x="359" y="602"/>
                      </a:lnTo>
                      <a:lnTo>
                        <a:pt x="359" y="602"/>
                      </a:lnTo>
                      <a:lnTo>
                        <a:pt x="358" y="602"/>
                      </a:lnTo>
                      <a:lnTo>
                        <a:pt x="358" y="602"/>
                      </a:lnTo>
                      <a:lnTo>
                        <a:pt x="358" y="603"/>
                      </a:lnTo>
                      <a:lnTo>
                        <a:pt x="357" y="603"/>
                      </a:lnTo>
                      <a:lnTo>
                        <a:pt x="357" y="602"/>
                      </a:lnTo>
                      <a:lnTo>
                        <a:pt x="357" y="602"/>
                      </a:lnTo>
                      <a:lnTo>
                        <a:pt x="358" y="601"/>
                      </a:lnTo>
                      <a:lnTo>
                        <a:pt x="358" y="601"/>
                      </a:lnTo>
                      <a:lnTo>
                        <a:pt x="359" y="601"/>
                      </a:lnTo>
                      <a:lnTo>
                        <a:pt x="359" y="600"/>
                      </a:lnTo>
                      <a:lnTo>
                        <a:pt x="360" y="600"/>
                      </a:lnTo>
                      <a:lnTo>
                        <a:pt x="360" y="600"/>
                      </a:lnTo>
                      <a:lnTo>
                        <a:pt x="360" y="600"/>
                      </a:lnTo>
                      <a:lnTo>
                        <a:pt x="360" y="599"/>
                      </a:lnTo>
                      <a:lnTo>
                        <a:pt x="360" y="599"/>
                      </a:lnTo>
                      <a:lnTo>
                        <a:pt x="359" y="599"/>
                      </a:lnTo>
                      <a:lnTo>
                        <a:pt x="358" y="599"/>
                      </a:lnTo>
                      <a:lnTo>
                        <a:pt x="358" y="599"/>
                      </a:lnTo>
                      <a:lnTo>
                        <a:pt x="357" y="599"/>
                      </a:lnTo>
                      <a:lnTo>
                        <a:pt x="358" y="598"/>
                      </a:lnTo>
                      <a:lnTo>
                        <a:pt x="358" y="598"/>
                      </a:lnTo>
                      <a:lnTo>
                        <a:pt x="358" y="598"/>
                      </a:lnTo>
                      <a:lnTo>
                        <a:pt x="359" y="598"/>
                      </a:lnTo>
                      <a:lnTo>
                        <a:pt x="358" y="597"/>
                      </a:lnTo>
                      <a:lnTo>
                        <a:pt x="358" y="597"/>
                      </a:lnTo>
                      <a:lnTo>
                        <a:pt x="358" y="596"/>
                      </a:lnTo>
                      <a:lnTo>
                        <a:pt x="357" y="596"/>
                      </a:lnTo>
                      <a:lnTo>
                        <a:pt x="357" y="596"/>
                      </a:lnTo>
                      <a:lnTo>
                        <a:pt x="356" y="596"/>
                      </a:lnTo>
                      <a:lnTo>
                        <a:pt x="356" y="596"/>
                      </a:lnTo>
                      <a:lnTo>
                        <a:pt x="356" y="597"/>
                      </a:lnTo>
                      <a:lnTo>
                        <a:pt x="355" y="597"/>
                      </a:lnTo>
                      <a:lnTo>
                        <a:pt x="355" y="597"/>
                      </a:lnTo>
                      <a:lnTo>
                        <a:pt x="354" y="597"/>
                      </a:lnTo>
                      <a:lnTo>
                        <a:pt x="353" y="597"/>
                      </a:lnTo>
                      <a:lnTo>
                        <a:pt x="353" y="597"/>
                      </a:lnTo>
                      <a:lnTo>
                        <a:pt x="353" y="596"/>
                      </a:lnTo>
                      <a:lnTo>
                        <a:pt x="353" y="596"/>
                      </a:lnTo>
                      <a:lnTo>
                        <a:pt x="353" y="595"/>
                      </a:lnTo>
                      <a:lnTo>
                        <a:pt x="353" y="595"/>
                      </a:lnTo>
                      <a:lnTo>
                        <a:pt x="352" y="595"/>
                      </a:lnTo>
                      <a:lnTo>
                        <a:pt x="352" y="594"/>
                      </a:lnTo>
                      <a:lnTo>
                        <a:pt x="351" y="594"/>
                      </a:lnTo>
                      <a:lnTo>
                        <a:pt x="351" y="594"/>
                      </a:lnTo>
                      <a:lnTo>
                        <a:pt x="351" y="594"/>
                      </a:lnTo>
                      <a:lnTo>
                        <a:pt x="351" y="594"/>
                      </a:lnTo>
                      <a:lnTo>
                        <a:pt x="350" y="594"/>
                      </a:lnTo>
                      <a:lnTo>
                        <a:pt x="350" y="595"/>
                      </a:lnTo>
                      <a:lnTo>
                        <a:pt x="350" y="596"/>
                      </a:lnTo>
                      <a:lnTo>
                        <a:pt x="349" y="596"/>
                      </a:lnTo>
                      <a:lnTo>
                        <a:pt x="349" y="595"/>
                      </a:lnTo>
                      <a:lnTo>
                        <a:pt x="349" y="594"/>
                      </a:lnTo>
                      <a:lnTo>
                        <a:pt x="349" y="594"/>
                      </a:lnTo>
                      <a:lnTo>
                        <a:pt x="349" y="593"/>
                      </a:lnTo>
                      <a:lnTo>
                        <a:pt x="349" y="593"/>
                      </a:lnTo>
                      <a:lnTo>
                        <a:pt x="349" y="593"/>
                      </a:lnTo>
                      <a:lnTo>
                        <a:pt x="349" y="592"/>
                      </a:lnTo>
                      <a:lnTo>
                        <a:pt x="349" y="592"/>
                      </a:lnTo>
                      <a:lnTo>
                        <a:pt x="349" y="591"/>
                      </a:lnTo>
                      <a:lnTo>
                        <a:pt x="349" y="591"/>
                      </a:lnTo>
                      <a:lnTo>
                        <a:pt x="348" y="591"/>
                      </a:lnTo>
                      <a:lnTo>
                        <a:pt x="348" y="590"/>
                      </a:lnTo>
                      <a:lnTo>
                        <a:pt x="348" y="591"/>
                      </a:lnTo>
                      <a:lnTo>
                        <a:pt x="347" y="591"/>
                      </a:lnTo>
                      <a:lnTo>
                        <a:pt x="347" y="591"/>
                      </a:lnTo>
                      <a:lnTo>
                        <a:pt x="347" y="591"/>
                      </a:lnTo>
                      <a:lnTo>
                        <a:pt x="346" y="591"/>
                      </a:lnTo>
                      <a:lnTo>
                        <a:pt x="347" y="590"/>
                      </a:lnTo>
                      <a:lnTo>
                        <a:pt x="347" y="590"/>
                      </a:lnTo>
                      <a:lnTo>
                        <a:pt x="348" y="589"/>
                      </a:lnTo>
                      <a:lnTo>
                        <a:pt x="349" y="589"/>
                      </a:lnTo>
                      <a:lnTo>
                        <a:pt x="349" y="589"/>
                      </a:lnTo>
                      <a:lnTo>
                        <a:pt x="349" y="588"/>
                      </a:lnTo>
                      <a:lnTo>
                        <a:pt x="348" y="588"/>
                      </a:lnTo>
                      <a:lnTo>
                        <a:pt x="348" y="587"/>
                      </a:lnTo>
                      <a:lnTo>
                        <a:pt x="347" y="587"/>
                      </a:lnTo>
                      <a:lnTo>
                        <a:pt x="347" y="587"/>
                      </a:lnTo>
                      <a:lnTo>
                        <a:pt x="347" y="587"/>
                      </a:lnTo>
                      <a:lnTo>
                        <a:pt x="347" y="586"/>
                      </a:lnTo>
                      <a:lnTo>
                        <a:pt x="347" y="587"/>
                      </a:lnTo>
                      <a:lnTo>
                        <a:pt x="346" y="587"/>
                      </a:lnTo>
                      <a:lnTo>
                        <a:pt x="346" y="587"/>
                      </a:lnTo>
                      <a:lnTo>
                        <a:pt x="345" y="587"/>
                      </a:lnTo>
                      <a:lnTo>
                        <a:pt x="345" y="588"/>
                      </a:lnTo>
                      <a:lnTo>
                        <a:pt x="344" y="588"/>
                      </a:lnTo>
                      <a:lnTo>
                        <a:pt x="344" y="587"/>
                      </a:lnTo>
                      <a:lnTo>
                        <a:pt x="344" y="587"/>
                      </a:lnTo>
                      <a:lnTo>
                        <a:pt x="344" y="586"/>
                      </a:lnTo>
                      <a:lnTo>
                        <a:pt x="345" y="586"/>
                      </a:lnTo>
                      <a:lnTo>
                        <a:pt x="345" y="585"/>
                      </a:lnTo>
                      <a:lnTo>
                        <a:pt x="344" y="585"/>
                      </a:lnTo>
                      <a:lnTo>
                        <a:pt x="343" y="585"/>
                      </a:lnTo>
                      <a:lnTo>
                        <a:pt x="343" y="585"/>
                      </a:lnTo>
                      <a:lnTo>
                        <a:pt x="343" y="584"/>
                      </a:lnTo>
                      <a:lnTo>
                        <a:pt x="343" y="583"/>
                      </a:lnTo>
                      <a:lnTo>
                        <a:pt x="344" y="583"/>
                      </a:lnTo>
                      <a:lnTo>
                        <a:pt x="344" y="583"/>
                      </a:lnTo>
                      <a:lnTo>
                        <a:pt x="343" y="583"/>
                      </a:lnTo>
                      <a:lnTo>
                        <a:pt x="343" y="583"/>
                      </a:lnTo>
                      <a:lnTo>
                        <a:pt x="342" y="583"/>
                      </a:lnTo>
                      <a:lnTo>
                        <a:pt x="342" y="582"/>
                      </a:lnTo>
                      <a:lnTo>
                        <a:pt x="341" y="582"/>
                      </a:lnTo>
                      <a:lnTo>
                        <a:pt x="341" y="581"/>
                      </a:lnTo>
                      <a:lnTo>
                        <a:pt x="341" y="581"/>
                      </a:lnTo>
                      <a:lnTo>
                        <a:pt x="340" y="581"/>
                      </a:lnTo>
                      <a:lnTo>
                        <a:pt x="339" y="581"/>
                      </a:lnTo>
                      <a:lnTo>
                        <a:pt x="339" y="580"/>
                      </a:lnTo>
                      <a:lnTo>
                        <a:pt x="339" y="579"/>
                      </a:lnTo>
                      <a:lnTo>
                        <a:pt x="339" y="579"/>
                      </a:lnTo>
                      <a:lnTo>
                        <a:pt x="339" y="578"/>
                      </a:lnTo>
                      <a:lnTo>
                        <a:pt x="339" y="577"/>
                      </a:lnTo>
                      <a:lnTo>
                        <a:pt x="339" y="577"/>
                      </a:lnTo>
                      <a:lnTo>
                        <a:pt x="338" y="577"/>
                      </a:lnTo>
                      <a:lnTo>
                        <a:pt x="338" y="576"/>
                      </a:lnTo>
                      <a:lnTo>
                        <a:pt x="337" y="577"/>
                      </a:lnTo>
                      <a:lnTo>
                        <a:pt x="336" y="577"/>
                      </a:lnTo>
                      <a:lnTo>
                        <a:pt x="336" y="576"/>
                      </a:lnTo>
                      <a:lnTo>
                        <a:pt x="336" y="576"/>
                      </a:lnTo>
                      <a:lnTo>
                        <a:pt x="336" y="577"/>
                      </a:lnTo>
                      <a:lnTo>
                        <a:pt x="336" y="576"/>
                      </a:lnTo>
                      <a:lnTo>
                        <a:pt x="336" y="575"/>
                      </a:lnTo>
                      <a:lnTo>
                        <a:pt x="336" y="575"/>
                      </a:lnTo>
                      <a:lnTo>
                        <a:pt x="335" y="574"/>
                      </a:lnTo>
                      <a:lnTo>
                        <a:pt x="335" y="575"/>
                      </a:lnTo>
                      <a:lnTo>
                        <a:pt x="335" y="575"/>
                      </a:lnTo>
                      <a:lnTo>
                        <a:pt x="334" y="575"/>
                      </a:lnTo>
                      <a:lnTo>
                        <a:pt x="334" y="575"/>
                      </a:lnTo>
                      <a:lnTo>
                        <a:pt x="334" y="576"/>
                      </a:lnTo>
                      <a:lnTo>
                        <a:pt x="333" y="576"/>
                      </a:lnTo>
                      <a:lnTo>
                        <a:pt x="333" y="577"/>
                      </a:lnTo>
                      <a:lnTo>
                        <a:pt x="332" y="577"/>
                      </a:lnTo>
                      <a:lnTo>
                        <a:pt x="332" y="577"/>
                      </a:lnTo>
                      <a:lnTo>
                        <a:pt x="332" y="577"/>
                      </a:lnTo>
                      <a:lnTo>
                        <a:pt x="332" y="577"/>
                      </a:lnTo>
                      <a:lnTo>
                        <a:pt x="332" y="577"/>
                      </a:lnTo>
                      <a:lnTo>
                        <a:pt x="332" y="577"/>
                      </a:lnTo>
                      <a:lnTo>
                        <a:pt x="332" y="576"/>
                      </a:lnTo>
                      <a:lnTo>
                        <a:pt x="332" y="575"/>
                      </a:lnTo>
                      <a:lnTo>
                        <a:pt x="332" y="575"/>
                      </a:lnTo>
                      <a:lnTo>
                        <a:pt x="331" y="575"/>
                      </a:lnTo>
                      <a:lnTo>
                        <a:pt x="331" y="574"/>
                      </a:lnTo>
                      <a:lnTo>
                        <a:pt x="330" y="573"/>
                      </a:lnTo>
                      <a:lnTo>
                        <a:pt x="330" y="574"/>
                      </a:lnTo>
                      <a:lnTo>
                        <a:pt x="330" y="574"/>
                      </a:lnTo>
                      <a:lnTo>
                        <a:pt x="330" y="573"/>
                      </a:lnTo>
                      <a:lnTo>
                        <a:pt x="329" y="573"/>
                      </a:lnTo>
                      <a:lnTo>
                        <a:pt x="328" y="574"/>
                      </a:lnTo>
                      <a:lnTo>
                        <a:pt x="328" y="575"/>
                      </a:lnTo>
                      <a:lnTo>
                        <a:pt x="328" y="575"/>
                      </a:lnTo>
                      <a:lnTo>
                        <a:pt x="328" y="575"/>
                      </a:lnTo>
                      <a:lnTo>
                        <a:pt x="327" y="575"/>
                      </a:lnTo>
                      <a:lnTo>
                        <a:pt x="326" y="575"/>
                      </a:lnTo>
                      <a:lnTo>
                        <a:pt x="326" y="575"/>
                      </a:lnTo>
                      <a:lnTo>
                        <a:pt x="325" y="575"/>
                      </a:lnTo>
                      <a:lnTo>
                        <a:pt x="325" y="576"/>
                      </a:lnTo>
                      <a:lnTo>
                        <a:pt x="324" y="576"/>
                      </a:lnTo>
                      <a:lnTo>
                        <a:pt x="324" y="577"/>
                      </a:lnTo>
                      <a:lnTo>
                        <a:pt x="325" y="577"/>
                      </a:lnTo>
                      <a:lnTo>
                        <a:pt x="325" y="577"/>
                      </a:lnTo>
                      <a:lnTo>
                        <a:pt x="324" y="577"/>
                      </a:lnTo>
                      <a:lnTo>
                        <a:pt x="324" y="577"/>
                      </a:lnTo>
                      <a:lnTo>
                        <a:pt x="323" y="577"/>
                      </a:lnTo>
                      <a:lnTo>
                        <a:pt x="323" y="577"/>
                      </a:lnTo>
                      <a:lnTo>
                        <a:pt x="322" y="577"/>
                      </a:lnTo>
                      <a:lnTo>
                        <a:pt x="322" y="576"/>
                      </a:lnTo>
                      <a:lnTo>
                        <a:pt x="322" y="575"/>
                      </a:lnTo>
                      <a:lnTo>
                        <a:pt x="322" y="575"/>
                      </a:lnTo>
                      <a:lnTo>
                        <a:pt x="323" y="575"/>
                      </a:lnTo>
                      <a:lnTo>
                        <a:pt x="323" y="574"/>
                      </a:lnTo>
                      <a:lnTo>
                        <a:pt x="323" y="573"/>
                      </a:lnTo>
                      <a:lnTo>
                        <a:pt x="322" y="573"/>
                      </a:lnTo>
                      <a:lnTo>
                        <a:pt x="322" y="573"/>
                      </a:lnTo>
                      <a:lnTo>
                        <a:pt x="322" y="573"/>
                      </a:lnTo>
                      <a:lnTo>
                        <a:pt x="321" y="573"/>
                      </a:lnTo>
                      <a:lnTo>
                        <a:pt x="320" y="573"/>
                      </a:lnTo>
                      <a:lnTo>
                        <a:pt x="320" y="572"/>
                      </a:lnTo>
                      <a:lnTo>
                        <a:pt x="320" y="571"/>
                      </a:lnTo>
                      <a:lnTo>
                        <a:pt x="320" y="570"/>
                      </a:lnTo>
                      <a:lnTo>
                        <a:pt x="320" y="570"/>
                      </a:lnTo>
                      <a:lnTo>
                        <a:pt x="320" y="570"/>
                      </a:lnTo>
                      <a:lnTo>
                        <a:pt x="320" y="569"/>
                      </a:lnTo>
                      <a:lnTo>
                        <a:pt x="320" y="569"/>
                      </a:lnTo>
                      <a:lnTo>
                        <a:pt x="321" y="569"/>
                      </a:lnTo>
                      <a:lnTo>
                        <a:pt x="321" y="568"/>
                      </a:lnTo>
                      <a:lnTo>
                        <a:pt x="320" y="568"/>
                      </a:lnTo>
                      <a:lnTo>
                        <a:pt x="320" y="568"/>
                      </a:lnTo>
                      <a:lnTo>
                        <a:pt x="319" y="568"/>
                      </a:lnTo>
                      <a:lnTo>
                        <a:pt x="318" y="568"/>
                      </a:lnTo>
                      <a:lnTo>
                        <a:pt x="317" y="568"/>
                      </a:lnTo>
                      <a:lnTo>
                        <a:pt x="317" y="568"/>
                      </a:lnTo>
                      <a:lnTo>
                        <a:pt x="317" y="567"/>
                      </a:lnTo>
                      <a:lnTo>
                        <a:pt x="316" y="567"/>
                      </a:lnTo>
                      <a:lnTo>
                        <a:pt x="316" y="568"/>
                      </a:lnTo>
                      <a:lnTo>
                        <a:pt x="316" y="568"/>
                      </a:lnTo>
                      <a:lnTo>
                        <a:pt x="317" y="568"/>
                      </a:lnTo>
                      <a:lnTo>
                        <a:pt x="317" y="569"/>
                      </a:lnTo>
                      <a:lnTo>
                        <a:pt x="317" y="570"/>
                      </a:lnTo>
                      <a:lnTo>
                        <a:pt x="316" y="570"/>
                      </a:lnTo>
                      <a:lnTo>
                        <a:pt x="315" y="569"/>
                      </a:lnTo>
                      <a:lnTo>
                        <a:pt x="315" y="569"/>
                      </a:lnTo>
                      <a:lnTo>
                        <a:pt x="314" y="569"/>
                      </a:lnTo>
                      <a:lnTo>
                        <a:pt x="313" y="569"/>
                      </a:lnTo>
                      <a:lnTo>
                        <a:pt x="313" y="568"/>
                      </a:lnTo>
                      <a:lnTo>
                        <a:pt x="313" y="568"/>
                      </a:lnTo>
                      <a:lnTo>
                        <a:pt x="312" y="568"/>
                      </a:lnTo>
                      <a:lnTo>
                        <a:pt x="311" y="568"/>
                      </a:lnTo>
                      <a:lnTo>
                        <a:pt x="311" y="568"/>
                      </a:lnTo>
                      <a:lnTo>
                        <a:pt x="311" y="568"/>
                      </a:lnTo>
                      <a:lnTo>
                        <a:pt x="311" y="569"/>
                      </a:lnTo>
                      <a:lnTo>
                        <a:pt x="311" y="570"/>
                      </a:lnTo>
                      <a:lnTo>
                        <a:pt x="310" y="570"/>
                      </a:lnTo>
                      <a:lnTo>
                        <a:pt x="309" y="569"/>
                      </a:lnTo>
                      <a:lnTo>
                        <a:pt x="309" y="569"/>
                      </a:lnTo>
                      <a:lnTo>
                        <a:pt x="309" y="568"/>
                      </a:lnTo>
                      <a:lnTo>
                        <a:pt x="308" y="568"/>
                      </a:lnTo>
                      <a:lnTo>
                        <a:pt x="308" y="568"/>
                      </a:lnTo>
                      <a:lnTo>
                        <a:pt x="308" y="567"/>
                      </a:lnTo>
                      <a:lnTo>
                        <a:pt x="308" y="566"/>
                      </a:lnTo>
                      <a:lnTo>
                        <a:pt x="307" y="566"/>
                      </a:lnTo>
                      <a:lnTo>
                        <a:pt x="307" y="566"/>
                      </a:lnTo>
                      <a:lnTo>
                        <a:pt x="306" y="566"/>
                      </a:lnTo>
                      <a:lnTo>
                        <a:pt x="306" y="567"/>
                      </a:lnTo>
                      <a:lnTo>
                        <a:pt x="306" y="566"/>
                      </a:lnTo>
                      <a:lnTo>
                        <a:pt x="305" y="566"/>
                      </a:lnTo>
                      <a:lnTo>
                        <a:pt x="305" y="566"/>
                      </a:lnTo>
                      <a:lnTo>
                        <a:pt x="306" y="565"/>
                      </a:lnTo>
                      <a:lnTo>
                        <a:pt x="307" y="565"/>
                      </a:lnTo>
                      <a:lnTo>
                        <a:pt x="307" y="565"/>
                      </a:lnTo>
                      <a:lnTo>
                        <a:pt x="308" y="565"/>
                      </a:lnTo>
                      <a:lnTo>
                        <a:pt x="308" y="564"/>
                      </a:lnTo>
                      <a:lnTo>
                        <a:pt x="307" y="564"/>
                      </a:lnTo>
                      <a:lnTo>
                        <a:pt x="307" y="564"/>
                      </a:lnTo>
                      <a:lnTo>
                        <a:pt x="307" y="563"/>
                      </a:lnTo>
                      <a:lnTo>
                        <a:pt x="307" y="562"/>
                      </a:lnTo>
                      <a:lnTo>
                        <a:pt x="307" y="562"/>
                      </a:lnTo>
                      <a:lnTo>
                        <a:pt x="306" y="562"/>
                      </a:lnTo>
                      <a:lnTo>
                        <a:pt x="306" y="562"/>
                      </a:lnTo>
                      <a:lnTo>
                        <a:pt x="305" y="562"/>
                      </a:lnTo>
                      <a:lnTo>
                        <a:pt x="305" y="562"/>
                      </a:lnTo>
                      <a:lnTo>
                        <a:pt x="304" y="562"/>
                      </a:lnTo>
                      <a:lnTo>
                        <a:pt x="304" y="562"/>
                      </a:lnTo>
                      <a:lnTo>
                        <a:pt x="304" y="561"/>
                      </a:lnTo>
                      <a:lnTo>
                        <a:pt x="305" y="561"/>
                      </a:lnTo>
                      <a:lnTo>
                        <a:pt x="305" y="560"/>
                      </a:lnTo>
                      <a:lnTo>
                        <a:pt x="305" y="560"/>
                      </a:lnTo>
                      <a:lnTo>
                        <a:pt x="304" y="560"/>
                      </a:lnTo>
                      <a:lnTo>
                        <a:pt x="304" y="559"/>
                      </a:lnTo>
                      <a:lnTo>
                        <a:pt x="305" y="559"/>
                      </a:lnTo>
                      <a:lnTo>
                        <a:pt x="305" y="558"/>
                      </a:lnTo>
                      <a:lnTo>
                        <a:pt x="305" y="558"/>
                      </a:lnTo>
                      <a:lnTo>
                        <a:pt x="305" y="558"/>
                      </a:lnTo>
                      <a:lnTo>
                        <a:pt x="304" y="558"/>
                      </a:lnTo>
                      <a:lnTo>
                        <a:pt x="303" y="557"/>
                      </a:lnTo>
                      <a:lnTo>
                        <a:pt x="303" y="557"/>
                      </a:lnTo>
                      <a:lnTo>
                        <a:pt x="303" y="556"/>
                      </a:lnTo>
                      <a:lnTo>
                        <a:pt x="302" y="556"/>
                      </a:lnTo>
                      <a:lnTo>
                        <a:pt x="301" y="556"/>
                      </a:lnTo>
                      <a:lnTo>
                        <a:pt x="302" y="556"/>
                      </a:lnTo>
                      <a:lnTo>
                        <a:pt x="303" y="556"/>
                      </a:lnTo>
                      <a:lnTo>
                        <a:pt x="303" y="555"/>
                      </a:lnTo>
                      <a:lnTo>
                        <a:pt x="302" y="554"/>
                      </a:lnTo>
                      <a:lnTo>
                        <a:pt x="301" y="554"/>
                      </a:lnTo>
                      <a:lnTo>
                        <a:pt x="301" y="554"/>
                      </a:lnTo>
                      <a:lnTo>
                        <a:pt x="301" y="554"/>
                      </a:lnTo>
                      <a:lnTo>
                        <a:pt x="301" y="554"/>
                      </a:lnTo>
                      <a:lnTo>
                        <a:pt x="300" y="554"/>
                      </a:lnTo>
                      <a:lnTo>
                        <a:pt x="300" y="555"/>
                      </a:lnTo>
                      <a:lnTo>
                        <a:pt x="299" y="555"/>
                      </a:lnTo>
                      <a:lnTo>
                        <a:pt x="298" y="555"/>
                      </a:lnTo>
                      <a:lnTo>
                        <a:pt x="298" y="554"/>
                      </a:lnTo>
                      <a:lnTo>
                        <a:pt x="298" y="554"/>
                      </a:lnTo>
                      <a:lnTo>
                        <a:pt x="298" y="553"/>
                      </a:lnTo>
                      <a:lnTo>
                        <a:pt x="298" y="552"/>
                      </a:lnTo>
                      <a:lnTo>
                        <a:pt x="297" y="552"/>
                      </a:lnTo>
                      <a:lnTo>
                        <a:pt x="297" y="553"/>
                      </a:lnTo>
                      <a:lnTo>
                        <a:pt x="297" y="554"/>
                      </a:lnTo>
                      <a:lnTo>
                        <a:pt x="296" y="554"/>
                      </a:lnTo>
                      <a:lnTo>
                        <a:pt x="296" y="554"/>
                      </a:lnTo>
                      <a:lnTo>
                        <a:pt x="296" y="555"/>
                      </a:lnTo>
                      <a:lnTo>
                        <a:pt x="296" y="555"/>
                      </a:lnTo>
                      <a:lnTo>
                        <a:pt x="296" y="554"/>
                      </a:lnTo>
                      <a:lnTo>
                        <a:pt x="296" y="554"/>
                      </a:lnTo>
                      <a:lnTo>
                        <a:pt x="295" y="554"/>
                      </a:lnTo>
                      <a:lnTo>
                        <a:pt x="295" y="553"/>
                      </a:lnTo>
                      <a:lnTo>
                        <a:pt x="294" y="553"/>
                      </a:lnTo>
                      <a:lnTo>
                        <a:pt x="294" y="553"/>
                      </a:lnTo>
                      <a:lnTo>
                        <a:pt x="293" y="553"/>
                      </a:lnTo>
                      <a:lnTo>
                        <a:pt x="293" y="554"/>
                      </a:lnTo>
                      <a:lnTo>
                        <a:pt x="293" y="554"/>
                      </a:lnTo>
                      <a:lnTo>
                        <a:pt x="293" y="555"/>
                      </a:lnTo>
                      <a:lnTo>
                        <a:pt x="292" y="555"/>
                      </a:lnTo>
                      <a:lnTo>
                        <a:pt x="292" y="554"/>
                      </a:lnTo>
                      <a:lnTo>
                        <a:pt x="292" y="554"/>
                      </a:lnTo>
                      <a:lnTo>
                        <a:pt x="292" y="553"/>
                      </a:lnTo>
                      <a:lnTo>
                        <a:pt x="292" y="552"/>
                      </a:lnTo>
                      <a:lnTo>
                        <a:pt x="293" y="551"/>
                      </a:lnTo>
                      <a:lnTo>
                        <a:pt x="293" y="551"/>
                      </a:lnTo>
                      <a:lnTo>
                        <a:pt x="294" y="551"/>
                      </a:lnTo>
                      <a:lnTo>
                        <a:pt x="294" y="551"/>
                      </a:lnTo>
                      <a:lnTo>
                        <a:pt x="294" y="550"/>
                      </a:lnTo>
                      <a:lnTo>
                        <a:pt x="294" y="550"/>
                      </a:lnTo>
                      <a:lnTo>
                        <a:pt x="294" y="549"/>
                      </a:lnTo>
                      <a:lnTo>
                        <a:pt x="293" y="549"/>
                      </a:lnTo>
                      <a:lnTo>
                        <a:pt x="293" y="549"/>
                      </a:lnTo>
                      <a:lnTo>
                        <a:pt x="293" y="548"/>
                      </a:lnTo>
                      <a:lnTo>
                        <a:pt x="292" y="548"/>
                      </a:lnTo>
                      <a:lnTo>
                        <a:pt x="292" y="547"/>
                      </a:lnTo>
                      <a:lnTo>
                        <a:pt x="292" y="547"/>
                      </a:lnTo>
                      <a:lnTo>
                        <a:pt x="292" y="546"/>
                      </a:lnTo>
                      <a:lnTo>
                        <a:pt x="293" y="546"/>
                      </a:lnTo>
                      <a:lnTo>
                        <a:pt x="293" y="545"/>
                      </a:lnTo>
                      <a:lnTo>
                        <a:pt x="293" y="545"/>
                      </a:lnTo>
                      <a:lnTo>
                        <a:pt x="293" y="544"/>
                      </a:lnTo>
                      <a:lnTo>
                        <a:pt x="293" y="543"/>
                      </a:lnTo>
                      <a:lnTo>
                        <a:pt x="293" y="543"/>
                      </a:lnTo>
                      <a:lnTo>
                        <a:pt x="293" y="542"/>
                      </a:lnTo>
                      <a:lnTo>
                        <a:pt x="294" y="542"/>
                      </a:lnTo>
                      <a:lnTo>
                        <a:pt x="294" y="542"/>
                      </a:lnTo>
                      <a:lnTo>
                        <a:pt x="294" y="543"/>
                      </a:lnTo>
                      <a:lnTo>
                        <a:pt x="295" y="543"/>
                      </a:lnTo>
                      <a:lnTo>
                        <a:pt x="295" y="543"/>
                      </a:lnTo>
                      <a:lnTo>
                        <a:pt x="295" y="543"/>
                      </a:lnTo>
                      <a:lnTo>
                        <a:pt x="295" y="542"/>
                      </a:lnTo>
                      <a:lnTo>
                        <a:pt x="295" y="541"/>
                      </a:lnTo>
                      <a:lnTo>
                        <a:pt x="294" y="541"/>
                      </a:lnTo>
                      <a:lnTo>
                        <a:pt x="294" y="541"/>
                      </a:lnTo>
                      <a:lnTo>
                        <a:pt x="294" y="541"/>
                      </a:lnTo>
                      <a:lnTo>
                        <a:pt x="294" y="540"/>
                      </a:lnTo>
                      <a:lnTo>
                        <a:pt x="293" y="540"/>
                      </a:lnTo>
                      <a:lnTo>
                        <a:pt x="293" y="539"/>
                      </a:lnTo>
                      <a:lnTo>
                        <a:pt x="293" y="539"/>
                      </a:lnTo>
                      <a:lnTo>
                        <a:pt x="294" y="539"/>
                      </a:lnTo>
                      <a:lnTo>
                        <a:pt x="294" y="539"/>
                      </a:lnTo>
                      <a:lnTo>
                        <a:pt x="295" y="538"/>
                      </a:lnTo>
                      <a:lnTo>
                        <a:pt x="296" y="538"/>
                      </a:lnTo>
                      <a:lnTo>
                        <a:pt x="296" y="537"/>
                      </a:lnTo>
                      <a:lnTo>
                        <a:pt x="295" y="537"/>
                      </a:lnTo>
                      <a:lnTo>
                        <a:pt x="295" y="537"/>
                      </a:lnTo>
                      <a:lnTo>
                        <a:pt x="294" y="537"/>
                      </a:lnTo>
                      <a:lnTo>
                        <a:pt x="294" y="537"/>
                      </a:lnTo>
                      <a:lnTo>
                        <a:pt x="293" y="536"/>
                      </a:lnTo>
                      <a:lnTo>
                        <a:pt x="293" y="535"/>
                      </a:lnTo>
                      <a:lnTo>
                        <a:pt x="294" y="535"/>
                      </a:lnTo>
                      <a:lnTo>
                        <a:pt x="294" y="535"/>
                      </a:lnTo>
                      <a:lnTo>
                        <a:pt x="294" y="534"/>
                      </a:lnTo>
                      <a:lnTo>
                        <a:pt x="295" y="534"/>
                      </a:lnTo>
                      <a:lnTo>
                        <a:pt x="296" y="533"/>
                      </a:lnTo>
                      <a:lnTo>
                        <a:pt x="295" y="532"/>
                      </a:lnTo>
                      <a:lnTo>
                        <a:pt x="294" y="532"/>
                      </a:lnTo>
                      <a:lnTo>
                        <a:pt x="294" y="531"/>
                      </a:lnTo>
                      <a:lnTo>
                        <a:pt x="293" y="531"/>
                      </a:lnTo>
                      <a:lnTo>
                        <a:pt x="292" y="530"/>
                      </a:lnTo>
                      <a:lnTo>
                        <a:pt x="292" y="530"/>
                      </a:lnTo>
                      <a:lnTo>
                        <a:pt x="292" y="531"/>
                      </a:lnTo>
                      <a:lnTo>
                        <a:pt x="292" y="532"/>
                      </a:lnTo>
                      <a:lnTo>
                        <a:pt x="292" y="532"/>
                      </a:lnTo>
                      <a:lnTo>
                        <a:pt x="291" y="532"/>
                      </a:lnTo>
                      <a:lnTo>
                        <a:pt x="291" y="531"/>
                      </a:lnTo>
                      <a:lnTo>
                        <a:pt x="291" y="530"/>
                      </a:lnTo>
                      <a:lnTo>
                        <a:pt x="291" y="530"/>
                      </a:lnTo>
                      <a:lnTo>
                        <a:pt x="291" y="529"/>
                      </a:lnTo>
                      <a:lnTo>
                        <a:pt x="290" y="529"/>
                      </a:lnTo>
                      <a:lnTo>
                        <a:pt x="290" y="529"/>
                      </a:lnTo>
                      <a:lnTo>
                        <a:pt x="290" y="530"/>
                      </a:lnTo>
                      <a:lnTo>
                        <a:pt x="289" y="530"/>
                      </a:lnTo>
                      <a:lnTo>
                        <a:pt x="289" y="530"/>
                      </a:lnTo>
                      <a:lnTo>
                        <a:pt x="288" y="530"/>
                      </a:lnTo>
                      <a:lnTo>
                        <a:pt x="288" y="530"/>
                      </a:lnTo>
                      <a:lnTo>
                        <a:pt x="287" y="530"/>
                      </a:lnTo>
                      <a:lnTo>
                        <a:pt x="287" y="530"/>
                      </a:lnTo>
                      <a:lnTo>
                        <a:pt x="287" y="529"/>
                      </a:lnTo>
                      <a:lnTo>
                        <a:pt x="287" y="528"/>
                      </a:lnTo>
                      <a:lnTo>
                        <a:pt x="287" y="528"/>
                      </a:lnTo>
                      <a:lnTo>
                        <a:pt x="286" y="528"/>
                      </a:lnTo>
                      <a:lnTo>
                        <a:pt x="286" y="527"/>
                      </a:lnTo>
                      <a:lnTo>
                        <a:pt x="286" y="527"/>
                      </a:lnTo>
                      <a:lnTo>
                        <a:pt x="286" y="526"/>
                      </a:lnTo>
                      <a:lnTo>
                        <a:pt x="286" y="526"/>
                      </a:lnTo>
                      <a:lnTo>
                        <a:pt x="286" y="525"/>
                      </a:lnTo>
                      <a:lnTo>
                        <a:pt x="285" y="525"/>
                      </a:lnTo>
                      <a:lnTo>
                        <a:pt x="285" y="524"/>
                      </a:lnTo>
                      <a:lnTo>
                        <a:pt x="284" y="524"/>
                      </a:lnTo>
                      <a:lnTo>
                        <a:pt x="284" y="524"/>
                      </a:lnTo>
                      <a:lnTo>
                        <a:pt x="284" y="524"/>
                      </a:lnTo>
                      <a:lnTo>
                        <a:pt x="284" y="524"/>
                      </a:lnTo>
                      <a:lnTo>
                        <a:pt x="285" y="524"/>
                      </a:lnTo>
                      <a:lnTo>
                        <a:pt x="285" y="523"/>
                      </a:lnTo>
                      <a:lnTo>
                        <a:pt x="284" y="523"/>
                      </a:lnTo>
                      <a:lnTo>
                        <a:pt x="284" y="523"/>
                      </a:lnTo>
                      <a:lnTo>
                        <a:pt x="284" y="522"/>
                      </a:lnTo>
                      <a:lnTo>
                        <a:pt x="283" y="522"/>
                      </a:lnTo>
                      <a:lnTo>
                        <a:pt x="283" y="522"/>
                      </a:lnTo>
                      <a:lnTo>
                        <a:pt x="283" y="521"/>
                      </a:lnTo>
                      <a:lnTo>
                        <a:pt x="282" y="521"/>
                      </a:lnTo>
                      <a:lnTo>
                        <a:pt x="282" y="522"/>
                      </a:lnTo>
                      <a:lnTo>
                        <a:pt x="282" y="522"/>
                      </a:lnTo>
                      <a:lnTo>
                        <a:pt x="281" y="522"/>
                      </a:lnTo>
                      <a:lnTo>
                        <a:pt x="281" y="522"/>
                      </a:lnTo>
                      <a:lnTo>
                        <a:pt x="282" y="522"/>
                      </a:lnTo>
                      <a:lnTo>
                        <a:pt x="282" y="523"/>
                      </a:lnTo>
                      <a:lnTo>
                        <a:pt x="282" y="524"/>
                      </a:lnTo>
                      <a:lnTo>
                        <a:pt x="281" y="524"/>
                      </a:lnTo>
                      <a:lnTo>
                        <a:pt x="282" y="524"/>
                      </a:lnTo>
                      <a:lnTo>
                        <a:pt x="282" y="524"/>
                      </a:lnTo>
                      <a:lnTo>
                        <a:pt x="282" y="525"/>
                      </a:lnTo>
                      <a:lnTo>
                        <a:pt x="282" y="525"/>
                      </a:lnTo>
                      <a:lnTo>
                        <a:pt x="282" y="525"/>
                      </a:lnTo>
                      <a:lnTo>
                        <a:pt x="281" y="525"/>
                      </a:lnTo>
                      <a:lnTo>
                        <a:pt x="280" y="525"/>
                      </a:lnTo>
                      <a:lnTo>
                        <a:pt x="280" y="524"/>
                      </a:lnTo>
                      <a:lnTo>
                        <a:pt x="279" y="524"/>
                      </a:lnTo>
                      <a:lnTo>
                        <a:pt x="279" y="524"/>
                      </a:lnTo>
                      <a:lnTo>
                        <a:pt x="279" y="524"/>
                      </a:lnTo>
                      <a:lnTo>
                        <a:pt x="279" y="523"/>
                      </a:lnTo>
                      <a:lnTo>
                        <a:pt x="279" y="523"/>
                      </a:lnTo>
                      <a:lnTo>
                        <a:pt x="279" y="522"/>
                      </a:lnTo>
                      <a:lnTo>
                        <a:pt x="279" y="522"/>
                      </a:lnTo>
                      <a:lnTo>
                        <a:pt x="279" y="522"/>
                      </a:lnTo>
                      <a:lnTo>
                        <a:pt x="279" y="522"/>
                      </a:lnTo>
                      <a:lnTo>
                        <a:pt x="278" y="522"/>
                      </a:lnTo>
                      <a:lnTo>
                        <a:pt x="278" y="523"/>
                      </a:lnTo>
                      <a:lnTo>
                        <a:pt x="278" y="524"/>
                      </a:lnTo>
                      <a:lnTo>
                        <a:pt x="278" y="524"/>
                      </a:lnTo>
                      <a:lnTo>
                        <a:pt x="277" y="524"/>
                      </a:lnTo>
                      <a:lnTo>
                        <a:pt x="278" y="525"/>
                      </a:lnTo>
                      <a:lnTo>
                        <a:pt x="278" y="526"/>
                      </a:lnTo>
                      <a:lnTo>
                        <a:pt x="277" y="526"/>
                      </a:lnTo>
                      <a:lnTo>
                        <a:pt x="277" y="526"/>
                      </a:lnTo>
                      <a:lnTo>
                        <a:pt x="277" y="526"/>
                      </a:lnTo>
                      <a:lnTo>
                        <a:pt x="277" y="526"/>
                      </a:lnTo>
                      <a:lnTo>
                        <a:pt x="277" y="525"/>
                      </a:lnTo>
                      <a:lnTo>
                        <a:pt x="277" y="524"/>
                      </a:lnTo>
                      <a:lnTo>
                        <a:pt x="277" y="524"/>
                      </a:lnTo>
                      <a:lnTo>
                        <a:pt x="277" y="523"/>
                      </a:lnTo>
                      <a:lnTo>
                        <a:pt x="277" y="522"/>
                      </a:lnTo>
                      <a:lnTo>
                        <a:pt x="276" y="522"/>
                      </a:lnTo>
                      <a:lnTo>
                        <a:pt x="276" y="522"/>
                      </a:lnTo>
                      <a:lnTo>
                        <a:pt x="275" y="521"/>
                      </a:lnTo>
                      <a:lnTo>
                        <a:pt x="275" y="521"/>
                      </a:lnTo>
                      <a:lnTo>
                        <a:pt x="275" y="520"/>
                      </a:lnTo>
                      <a:lnTo>
                        <a:pt x="274" y="520"/>
                      </a:lnTo>
                      <a:lnTo>
                        <a:pt x="274" y="521"/>
                      </a:lnTo>
                      <a:lnTo>
                        <a:pt x="273" y="521"/>
                      </a:lnTo>
                      <a:lnTo>
                        <a:pt x="273" y="520"/>
                      </a:lnTo>
                      <a:lnTo>
                        <a:pt x="273" y="520"/>
                      </a:lnTo>
                      <a:lnTo>
                        <a:pt x="273" y="519"/>
                      </a:lnTo>
                      <a:lnTo>
                        <a:pt x="274" y="519"/>
                      </a:lnTo>
                      <a:lnTo>
                        <a:pt x="274" y="518"/>
                      </a:lnTo>
                      <a:lnTo>
                        <a:pt x="274" y="518"/>
                      </a:lnTo>
                      <a:lnTo>
                        <a:pt x="273" y="517"/>
                      </a:lnTo>
                      <a:lnTo>
                        <a:pt x="273" y="517"/>
                      </a:lnTo>
                      <a:lnTo>
                        <a:pt x="273" y="518"/>
                      </a:lnTo>
                      <a:lnTo>
                        <a:pt x="272" y="518"/>
                      </a:lnTo>
                      <a:lnTo>
                        <a:pt x="272" y="517"/>
                      </a:lnTo>
                      <a:lnTo>
                        <a:pt x="271" y="517"/>
                      </a:lnTo>
                      <a:lnTo>
                        <a:pt x="271" y="517"/>
                      </a:lnTo>
                      <a:lnTo>
                        <a:pt x="270" y="517"/>
                      </a:lnTo>
                      <a:lnTo>
                        <a:pt x="269" y="517"/>
                      </a:lnTo>
                      <a:lnTo>
                        <a:pt x="269" y="517"/>
                      </a:lnTo>
                      <a:lnTo>
                        <a:pt x="269" y="517"/>
                      </a:lnTo>
                      <a:lnTo>
                        <a:pt x="269" y="518"/>
                      </a:lnTo>
                      <a:lnTo>
                        <a:pt x="269" y="518"/>
                      </a:lnTo>
                      <a:lnTo>
                        <a:pt x="269" y="517"/>
                      </a:lnTo>
                      <a:lnTo>
                        <a:pt x="268" y="517"/>
                      </a:lnTo>
                      <a:lnTo>
                        <a:pt x="268" y="516"/>
                      </a:lnTo>
                      <a:lnTo>
                        <a:pt x="267" y="516"/>
                      </a:lnTo>
                      <a:lnTo>
                        <a:pt x="267" y="516"/>
                      </a:lnTo>
                      <a:lnTo>
                        <a:pt x="267" y="515"/>
                      </a:lnTo>
                      <a:lnTo>
                        <a:pt x="267" y="515"/>
                      </a:lnTo>
                      <a:lnTo>
                        <a:pt x="267" y="514"/>
                      </a:lnTo>
                      <a:lnTo>
                        <a:pt x="266" y="514"/>
                      </a:lnTo>
                      <a:lnTo>
                        <a:pt x="266" y="514"/>
                      </a:lnTo>
                      <a:lnTo>
                        <a:pt x="266" y="513"/>
                      </a:lnTo>
                      <a:lnTo>
                        <a:pt x="265" y="513"/>
                      </a:lnTo>
                      <a:lnTo>
                        <a:pt x="265" y="512"/>
                      </a:lnTo>
                      <a:lnTo>
                        <a:pt x="266" y="512"/>
                      </a:lnTo>
                      <a:lnTo>
                        <a:pt x="267" y="512"/>
                      </a:lnTo>
                      <a:lnTo>
                        <a:pt x="267" y="511"/>
                      </a:lnTo>
                      <a:lnTo>
                        <a:pt x="267" y="511"/>
                      </a:lnTo>
                      <a:lnTo>
                        <a:pt x="267" y="511"/>
                      </a:lnTo>
                      <a:lnTo>
                        <a:pt x="267" y="510"/>
                      </a:lnTo>
                      <a:lnTo>
                        <a:pt x="268" y="510"/>
                      </a:lnTo>
                      <a:lnTo>
                        <a:pt x="269" y="509"/>
                      </a:lnTo>
                      <a:lnTo>
                        <a:pt x="269" y="509"/>
                      </a:lnTo>
                      <a:lnTo>
                        <a:pt x="269" y="509"/>
                      </a:lnTo>
                      <a:lnTo>
                        <a:pt x="270" y="509"/>
                      </a:lnTo>
                      <a:lnTo>
                        <a:pt x="270" y="508"/>
                      </a:lnTo>
                      <a:lnTo>
                        <a:pt x="269" y="508"/>
                      </a:lnTo>
                      <a:lnTo>
                        <a:pt x="269" y="508"/>
                      </a:lnTo>
                      <a:lnTo>
                        <a:pt x="268" y="508"/>
                      </a:lnTo>
                      <a:lnTo>
                        <a:pt x="268" y="509"/>
                      </a:lnTo>
                      <a:lnTo>
                        <a:pt x="267" y="509"/>
                      </a:lnTo>
                      <a:lnTo>
                        <a:pt x="267" y="508"/>
                      </a:lnTo>
                      <a:lnTo>
                        <a:pt x="268" y="507"/>
                      </a:lnTo>
                      <a:lnTo>
                        <a:pt x="269" y="507"/>
                      </a:lnTo>
                      <a:lnTo>
                        <a:pt x="269" y="507"/>
                      </a:lnTo>
                      <a:lnTo>
                        <a:pt x="270" y="507"/>
                      </a:lnTo>
                      <a:lnTo>
                        <a:pt x="271" y="507"/>
                      </a:lnTo>
                      <a:lnTo>
                        <a:pt x="271" y="508"/>
                      </a:lnTo>
                      <a:lnTo>
                        <a:pt x="271" y="508"/>
                      </a:lnTo>
                      <a:lnTo>
                        <a:pt x="271" y="507"/>
                      </a:lnTo>
                      <a:lnTo>
                        <a:pt x="271" y="507"/>
                      </a:lnTo>
                      <a:lnTo>
                        <a:pt x="271" y="507"/>
                      </a:lnTo>
                      <a:lnTo>
                        <a:pt x="271" y="507"/>
                      </a:lnTo>
                      <a:lnTo>
                        <a:pt x="271" y="507"/>
                      </a:lnTo>
                      <a:lnTo>
                        <a:pt x="271" y="506"/>
                      </a:lnTo>
                      <a:lnTo>
                        <a:pt x="271" y="505"/>
                      </a:lnTo>
                      <a:lnTo>
                        <a:pt x="271" y="505"/>
                      </a:lnTo>
                      <a:lnTo>
                        <a:pt x="270" y="505"/>
                      </a:lnTo>
                      <a:lnTo>
                        <a:pt x="270" y="504"/>
                      </a:lnTo>
                      <a:lnTo>
                        <a:pt x="269" y="504"/>
                      </a:lnTo>
                      <a:lnTo>
                        <a:pt x="269" y="505"/>
                      </a:lnTo>
                      <a:lnTo>
                        <a:pt x="269" y="504"/>
                      </a:lnTo>
                      <a:lnTo>
                        <a:pt x="269" y="503"/>
                      </a:lnTo>
                      <a:lnTo>
                        <a:pt x="268" y="503"/>
                      </a:lnTo>
                      <a:lnTo>
                        <a:pt x="267" y="503"/>
                      </a:lnTo>
                      <a:lnTo>
                        <a:pt x="267" y="503"/>
                      </a:lnTo>
                      <a:lnTo>
                        <a:pt x="267" y="503"/>
                      </a:lnTo>
                      <a:lnTo>
                        <a:pt x="267" y="503"/>
                      </a:lnTo>
                      <a:lnTo>
                        <a:pt x="267" y="502"/>
                      </a:lnTo>
                      <a:lnTo>
                        <a:pt x="267" y="502"/>
                      </a:lnTo>
                      <a:lnTo>
                        <a:pt x="266" y="501"/>
                      </a:lnTo>
                      <a:lnTo>
                        <a:pt x="265" y="501"/>
                      </a:lnTo>
                      <a:lnTo>
                        <a:pt x="265" y="501"/>
                      </a:lnTo>
                      <a:lnTo>
                        <a:pt x="265" y="501"/>
                      </a:lnTo>
                      <a:lnTo>
                        <a:pt x="265" y="500"/>
                      </a:lnTo>
                      <a:lnTo>
                        <a:pt x="265" y="499"/>
                      </a:lnTo>
                      <a:lnTo>
                        <a:pt x="265" y="499"/>
                      </a:lnTo>
                      <a:lnTo>
                        <a:pt x="265" y="499"/>
                      </a:lnTo>
                      <a:lnTo>
                        <a:pt x="264" y="499"/>
                      </a:lnTo>
                      <a:lnTo>
                        <a:pt x="263" y="499"/>
                      </a:lnTo>
                      <a:lnTo>
                        <a:pt x="263" y="499"/>
                      </a:lnTo>
                      <a:lnTo>
                        <a:pt x="263" y="498"/>
                      </a:lnTo>
                      <a:lnTo>
                        <a:pt x="262" y="498"/>
                      </a:lnTo>
                      <a:lnTo>
                        <a:pt x="261" y="498"/>
                      </a:lnTo>
                      <a:lnTo>
                        <a:pt x="260" y="498"/>
                      </a:lnTo>
                      <a:lnTo>
                        <a:pt x="260" y="497"/>
                      </a:lnTo>
                      <a:lnTo>
                        <a:pt x="260" y="497"/>
                      </a:lnTo>
                      <a:lnTo>
                        <a:pt x="259" y="497"/>
                      </a:lnTo>
                      <a:lnTo>
                        <a:pt x="258" y="497"/>
                      </a:lnTo>
                      <a:lnTo>
                        <a:pt x="258" y="496"/>
                      </a:lnTo>
                      <a:lnTo>
                        <a:pt x="259" y="496"/>
                      </a:lnTo>
                      <a:lnTo>
                        <a:pt x="260" y="495"/>
                      </a:lnTo>
                      <a:lnTo>
                        <a:pt x="260" y="495"/>
                      </a:lnTo>
                      <a:lnTo>
                        <a:pt x="260" y="495"/>
                      </a:lnTo>
                      <a:lnTo>
                        <a:pt x="260" y="495"/>
                      </a:lnTo>
                      <a:lnTo>
                        <a:pt x="259" y="495"/>
                      </a:lnTo>
                      <a:lnTo>
                        <a:pt x="258" y="495"/>
                      </a:lnTo>
                      <a:lnTo>
                        <a:pt x="258" y="495"/>
                      </a:lnTo>
                      <a:lnTo>
                        <a:pt x="257" y="495"/>
                      </a:lnTo>
                      <a:lnTo>
                        <a:pt x="256" y="495"/>
                      </a:lnTo>
                      <a:lnTo>
                        <a:pt x="256" y="494"/>
                      </a:lnTo>
                      <a:lnTo>
                        <a:pt x="256" y="493"/>
                      </a:lnTo>
                      <a:lnTo>
                        <a:pt x="256" y="492"/>
                      </a:lnTo>
                      <a:lnTo>
                        <a:pt x="255" y="492"/>
                      </a:lnTo>
                      <a:lnTo>
                        <a:pt x="255" y="491"/>
                      </a:lnTo>
                      <a:lnTo>
                        <a:pt x="256" y="491"/>
                      </a:lnTo>
                      <a:lnTo>
                        <a:pt x="256" y="491"/>
                      </a:lnTo>
                      <a:lnTo>
                        <a:pt x="256" y="490"/>
                      </a:lnTo>
                      <a:lnTo>
                        <a:pt x="256" y="490"/>
                      </a:lnTo>
                      <a:lnTo>
                        <a:pt x="256" y="490"/>
                      </a:lnTo>
                      <a:lnTo>
                        <a:pt x="255" y="490"/>
                      </a:lnTo>
                      <a:lnTo>
                        <a:pt x="255" y="489"/>
                      </a:lnTo>
                      <a:lnTo>
                        <a:pt x="255" y="488"/>
                      </a:lnTo>
                      <a:lnTo>
                        <a:pt x="256" y="488"/>
                      </a:lnTo>
                      <a:lnTo>
                        <a:pt x="256" y="488"/>
                      </a:lnTo>
                      <a:lnTo>
                        <a:pt x="256" y="488"/>
                      </a:lnTo>
                      <a:lnTo>
                        <a:pt x="256" y="487"/>
                      </a:lnTo>
                      <a:lnTo>
                        <a:pt x="256" y="487"/>
                      </a:lnTo>
                      <a:lnTo>
                        <a:pt x="255" y="487"/>
                      </a:lnTo>
                      <a:lnTo>
                        <a:pt x="254" y="487"/>
                      </a:lnTo>
                      <a:lnTo>
                        <a:pt x="254" y="488"/>
                      </a:lnTo>
                      <a:lnTo>
                        <a:pt x="254" y="488"/>
                      </a:lnTo>
                      <a:lnTo>
                        <a:pt x="254" y="487"/>
                      </a:lnTo>
                      <a:lnTo>
                        <a:pt x="254" y="486"/>
                      </a:lnTo>
                      <a:lnTo>
                        <a:pt x="254" y="486"/>
                      </a:lnTo>
                      <a:lnTo>
                        <a:pt x="254" y="485"/>
                      </a:lnTo>
                      <a:lnTo>
                        <a:pt x="253" y="485"/>
                      </a:lnTo>
                      <a:lnTo>
                        <a:pt x="253" y="484"/>
                      </a:lnTo>
                      <a:lnTo>
                        <a:pt x="252" y="484"/>
                      </a:lnTo>
                      <a:lnTo>
                        <a:pt x="252" y="484"/>
                      </a:lnTo>
                      <a:lnTo>
                        <a:pt x="252" y="484"/>
                      </a:lnTo>
                      <a:lnTo>
                        <a:pt x="252" y="483"/>
                      </a:lnTo>
                      <a:lnTo>
                        <a:pt x="251" y="483"/>
                      </a:lnTo>
                      <a:lnTo>
                        <a:pt x="251" y="482"/>
                      </a:lnTo>
                      <a:lnTo>
                        <a:pt x="250" y="482"/>
                      </a:lnTo>
                      <a:lnTo>
                        <a:pt x="250" y="482"/>
                      </a:lnTo>
                      <a:lnTo>
                        <a:pt x="250" y="481"/>
                      </a:lnTo>
                      <a:lnTo>
                        <a:pt x="250" y="480"/>
                      </a:lnTo>
                      <a:lnTo>
                        <a:pt x="251" y="480"/>
                      </a:lnTo>
                      <a:lnTo>
                        <a:pt x="251" y="480"/>
                      </a:lnTo>
                      <a:lnTo>
                        <a:pt x="251" y="479"/>
                      </a:lnTo>
                      <a:lnTo>
                        <a:pt x="251" y="478"/>
                      </a:lnTo>
                      <a:lnTo>
                        <a:pt x="251" y="478"/>
                      </a:lnTo>
                      <a:lnTo>
                        <a:pt x="250" y="478"/>
                      </a:lnTo>
                      <a:lnTo>
                        <a:pt x="250" y="477"/>
                      </a:lnTo>
                      <a:lnTo>
                        <a:pt x="250" y="476"/>
                      </a:lnTo>
                      <a:lnTo>
                        <a:pt x="251" y="476"/>
                      </a:lnTo>
                      <a:lnTo>
                        <a:pt x="251" y="476"/>
                      </a:lnTo>
                      <a:lnTo>
                        <a:pt x="251" y="475"/>
                      </a:lnTo>
                      <a:lnTo>
                        <a:pt x="250" y="475"/>
                      </a:lnTo>
                      <a:lnTo>
                        <a:pt x="250" y="474"/>
                      </a:lnTo>
                      <a:lnTo>
                        <a:pt x="250" y="474"/>
                      </a:lnTo>
                      <a:lnTo>
                        <a:pt x="251" y="473"/>
                      </a:lnTo>
                      <a:lnTo>
                        <a:pt x="251" y="472"/>
                      </a:lnTo>
                      <a:lnTo>
                        <a:pt x="250" y="472"/>
                      </a:lnTo>
                      <a:lnTo>
                        <a:pt x="250" y="472"/>
                      </a:lnTo>
                      <a:lnTo>
                        <a:pt x="250" y="473"/>
                      </a:lnTo>
                      <a:lnTo>
                        <a:pt x="249" y="473"/>
                      </a:lnTo>
                      <a:lnTo>
                        <a:pt x="249" y="474"/>
                      </a:lnTo>
                      <a:lnTo>
                        <a:pt x="248" y="474"/>
                      </a:lnTo>
                      <a:lnTo>
                        <a:pt x="248" y="473"/>
                      </a:lnTo>
                      <a:lnTo>
                        <a:pt x="248" y="472"/>
                      </a:lnTo>
                      <a:lnTo>
                        <a:pt x="249" y="472"/>
                      </a:lnTo>
                      <a:lnTo>
                        <a:pt x="249" y="471"/>
                      </a:lnTo>
                      <a:lnTo>
                        <a:pt x="249" y="471"/>
                      </a:lnTo>
                      <a:lnTo>
                        <a:pt x="248" y="471"/>
                      </a:lnTo>
                      <a:lnTo>
                        <a:pt x="248" y="470"/>
                      </a:lnTo>
                      <a:lnTo>
                        <a:pt x="248" y="471"/>
                      </a:lnTo>
                      <a:lnTo>
                        <a:pt x="247" y="471"/>
                      </a:lnTo>
                      <a:lnTo>
                        <a:pt x="247" y="471"/>
                      </a:lnTo>
                      <a:lnTo>
                        <a:pt x="246" y="471"/>
                      </a:lnTo>
                      <a:lnTo>
                        <a:pt x="246" y="471"/>
                      </a:lnTo>
                      <a:lnTo>
                        <a:pt x="246" y="470"/>
                      </a:lnTo>
                      <a:lnTo>
                        <a:pt x="247" y="470"/>
                      </a:lnTo>
                      <a:lnTo>
                        <a:pt x="246" y="469"/>
                      </a:lnTo>
                      <a:lnTo>
                        <a:pt x="247" y="469"/>
                      </a:lnTo>
                      <a:lnTo>
                        <a:pt x="247" y="469"/>
                      </a:lnTo>
                      <a:lnTo>
                        <a:pt x="248" y="469"/>
                      </a:lnTo>
                      <a:lnTo>
                        <a:pt x="248" y="469"/>
                      </a:lnTo>
                      <a:lnTo>
                        <a:pt x="248" y="469"/>
                      </a:lnTo>
                      <a:lnTo>
                        <a:pt x="248" y="469"/>
                      </a:lnTo>
                      <a:lnTo>
                        <a:pt x="248" y="468"/>
                      </a:lnTo>
                      <a:lnTo>
                        <a:pt x="248" y="468"/>
                      </a:lnTo>
                      <a:lnTo>
                        <a:pt x="248" y="467"/>
                      </a:lnTo>
                      <a:lnTo>
                        <a:pt x="248" y="467"/>
                      </a:lnTo>
                      <a:lnTo>
                        <a:pt x="248" y="467"/>
                      </a:lnTo>
                      <a:lnTo>
                        <a:pt x="248" y="466"/>
                      </a:lnTo>
                      <a:lnTo>
                        <a:pt x="249" y="466"/>
                      </a:lnTo>
                      <a:lnTo>
                        <a:pt x="249" y="465"/>
                      </a:lnTo>
                      <a:lnTo>
                        <a:pt x="249" y="465"/>
                      </a:lnTo>
                      <a:lnTo>
                        <a:pt x="248" y="465"/>
                      </a:lnTo>
                      <a:lnTo>
                        <a:pt x="248" y="464"/>
                      </a:lnTo>
                      <a:lnTo>
                        <a:pt x="248" y="463"/>
                      </a:lnTo>
                      <a:lnTo>
                        <a:pt x="247" y="463"/>
                      </a:lnTo>
                      <a:lnTo>
                        <a:pt x="248" y="463"/>
                      </a:lnTo>
                      <a:lnTo>
                        <a:pt x="248" y="463"/>
                      </a:lnTo>
                      <a:lnTo>
                        <a:pt x="248" y="463"/>
                      </a:lnTo>
                      <a:lnTo>
                        <a:pt x="248" y="462"/>
                      </a:lnTo>
                      <a:lnTo>
                        <a:pt x="249" y="462"/>
                      </a:lnTo>
                      <a:lnTo>
                        <a:pt x="249" y="461"/>
                      </a:lnTo>
                      <a:lnTo>
                        <a:pt x="250" y="461"/>
                      </a:lnTo>
                      <a:lnTo>
                        <a:pt x="249" y="461"/>
                      </a:lnTo>
                      <a:lnTo>
                        <a:pt x="249" y="461"/>
                      </a:lnTo>
                      <a:lnTo>
                        <a:pt x="248" y="461"/>
                      </a:lnTo>
                      <a:lnTo>
                        <a:pt x="248" y="461"/>
                      </a:lnTo>
                      <a:lnTo>
                        <a:pt x="247" y="461"/>
                      </a:lnTo>
                      <a:lnTo>
                        <a:pt x="247" y="460"/>
                      </a:lnTo>
                      <a:lnTo>
                        <a:pt x="246" y="460"/>
                      </a:lnTo>
                      <a:lnTo>
                        <a:pt x="246" y="460"/>
                      </a:lnTo>
                      <a:lnTo>
                        <a:pt x="246" y="459"/>
                      </a:lnTo>
                      <a:lnTo>
                        <a:pt x="245" y="459"/>
                      </a:lnTo>
                      <a:lnTo>
                        <a:pt x="244" y="459"/>
                      </a:lnTo>
                      <a:lnTo>
                        <a:pt x="244" y="459"/>
                      </a:lnTo>
                      <a:lnTo>
                        <a:pt x="243" y="459"/>
                      </a:lnTo>
                      <a:lnTo>
                        <a:pt x="243" y="459"/>
                      </a:lnTo>
                      <a:lnTo>
                        <a:pt x="243" y="458"/>
                      </a:lnTo>
                      <a:lnTo>
                        <a:pt x="243" y="457"/>
                      </a:lnTo>
                      <a:lnTo>
                        <a:pt x="242" y="457"/>
                      </a:lnTo>
                      <a:lnTo>
                        <a:pt x="242" y="457"/>
                      </a:lnTo>
                      <a:lnTo>
                        <a:pt x="242" y="456"/>
                      </a:lnTo>
                      <a:lnTo>
                        <a:pt x="241" y="456"/>
                      </a:lnTo>
                      <a:lnTo>
                        <a:pt x="241" y="456"/>
                      </a:lnTo>
                      <a:lnTo>
                        <a:pt x="241" y="457"/>
                      </a:lnTo>
                      <a:lnTo>
                        <a:pt x="241" y="457"/>
                      </a:lnTo>
                      <a:lnTo>
                        <a:pt x="240" y="457"/>
                      </a:lnTo>
                      <a:lnTo>
                        <a:pt x="240" y="457"/>
                      </a:lnTo>
                      <a:lnTo>
                        <a:pt x="239" y="457"/>
                      </a:lnTo>
                      <a:lnTo>
                        <a:pt x="240" y="457"/>
                      </a:lnTo>
                      <a:lnTo>
                        <a:pt x="240" y="456"/>
                      </a:lnTo>
                      <a:lnTo>
                        <a:pt x="240" y="455"/>
                      </a:lnTo>
                      <a:lnTo>
                        <a:pt x="241" y="455"/>
                      </a:lnTo>
                      <a:lnTo>
                        <a:pt x="241" y="455"/>
                      </a:lnTo>
                      <a:lnTo>
                        <a:pt x="241" y="454"/>
                      </a:lnTo>
                      <a:lnTo>
                        <a:pt x="241" y="453"/>
                      </a:lnTo>
                      <a:lnTo>
                        <a:pt x="241" y="453"/>
                      </a:lnTo>
                      <a:lnTo>
                        <a:pt x="242" y="454"/>
                      </a:lnTo>
                      <a:lnTo>
                        <a:pt x="243" y="454"/>
                      </a:lnTo>
                      <a:lnTo>
                        <a:pt x="243" y="453"/>
                      </a:lnTo>
                      <a:lnTo>
                        <a:pt x="243" y="452"/>
                      </a:lnTo>
                      <a:lnTo>
                        <a:pt x="243" y="452"/>
                      </a:lnTo>
                      <a:lnTo>
                        <a:pt x="242" y="452"/>
                      </a:lnTo>
                      <a:lnTo>
                        <a:pt x="241" y="452"/>
                      </a:lnTo>
                      <a:lnTo>
                        <a:pt x="241" y="451"/>
                      </a:lnTo>
                      <a:lnTo>
                        <a:pt x="242" y="451"/>
                      </a:lnTo>
                      <a:lnTo>
                        <a:pt x="242" y="450"/>
                      </a:lnTo>
                      <a:lnTo>
                        <a:pt x="242" y="450"/>
                      </a:lnTo>
                      <a:lnTo>
                        <a:pt x="241" y="450"/>
                      </a:lnTo>
                      <a:lnTo>
                        <a:pt x="241" y="449"/>
                      </a:lnTo>
                      <a:lnTo>
                        <a:pt x="241" y="449"/>
                      </a:lnTo>
                      <a:lnTo>
                        <a:pt x="241" y="448"/>
                      </a:lnTo>
                      <a:lnTo>
                        <a:pt x="241" y="448"/>
                      </a:lnTo>
                      <a:lnTo>
                        <a:pt x="240" y="447"/>
                      </a:lnTo>
                      <a:lnTo>
                        <a:pt x="240" y="448"/>
                      </a:lnTo>
                      <a:lnTo>
                        <a:pt x="239" y="448"/>
                      </a:lnTo>
                      <a:lnTo>
                        <a:pt x="239" y="448"/>
                      </a:lnTo>
                      <a:lnTo>
                        <a:pt x="239" y="447"/>
                      </a:lnTo>
                      <a:lnTo>
                        <a:pt x="238" y="446"/>
                      </a:lnTo>
                      <a:lnTo>
                        <a:pt x="239" y="446"/>
                      </a:lnTo>
                      <a:lnTo>
                        <a:pt x="238" y="446"/>
                      </a:lnTo>
                      <a:lnTo>
                        <a:pt x="238" y="445"/>
                      </a:lnTo>
                      <a:lnTo>
                        <a:pt x="238" y="446"/>
                      </a:lnTo>
                      <a:lnTo>
                        <a:pt x="237" y="446"/>
                      </a:lnTo>
                      <a:lnTo>
                        <a:pt x="237" y="446"/>
                      </a:lnTo>
                      <a:lnTo>
                        <a:pt x="237" y="445"/>
                      </a:lnTo>
                      <a:lnTo>
                        <a:pt x="237" y="444"/>
                      </a:lnTo>
                      <a:lnTo>
                        <a:pt x="236" y="444"/>
                      </a:lnTo>
                      <a:lnTo>
                        <a:pt x="236" y="445"/>
                      </a:lnTo>
                      <a:lnTo>
                        <a:pt x="235" y="445"/>
                      </a:lnTo>
                      <a:lnTo>
                        <a:pt x="235" y="446"/>
                      </a:lnTo>
                      <a:lnTo>
                        <a:pt x="235" y="446"/>
                      </a:lnTo>
                      <a:lnTo>
                        <a:pt x="235" y="445"/>
                      </a:lnTo>
                      <a:lnTo>
                        <a:pt x="235" y="444"/>
                      </a:lnTo>
                      <a:lnTo>
                        <a:pt x="234" y="444"/>
                      </a:lnTo>
                      <a:lnTo>
                        <a:pt x="234" y="444"/>
                      </a:lnTo>
                      <a:lnTo>
                        <a:pt x="233" y="444"/>
                      </a:lnTo>
                      <a:lnTo>
                        <a:pt x="233" y="444"/>
                      </a:lnTo>
                      <a:lnTo>
                        <a:pt x="233" y="444"/>
                      </a:lnTo>
                      <a:lnTo>
                        <a:pt x="232" y="444"/>
                      </a:lnTo>
                      <a:lnTo>
                        <a:pt x="232" y="445"/>
                      </a:lnTo>
                      <a:lnTo>
                        <a:pt x="231" y="445"/>
                      </a:lnTo>
                      <a:lnTo>
                        <a:pt x="231" y="445"/>
                      </a:lnTo>
                      <a:lnTo>
                        <a:pt x="231" y="446"/>
                      </a:lnTo>
                      <a:lnTo>
                        <a:pt x="230" y="446"/>
                      </a:lnTo>
                      <a:lnTo>
                        <a:pt x="230" y="446"/>
                      </a:lnTo>
                      <a:lnTo>
                        <a:pt x="230" y="446"/>
                      </a:lnTo>
                      <a:lnTo>
                        <a:pt x="229" y="446"/>
                      </a:lnTo>
                      <a:lnTo>
                        <a:pt x="229" y="445"/>
                      </a:lnTo>
                      <a:lnTo>
                        <a:pt x="229" y="444"/>
                      </a:lnTo>
                      <a:lnTo>
                        <a:pt x="229" y="444"/>
                      </a:lnTo>
                      <a:lnTo>
                        <a:pt x="229" y="444"/>
                      </a:lnTo>
                      <a:lnTo>
                        <a:pt x="228" y="444"/>
                      </a:lnTo>
                      <a:lnTo>
                        <a:pt x="227" y="444"/>
                      </a:lnTo>
                      <a:lnTo>
                        <a:pt x="227" y="443"/>
                      </a:lnTo>
                      <a:lnTo>
                        <a:pt x="228" y="443"/>
                      </a:lnTo>
                      <a:lnTo>
                        <a:pt x="229" y="442"/>
                      </a:lnTo>
                      <a:lnTo>
                        <a:pt x="229" y="442"/>
                      </a:lnTo>
                      <a:lnTo>
                        <a:pt x="229" y="441"/>
                      </a:lnTo>
                      <a:lnTo>
                        <a:pt x="229" y="441"/>
                      </a:lnTo>
                      <a:lnTo>
                        <a:pt x="229" y="440"/>
                      </a:lnTo>
                      <a:lnTo>
                        <a:pt x="229" y="440"/>
                      </a:lnTo>
                      <a:lnTo>
                        <a:pt x="229" y="439"/>
                      </a:lnTo>
                      <a:lnTo>
                        <a:pt x="228" y="439"/>
                      </a:lnTo>
                      <a:lnTo>
                        <a:pt x="228" y="438"/>
                      </a:lnTo>
                      <a:lnTo>
                        <a:pt x="229" y="438"/>
                      </a:lnTo>
                      <a:lnTo>
                        <a:pt x="228" y="437"/>
                      </a:lnTo>
                      <a:lnTo>
                        <a:pt x="227" y="436"/>
                      </a:lnTo>
                      <a:lnTo>
                        <a:pt x="228" y="436"/>
                      </a:lnTo>
                      <a:lnTo>
                        <a:pt x="229" y="435"/>
                      </a:lnTo>
                      <a:lnTo>
                        <a:pt x="229" y="434"/>
                      </a:lnTo>
                      <a:lnTo>
                        <a:pt x="228" y="433"/>
                      </a:lnTo>
                      <a:lnTo>
                        <a:pt x="228" y="433"/>
                      </a:lnTo>
                      <a:lnTo>
                        <a:pt x="227" y="433"/>
                      </a:lnTo>
                      <a:lnTo>
                        <a:pt x="227" y="432"/>
                      </a:lnTo>
                      <a:lnTo>
                        <a:pt x="227" y="431"/>
                      </a:lnTo>
                      <a:lnTo>
                        <a:pt x="228" y="431"/>
                      </a:lnTo>
                      <a:lnTo>
                        <a:pt x="228" y="431"/>
                      </a:lnTo>
                      <a:lnTo>
                        <a:pt x="228" y="430"/>
                      </a:lnTo>
                      <a:lnTo>
                        <a:pt x="227" y="430"/>
                      </a:lnTo>
                      <a:lnTo>
                        <a:pt x="227" y="429"/>
                      </a:lnTo>
                      <a:lnTo>
                        <a:pt x="227" y="429"/>
                      </a:lnTo>
                      <a:lnTo>
                        <a:pt x="227" y="428"/>
                      </a:lnTo>
                      <a:lnTo>
                        <a:pt x="227" y="428"/>
                      </a:lnTo>
                      <a:lnTo>
                        <a:pt x="227" y="429"/>
                      </a:lnTo>
                      <a:lnTo>
                        <a:pt x="226" y="429"/>
                      </a:lnTo>
                      <a:lnTo>
                        <a:pt x="226" y="428"/>
                      </a:lnTo>
                      <a:lnTo>
                        <a:pt x="225" y="428"/>
                      </a:lnTo>
                      <a:lnTo>
                        <a:pt x="226" y="427"/>
                      </a:lnTo>
                      <a:lnTo>
                        <a:pt x="226" y="427"/>
                      </a:lnTo>
                      <a:lnTo>
                        <a:pt x="227" y="426"/>
                      </a:lnTo>
                      <a:lnTo>
                        <a:pt x="227" y="425"/>
                      </a:lnTo>
                      <a:lnTo>
                        <a:pt x="226" y="425"/>
                      </a:lnTo>
                      <a:lnTo>
                        <a:pt x="226" y="425"/>
                      </a:lnTo>
                      <a:lnTo>
                        <a:pt x="225" y="425"/>
                      </a:lnTo>
                      <a:lnTo>
                        <a:pt x="225" y="424"/>
                      </a:lnTo>
                      <a:lnTo>
                        <a:pt x="225" y="424"/>
                      </a:lnTo>
                      <a:lnTo>
                        <a:pt x="225" y="423"/>
                      </a:lnTo>
                      <a:lnTo>
                        <a:pt x="224" y="424"/>
                      </a:lnTo>
                      <a:lnTo>
                        <a:pt x="224" y="423"/>
                      </a:lnTo>
                      <a:lnTo>
                        <a:pt x="224" y="423"/>
                      </a:lnTo>
                      <a:lnTo>
                        <a:pt x="225" y="423"/>
                      </a:lnTo>
                      <a:lnTo>
                        <a:pt x="225" y="423"/>
                      </a:lnTo>
                      <a:lnTo>
                        <a:pt x="225" y="422"/>
                      </a:lnTo>
                      <a:lnTo>
                        <a:pt x="225" y="421"/>
                      </a:lnTo>
                      <a:lnTo>
                        <a:pt x="225" y="421"/>
                      </a:lnTo>
                      <a:lnTo>
                        <a:pt x="224" y="421"/>
                      </a:lnTo>
                      <a:lnTo>
                        <a:pt x="224" y="420"/>
                      </a:lnTo>
                      <a:lnTo>
                        <a:pt x="224" y="419"/>
                      </a:lnTo>
                      <a:lnTo>
                        <a:pt x="223" y="419"/>
                      </a:lnTo>
                      <a:lnTo>
                        <a:pt x="223" y="420"/>
                      </a:lnTo>
                      <a:lnTo>
                        <a:pt x="222" y="420"/>
                      </a:lnTo>
                      <a:lnTo>
                        <a:pt x="222" y="419"/>
                      </a:lnTo>
                      <a:lnTo>
                        <a:pt x="222" y="419"/>
                      </a:lnTo>
                      <a:lnTo>
                        <a:pt x="222" y="418"/>
                      </a:lnTo>
                      <a:lnTo>
                        <a:pt x="223" y="418"/>
                      </a:lnTo>
                      <a:lnTo>
                        <a:pt x="223" y="417"/>
                      </a:lnTo>
                      <a:lnTo>
                        <a:pt x="224" y="417"/>
                      </a:lnTo>
                      <a:lnTo>
                        <a:pt x="225" y="417"/>
                      </a:lnTo>
                      <a:lnTo>
                        <a:pt x="225" y="417"/>
                      </a:lnTo>
                      <a:lnTo>
                        <a:pt x="225" y="417"/>
                      </a:lnTo>
                      <a:lnTo>
                        <a:pt x="226" y="417"/>
                      </a:lnTo>
                      <a:lnTo>
                        <a:pt x="227" y="416"/>
                      </a:lnTo>
                      <a:lnTo>
                        <a:pt x="228" y="415"/>
                      </a:lnTo>
                      <a:lnTo>
                        <a:pt x="229" y="415"/>
                      </a:lnTo>
                      <a:lnTo>
                        <a:pt x="229" y="414"/>
                      </a:lnTo>
                      <a:lnTo>
                        <a:pt x="229" y="414"/>
                      </a:lnTo>
                      <a:lnTo>
                        <a:pt x="230" y="413"/>
                      </a:lnTo>
                      <a:lnTo>
                        <a:pt x="230" y="412"/>
                      </a:lnTo>
                      <a:lnTo>
                        <a:pt x="231" y="412"/>
                      </a:lnTo>
                      <a:lnTo>
                        <a:pt x="231" y="412"/>
                      </a:lnTo>
                      <a:lnTo>
                        <a:pt x="232" y="411"/>
                      </a:lnTo>
                      <a:lnTo>
                        <a:pt x="233" y="411"/>
                      </a:lnTo>
                      <a:lnTo>
                        <a:pt x="233" y="410"/>
                      </a:lnTo>
                      <a:lnTo>
                        <a:pt x="234" y="410"/>
                      </a:lnTo>
                      <a:lnTo>
                        <a:pt x="234" y="410"/>
                      </a:lnTo>
                      <a:lnTo>
                        <a:pt x="233" y="410"/>
                      </a:lnTo>
                      <a:lnTo>
                        <a:pt x="233" y="409"/>
                      </a:lnTo>
                      <a:lnTo>
                        <a:pt x="233" y="409"/>
                      </a:lnTo>
                      <a:lnTo>
                        <a:pt x="233" y="408"/>
                      </a:lnTo>
                      <a:lnTo>
                        <a:pt x="232" y="408"/>
                      </a:lnTo>
                      <a:lnTo>
                        <a:pt x="231" y="408"/>
                      </a:lnTo>
                      <a:lnTo>
                        <a:pt x="231" y="408"/>
                      </a:lnTo>
                      <a:lnTo>
                        <a:pt x="231" y="408"/>
                      </a:lnTo>
                      <a:lnTo>
                        <a:pt x="230" y="408"/>
                      </a:lnTo>
                      <a:lnTo>
                        <a:pt x="230" y="407"/>
                      </a:lnTo>
                      <a:lnTo>
                        <a:pt x="229" y="407"/>
                      </a:lnTo>
                      <a:lnTo>
                        <a:pt x="229" y="406"/>
                      </a:lnTo>
                      <a:lnTo>
                        <a:pt x="229" y="406"/>
                      </a:lnTo>
                      <a:lnTo>
                        <a:pt x="228" y="406"/>
                      </a:lnTo>
                      <a:lnTo>
                        <a:pt x="228" y="405"/>
                      </a:lnTo>
                      <a:lnTo>
                        <a:pt x="229" y="405"/>
                      </a:lnTo>
                      <a:lnTo>
                        <a:pt x="229" y="404"/>
                      </a:lnTo>
                      <a:lnTo>
                        <a:pt x="229" y="404"/>
                      </a:lnTo>
                      <a:lnTo>
                        <a:pt x="230" y="404"/>
                      </a:lnTo>
                      <a:lnTo>
                        <a:pt x="231" y="404"/>
                      </a:lnTo>
                      <a:lnTo>
                        <a:pt x="231" y="404"/>
                      </a:lnTo>
                      <a:lnTo>
                        <a:pt x="231" y="403"/>
                      </a:lnTo>
                      <a:lnTo>
                        <a:pt x="231" y="402"/>
                      </a:lnTo>
                      <a:lnTo>
                        <a:pt x="231" y="402"/>
                      </a:lnTo>
                      <a:lnTo>
                        <a:pt x="232" y="402"/>
                      </a:lnTo>
                      <a:lnTo>
                        <a:pt x="232" y="402"/>
                      </a:lnTo>
                      <a:lnTo>
                        <a:pt x="233" y="402"/>
                      </a:lnTo>
                      <a:lnTo>
                        <a:pt x="233" y="401"/>
                      </a:lnTo>
                      <a:lnTo>
                        <a:pt x="233" y="400"/>
                      </a:lnTo>
                      <a:lnTo>
                        <a:pt x="233" y="400"/>
                      </a:lnTo>
                      <a:lnTo>
                        <a:pt x="233" y="399"/>
                      </a:lnTo>
                      <a:lnTo>
                        <a:pt x="233" y="398"/>
                      </a:lnTo>
                      <a:lnTo>
                        <a:pt x="233" y="398"/>
                      </a:lnTo>
                      <a:lnTo>
                        <a:pt x="233" y="398"/>
                      </a:lnTo>
                      <a:lnTo>
                        <a:pt x="233" y="398"/>
                      </a:lnTo>
                      <a:lnTo>
                        <a:pt x="232" y="398"/>
                      </a:lnTo>
                      <a:lnTo>
                        <a:pt x="232" y="397"/>
                      </a:lnTo>
                      <a:lnTo>
                        <a:pt x="232" y="396"/>
                      </a:lnTo>
                      <a:lnTo>
                        <a:pt x="232" y="396"/>
                      </a:lnTo>
                      <a:lnTo>
                        <a:pt x="232" y="395"/>
                      </a:lnTo>
                      <a:lnTo>
                        <a:pt x="233" y="394"/>
                      </a:lnTo>
                      <a:lnTo>
                        <a:pt x="233" y="393"/>
                      </a:lnTo>
                      <a:lnTo>
                        <a:pt x="233" y="393"/>
                      </a:lnTo>
                      <a:lnTo>
                        <a:pt x="232" y="392"/>
                      </a:lnTo>
                      <a:lnTo>
                        <a:pt x="232" y="391"/>
                      </a:lnTo>
                      <a:lnTo>
                        <a:pt x="231" y="391"/>
                      </a:lnTo>
                      <a:lnTo>
                        <a:pt x="231" y="391"/>
                      </a:lnTo>
                      <a:lnTo>
                        <a:pt x="231" y="390"/>
                      </a:lnTo>
                      <a:lnTo>
                        <a:pt x="231" y="390"/>
                      </a:lnTo>
                      <a:lnTo>
                        <a:pt x="230" y="390"/>
                      </a:lnTo>
                      <a:lnTo>
                        <a:pt x="230" y="389"/>
                      </a:lnTo>
                      <a:lnTo>
                        <a:pt x="230" y="389"/>
                      </a:lnTo>
                      <a:lnTo>
                        <a:pt x="231" y="389"/>
                      </a:lnTo>
                      <a:lnTo>
                        <a:pt x="231" y="389"/>
                      </a:lnTo>
                      <a:lnTo>
                        <a:pt x="231" y="388"/>
                      </a:lnTo>
                      <a:lnTo>
                        <a:pt x="231" y="388"/>
                      </a:lnTo>
                      <a:lnTo>
                        <a:pt x="231" y="387"/>
                      </a:lnTo>
                      <a:lnTo>
                        <a:pt x="230" y="387"/>
                      </a:lnTo>
                      <a:lnTo>
                        <a:pt x="230" y="387"/>
                      </a:lnTo>
                      <a:lnTo>
                        <a:pt x="230" y="386"/>
                      </a:lnTo>
                      <a:lnTo>
                        <a:pt x="230" y="385"/>
                      </a:lnTo>
                      <a:lnTo>
                        <a:pt x="229" y="385"/>
                      </a:lnTo>
                      <a:lnTo>
                        <a:pt x="230" y="385"/>
                      </a:lnTo>
                      <a:lnTo>
                        <a:pt x="230" y="384"/>
                      </a:lnTo>
                      <a:lnTo>
                        <a:pt x="229" y="384"/>
                      </a:lnTo>
                      <a:lnTo>
                        <a:pt x="229" y="383"/>
                      </a:lnTo>
                      <a:lnTo>
                        <a:pt x="229" y="384"/>
                      </a:lnTo>
                      <a:lnTo>
                        <a:pt x="229" y="384"/>
                      </a:lnTo>
                      <a:lnTo>
                        <a:pt x="228" y="383"/>
                      </a:lnTo>
                      <a:lnTo>
                        <a:pt x="228" y="383"/>
                      </a:lnTo>
                      <a:lnTo>
                        <a:pt x="227" y="383"/>
                      </a:lnTo>
                      <a:lnTo>
                        <a:pt x="227" y="382"/>
                      </a:lnTo>
                      <a:lnTo>
                        <a:pt x="228" y="382"/>
                      </a:lnTo>
                      <a:lnTo>
                        <a:pt x="228" y="381"/>
                      </a:lnTo>
                      <a:lnTo>
                        <a:pt x="228" y="381"/>
                      </a:lnTo>
                      <a:lnTo>
                        <a:pt x="229" y="381"/>
                      </a:lnTo>
                      <a:lnTo>
                        <a:pt x="229" y="380"/>
                      </a:lnTo>
                      <a:lnTo>
                        <a:pt x="229" y="379"/>
                      </a:lnTo>
                      <a:lnTo>
                        <a:pt x="229" y="379"/>
                      </a:lnTo>
                      <a:lnTo>
                        <a:pt x="228" y="379"/>
                      </a:lnTo>
                      <a:lnTo>
                        <a:pt x="228" y="379"/>
                      </a:lnTo>
                      <a:lnTo>
                        <a:pt x="227" y="379"/>
                      </a:lnTo>
                      <a:lnTo>
                        <a:pt x="227" y="379"/>
                      </a:lnTo>
                      <a:lnTo>
                        <a:pt x="228" y="379"/>
                      </a:lnTo>
                      <a:lnTo>
                        <a:pt x="228" y="378"/>
                      </a:lnTo>
                      <a:lnTo>
                        <a:pt x="228" y="377"/>
                      </a:lnTo>
                      <a:lnTo>
                        <a:pt x="227" y="377"/>
                      </a:lnTo>
                      <a:lnTo>
                        <a:pt x="227" y="377"/>
                      </a:lnTo>
                      <a:lnTo>
                        <a:pt x="227" y="376"/>
                      </a:lnTo>
                      <a:lnTo>
                        <a:pt x="227" y="376"/>
                      </a:lnTo>
                      <a:lnTo>
                        <a:pt x="227" y="375"/>
                      </a:lnTo>
                      <a:lnTo>
                        <a:pt x="227" y="374"/>
                      </a:lnTo>
                      <a:lnTo>
                        <a:pt x="228" y="374"/>
                      </a:lnTo>
                      <a:lnTo>
                        <a:pt x="228" y="374"/>
                      </a:lnTo>
                      <a:lnTo>
                        <a:pt x="229" y="374"/>
                      </a:lnTo>
                      <a:lnTo>
                        <a:pt x="228" y="374"/>
                      </a:lnTo>
                      <a:lnTo>
                        <a:pt x="228" y="373"/>
                      </a:lnTo>
                      <a:lnTo>
                        <a:pt x="228" y="372"/>
                      </a:lnTo>
                      <a:lnTo>
                        <a:pt x="228" y="372"/>
                      </a:lnTo>
                      <a:lnTo>
                        <a:pt x="227" y="371"/>
                      </a:lnTo>
                      <a:lnTo>
                        <a:pt x="227" y="370"/>
                      </a:lnTo>
                      <a:lnTo>
                        <a:pt x="227" y="370"/>
                      </a:lnTo>
                      <a:lnTo>
                        <a:pt x="227" y="370"/>
                      </a:lnTo>
                      <a:lnTo>
                        <a:pt x="227" y="369"/>
                      </a:lnTo>
                      <a:lnTo>
                        <a:pt x="227" y="368"/>
                      </a:lnTo>
                      <a:lnTo>
                        <a:pt x="227" y="368"/>
                      </a:lnTo>
                      <a:lnTo>
                        <a:pt x="227" y="368"/>
                      </a:lnTo>
                      <a:lnTo>
                        <a:pt x="227" y="368"/>
                      </a:lnTo>
                      <a:lnTo>
                        <a:pt x="227" y="367"/>
                      </a:lnTo>
                      <a:lnTo>
                        <a:pt x="227" y="367"/>
                      </a:lnTo>
                      <a:lnTo>
                        <a:pt x="227" y="366"/>
                      </a:lnTo>
                      <a:lnTo>
                        <a:pt x="227" y="366"/>
                      </a:lnTo>
                      <a:lnTo>
                        <a:pt x="227" y="366"/>
                      </a:lnTo>
                      <a:lnTo>
                        <a:pt x="227" y="366"/>
                      </a:lnTo>
                      <a:lnTo>
                        <a:pt x="227" y="365"/>
                      </a:lnTo>
                      <a:lnTo>
                        <a:pt x="227" y="364"/>
                      </a:lnTo>
                      <a:lnTo>
                        <a:pt x="227" y="364"/>
                      </a:lnTo>
                      <a:lnTo>
                        <a:pt x="227" y="363"/>
                      </a:lnTo>
                      <a:lnTo>
                        <a:pt x="227" y="362"/>
                      </a:lnTo>
                      <a:lnTo>
                        <a:pt x="228" y="362"/>
                      </a:lnTo>
                      <a:lnTo>
                        <a:pt x="228" y="362"/>
                      </a:lnTo>
                      <a:lnTo>
                        <a:pt x="229" y="361"/>
                      </a:lnTo>
                      <a:lnTo>
                        <a:pt x="229" y="360"/>
                      </a:lnTo>
                      <a:lnTo>
                        <a:pt x="229" y="360"/>
                      </a:lnTo>
                      <a:lnTo>
                        <a:pt x="229" y="359"/>
                      </a:lnTo>
                      <a:lnTo>
                        <a:pt x="228" y="359"/>
                      </a:lnTo>
                      <a:lnTo>
                        <a:pt x="228" y="358"/>
                      </a:lnTo>
                      <a:lnTo>
                        <a:pt x="229" y="358"/>
                      </a:lnTo>
                      <a:lnTo>
                        <a:pt x="229" y="357"/>
                      </a:lnTo>
                      <a:lnTo>
                        <a:pt x="229" y="356"/>
                      </a:lnTo>
                      <a:lnTo>
                        <a:pt x="229" y="356"/>
                      </a:lnTo>
                      <a:lnTo>
                        <a:pt x="229" y="356"/>
                      </a:lnTo>
                      <a:lnTo>
                        <a:pt x="229" y="355"/>
                      </a:lnTo>
                      <a:lnTo>
                        <a:pt x="230" y="355"/>
                      </a:lnTo>
                      <a:lnTo>
                        <a:pt x="230" y="354"/>
                      </a:lnTo>
                      <a:lnTo>
                        <a:pt x="230" y="353"/>
                      </a:lnTo>
                      <a:lnTo>
                        <a:pt x="230" y="353"/>
                      </a:lnTo>
                      <a:lnTo>
                        <a:pt x="231" y="352"/>
                      </a:lnTo>
                      <a:lnTo>
                        <a:pt x="231" y="351"/>
                      </a:lnTo>
                      <a:lnTo>
                        <a:pt x="231" y="351"/>
                      </a:lnTo>
                      <a:lnTo>
                        <a:pt x="231" y="350"/>
                      </a:lnTo>
                      <a:lnTo>
                        <a:pt x="231" y="349"/>
                      </a:lnTo>
                      <a:lnTo>
                        <a:pt x="231" y="349"/>
                      </a:lnTo>
                      <a:lnTo>
                        <a:pt x="231" y="349"/>
                      </a:lnTo>
                      <a:lnTo>
                        <a:pt x="231" y="349"/>
                      </a:lnTo>
                      <a:lnTo>
                        <a:pt x="231" y="348"/>
                      </a:lnTo>
                      <a:lnTo>
                        <a:pt x="230" y="348"/>
                      </a:lnTo>
                      <a:lnTo>
                        <a:pt x="230" y="347"/>
                      </a:lnTo>
                      <a:lnTo>
                        <a:pt x="230" y="347"/>
                      </a:lnTo>
                      <a:lnTo>
                        <a:pt x="231" y="346"/>
                      </a:lnTo>
                      <a:lnTo>
                        <a:pt x="231" y="345"/>
                      </a:lnTo>
                      <a:lnTo>
                        <a:pt x="231" y="345"/>
                      </a:lnTo>
                      <a:lnTo>
                        <a:pt x="231" y="344"/>
                      </a:lnTo>
                      <a:lnTo>
                        <a:pt x="231" y="343"/>
                      </a:lnTo>
                      <a:lnTo>
                        <a:pt x="231" y="343"/>
                      </a:lnTo>
                      <a:lnTo>
                        <a:pt x="231" y="342"/>
                      </a:lnTo>
                      <a:lnTo>
                        <a:pt x="231" y="341"/>
                      </a:lnTo>
                      <a:lnTo>
                        <a:pt x="231" y="341"/>
                      </a:lnTo>
                      <a:lnTo>
                        <a:pt x="231" y="341"/>
                      </a:lnTo>
                      <a:lnTo>
                        <a:pt x="231" y="340"/>
                      </a:lnTo>
                      <a:lnTo>
                        <a:pt x="230" y="340"/>
                      </a:lnTo>
                      <a:lnTo>
                        <a:pt x="230" y="339"/>
                      </a:lnTo>
                      <a:lnTo>
                        <a:pt x="229" y="339"/>
                      </a:lnTo>
                      <a:lnTo>
                        <a:pt x="229" y="339"/>
                      </a:lnTo>
                      <a:lnTo>
                        <a:pt x="228" y="339"/>
                      </a:lnTo>
                      <a:lnTo>
                        <a:pt x="228" y="339"/>
                      </a:lnTo>
                      <a:lnTo>
                        <a:pt x="227" y="339"/>
                      </a:lnTo>
                      <a:lnTo>
                        <a:pt x="227" y="338"/>
                      </a:lnTo>
                      <a:lnTo>
                        <a:pt x="227" y="337"/>
                      </a:lnTo>
                      <a:lnTo>
                        <a:pt x="227" y="337"/>
                      </a:lnTo>
                      <a:lnTo>
                        <a:pt x="226" y="337"/>
                      </a:lnTo>
                      <a:lnTo>
                        <a:pt x="225" y="337"/>
                      </a:lnTo>
                      <a:lnTo>
                        <a:pt x="225" y="337"/>
                      </a:lnTo>
                      <a:lnTo>
                        <a:pt x="224" y="337"/>
                      </a:lnTo>
                      <a:lnTo>
                        <a:pt x="223" y="337"/>
                      </a:lnTo>
                      <a:lnTo>
                        <a:pt x="222" y="337"/>
                      </a:lnTo>
                      <a:lnTo>
                        <a:pt x="222" y="337"/>
                      </a:lnTo>
                      <a:lnTo>
                        <a:pt x="222" y="336"/>
                      </a:lnTo>
                      <a:lnTo>
                        <a:pt x="222" y="336"/>
                      </a:lnTo>
                      <a:lnTo>
                        <a:pt x="222" y="335"/>
                      </a:lnTo>
                      <a:lnTo>
                        <a:pt x="221" y="335"/>
                      </a:lnTo>
                      <a:lnTo>
                        <a:pt x="221" y="334"/>
                      </a:lnTo>
                      <a:lnTo>
                        <a:pt x="220" y="334"/>
                      </a:lnTo>
                      <a:lnTo>
                        <a:pt x="220" y="334"/>
                      </a:lnTo>
                      <a:lnTo>
                        <a:pt x="220" y="333"/>
                      </a:lnTo>
                      <a:lnTo>
                        <a:pt x="221" y="333"/>
                      </a:lnTo>
                      <a:lnTo>
                        <a:pt x="220" y="333"/>
                      </a:lnTo>
                      <a:lnTo>
                        <a:pt x="220" y="332"/>
                      </a:lnTo>
                      <a:lnTo>
                        <a:pt x="220" y="332"/>
                      </a:lnTo>
                      <a:lnTo>
                        <a:pt x="219" y="332"/>
                      </a:lnTo>
                      <a:lnTo>
                        <a:pt x="218" y="332"/>
                      </a:lnTo>
                      <a:lnTo>
                        <a:pt x="218" y="332"/>
                      </a:lnTo>
                      <a:lnTo>
                        <a:pt x="218" y="332"/>
                      </a:lnTo>
                      <a:lnTo>
                        <a:pt x="218" y="332"/>
                      </a:lnTo>
                      <a:lnTo>
                        <a:pt x="218" y="331"/>
                      </a:lnTo>
                      <a:lnTo>
                        <a:pt x="219" y="331"/>
                      </a:lnTo>
                      <a:lnTo>
                        <a:pt x="219" y="330"/>
                      </a:lnTo>
                      <a:lnTo>
                        <a:pt x="219" y="330"/>
                      </a:lnTo>
                      <a:lnTo>
                        <a:pt x="260" y="285"/>
                      </a:lnTo>
                      <a:lnTo>
                        <a:pt x="325" y="215"/>
                      </a:lnTo>
                      <a:lnTo>
                        <a:pt x="328" y="214"/>
                      </a:lnTo>
                      <a:lnTo>
                        <a:pt x="446" y="168"/>
                      </a:lnTo>
                      <a:lnTo>
                        <a:pt x="447" y="168"/>
                      </a:lnTo>
                      <a:lnTo>
                        <a:pt x="448" y="168"/>
                      </a:lnTo>
                      <a:lnTo>
                        <a:pt x="546" y="130"/>
                      </a:lnTo>
                      <a:lnTo>
                        <a:pt x="693" y="74"/>
                      </a:lnTo>
                      <a:lnTo>
                        <a:pt x="851" y="13"/>
                      </a:lnTo>
                      <a:lnTo>
                        <a:pt x="852" y="13"/>
                      </a:lnTo>
                      <a:lnTo>
                        <a:pt x="853" y="14"/>
                      </a:lnTo>
                      <a:lnTo>
                        <a:pt x="854" y="14"/>
                      </a:lnTo>
                      <a:lnTo>
                        <a:pt x="854" y="15"/>
                      </a:lnTo>
                      <a:lnTo>
                        <a:pt x="854" y="16"/>
                      </a:lnTo>
                      <a:lnTo>
                        <a:pt x="854" y="16"/>
                      </a:lnTo>
                      <a:lnTo>
                        <a:pt x="855" y="16"/>
                      </a:lnTo>
                      <a:lnTo>
                        <a:pt x="855" y="17"/>
                      </a:lnTo>
                      <a:lnTo>
                        <a:pt x="856" y="18"/>
                      </a:lnTo>
                      <a:lnTo>
                        <a:pt x="856" y="18"/>
                      </a:lnTo>
                      <a:lnTo>
                        <a:pt x="857" y="18"/>
                      </a:lnTo>
                      <a:lnTo>
                        <a:pt x="858" y="18"/>
                      </a:lnTo>
                      <a:lnTo>
                        <a:pt x="858" y="18"/>
                      </a:lnTo>
                      <a:lnTo>
                        <a:pt x="858" y="18"/>
                      </a:lnTo>
                      <a:lnTo>
                        <a:pt x="859" y="18"/>
                      </a:lnTo>
                      <a:lnTo>
                        <a:pt x="860" y="18"/>
                      </a:lnTo>
                      <a:lnTo>
                        <a:pt x="860" y="18"/>
                      </a:lnTo>
                      <a:lnTo>
                        <a:pt x="861" y="18"/>
                      </a:lnTo>
                      <a:lnTo>
                        <a:pt x="861" y="18"/>
                      </a:lnTo>
                      <a:lnTo>
                        <a:pt x="862" y="18"/>
                      </a:lnTo>
                      <a:lnTo>
                        <a:pt x="862" y="18"/>
                      </a:lnTo>
                      <a:lnTo>
                        <a:pt x="862" y="19"/>
                      </a:lnTo>
                      <a:lnTo>
                        <a:pt x="863" y="19"/>
                      </a:lnTo>
                      <a:lnTo>
                        <a:pt x="864" y="19"/>
                      </a:lnTo>
                      <a:lnTo>
                        <a:pt x="864" y="20"/>
                      </a:lnTo>
                      <a:lnTo>
                        <a:pt x="864" y="20"/>
                      </a:lnTo>
                      <a:lnTo>
                        <a:pt x="865" y="20"/>
                      </a:lnTo>
                      <a:lnTo>
                        <a:pt x="867" y="20"/>
                      </a:lnTo>
                      <a:lnTo>
                        <a:pt x="867" y="20"/>
                      </a:lnTo>
                      <a:lnTo>
                        <a:pt x="867" y="19"/>
                      </a:lnTo>
                      <a:lnTo>
                        <a:pt x="868" y="19"/>
                      </a:lnTo>
                      <a:lnTo>
                        <a:pt x="869" y="19"/>
                      </a:lnTo>
                      <a:lnTo>
                        <a:pt x="869" y="18"/>
                      </a:lnTo>
                      <a:lnTo>
                        <a:pt x="870" y="18"/>
                      </a:lnTo>
                      <a:lnTo>
                        <a:pt x="871" y="18"/>
                      </a:lnTo>
                      <a:lnTo>
                        <a:pt x="871" y="18"/>
                      </a:lnTo>
                      <a:lnTo>
                        <a:pt x="872" y="18"/>
                      </a:lnTo>
                      <a:lnTo>
                        <a:pt x="873" y="18"/>
                      </a:lnTo>
                      <a:lnTo>
                        <a:pt x="874" y="18"/>
                      </a:lnTo>
                      <a:lnTo>
                        <a:pt x="875" y="18"/>
                      </a:lnTo>
                      <a:lnTo>
                        <a:pt x="875" y="18"/>
                      </a:lnTo>
                      <a:lnTo>
                        <a:pt x="875" y="17"/>
                      </a:lnTo>
                      <a:lnTo>
                        <a:pt x="876" y="17"/>
                      </a:lnTo>
                      <a:lnTo>
                        <a:pt x="877" y="17"/>
                      </a:lnTo>
                      <a:lnTo>
                        <a:pt x="877" y="16"/>
                      </a:lnTo>
                      <a:lnTo>
                        <a:pt x="878" y="16"/>
                      </a:lnTo>
                      <a:lnTo>
                        <a:pt x="879" y="16"/>
                      </a:lnTo>
                      <a:lnTo>
                        <a:pt x="879" y="16"/>
                      </a:lnTo>
                      <a:lnTo>
                        <a:pt x="879" y="16"/>
                      </a:lnTo>
                      <a:lnTo>
                        <a:pt x="880" y="16"/>
                      </a:lnTo>
                      <a:lnTo>
                        <a:pt x="881" y="16"/>
                      </a:lnTo>
                      <a:lnTo>
                        <a:pt x="881" y="16"/>
                      </a:lnTo>
                      <a:lnTo>
                        <a:pt x="882" y="16"/>
                      </a:lnTo>
                      <a:lnTo>
                        <a:pt x="883" y="16"/>
                      </a:lnTo>
                      <a:lnTo>
                        <a:pt x="883" y="16"/>
                      </a:lnTo>
                      <a:lnTo>
                        <a:pt x="883" y="15"/>
                      </a:lnTo>
                      <a:lnTo>
                        <a:pt x="883" y="14"/>
                      </a:lnTo>
                      <a:lnTo>
                        <a:pt x="883" y="14"/>
                      </a:lnTo>
                      <a:lnTo>
                        <a:pt x="883" y="14"/>
                      </a:lnTo>
                      <a:lnTo>
                        <a:pt x="883" y="13"/>
                      </a:lnTo>
                      <a:lnTo>
                        <a:pt x="883" y="12"/>
                      </a:lnTo>
                      <a:lnTo>
                        <a:pt x="884" y="12"/>
                      </a:lnTo>
                      <a:lnTo>
                        <a:pt x="885" y="12"/>
                      </a:lnTo>
                      <a:lnTo>
                        <a:pt x="885" y="11"/>
                      </a:lnTo>
                      <a:lnTo>
                        <a:pt x="886" y="11"/>
                      </a:lnTo>
                      <a:lnTo>
                        <a:pt x="886" y="11"/>
                      </a:lnTo>
                      <a:lnTo>
                        <a:pt x="887" y="11"/>
                      </a:lnTo>
                      <a:lnTo>
                        <a:pt x="888" y="11"/>
                      </a:lnTo>
                      <a:lnTo>
                        <a:pt x="888" y="11"/>
                      </a:lnTo>
                      <a:lnTo>
                        <a:pt x="888" y="10"/>
                      </a:lnTo>
                      <a:lnTo>
                        <a:pt x="889" y="10"/>
                      </a:lnTo>
                      <a:lnTo>
                        <a:pt x="890" y="11"/>
                      </a:lnTo>
                      <a:lnTo>
                        <a:pt x="890" y="11"/>
                      </a:lnTo>
                      <a:lnTo>
                        <a:pt x="891" y="11"/>
                      </a:lnTo>
                      <a:lnTo>
                        <a:pt x="892" y="11"/>
                      </a:lnTo>
                      <a:lnTo>
                        <a:pt x="892" y="11"/>
                      </a:lnTo>
                      <a:lnTo>
                        <a:pt x="893" y="11"/>
                      </a:lnTo>
                      <a:lnTo>
                        <a:pt x="894" y="11"/>
                      </a:lnTo>
                      <a:lnTo>
                        <a:pt x="894" y="11"/>
                      </a:lnTo>
                      <a:lnTo>
                        <a:pt x="895" y="11"/>
                      </a:lnTo>
                      <a:lnTo>
                        <a:pt x="896" y="11"/>
                      </a:lnTo>
                      <a:lnTo>
                        <a:pt x="896" y="11"/>
                      </a:lnTo>
                      <a:lnTo>
                        <a:pt x="897" y="11"/>
                      </a:lnTo>
                      <a:lnTo>
                        <a:pt x="898" y="11"/>
                      </a:lnTo>
                      <a:lnTo>
                        <a:pt x="898" y="11"/>
                      </a:lnTo>
                      <a:lnTo>
                        <a:pt x="898" y="10"/>
                      </a:lnTo>
                      <a:lnTo>
                        <a:pt x="899" y="10"/>
                      </a:lnTo>
                      <a:lnTo>
                        <a:pt x="900" y="10"/>
                      </a:lnTo>
                      <a:lnTo>
                        <a:pt x="900" y="10"/>
                      </a:lnTo>
                      <a:lnTo>
                        <a:pt x="900" y="9"/>
                      </a:lnTo>
                      <a:lnTo>
                        <a:pt x="900" y="8"/>
                      </a:lnTo>
                      <a:lnTo>
                        <a:pt x="900" y="8"/>
                      </a:lnTo>
                      <a:lnTo>
                        <a:pt x="900" y="8"/>
                      </a:lnTo>
                      <a:lnTo>
                        <a:pt x="900" y="7"/>
                      </a:lnTo>
                      <a:lnTo>
                        <a:pt x="901" y="7"/>
                      </a:lnTo>
                      <a:lnTo>
                        <a:pt x="902" y="7"/>
                      </a:lnTo>
                      <a:lnTo>
                        <a:pt x="902" y="6"/>
                      </a:lnTo>
                      <a:lnTo>
                        <a:pt x="903" y="6"/>
                      </a:lnTo>
                      <a:lnTo>
                        <a:pt x="904" y="6"/>
                      </a:lnTo>
                      <a:lnTo>
                        <a:pt x="905" y="6"/>
                      </a:lnTo>
                      <a:lnTo>
                        <a:pt x="905" y="6"/>
                      </a:lnTo>
                      <a:lnTo>
                        <a:pt x="906" y="6"/>
                      </a:lnTo>
                      <a:lnTo>
                        <a:pt x="907" y="6"/>
                      </a:lnTo>
                      <a:lnTo>
                        <a:pt x="907" y="6"/>
                      </a:lnTo>
                      <a:lnTo>
                        <a:pt x="908" y="6"/>
                      </a:lnTo>
                      <a:lnTo>
                        <a:pt x="908" y="7"/>
                      </a:lnTo>
                      <a:lnTo>
                        <a:pt x="909" y="7"/>
                      </a:lnTo>
                      <a:lnTo>
                        <a:pt x="909" y="8"/>
                      </a:lnTo>
                      <a:lnTo>
                        <a:pt x="909" y="8"/>
                      </a:lnTo>
                      <a:lnTo>
                        <a:pt x="910" y="8"/>
                      </a:lnTo>
                      <a:lnTo>
                        <a:pt x="910" y="7"/>
                      </a:lnTo>
                      <a:lnTo>
                        <a:pt x="911" y="6"/>
                      </a:lnTo>
                      <a:lnTo>
                        <a:pt x="910" y="6"/>
                      </a:lnTo>
                      <a:lnTo>
                        <a:pt x="911" y="6"/>
                      </a:lnTo>
                      <a:lnTo>
                        <a:pt x="911" y="5"/>
                      </a:lnTo>
                      <a:lnTo>
                        <a:pt x="912" y="5"/>
                      </a:lnTo>
                      <a:lnTo>
                        <a:pt x="913" y="5"/>
                      </a:lnTo>
                      <a:lnTo>
                        <a:pt x="913" y="5"/>
                      </a:lnTo>
                      <a:lnTo>
                        <a:pt x="913" y="6"/>
                      </a:lnTo>
                      <a:lnTo>
                        <a:pt x="914" y="6"/>
                      </a:lnTo>
                      <a:lnTo>
                        <a:pt x="914" y="6"/>
                      </a:lnTo>
                      <a:lnTo>
                        <a:pt x="915" y="6"/>
                      </a:lnTo>
                      <a:lnTo>
                        <a:pt x="915" y="7"/>
                      </a:lnTo>
                      <a:lnTo>
                        <a:pt x="915" y="7"/>
                      </a:lnTo>
                      <a:lnTo>
                        <a:pt x="916" y="7"/>
                      </a:lnTo>
                      <a:lnTo>
                        <a:pt x="917" y="7"/>
                      </a:lnTo>
                      <a:lnTo>
                        <a:pt x="917" y="7"/>
                      </a:lnTo>
                      <a:lnTo>
                        <a:pt x="917" y="6"/>
                      </a:lnTo>
                      <a:lnTo>
                        <a:pt x="917" y="6"/>
                      </a:lnTo>
                      <a:lnTo>
                        <a:pt x="918" y="6"/>
                      </a:lnTo>
                      <a:lnTo>
                        <a:pt x="919" y="5"/>
                      </a:lnTo>
                      <a:lnTo>
                        <a:pt x="919" y="5"/>
                      </a:lnTo>
                      <a:lnTo>
                        <a:pt x="919" y="4"/>
                      </a:lnTo>
                      <a:lnTo>
                        <a:pt x="920" y="4"/>
                      </a:lnTo>
                      <a:lnTo>
                        <a:pt x="921" y="4"/>
                      </a:lnTo>
                      <a:lnTo>
                        <a:pt x="921" y="4"/>
                      </a:lnTo>
                      <a:lnTo>
                        <a:pt x="922" y="5"/>
                      </a:lnTo>
                      <a:lnTo>
                        <a:pt x="923" y="5"/>
                      </a:lnTo>
                      <a:lnTo>
                        <a:pt x="924" y="5"/>
                      </a:lnTo>
                      <a:lnTo>
                        <a:pt x="924" y="6"/>
                      </a:lnTo>
                      <a:lnTo>
                        <a:pt x="925" y="6"/>
                      </a:lnTo>
                      <a:lnTo>
                        <a:pt x="925" y="6"/>
                      </a:lnTo>
                      <a:lnTo>
                        <a:pt x="926" y="7"/>
                      </a:lnTo>
                      <a:lnTo>
                        <a:pt x="925" y="7"/>
                      </a:lnTo>
                      <a:lnTo>
                        <a:pt x="925" y="8"/>
                      </a:lnTo>
                      <a:lnTo>
                        <a:pt x="925" y="8"/>
                      </a:lnTo>
                      <a:lnTo>
                        <a:pt x="924" y="9"/>
                      </a:lnTo>
                      <a:lnTo>
                        <a:pt x="924" y="10"/>
                      </a:lnTo>
                      <a:lnTo>
                        <a:pt x="925" y="10"/>
                      </a:lnTo>
                      <a:lnTo>
                        <a:pt x="926" y="10"/>
                      </a:lnTo>
                      <a:lnTo>
                        <a:pt x="926" y="10"/>
                      </a:lnTo>
                      <a:lnTo>
                        <a:pt x="926" y="11"/>
                      </a:lnTo>
                      <a:lnTo>
                        <a:pt x="926" y="12"/>
                      </a:lnTo>
                      <a:lnTo>
                        <a:pt x="927" y="12"/>
                      </a:lnTo>
                      <a:lnTo>
                        <a:pt x="927" y="12"/>
                      </a:lnTo>
                      <a:lnTo>
                        <a:pt x="927" y="13"/>
                      </a:lnTo>
                      <a:lnTo>
                        <a:pt x="928" y="13"/>
                      </a:lnTo>
                      <a:lnTo>
                        <a:pt x="928" y="13"/>
                      </a:lnTo>
                      <a:lnTo>
                        <a:pt x="928" y="14"/>
                      </a:lnTo>
                      <a:lnTo>
                        <a:pt x="929" y="14"/>
                      </a:lnTo>
                      <a:lnTo>
                        <a:pt x="930" y="14"/>
                      </a:lnTo>
                      <a:lnTo>
                        <a:pt x="930" y="14"/>
                      </a:lnTo>
                      <a:lnTo>
                        <a:pt x="931" y="14"/>
                      </a:lnTo>
                      <a:lnTo>
                        <a:pt x="932" y="14"/>
                      </a:lnTo>
                      <a:lnTo>
                        <a:pt x="932" y="13"/>
                      </a:lnTo>
                      <a:lnTo>
                        <a:pt x="932" y="13"/>
                      </a:lnTo>
                      <a:lnTo>
                        <a:pt x="933" y="12"/>
                      </a:lnTo>
                      <a:lnTo>
                        <a:pt x="934" y="12"/>
                      </a:lnTo>
                      <a:lnTo>
                        <a:pt x="934" y="12"/>
                      </a:lnTo>
                      <a:lnTo>
                        <a:pt x="934" y="13"/>
                      </a:lnTo>
                      <a:lnTo>
                        <a:pt x="935" y="13"/>
                      </a:lnTo>
                      <a:lnTo>
                        <a:pt x="936" y="14"/>
                      </a:lnTo>
                      <a:lnTo>
                        <a:pt x="936" y="14"/>
                      </a:lnTo>
                      <a:lnTo>
                        <a:pt x="936" y="15"/>
                      </a:lnTo>
                      <a:lnTo>
                        <a:pt x="937" y="15"/>
                      </a:lnTo>
                      <a:lnTo>
                        <a:pt x="938" y="15"/>
                      </a:lnTo>
                      <a:lnTo>
                        <a:pt x="938" y="15"/>
                      </a:lnTo>
                      <a:lnTo>
                        <a:pt x="938" y="14"/>
                      </a:lnTo>
                      <a:lnTo>
                        <a:pt x="939" y="14"/>
                      </a:lnTo>
                      <a:lnTo>
                        <a:pt x="939" y="14"/>
                      </a:lnTo>
                      <a:lnTo>
                        <a:pt x="940" y="14"/>
                      </a:lnTo>
                      <a:lnTo>
                        <a:pt x="940" y="13"/>
                      </a:lnTo>
                      <a:lnTo>
                        <a:pt x="940" y="13"/>
                      </a:lnTo>
                      <a:lnTo>
                        <a:pt x="940" y="12"/>
                      </a:lnTo>
                      <a:lnTo>
                        <a:pt x="940" y="12"/>
                      </a:lnTo>
                      <a:lnTo>
                        <a:pt x="940" y="12"/>
                      </a:lnTo>
                      <a:lnTo>
                        <a:pt x="939" y="12"/>
                      </a:lnTo>
                      <a:lnTo>
                        <a:pt x="939" y="11"/>
                      </a:lnTo>
                      <a:lnTo>
                        <a:pt x="938" y="11"/>
                      </a:lnTo>
                      <a:lnTo>
                        <a:pt x="938" y="10"/>
                      </a:lnTo>
                      <a:lnTo>
                        <a:pt x="938" y="10"/>
                      </a:lnTo>
                      <a:lnTo>
                        <a:pt x="939" y="10"/>
                      </a:lnTo>
                      <a:lnTo>
                        <a:pt x="939" y="9"/>
                      </a:lnTo>
                      <a:lnTo>
                        <a:pt x="940" y="9"/>
                      </a:lnTo>
                      <a:lnTo>
                        <a:pt x="940" y="8"/>
                      </a:lnTo>
                      <a:lnTo>
                        <a:pt x="940" y="8"/>
                      </a:lnTo>
                      <a:lnTo>
                        <a:pt x="940" y="8"/>
                      </a:lnTo>
                      <a:lnTo>
                        <a:pt x="941" y="8"/>
                      </a:lnTo>
                      <a:lnTo>
                        <a:pt x="941" y="8"/>
                      </a:lnTo>
                      <a:lnTo>
                        <a:pt x="940" y="8"/>
                      </a:lnTo>
                      <a:lnTo>
                        <a:pt x="940" y="9"/>
                      </a:lnTo>
                      <a:lnTo>
                        <a:pt x="940" y="10"/>
                      </a:lnTo>
                      <a:lnTo>
                        <a:pt x="941" y="10"/>
                      </a:lnTo>
                      <a:lnTo>
                        <a:pt x="941" y="10"/>
                      </a:lnTo>
                      <a:lnTo>
                        <a:pt x="942" y="10"/>
                      </a:lnTo>
                      <a:lnTo>
                        <a:pt x="943" y="9"/>
                      </a:lnTo>
                      <a:lnTo>
                        <a:pt x="943" y="9"/>
                      </a:lnTo>
                      <a:lnTo>
                        <a:pt x="944" y="9"/>
                      </a:lnTo>
                      <a:lnTo>
                        <a:pt x="945" y="9"/>
                      </a:lnTo>
                      <a:lnTo>
                        <a:pt x="945" y="10"/>
                      </a:lnTo>
                      <a:lnTo>
                        <a:pt x="945" y="10"/>
                      </a:lnTo>
                      <a:lnTo>
                        <a:pt x="946" y="10"/>
                      </a:lnTo>
                      <a:lnTo>
                        <a:pt x="947" y="10"/>
                      </a:lnTo>
                      <a:lnTo>
                        <a:pt x="947" y="10"/>
                      </a:lnTo>
                      <a:lnTo>
                        <a:pt x="947" y="11"/>
                      </a:lnTo>
                      <a:lnTo>
                        <a:pt x="948" y="11"/>
                      </a:lnTo>
                      <a:lnTo>
                        <a:pt x="948" y="12"/>
                      </a:lnTo>
                      <a:lnTo>
                        <a:pt x="948" y="12"/>
                      </a:lnTo>
                      <a:lnTo>
                        <a:pt x="948" y="13"/>
                      </a:lnTo>
                      <a:lnTo>
                        <a:pt x="949" y="13"/>
                      </a:lnTo>
                      <a:lnTo>
                        <a:pt x="949" y="14"/>
                      </a:lnTo>
                      <a:lnTo>
                        <a:pt x="949" y="14"/>
                      </a:lnTo>
                      <a:lnTo>
                        <a:pt x="950" y="14"/>
                      </a:lnTo>
                      <a:lnTo>
                        <a:pt x="950" y="14"/>
                      </a:lnTo>
                      <a:lnTo>
                        <a:pt x="951" y="14"/>
                      </a:lnTo>
                      <a:lnTo>
                        <a:pt x="951" y="13"/>
                      </a:lnTo>
                      <a:lnTo>
                        <a:pt x="950" y="13"/>
                      </a:lnTo>
                      <a:lnTo>
                        <a:pt x="950" y="12"/>
                      </a:lnTo>
                      <a:lnTo>
                        <a:pt x="950" y="12"/>
                      </a:lnTo>
                      <a:lnTo>
                        <a:pt x="950" y="11"/>
                      </a:lnTo>
                      <a:lnTo>
                        <a:pt x="950" y="10"/>
                      </a:lnTo>
                      <a:lnTo>
                        <a:pt x="950" y="10"/>
                      </a:lnTo>
                      <a:lnTo>
                        <a:pt x="951" y="10"/>
                      </a:lnTo>
                      <a:lnTo>
                        <a:pt x="951" y="9"/>
                      </a:lnTo>
                      <a:lnTo>
                        <a:pt x="951" y="9"/>
                      </a:lnTo>
                      <a:lnTo>
                        <a:pt x="952" y="10"/>
                      </a:lnTo>
                      <a:lnTo>
                        <a:pt x="952" y="10"/>
                      </a:lnTo>
                      <a:lnTo>
                        <a:pt x="951" y="10"/>
                      </a:lnTo>
                      <a:lnTo>
                        <a:pt x="951" y="11"/>
                      </a:lnTo>
                      <a:lnTo>
                        <a:pt x="951" y="12"/>
                      </a:lnTo>
                      <a:lnTo>
                        <a:pt x="951" y="12"/>
                      </a:lnTo>
                      <a:lnTo>
                        <a:pt x="951" y="13"/>
                      </a:lnTo>
                      <a:lnTo>
                        <a:pt x="952" y="14"/>
                      </a:lnTo>
                      <a:lnTo>
                        <a:pt x="953" y="14"/>
                      </a:lnTo>
                      <a:lnTo>
                        <a:pt x="953" y="13"/>
                      </a:lnTo>
                      <a:lnTo>
                        <a:pt x="953" y="12"/>
                      </a:lnTo>
                      <a:lnTo>
                        <a:pt x="954" y="12"/>
                      </a:lnTo>
                      <a:lnTo>
                        <a:pt x="955" y="12"/>
                      </a:lnTo>
                      <a:lnTo>
                        <a:pt x="955" y="11"/>
                      </a:lnTo>
                      <a:lnTo>
                        <a:pt x="956" y="11"/>
                      </a:lnTo>
                      <a:lnTo>
                        <a:pt x="956" y="12"/>
                      </a:lnTo>
                      <a:lnTo>
                        <a:pt x="957" y="12"/>
                      </a:lnTo>
                      <a:lnTo>
                        <a:pt x="957" y="12"/>
                      </a:lnTo>
                      <a:lnTo>
                        <a:pt x="957" y="12"/>
                      </a:lnTo>
                      <a:lnTo>
                        <a:pt x="957" y="13"/>
                      </a:lnTo>
                      <a:lnTo>
                        <a:pt x="958" y="13"/>
                      </a:lnTo>
                      <a:lnTo>
                        <a:pt x="958" y="14"/>
                      </a:lnTo>
                      <a:lnTo>
                        <a:pt x="959" y="14"/>
                      </a:lnTo>
                      <a:lnTo>
                        <a:pt x="959" y="14"/>
                      </a:lnTo>
                      <a:lnTo>
                        <a:pt x="959" y="14"/>
                      </a:lnTo>
                      <a:lnTo>
                        <a:pt x="960" y="14"/>
                      </a:lnTo>
                      <a:lnTo>
                        <a:pt x="961" y="14"/>
                      </a:lnTo>
                      <a:lnTo>
                        <a:pt x="962" y="12"/>
                      </a:lnTo>
                      <a:lnTo>
                        <a:pt x="961" y="12"/>
                      </a:lnTo>
                      <a:lnTo>
                        <a:pt x="961" y="12"/>
                      </a:lnTo>
                      <a:lnTo>
                        <a:pt x="960" y="11"/>
                      </a:lnTo>
                      <a:lnTo>
                        <a:pt x="960" y="10"/>
                      </a:lnTo>
                      <a:lnTo>
                        <a:pt x="961" y="10"/>
                      </a:lnTo>
                      <a:lnTo>
                        <a:pt x="961" y="10"/>
                      </a:lnTo>
                      <a:lnTo>
                        <a:pt x="962" y="10"/>
                      </a:lnTo>
                      <a:lnTo>
                        <a:pt x="962" y="9"/>
                      </a:lnTo>
                      <a:lnTo>
                        <a:pt x="962" y="9"/>
                      </a:lnTo>
                      <a:lnTo>
                        <a:pt x="962" y="8"/>
                      </a:lnTo>
                      <a:lnTo>
                        <a:pt x="963" y="8"/>
                      </a:lnTo>
                      <a:lnTo>
                        <a:pt x="963" y="8"/>
                      </a:lnTo>
                      <a:lnTo>
                        <a:pt x="963" y="7"/>
                      </a:lnTo>
                      <a:lnTo>
                        <a:pt x="964" y="7"/>
                      </a:lnTo>
                      <a:lnTo>
                        <a:pt x="964" y="6"/>
                      </a:lnTo>
                      <a:lnTo>
                        <a:pt x="964" y="6"/>
                      </a:lnTo>
                      <a:lnTo>
                        <a:pt x="964" y="5"/>
                      </a:lnTo>
                      <a:lnTo>
                        <a:pt x="964" y="4"/>
                      </a:lnTo>
                      <a:lnTo>
                        <a:pt x="965" y="4"/>
                      </a:lnTo>
                      <a:lnTo>
                        <a:pt x="965" y="5"/>
                      </a:lnTo>
                      <a:lnTo>
                        <a:pt x="965" y="6"/>
                      </a:lnTo>
                      <a:lnTo>
                        <a:pt x="965" y="6"/>
                      </a:lnTo>
                      <a:lnTo>
                        <a:pt x="966" y="6"/>
                      </a:lnTo>
                      <a:lnTo>
                        <a:pt x="966" y="6"/>
                      </a:lnTo>
                      <a:lnTo>
                        <a:pt x="966" y="6"/>
                      </a:lnTo>
                      <a:lnTo>
                        <a:pt x="967" y="6"/>
                      </a:lnTo>
                      <a:lnTo>
                        <a:pt x="968" y="6"/>
                      </a:lnTo>
                      <a:lnTo>
                        <a:pt x="969" y="6"/>
                      </a:lnTo>
                      <a:lnTo>
                        <a:pt x="970" y="6"/>
                      </a:lnTo>
                      <a:lnTo>
                        <a:pt x="970" y="6"/>
                      </a:lnTo>
                      <a:lnTo>
                        <a:pt x="971" y="6"/>
                      </a:lnTo>
                      <a:lnTo>
                        <a:pt x="972" y="6"/>
                      </a:lnTo>
                      <a:lnTo>
                        <a:pt x="972" y="7"/>
                      </a:lnTo>
                      <a:lnTo>
                        <a:pt x="972" y="8"/>
                      </a:lnTo>
                      <a:lnTo>
                        <a:pt x="972" y="8"/>
                      </a:lnTo>
                      <a:lnTo>
                        <a:pt x="972" y="8"/>
                      </a:lnTo>
                      <a:lnTo>
                        <a:pt x="972" y="9"/>
                      </a:lnTo>
                      <a:lnTo>
                        <a:pt x="973" y="9"/>
                      </a:lnTo>
                      <a:lnTo>
                        <a:pt x="973" y="10"/>
                      </a:lnTo>
                      <a:lnTo>
                        <a:pt x="974" y="10"/>
                      </a:lnTo>
                      <a:lnTo>
                        <a:pt x="974" y="9"/>
                      </a:lnTo>
                      <a:lnTo>
                        <a:pt x="975" y="9"/>
                      </a:lnTo>
                      <a:lnTo>
                        <a:pt x="976" y="9"/>
                      </a:lnTo>
                      <a:lnTo>
                        <a:pt x="976" y="8"/>
                      </a:lnTo>
                      <a:lnTo>
                        <a:pt x="976" y="8"/>
                      </a:lnTo>
                      <a:lnTo>
                        <a:pt x="977" y="8"/>
                      </a:lnTo>
                      <a:lnTo>
                        <a:pt x="977" y="8"/>
                      </a:lnTo>
                      <a:lnTo>
                        <a:pt x="978" y="8"/>
                      </a:lnTo>
                      <a:lnTo>
                        <a:pt x="978" y="7"/>
                      </a:lnTo>
                      <a:lnTo>
                        <a:pt x="978" y="6"/>
                      </a:lnTo>
                      <a:lnTo>
                        <a:pt x="977" y="6"/>
                      </a:lnTo>
                      <a:lnTo>
                        <a:pt x="976" y="5"/>
                      </a:lnTo>
                      <a:lnTo>
                        <a:pt x="975" y="4"/>
                      </a:lnTo>
                      <a:lnTo>
                        <a:pt x="974" y="4"/>
                      </a:lnTo>
                      <a:lnTo>
                        <a:pt x="974" y="4"/>
                      </a:lnTo>
                      <a:lnTo>
                        <a:pt x="974" y="4"/>
                      </a:lnTo>
                      <a:lnTo>
                        <a:pt x="974" y="3"/>
                      </a:lnTo>
                      <a:lnTo>
                        <a:pt x="974" y="2"/>
                      </a:lnTo>
                      <a:lnTo>
                        <a:pt x="974" y="2"/>
                      </a:lnTo>
                      <a:lnTo>
                        <a:pt x="974" y="2"/>
                      </a:lnTo>
                      <a:lnTo>
                        <a:pt x="974" y="1"/>
                      </a:lnTo>
                      <a:lnTo>
                        <a:pt x="975" y="1"/>
                      </a:lnTo>
                      <a:lnTo>
                        <a:pt x="975" y="0"/>
                      </a:lnTo>
                      <a:lnTo>
                        <a:pt x="976" y="0"/>
                      </a:lnTo>
                      <a:lnTo>
                        <a:pt x="976" y="0"/>
                      </a:lnTo>
                      <a:lnTo>
                        <a:pt x="977" y="0"/>
                      </a:lnTo>
                      <a:lnTo>
                        <a:pt x="978" y="0"/>
                      </a:lnTo>
                      <a:lnTo>
                        <a:pt x="978" y="0"/>
                      </a:lnTo>
                      <a:lnTo>
                        <a:pt x="979" y="0"/>
                      </a:lnTo>
                      <a:lnTo>
                        <a:pt x="980" y="0"/>
                      </a:lnTo>
                      <a:lnTo>
                        <a:pt x="981" y="1"/>
                      </a:lnTo>
                      <a:lnTo>
                        <a:pt x="981" y="1"/>
                      </a:lnTo>
                      <a:lnTo>
                        <a:pt x="982" y="1"/>
                      </a:lnTo>
                      <a:lnTo>
                        <a:pt x="983" y="1"/>
                      </a:lnTo>
                      <a:lnTo>
                        <a:pt x="983" y="2"/>
                      </a:lnTo>
                      <a:lnTo>
                        <a:pt x="984" y="2"/>
                      </a:lnTo>
                      <a:lnTo>
                        <a:pt x="985" y="2"/>
                      </a:lnTo>
                      <a:lnTo>
                        <a:pt x="985" y="2"/>
                      </a:lnTo>
                      <a:lnTo>
                        <a:pt x="986" y="2"/>
                      </a:lnTo>
                      <a:lnTo>
                        <a:pt x="987" y="3"/>
                      </a:lnTo>
                      <a:lnTo>
                        <a:pt x="987" y="3"/>
                      </a:lnTo>
                      <a:lnTo>
                        <a:pt x="988" y="3"/>
                      </a:lnTo>
                      <a:lnTo>
                        <a:pt x="989" y="3"/>
                      </a:lnTo>
                      <a:lnTo>
                        <a:pt x="989" y="4"/>
                      </a:lnTo>
                      <a:lnTo>
                        <a:pt x="989" y="4"/>
                      </a:lnTo>
                      <a:lnTo>
                        <a:pt x="990" y="4"/>
                      </a:lnTo>
                      <a:lnTo>
                        <a:pt x="991" y="4"/>
                      </a:lnTo>
                      <a:lnTo>
                        <a:pt x="991" y="5"/>
                      </a:lnTo>
                      <a:lnTo>
                        <a:pt x="991" y="6"/>
                      </a:lnTo>
                      <a:lnTo>
                        <a:pt x="991" y="6"/>
                      </a:lnTo>
                      <a:lnTo>
                        <a:pt x="991" y="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9" name="Pando" hidden="1">
                  <a:extLst>
                    <a:ext uri="{FF2B5EF4-FFF2-40B4-BE49-F238E27FC236}">
                      <a16:creationId xmlns:a16="http://schemas.microsoft.com/office/drawing/2014/main" xmlns="" id="{6A78D04F-E04F-CBBF-6EE7-50F432279073}"/>
                    </a:ext>
                  </a:extLst>
                </p:cNvPr>
                <p:cNvSpPr>
                  <a:spLocks/>
                </p:cNvSpPr>
                <p:nvPr/>
              </p:nvSpPr>
              <p:spPr bwMode="auto">
                <a:xfrm>
                  <a:off x="1944" y="723"/>
                  <a:ext cx="1122" cy="761"/>
                </a:xfrm>
                <a:custGeom>
                  <a:avLst/>
                  <a:gdLst>
                    <a:gd name="T0" fmla="*/ 1115 w 1122"/>
                    <a:gd name="T1" fmla="*/ 161 h 761"/>
                    <a:gd name="T2" fmla="*/ 1041 w 1122"/>
                    <a:gd name="T3" fmla="*/ 230 h 761"/>
                    <a:gd name="T4" fmla="*/ 957 w 1122"/>
                    <a:gd name="T5" fmla="*/ 306 h 761"/>
                    <a:gd name="T6" fmla="*/ 906 w 1122"/>
                    <a:gd name="T7" fmla="*/ 382 h 761"/>
                    <a:gd name="T8" fmla="*/ 876 w 1122"/>
                    <a:gd name="T9" fmla="*/ 435 h 761"/>
                    <a:gd name="T10" fmla="*/ 809 w 1122"/>
                    <a:gd name="T11" fmla="*/ 471 h 761"/>
                    <a:gd name="T12" fmla="*/ 758 w 1122"/>
                    <a:gd name="T13" fmla="*/ 504 h 761"/>
                    <a:gd name="T14" fmla="*/ 738 w 1122"/>
                    <a:gd name="T15" fmla="*/ 542 h 761"/>
                    <a:gd name="T16" fmla="*/ 693 w 1122"/>
                    <a:gd name="T17" fmla="*/ 588 h 761"/>
                    <a:gd name="T18" fmla="*/ 704 w 1122"/>
                    <a:gd name="T19" fmla="*/ 631 h 761"/>
                    <a:gd name="T20" fmla="*/ 701 w 1122"/>
                    <a:gd name="T21" fmla="*/ 670 h 761"/>
                    <a:gd name="T22" fmla="*/ 697 w 1122"/>
                    <a:gd name="T23" fmla="*/ 709 h 761"/>
                    <a:gd name="T24" fmla="*/ 699 w 1122"/>
                    <a:gd name="T25" fmla="*/ 746 h 761"/>
                    <a:gd name="T26" fmla="*/ 356 w 1122"/>
                    <a:gd name="T27" fmla="*/ 634 h 761"/>
                    <a:gd name="T28" fmla="*/ 275 w 1122"/>
                    <a:gd name="T29" fmla="*/ 732 h 761"/>
                    <a:gd name="T30" fmla="*/ 0 w 1122"/>
                    <a:gd name="T31" fmla="*/ 354 h 761"/>
                    <a:gd name="T32" fmla="*/ 28 w 1122"/>
                    <a:gd name="T33" fmla="*/ 354 h 761"/>
                    <a:gd name="T34" fmla="*/ 51 w 1122"/>
                    <a:gd name="T35" fmla="*/ 351 h 761"/>
                    <a:gd name="T36" fmla="*/ 70 w 1122"/>
                    <a:gd name="T37" fmla="*/ 353 h 761"/>
                    <a:gd name="T38" fmla="*/ 95 w 1122"/>
                    <a:gd name="T39" fmla="*/ 355 h 761"/>
                    <a:gd name="T40" fmla="*/ 119 w 1122"/>
                    <a:gd name="T41" fmla="*/ 359 h 761"/>
                    <a:gd name="T42" fmla="*/ 144 w 1122"/>
                    <a:gd name="T43" fmla="*/ 361 h 761"/>
                    <a:gd name="T44" fmla="*/ 165 w 1122"/>
                    <a:gd name="T45" fmla="*/ 366 h 761"/>
                    <a:gd name="T46" fmla="*/ 184 w 1122"/>
                    <a:gd name="T47" fmla="*/ 367 h 761"/>
                    <a:gd name="T48" fmla="*/ 203 w 1122"/>
                    <a:gd name="T49" fmla="*/ 363 h 761"/>
                    <a:gd name="T50" fmla="*/ 216 w 1122"/>
                    <a:gd name="T51" fmla="*/ 369 h 761"/>
                    <a:gd name="T52" fmla="*/ 228 w 1122"/>
                    <a:gd name="T53" fmla="*/ 399 h 761"/>
                    <a:gd name="T54" fmla="*/ 298 w 1122"/>
                    <a:gd name="T55" fmla="*/ 375 h 761"/>
                    <a:gd name="T56" fmla="*/ 324 w 1122"/>
                    <a:gd name="T57" fmla="*/ 364 h 761"/>
                    <a:gd name="T58" fmla="*/ 352 w 1122"/>
                    <a:gd name="T59" fmla="*/ 347 h 761"/>
                    <a:gd name="T60" fmla="*/ 370 w 1122"/>
                    <a:gd name="T61" fmla="*/ 317 h 761"/>
                    <a:gd name="T62" fmla="*/ 384 w 1122"/>
                    <a:gd name="T63" fmla="*/ 291 h 761"/>
                    <a:gd name="T64" fmla="*/ 402 w 1122"/>
                    <a:gd name="T65" fmla="*/ 272 h 761"/>
                    <a:gd name="T66" fmla="*/ 423 w 1122"/>
                    <a:gd name="T67" fmla="*/ 267 h 761"/>
                    <a:gd name="T68" fmla="*/ 442 w 1122"/>
                    <a:gd name="T69" fmla="*/ 264 h 761"/>
                    <a:gd name="T70" fmla="*/ 462 w 1122"/>
                    <a:gd name="T71" fmla="*/ 271 h 761"/>
                    <a:gd name="T72" fmla="*/ 485 w 1122"/>
                    <a:gd name="T73" fmla="*/ 282 h 761"/>
                    <a:gd name="T74" fmla="*/ 507 w 1122"/>
                    <a:gd name="T75" fmla="*/ 249 h 761"/>
                    <a:gd name="T76" fmla="*/ 533 w 1122"/>
                    <a:gd name="T77" fmla="*/ 223 h 761"/>
                    <a:gd name="T78" fmla="*/ 560 w 1122"/>
                    <a:gd name="T79" fmla="*/ 208 h 761"/>
                    <a:gd name="T80" fmla="*/ 577 w 1122"/>
                    <a:gd name="T81" fmla="*/ 193 h 761"/>
                    <a:gd name="T82" fmla="*/ 589 w 1122"/>
                    <a:gd name="T83" fmla="*/ 183 h 761"/>
                    <a:gd name="T84" fmla="*/ 613 w 1122"/>
                    <a:gd name="T85" fmla="*/ 175 h 761"/>
                    <a:gd name="T86" fmla="*/ 636 w 1122"/>
                    <a:gd name="T87" fmla="*/ 173 h 761"/>
                    <a:gd name="T88" fmla="*/ 669 w 1122"/>
                    <a:gd name="T89" fmla="*/ 160 h 761"/>
                    <a:gd name="T90" fmla="*/ 682 w 1122"/>
                    <a:gd name="T91" fmla="*/ 140 h 761"/>
                    <a:gd name="T92" fmla="*/ 700 w 1122"/>
                    <a:gd name="T93" fmla="*/ 121 h 761"/>
                    <a:gd name="T94" fmla="*/ 721 w 1122"/>
                    <a:gd name="T95" fmla="*/ 104 h 761"/>
                    <a:gd name="T96" fmla="*/ 748 w 1122"/>
                    <a:gd name="T97" fmla="*/ 85 h 761"/>
                    <a:gd name="T98" fmla="*/ 768 w 1122"/>
                    <a:gd name="T99" fmla="*/ 72 h 761"/>
                    <a:gd name="T100" fmla="*/ 790 w 1122"/>
                    <a:gd name="T101" fmla="*/ 60 h 761"/>
                    <a:gd name="T102" fmla="*/ 822 w 1122"/>
                    <a:gd name="T103" fmla="*/ 54 h 761"/>
                    <a:gd name="T104" fmla="*/ 843 w 1122"/>
                    <a:gd name="T105" fmla="*/ 47 h 761"/>
                    <a:gd name="T106" fmla="*/ 870 w 1122"/>
                    <a:gd name="T107" fmla="*/ 42 h 761"/>
                    <a:gd name="T108" fmla="*/ 896 w 1122"/>
                    <a:gd name="T109" fmla="*/ 34 h 761"/>
                    <a:gd name="T110" fmla="*/ 921 w 1122"/>
                    <a:gd name="T111" fmla="*/ 32 h 761"/>
                    <a:gd name="T112" fmla="*/ 949 w 1122"/>
                    <a:gd name="T113" fmla="*/ 26 h 761"/>
                    <a:gd name="T114" fmla="*/ 974 w 1122"/>
                    <a:gd name="T115" fmla="*/ 34 h 761"/>
                    <a:gd name="T116" fmla="*/ 991 w 1122"/>
                    <a:gd name="T117" fmla="*/ 23 h 761"/>
                    <a:gd name="T118" fmla="*/ 1017 w 1122"/>
                    <a:gd name="T119" fmla="*/ 27 h 761"/>
                    <a:gd name="T120" fmla="*/ 1029 w 1122"/>
                    <a:gd name="T121" fmla="*/ 37 h 761"/>
                    <a:gd name="T122" fmla="*/ 1056 w 1122"/>
                    <a:gd name="T123" fmla="*/ 34 h 761"/>
                    <a:gd name="T124" fmla="*/ 1082 w 1122"/>
                    <a:gd name="T12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2" h="761">
                      <a:moveTo>
                        <a:pt x="1102" y="11"/>
                      </a:moveTo>
                      <a:lnTo>
                        <a:pt x="1103" y="13"/>
                      </a:lnTo>
                      <a:lnTo>
                        <a:pt x="1105" y="17"/>
                      </a:lnTo>
                      <a:lnTo>
                        <a:pt x="1106" y="20"/>
                      </a:lnTo>
                      <a:lnTo>
                        <a:pt x="1107" y="22"/>
                      </a:lnTo>
                      <a:lnTo>
                        <a:pt x="1108" y="25"/>
                      </a:lnTo>
                      <a:lnTo>
                        <a:pt x="1109" y="26"/>
                      </a:lnTo>
                      <a:lnTo>
                        <a:pt x="1111" y="29"/>
                      </a:lnTo>
                      <a:lnTo>
                        <a:pt x="1111" y="30"/>
                      </a:lnTo>
                      <a:lnTo>
                        <a:pt x="1111" y="32"/>
                      </a:lnTo>
                      <a:lnTo>
                        <a:pt x="1111" y="34"/>
                      </a:lnTo>
                      <a:lnTo>
                        <a:pt x="1112" y="37"/>
                      </a:lnTo>
                      <a:lnTo>
                        <a:pt x="1112" y="39"/>
                      </a:lnTo>
                      <a:lnTo>
                        <a:pt x="1113" y="40"/>
                      </a:lnTo>
                      <a:lnTo>
                        <a:pt x="1115" y="41"/>
                      </a:lnTo>
                      <a:lnTo>
                        <a:pt x="1120" y="43"/>
                      </a:lnTo>
                      <a:lnTo>
                        <a:pt x="1121" y="45"/>
                      </a:lnTo>
                      <a:lnTo>
                        <a:pt x="1122" y="47"/>
                      </a:lnTo>
                      <a:lnTo>
                        <a:pt x="1122" y="49"/>
                      </a:lnTo>
                      <a:lnTo>
                        <a:pt x="1122" y="51"/>
                      </a:lnTo>
                      <a:lnTo>
                        <a:pt x="1122" y="52"/>
                      </a:lnTo>
                      <a:lnTo>
                        <a:pt x="1120" y="54"/>
                      </a:lnTo>
                      <a:lnTo>
                        <a:pt x="1119" y="56"/>
                      </a:lnTo>
                      <a:lnTo>
                        <a:pt x="1116" y="59"/>
                      </a:lnTo>
                      <a:lnTo>
                        <a:pt x="1113" y="62"/>
                      </a:lnTo>
                      <a:lnTo>
                        <a:pt x="1111" y="66"/>
                      </a:lnTo>
                      <a:lnTo>
                        <a:pt x="1110" y="68"/>
                      </a:lnTo>
                      <a:lnTo>
                        <a:pt x="1109" y="70"/>
                      </a:lnTo>
                      <a:lnTo>
                        <a:pt x="1109" y="74"/>
                      </a:lnTo>
                      <a:lnTo>
                        <a:pt x="1110" y="79"/>
                      </a:lnTo>
                      <a:lnTo>
                        <a:pt x="1110" y="80"/>
                      </a:lnTo>
                      <a:lnTo>
                        <a:pt x="1110" y="81"/>
                      </a:lnTo>
                      <a:lnTo>
                        <a:pt x="1112" y="84"/>
                      </a:lnTo>
                      <a:lnTo>
                        <a:pt x="1113" y="85"/>
                      </a:lnTo>
                      <a:lnTo>
                        <a:pt x="1113" y="88"/>
                      </a:lnTo>
                      <a:lnTo>
                        <a:pt x="1113" y="91"/>
                      </a:lnTo>
                      <a:lnTo>
                        <a:pt x="1111" y="100"/>
                      </a:lnTo>
                      <a:lnTo>
                        <a:pt x="1111" y="104"/>
                      </a:lnTo>
                      <a:lnTo>
                        <a:pt x="1111" y="105"/>
                      </a:lnTo>
                      <a:lnTo>
                        <a:pt x="1113" y="108"/>
                      </a:lnTo>
                      <a:lnTo>
                        <a:pt x="1115" y="110"/>
                      </a:lnTo>
                      <a:lnTo>
                        <a:pt x="1116" y="112"/>
                      </a:lnTo>
                      <a:lnTo>
                        <a:pt x="1117" y="112"/>
                      </a:lnTo>
                      <a:lnTo>
                        <a:pt x="1117" y="113"/>
                      </a:lnTo>
                      <a:lnTo>
                        <a:pt x="1118" y="115"/>
                      </a:lnTo>
                      <a:lnTo>
                        <a:pt x="1118" y="119"/>
                      </a:lnTo>
                      <a:lnTo>
                        <a:pt x="1117" y="120"/>
                      </a:lnTo>
                      <a:lnTo>
                        <a:pt x="1117" y="122"/>
                      </a:lnTo>
                      <a:lnTo>
                        <a:pt x="1118" y="124"/>
                      </a:lnTo>
                      <a:lnTo>
                        <a:pt x="1118" y="125"/>
                      </a:lnTo>
                      <a:lnTo>
                        <a:pt x="1118" y="127"/>
                      </a:lnTo>
                      <a:lnTo>
                        <a:pt x="1117" y="131"/>
                      </a:lnTo>
                      <a:lnTo>
                        <a:pt x="1117" y="133"/>
                      </a:lnTo>
                      <a:lnTo>
                        <a:pt x="1117" y="135"/>
                      </a:lnTo>
                      <a:lnTo>
                        <a:pt x="1118" y="137"/>
                      </a:lnTo>
                      <a:lnTo>
                        <a:pt x="1120" y="138"/>
                      </a:lnTo>
                      <a:lnTo>
                        <a:pt x="1120" y="139"/>
                      </a:lnTo>
                      <a:lnTo>
                        <a:pt x="1120" y="140"/>
                      </a:lnTo>
                      <a:lnTo>
                        <a:pt x="1121" y="142"/>
                      </a:lnTo>
                      <a:lnTo>
                        <a:pt x="1121" y="143"/>
                      </a:lnTo>
                      <a:lnTo>
                        <a:pt x="1121" y="144"/>
                      </a:lnTo>
                      <a:lnTo>
                        <a:pt x="1121" y="145"/>
                      </a:lnTo>
                      <a:lnTo>
                        <a:pt x="1122" y="146"/>
                      </a:lnTo>
                      <a:lnTo>
                        <a:pt x="1121" y="147"/>
                      </a:lnTo>
                      <a:lnTo>
                        <a:pt x="1120" y="149"/>
                      </a:lnTo>
                      <a:lnTo>
                        <a:pt x="1119" y="151"/>
                      </a:lnTo>
                      <a:lnTo>
                        <a:pt x="1118" y="152"/>
                      </a:lnTo>
                      <a:lnTo>
                        <a:pt x="1117" y="154"/>
                      </a:lnTo>
                      <a:lnTo>
                        <a:pt x="1116" y="154"/>
                      </a:lnTo>
                      <a:lnTo>
                        <a:pt x="1116" y="154"/>
                      </a:lnTo>
                      <a:lnTo>
                        <a:pt x="1116" y="156"/>
                      </a:lnTo>
                      <a:lnTo>
                        <a:pt x="1116" y="157"/>
                      </a:lnTo>
                      <a:lnTo>
                        <a:pt x="1115" y="159"/>
                      </a:lnTo>
                      <a:lnTo>
                        <a:pt x="1115" y="161"/>
                      </a:lnTo>
                      <a:lnTo>
                        <a:pt x="1113" y="165"/>
                      </a:lnTo>
                      <a:lnTo>
                        <a:pt x="1113" y="167"/>
                      </a:lnTo>
                      <a:lnTo>
                        <a:pt x="1112" y="168"/>
                      </a:lnTo>
                      <a:lnTo>
                        <a:pt x="1111" y="169"/>
                      </a:lnTo>
                      <a:lnTo>
                        <a:pt x="1108" y="171"/>
                      </a:lnTo>
                      <a:lnTo>
                        <a:pt x="1106" y="172"/>
                      </a:lnTo>
                      <a:lnTo>
                        <a:pt x="1104" y="175"/>
                      </a:lnTo>
                      <a:lnTo>
                        <a:pt x="1103" y="178"/>
                      </a:lnTo>
                      <a:lnTo>
                        <a:pt x="1102" y="179"/>
                      </a:lnTo>
                      <a:lnTo>
                        <a:pt x="1101" y="180"/>
                      </a:lnTo>
                      <a:lnTo>
                        <a:pt x="1101" y="181"/>
                      </a:lnTo>
                      <a:lnTo>
                        <a:pt x="1100" y="182"/>
                      </a:lnTo>
                      <a:lnTo>
                        <a:pt x="1098" y="182"/>
                      </a:lnTo>
                      <a:lnTo>
                        <a:pt x="1098" y="183"/>
                      </a:lnTo>
                      <a:lnTo>
                        <a:pt x="1097" y="183"/>
                      </a:lnTo>
                      <a:lnTo>
                        <a:pt x="1096" y="184"/>
                      </a:lnTo>
                      <a:lnTo>
                        <a:pt x="1096" y="186"/>
                      </a:lnTo>
                      <a:lnTo>
                        <a:pt x="1095" y="186"/>
                      </a:lnTo>
                      <a:lnTo>
                        <a:pt x="1095" y="188"/>
                      </a:lnTo>
                      <a:lnTo>
                        <a:pt x="1096" y="188"/>
                      </a:lnTo>
                      <a:lnTo>
                        <a:pt x="1095" y="188"/>
                      </a:lnTo>
                      <a:lnTo>
                        <a:pt x="1094" y="190"/>
                      </a:lnTo>
                      <a:lnTo>
                        <a:pt x="1094" y="190"/>
                      </a:lnTo>
                      <a:lnTo>
                        <a:pt x="1094" y="191"/>
                      </a:lnTo>
                      <a:lnTo>
                        <a:pt x="1094" y="192"/>
                      </a:lnTo>
                      <a:lnTo>
                        <a:pt x="1094" y="192"/>
                      </a:lnTo>
                      <a:lnTo>
                        <a:pt x="1094" y="193"/>
                      </a:lnTo>
                      <a:lnTo>
                        <a:pt x="1094" y="194"/>
                      </a:lnTo>
                      <a:lnTo>
                        <a:pt x="1093" y="195"/>
                      </a:lnTo>
                      <a:lnTo>
                        <a:pt x="1092" y="196"/>
                      </a:lnTo>
                      <a:lnTo>
                        <a:pt x="1091" y="197"/>
                      </a:lnTo>
                      <a:lnTo>
                        <a:pt x="1090" y="197"/>
                      </a:lnTo>
                      <a:lnTo>
                        <a:pt x="1088" y="197"/>
                      </a:lnTo>
                      <a:lnTo>
                        <a:pt x="1087" y="198"/>
                      </a:lnTo>
                      <a:lnTo>
                        <a:pt x="1086" y="197"/>
                      </a:lnTo>
                      <a:lnTo>
                        <a:pt x="1084" y="197"/>
                      </a:lnTo>
                      <a:lnTo>
                        <a:pt x="1084" y="197"/>
                      </a:lnTo>
                      <a:lnTo>
                        <a:pt x="1082" y="197"/>
                      </a:lnTo>
                      <a:lnTo>
                        <a:pt x="1081" y="197"/>
                      </a:lnTo>
                      <a:lnTo>
                        <a:pt x="1079" y="198"/>
                      </a:lnTo>
                      <a:lnTo>
                        <a:pt x="1077" y="199"/>
                      </a:lnTo>
                      <a:lnTo>
                        <a:pt x="1075" y="200"/>
                      </a:lnTo>
                      <a:lnTo>
                        <a:pt x="1075" y="201"/>
                      </a:lnTo>
                      <a:lnTo>
                        <a:pt x="1073" y="201"/>
                      </a:lnTo>
                      <a:lnTo>
                        <a:pt x="1072" y="203"/>
                      </a:lnTo>
                      <a:lnTo>
                        <a:pt x="1071" y="203"/>
                      </a:lnTo>
                      <a:lnTo>
                        <a:pt x="1071" y="204"/>
                      </a:lnTo>
                      <a:lnTo>
                        <a:pt x="1071" y="205"/>
                      </a:lnTo>
                      <a:lnTo>
                        <a:pt x="1071" y="209"/>
                      </a:lnTo>
                      <a:lnTo>
                        <a:pt x="1069" y="212"/>
                      </a:lnTo>
                      <a:lnTo>
                        <a:pt x="1069" y="214"/>
                      </a:lnTo>
                      <a:lnTo>
                        <a:pt x="1068" y="215"/>
                      </a:lnTo>
                      <a:lnTo>
                        <a:pt x="1067" y="218"/>
                      </a:lnTo>
                      <a:lnTo>
                        <a:pt x="1065" y="219"/>
                      </a:lnTo>
                      <a:lnTo>
                        <a:pt x="1062" y="220"/>
                      </a:lnTo>
                      <a:lnTo>
                        <a:pt x="1059" y="220"/>
                      </a:lnTo>
                      <a:lnTo>
                        <a:pt x="1058" y="220"/>
                      </a:lnTo>
                      <a:lnTo>
                        <a:pt x="1058" y="221"/>
                      </a:lnTo>
                      <a:lnTo>
                        <a:pt x="1057" y="221"/>
                      </a:lnTo>
                      <a:lnTo>
                        <a:pt x="1056" y="221"/>
                      </a:lnTo>
                      <a:lnTo>
                        <a:pt x="1055" y="221"/>
                      </a:lnTo>
                      <a:lnTo>
                        <a:pt x="1054" y="222"/>
                      </a:lnTo>
                      <a:lnTo>
                        <a:pt x="1053" y="222"/>
                      </a:lnTo>
                      <a:lnTo>
                        <a:pt x="1052" y="222"/>
                      </a:lnTo>
                      <a:lnTo>
                        <a:pt x="1049" y="224"/>
                      </a:lnTo>
                      <a:lnTo>
                        <a:pt x="1048" y="225"/>
                      </a:lnTo>
                      <a:lnTo>
                        <a:pt x="1048" y="225"/>
                      </a:lnTo>
                      <a:lnTo>
                        <a:pt x="1048" y="226"/>
                      </a:lnTo>
                      <a:lnTo>
                        <a:pt x="1046" y="228"/>
                      </a:lnTo>
                      <a:lnTo>
                        <a:pt x="1046" y="229"/>
                      </a:lnTo>
                      <a:lnTo>
                        <a:pt x="1045" y="229"/>
                      </a:lnTo>
                      <a:lnTo>
                        <a:pt x="1044" y="230"/>
                      </a:lnTo>
                      <a:lnTo>
                        <a:pt x="1043" y="230"/>
                      </a:lnTo>
                      <a:lnTo>
                        <a:pt x="1041" y="230"/>
                      </a:lnTo>
                      <a:lnTo>
                        <a:pt x="1037" y="230"/>
                      </a:lnTo>
                      <a:lnTo>
                        <a:pt x="1037" y="230"/>
                      </a:lnTo>
                      <a:lnTo>
                        <a:pt x="1036" y="231"/>
                      </a:lnTo>
                      <a:lnTo>
                        <a:pt x="1035" y="232"/>
                      </a:lnTo>
                      <a:lnTo>
                        <a:pt x="1035" y="232"/>
                      </a:lnTo>
                      <a:lnTo>
                        <a:pt x="1035" y="232"/>
                      </a:lnTo>
                      <a:lnTo>
                        <a:pt x="1035" y="234"/>
                      </a:lnTo>
                      <a:lnTo>
                        <a:pt x="1035" y="235"/>
                      </a:lnTo>
                      <a:lnTo>
                        <a:pt x="1035" y="236"/>
                      </a:lnTo>
                      <a:lnTo>
                        <a:pt x="1034" y="236"/>
                      </a:lnTo>
                      <a:lnTo>
                        <a:pt x="1033" y="237"/>
                      </a:lnTo>
                      <a:lnTo>
                        <a:pt x="1033" y="237"/>
                      </a:lnTo>
                      <a:lnTo>
                        <a:pt x="1029" y="237"/>
                      </a:lnTo>
                      <a:lnTo>
                        <a:pt x="1023" y="237"/>
                      </a:lnTo>
                      <a:lnTo>
                        <a:pt x="1019" y="237"/>
                      </a:lnTo>
                      <a:lnTo>
                        <a:pt x="1018" y="237"/>
                      </a:lnTo>
                      <a:lnTo>
                        <a:pt x="1012" y="237"/>
                      </a:lnTo>
                      <a:lnTo>
                        <a:pt x="1010" y="237"/>
                      </a:lnTo>
                      <a:lnTo>
                        <a:pt x="1009" y="237"/>
                      </a:lnTo>
                      <a:lnTo>
                        <a:pt x="1008" y="238"/>
                      </a:lnTo>
                      <a:lnTo>
                        <a:pt x="1007" y="239"/>
                      </a:lnTo>
                      <a:lnTo>
                        <a:pt x="1006" y="241"/>
                      </a:lnTo>
                      <a:lnTo>
                        <a:pt x="1006" y="241"/>
                      </a:lnTo>
                      <a:lnTo>
                        <a:pt x="1006" y="242"/>
                      </a:lnTo>
                      <a:lnTo>
                        <a:pt x="1006" y="243"/>
                      </a:lnTo>
                      <a:lnTo>
                        <a:pt x="1006" y="245"/>
                      </a:lnTo>
                      <a:lnTo>
                        <a:pt x="1006" y="245"/>
                      </a:lnTo>
                      <a:lnTo>
                        <a:pt x="1009" y="250"/>
                      </a:lnTo>
                      <a:lnTo>
                        <a:pt x="1012" y="254"/>
                      </a:lnTo>
                      <a:lnTo>
                        <a:pt x="1013" y="256"/>
                      </a:lnTo>
                      <a:lnTo>
                        <a:pt x="1014" y="258"/>
                      </a:lnTo>
                      <a:lnTo>
                        <a:pt x="1015" y="260"/>
                      </a:lnTo>
                      <a:lnTo>
                        <a:pt x="1012" y="268"/>
                      </a:lnTo>
                      <a:lnTo>
                        <a:pt x="1010" y="272"/>
                      </a:lnTo>
                      <a:lnTo>
                        <a:pt x="1007" y="275"/>
                      </a:lnTo>
                      <a:lnTo>
                        <a:pt x="1001" y="278"/>
                      </a:lnTo>
                      <a:lnTo>
                        <a:pt x="997" y="279"/>
                      </a:lnTo>
                      <a:lnTo>
                        <a:pt x="993" y="281"/>
                      </a:lnTo>
                      <a:lnTo>
                        <a:pt x="989" y="283"/>
                      </a:lnTo>
                      <a:lnTo>
                        <a:pt x="986" y="285"/>
                      </a:lnTo>
                      <a:lnTo>
                        <a:pt x="984" y="285"/>
                      </a:lnTo>
                      <a:lnTo>
                        <a:pt x="982" y="285"/>
                      </a:lnTo>
                      <a:lnTo>
                        <a:pt x="981" y="283"/>
                      </a:lnTo>
                      <a:lnTo>
                        <a:pt x="980" y="281"/>
                      </a:lnTo>
                      <a:lnTo>
                        <a:pt x="978" y="278"/>
                      </a:lnTo>
                      <a:lnTo>
                        <a:pt x="977" y="275"/>
                      </a:lnTo>
                      <a:lnTo>
                        <a:pt x="975" y="273"/>
                      </a:lnTo>
                      <a:lnTo>
                        <a:pt x="974" y="272"/>
                      </a:lnTo>
                      <a:lnTo>
                        <a:pt x="972" y="270"/>
                      </a:lnTo>
                      <a:lnTo>
                        <a:pt x="971" y="270"/>
                      </a:lnTo>
                      <a:lnTo>
                        <a:pt x="970" y="271"/>
                      </a:lnTo>
                      <a:lnTo>
                        <a:pt x="968" y="272"/>
                      </a:lnTo>
                      <a:lnTo>
                        <a:pt x="966" y="274"/>
                      </a:lnTo>
                      <a:lnTo>
                        <a:pt x="964" y="277"/>
                      </a:lnTo>
                      <a:lnTo>
                        <a:pt x="962" y="281"/>
                      </a:lnTo>
                      <a:lnTo>
                        <a:pt x="961" y="283"/>
                      </a:lnTo>
                      <a:lnTo>
                        <a:pt x="961" y="285"/>
                      </a:lnTo>
                      <a:lnTo>
                        <a:pt x="962" y="285"/>
                      </a:lnTo>
                      <a:lnTo>
                        <a:pt x="965" y="287"/>
                      </a:lnTo>
                      <a:lnTo>
                        <a:pt x="968" y="289"/>
                      </a:lnTo>
                      <a:lnTo>
                        <a:pt x="972" y="291"/>
                      </a:lnTo>
                      <a:lnTo>
                        <a:pt x="976" y="296"/>
                      </a:lnTo>
                      <a:lnTo>
                        <a:pt x="976" y="298"/>
                      </a:lnTo>
                      <a:lnTo>
                        <a:pt x="976" y="301"/>
                      </a:lnTo>
                      <a:lnTo>
                        <a:pt x="976" y="306"/>
                      </a:lnTo>
                      <a:lnTo>
                        <a:pt x="976" y="308"/>
                      </a:lnTo>
                      <a:lnTo>
                        <a:pt x="976" y="309"/>
                      </a:lnTo>
                      <a:lnTo>
                        <a:pt x="974" y="309"/>
                      </a:lnTo>
                      <a:lnTo>
                        <a:pt x="972" y="309"/>
                      </a:lnTo>
                      <a:lnTo>
                        <a:pt x="968" y="308"/>
                      </a:lnTo>
                      <a:lnTo>
                        <a:pt x="965" y="308"/>
                      </a:lnTo>
                      <a:lnTo>
                        <a:pt x="962" y="308"/>
                      </a:lnTo>
                      <a:lnTo>
                        <a:pt x="959" y="307"/>
                      </a:lnTo>
                      <a:lnTo>
                        <a:pt x="957" y="306"/>
                      </a:lnTo>
                      <a:lnTo>
                        <a:pt x="954" y="304"/>
                      </a:lnTo>
                      <a:lnTo>
                        <a:pt x="951" y="302"/>
                      </a:lnTo>
                      <a:lnTo>
                        <a:pt x="947" y="300"/>
                      </a:lnTo>
                      <a:lnTo>
                        <a:pt x="945" y="300"/>
                      </a:lnTo>
                      <a:lnTo>
                        <a:pt x="943" y="300"/>
                      </a:lnTo>
                      <a:lnTo>
                        <a:pt x="942" y="300"/>
                      </a:lnTo>
                      <a:lnTo>
                        <a:pt x="940" y="301"/>
                      </a:lnTo>
                      <a:lnTo>
                        <a:pt x="937" y="303"/>
                      </a:lnTo>
                      <a:lnTo>
                        <a:pt x="934" y="304"/>
                      </a:lnTo>
                      <a:lnTo>
                        <a:pt x="929" y="307"/>
                      </a:lnTo>
                      <a:lnTo>
                        <a:pt x="925" y="308"/>
                      </a:lnTo>
                      <a:lnTo>
                        <a:pt x="923" y="310"/>
                      </a:lnTo>
                      <a:lnTo>
                        <a:pt x="920" y="312"/>
                      </a:lnTo>
                      <a:lnTo>
                        <a:pt x="919" y="313"/>
                      </a:lnTo>
                      <a:lnTo>
                        <a:pt x="917" y="314"/>
                      </a:lnTo>
                      <a:lnTo>
                        <a:pt x="917" y="315"/>
                      </a:lnTo>
                      <a:lnTo>
                        <a:pt x="919" y="317"/>
                      </a:lnTo>
                      <a:lnTo>
                        <a:pt x="921" y="318"/>
                      </a:lnTo>
                      <a:lnTo>
                        <a:pt x="923" y="318"/>
                      </a:lnTo>
                      <a:lnTo>
                        <a:pt x="925" y="318"/>
                      </a:lnTo>
                      <a:lnTo>
                        <a:pt x="926" y="317"/>
                      </a:lnTo>
                      <a:lnTo>
                        <a:pt x="928" y="316"/>
                      </a:lnTo>
                      <a:lnTo>
                        <a:pt x="929" y="315"/>
                      </a:lnTo>
                      <a:lnTo>
                        <a:pt x="932" y="315"/>
                      </a:lnTo>
                      <a:lnTo>
                        <a:pt x="933" y="316"/>
                      </a:lnTo>
                      <a:lnTo>
                        <a:pt x="934" y="317"/>
                      </a:lnTo>
                      <a:lnTo>
                        <a:pt x="933" y="319"/>
                      </a:lnTo>
                      <a:lnTo>
                        <a:pt x="932" y="321"/>
                      </a:lnTo>
                      <a:lnTo>
                        <a:pt x="929" y="323"/>
                      </a:lnTo>
                      <a:lnTo>
                        <a:pt x="927" y="324"/>
                      </a:lnTo>
                      <a:lnTo>
                        <a:pt x="926" y="325"/>
                      </a:lnTo>
                      <a:lnTo>
                        <a:pt x="925" y="327"/>
                      </a:lnTo>
                      <a:lnTo>
                        <a:pt x="925" y="331"/>
                      </a:lnTo>
                      <a:lnTo>
                        <a:pt x="925" y="334"/>
                      </a:lnTo>
                      <a:lnTo>
                        <a:pt x="925" y="338"/>
                      </a:lnTo>
                      <a:lnTo>
                        <a:pt x="924" y="342"/>
                      </a:lnTo>
                      <a:lnTo>
                        <a:pt x="923" y="347"/>
                      </a:lnTo>
                      <a:lnTo>
                        <a:pt x="923" y="348"/>
                      </a:lnTo>
                      <a:lnTo>
                        <a:pt x="922" y="350"/>
                      </a:lnTo>
                      <a:lnTo>
                        <a:pt x="921" y="350"/>
                      </a:lnTo>
                      <a:lnTo>
                        <a:pt x="920" y="351"/>
                      </a:lnTo>
                      <a:lnTo>
                        <a:pt x="919" y="351"/>
                      </a:lnTo>
                      <a:lnTo>
                        <a:pt x="917" y="351"/>
                      </a:lnTo>
                      <a:lnTo>
                        <a:pt x="916" y="351"/>
                      </a:lnTo>
                      <a:lnTo>
                        <a:pt x="915" y="351"/>
                      </a:lnTo>
                      <a:lnTo>
                        <a:pt x="913" y="351"/>
                      </a:lnTo>
                      <a:lnTo>
                        <a:pt x="912" y="355"/>
                      </a:lnTo>
                      <a:lnTo>
                        <a:pt x="911" y="357"/>
                      </a:lnTo>
                      <a:lnTo>
                        <a:pt x="910" y="359"/>
                      </a:lnTo>
                      <a:lnTo>
                        <a:pt x="909" y="362"/>
                      </a:lnTo>
                      <a:lnTo>
                        <a:pt x="910" y="364"/>
                      </a:lnTo>
                      <a:lnTo>
                        <a:pt x="910" y="365"/>
                      </a:lnTo>
                      <a:lnTo>
                        <a:pt x="912" y="365"/>
                      </a:lnTo>
                      <a:lnTo>
                        <a:pt x="913" y="365"/>
                      </a:lnTo>
                      <a:lnTo>
                        <a:pt x="914" y="366"/>
                      </a:lnTo>
                      <a:lnTo>
                        <a:pt x="913" y="367"/>
                      </a:lnTo>
                      <a:lnTo>
                        <a:pt x="912" y="367"/>
                      </a:lnTo>
                      <a:lnTo>
                        <a:pt x="910" y="367"/>
                      </a:lnTo>
                      <a:lnTo>
                        <a:pt x="909" y="367"/>
                      </a:lnTo>
                      <a:lnTo>
                        <a:pt x="908" y="366"/>
                      </a:lnTo>
                      <a:lnTo>
                        <a:pt x="906" y="366"/>
                      </a:lnTo>
                      <a:lnTo>
                        <a:pt x="903" y="365"/>
                      </a:lnTo>
                      <a:lnTo>
                        <a:pt x="902" y="365"/>
                      </a:lnTo>
                      <a:lnTo>
                        <a:pt x="900" y="365"/>
                      </a:lnTo>
                      <a:lnTo>
                        <a:pt x="900" y="366"/>
                      </a:lnTo>
                      <a:lnTo>
                        <a:pt x="900" y="367"/>
                      </a:lnTo>
                      <a:lnTo>
                        <a:pt x="901" y="368"/>
                      </a:lnTo>
                      <a:lnTo>
                        <a:pt x="902" y="370"/>
                      </a:lnTo>
                      <a:lnTo>
                        <a:pt x="904" y="372"/>
                      </a:lnTo>
                      <a:lnTo>
                        <a:pt x="904" y="374"/>
                      </a:lnTo>
                      <a:lnTo>
                        <a:pt x="906" y="376"/>
                      </a:lnTo>
                      <a:lnTo>
                        <a:pt x="906" y="378"/>
                      </a:lnTo>
                      <a:lnTo>
                        <a:pt x="906" y="380"/>
                      </a:lnTo>
                      <a:lnTo>
                        <a:pt x="906" y="382"/>
                      </a:lnTo>
                      <a:lnTo>
                        <a:pt x="905" y="385"/>
                      </a:lnTo>
                      <a:lnTo>
                        <a:pt x="904" y="386"/>
                      </a:lnTo>
                      <a:lnTo>
                        <a:pt x="902" y="388"/>
                      </a:lnTo>
                      <a:lnTo>
                        <a:pt x="900" y="389"/>
                      </a:lnTo>
                      <a:lnTo>
                        <a:pt x="898" y="390"/>
                      </a:lnTo>
                      <a:lnTo>
                        <a:pt x="897" y="389"/>
                      </a:lnTo>
                      <a:lnTo>
                        <a:pt x="896" y="388"/>
                      </a:lnTo>
                      <a:lnTo>
                        <a:pt x="896" y="387"/>
                      </a:lnTo>
                      <a:lnTo>
                        <a:pt x="896" y="386"/>
                      </a:lnTo>
                      <a:lnTo>
                        <a:pt x="895" y="383"/>
                      </a:lnTo>
                      <a:lnTo>
                        <a:pt x="894" y="380"/>
                      </a:lnTo>
                      <a:lnTo>
                        <a:pt x="891" y="376"/>
                      </a:lnTo>
                      <a:lnTo>
                        <a:pt x="889" y="374"/>
                      </a:lnTo>
                      <a:lnTo>
                        <a:pt x="889" y="374"/>
                      </a:lnTo>
                      <a:lnTo>
                        <a:pt x="887" y="374"/>
                      </a:lnTo>
                      <a:lnTo>
                        <a:pt x="887" y="374"/>
                      </a:lnTo>
                      <a:lnTo>
                        <a:pt x="887" y="374"/>
                      </a:lnTo>
                      <a:lnTo>
                        <a:pt x="886" y="376"/>
                      </a:lnTo>
                      <a:lnTo>
                        <a:pt x="885" y="377"/>
                      </a:lnTo>
                      <a:lnTo>
                        <a:pt x="884" y="380"/>
                      </a:lnTo>
                      <a:lnTo>
                        <a:pt x="882" y="384"/>
                      </a:lnTo>
                      <a:lnTo>
                        <a:pt x="882" y="385"/>
                      </a:lnTo>
                      <a:lnTo>
                        <a:pt x="882" y="386"/>
                      </a:lnTo>
                      <a:lnTo>
                        <a:pt x="883" y="386"/>
                      </a:lnTo>
                      <a:lnTo>
                        <a:pt x="884" y="387"/>
                      </a:lnTo>
                      <a:lnTo>
                        <a:pt x="885" y="388"/>
                      </a:lnTo>
                      <a:lnTo>
                        <a:pt x="887" y="388"/>
                      </a:lnTo>
                      <a:lnTo>
                        <a:pt x="887" y="390"/>
                      </a:lnTo>
                      <a:lnTo>
                        <a:pt x="888" y="392"/>
                      </a:lnTo>
                      <a:lnTo>
                        <a:pt x="889" y="395"/>
                      </a:lnTo>
                      <a:lnTo>
                        <a:pt x="889" y="399"/>
                      </a:lnTo>
                      <a:lnTo>
                        <a:pt x="889" y="401"/>
                      </a:lnTo>
                      <a:lnTo>
                        <a:pt x="889" y="402"/>
                      </a:lnTo>
                      <a:lnTo>
                        <a:pt x="889" y="403"/>
                      </a:lnTo>
                      <a:lnTo>
                        <a:pt x="887" y="405"/>
                      </a:lnTo>
                      <a:lnTo>
                        <a:pt x="885" y="407"/>
                      </a:lnTo>
                      <a:lnTo>
                        <a:pt x="883" y="409"/>
                      </a:lnTo>
                      <a:lnTo>
                        <a:pt x="881" y="409"/>
                      </a:lnTo>
                      <a:lnTo>
                        <a:pt x="879" y="411"/>
                      </a:lnTo>
                      <a:lnTo>
                        <a:pt x="876" y="412"/>
                      </a:lnTo>
                      <a:lnTo>
                        <a:pt x="875" y="412"/>
                      </a:lnTo>
                      <a:lnTo>
                        <a:pt x="875" y="412"/>
                      </a:lnTo>
                      <a:lnTo>
                        <a:pt x="873" y="411"/>
                      </a:lnTo>
                      <a:lnTo>
                        <a:pt x="873" y="410"/>
                      </a:lnTo>
                      <a:lnTo>
                        <a:pt x="872" y="409"/>
                      </a:lnTo>
                      <a:lnTo>
                        <a:pt x="872" y="409"/>
                      </a:lnTo>
                      <a:lnTo>
                        <a:pt x="870" y="409"/>
                      </a:lnTo>
                      <a:lnTo>
                        <a:pt x="870" y="409"/>
                      </a:lnTo>
                      <a:lnTo>
                        <a:pt x="869" y="410"/>
                      </a:lnTo>
                      <a:lnTo>
                        <a:pt x="868" y="411"/>
                      </a:lnTo>
                      <a:lnTo>
                        <a:pt x="868" y="414"/>
                      </a:lnTo>
                      <a:lnTo>
                        <a:pt x="868" y="416"/>
                      </a:lnTo>
                      <a:lnTo>
                        <a:pt x="868" y="418"/>
                      </a:lnTo>
                      <a:lnTo>
                        <a:pt x="868" y="419"/>
                      </a:lnTo>
                      <a:lnTo>
                        <a:pt x="869" y="420"/>
                      </a:lnTo>
                      <a:lnTo>
                        <a:pt x="870" y="421"/>
                      </a:lnTo>
                      <a:lnTo>
                        <a:pt x="872" y="422"/>
                      </a:lnTo>
                      <a:lnTo>
                        <a:pt x="872" y="423"/>
                      </a:lnTo>
                      <a:lnTo>
                        <a:pt x="872" y="424"/>
                      </a:lnTo>
                      <a:lnTo>
                        <a:pt x="872" y="425"/>
                      </a:lnTo>
                      <a:lnTo>
                        <a:pt x="871" y="426"/>
                      </a:lnTo>
                      <a:lnTo>
                        <a:pt x="870" y="426"/>
                      </a:lnTo>
                      <a:lnTo>
                        <a:pt x="868" y="426"/>
                      </a:lnTo>
                      <a:lnTo>
                        <a:pt x="867" y="426"/>
                      </a:lnTo>
                      <a:lnTo>
                        <a:pt x="866" y="426"/>
                      </a:lnTo>
                      <a:lnTo>
                        <a:pt x="866" y="426"/>
                      </a:lnTo>
                      <a:lnTo>
                        <a:pt x="866" y="428"/>
                      </a:lnTo>
                      <a:lnTo>
                        <a:pt x="867" y="429"/>
                      </a:lnTo>
                      <a:lnTo>
                        <a:pt x="868" y="430"/>
                      </a:lnTo>
                      <a:lnTo>
                        <a:pt x="869" y="432"/>
                      </a:lnTo>
                      <a:lnTo>
                        <a:pt x="871" y="432"/>
                      </a:lnTo>
                      <a:lnTo>
                        <a:pt x="873" y="433"/>
                      </a:lnTo>
                      <a:lnTo>
                        <a:pt x="875" y="434"/>
                      </a:lnTo>
                      <a:lnTo>
                        <a:pt x="876" y="435"/>
                      </a:lnTo>
                      <a:lnTo>
                        <a:pt x="877" y="437"/>
                      </a:lnTo>
                      <a:lnTo>
                        <a:pt x="878" y="439"/>
                      </a:lnTo>
                      <a:lnTo>
                        <a:pt x="879" y="440"/>
                      </a:lnTo>
                      <a:lnTo>
                        <a:pt x="879" y="441"/>
                      </a:lnTo>
                      <a:lnTo>
                        <a:pt x="879" y="442"/>
                      </a:lnTo>
                      <a:lnTo>
                        <a:pt x="879" y="443"/>
                      </a:lnTo>
                      <a:lnTo>
                        <a:pt x="879" y="444"/>
                      </a:lnTo>
                      <a:lnTo>
                        <a:pt x="877" y="445"/>
                      </a:lnTo>
                      <a:lnTo>
                        <a:pt x="876" y="445"/>
                      </a:lnTo>
                      <a:lnTo>
                        <a:pt x="875" y="444"/>
                      </a:lnTo>
                      <a:lnTo>
                        <a:pt x="873" y="443"/>
                      </a:lnTo>
                      <a:lnTo>
                        <a:pt x="872" y="442"/>
                      </a:lnTo>
                      <a:lnTo>
                        <a:pt x="870" y="441"/>
                      </a:lnTo>
                      <a:lnTo>
                        <a:pt x="867" y="439"/>
                      </a:lnTo>
                      <a:lnTo>
                        <a:pt x="864" y="439"/>
                      </a:lnTo>
                      <a:lnTo>
                        <a:pt x="862" y="437"/>
                      </a:lnTo>
                      <a:lnTo>
                        <a:pt x="861" y="437"/>
                      </a:lnTo>
                      <a:lnTo>
                        <a:pt x="859" y="437"/>
                      </a:lnTo>
                      <a:lnTo>
                        <a:pt x="857" y="438"/>
                      </a:lnTo>
                      <a:lnTo>
                        <a:pt x="856" y="438"/>
                      </a:lnTo>
                      <a:lnTo>
                        <a:pt x="853" y="439"/>
                      </a:lnTo>
                      <a:lnTo>
                        <a:pt x="851" y="440"/>
                      </a:lnTo>
                      <a:lnTo>
                        <a:pt x="851" y="441"/>
                      </a:lnTo>
                      <a:lnTo>
                        <a:pt x="850" y="442"/>
                      </a:lnTo>
                      <a:lnTo>
                        <a:pt x="850" y="443"/>
                      </a:lnTo>
                      <a:lnTo>
                        <a:pt x="850" y="444"/>
                      </a:lnTo>
                      <a:lnTo>
                        <a:pt x="850" y="445"/>
                      </a:lnTo>
                      <a:lnTo>
                        <a:pt x="851" y="445"/>
                      </a:lnTo>
                      <a:lnTo>
                        <a:pt x="851" y="446"/>
                      </a:lnTo>
                      <a:lnTo>
                        <a:pt x="852" y="447"/>
                      </a:lnTo>
                      <a:lnTo>
                        <a:pt x="853" y="447"/>
                      </a:lnTo>
                      <a:lnTo>
                        <a:pt x="854" y="447"/>
                      </a:lnTo>
                      <a:lnTo>
                        <a:pt x="855" y="447"/>
                      </a:lnTo>
                      <a:lnTo>
                        <a:pt x="856" y="447"/>
                      </a:lnTo>
                      <a:lnTo>
                        <a:pt x="856" y="448"/>
                      </a:lnTo>
                      <a:lnTo>
                        <a:pt x="856" y="449"/>
                      </a:lnTo>
                      <a:lnTo>
                        <a:pt x="855" y="449"/>
                      </a:lnTo>
                      <a:lnTo>
                        <a:pt x="853" y="450"/>
                      </a:lnTo>
                      <a:lnTo>
                        <a:pt x="851" y="450"/>
                      </a:lnTo>
                      <a:lnTo>
                        <a:pt x="849" y="451"/>
                      </a:lnTo>
                      <a:lnTo>
                        <a:pt x="846" y="451"/>
                      </a:lnTo>
                      <a:lnTo>
                        <a:pt x="845" y="451"/>
                      </a:lnTo>
                      <a:lnTo>
                        <a:pt x="843" y="452"/>
                      </a:lnTo>
                      <a:lnTo>
                        <a:pt x="841" y="454"/>
                      </a:lnTo>
                      <a:lnTo>
                        <a:pt x="839" y="454"/>
                      </a:lnTo>
                      <a:lnTo>
                        <a:pt x="837" y="454"/>
                      </a:lnTo>
                      <a:lnTo>
                        <a:pt x="834" y="454"/>
                      </a:lnTo>
                      <a:lnTo>
                        <a:pt x="832" y="454"/>
                      </a:lnTo>
                      <a:lnTo>
                        <a:pt x="830" y="454"/>
                      </a:lnTo>
                      <a:lnTo>
                        <a:pt x="828" y="454"/>
                      </a:lnTo>
                      <a:lnTo>
                        <a:pt x="826" y="454"/>
                      </a:lnTo>
                      <a:lnTo>
                        <a:pt x="824" y="454"/>
                      </a:lnTo>
                      <a:lnTo>
                        <a:pt x="824" y="454"/>
                      </a:lnTo>
                      <a:lnTo>
                        <a:pt x="822" y="455"/>
                      </a:lnTo>
                      <a:lnTo>
                        <a:pt x="821" y="456"/>
                      </a:lnTo>
                      <a:lnTo>
                        <a:pt x="820" y="457"/>
                      </a:lnTo>
                      <a:lnTo>
                        <a:pt x="820" y="458"/>
                      </a:lnTo>
                      <a:lnTo>
                        <a:pt x="818" y="458"/>
                      </a:lnTo>
                      <a:lnTo>
                        <a:pt x="817" y="460"/>
                      </a:lnTo>
                      <a:lnTo>
                        <a:pt x="817" y="461"/>
                      </a:lnTo>
                      <a:lnTo>
                        <a:pt x="817" y="462"/>
                      </a:lnTo>
                      <a:lnTo>
                        <a:pt x="817" y="463"/>
                      </a:lnTo>
                      <a:lnTo>
                        <a:pt x="818" y="464"/>
                      </a:lnTo>
                      <a:lnTo>
                        <a:pt x="818" y="465"/>
                      </a:lnTo>
                      <a:lnTo>
                        <a:pt x="818" y="466"/>
                      </a:lnTo>
                      <a:lnTo>
                        <a:pt x="818" y="466"/>
                      </a:lnTo>
                      <a:lnTo>
                        <a:pt x="817" y="467"/>
                      </a:lnTo>
                      <a:lnTo>
                        <a:pt x="815" y="468"/>
                      </a:lnTo>
                      <a:lnTo>
                        <a:pt x="815" y="468"/>
                      </a:lnTo>
                      <a:lnTo>
                        <a:pt x="813" y="468"/>
                      </a:lnTo>
                      <a:lnTo>
                        <a:pt x="813" y="468"/>
                      </a:lnTo>
                      <a:lnTo>
                        <a:pt x="811" y="469"/>
                      </a:lnTo>
                      <a:lnTo>
                        <a:pt x="811" y="470"/>
                      </a:lnTo>
                      <a:lnTo>
                        <a:pt x="809" y="471"/>
                      </a:lnTo>
                      <a:lnTo>
                        <a:pt x="809" y="472"/>
                      </a:lnTo>
                      <a:lnTo>
                        <a:pt x="807" y="472"/>
                      </a:lnTo>
                      <a:lnTo>
                        <a:pt x="807" y="472"/>
                      </a:lnTo>
                      <a:lnTo>
                        <a:pt x="806" y="472"/>
                      </a:lnTo>
                      <a:lnTo>
                        <a:pt x="805" y="471"/>
                      </a:lnTo>
                      <a:lnTo>
                        <a:pt x="805" y="470"/>
                      </a:lnTo>
                      <a:lnTo>
                        <a:pt x="805" y="470"/>
                      </a:lnTo>
                      <a:lnTo>
                        <a:pt x="805" y="468"/>
                      </a:lnTo>
                      <a:lnTo>
                        <a:pt x="805" y="467"/>
                      </a:lnTo>
                      <a:lnTo>
                        <a:pt x="804" y="466"/>
                      </a:lnTo>
                      <a:lnTo>
                        <a:pt x="803" y="466"/>
                      </a:lnTo>
                      <a:lnTo>
                        <a:pt x="802" y="466"/>
                      </a:lnTo>
                      <a:lnTo>
                        <a:pt x="801" y="466"/>
                      </a:lnTo>
                      <a:lnTo>
                        <a:pt x="799" y="466"/>
                      </a:lnTo>
                      <a:lnTo>
                        <a:pt x="797" y="465"/>
                      </a:lnTo>
                      <a:lnTo>
                        <a:pt x="796" y="464"/>
                      </a:lnTo>
                      <a:lnTo>
                        <a:pt x="794" y="464"/>
                      </a:lnTo>
                      <a:lnTo>
                        <a:pt x="792" y="465"/>
                      </a:lnTo>
                      <a:lnTo>
                        <a:pt x="791" y="466"/>
                      </a:lnTo>
                      <a:lnTo>
                        <a:pt x="788" y="467"/>
                      </a:lnTo>
                      <a:lnTo>
                        <a:pt x="786" y="468"/>
                      </a:lnTo>
                      <a:lnTo>
                        <a:pt x="784" y="468"/>
                      </a:lnTo>
                      <a:lnTo>
                        <a:pt x="781" y="468"/>
                      </a:lnTo>
                      <a:lnTo>
                        <a:pt x="778" y="468"/>
                      </a:lnTo>
                      <a:lnTo>
                        <a:pt x="775" y="468"/>
                      </a:lnTo>
                      <a:lnTo>
                        <a:pt x="773" y="467"/>
                      </a:lnTo>
                      <a:lnTo>
                        <a:pt x="773" y="468"/>
                      </a:lnTo>
                      <a:lnTo>
                        <a:pt x="772" y="468"/>
                      </a:lnTo>
                      <a:lnTo>
                        <a:pt x="771" y="468"/>
                      </a:lnTo>
                      <a:lnTo>
                        <a:pt x="771" y="469"/>
                      </a:lnTo>
                      <a:lnTo>
                        <a:pt x="772" y="470"/>
                      </a:lnTo>
                      <a:lnTo>
                        <a:pt x="773" y="475"/>
                      </a:lnTo>
                      <a:lnTo>
                        <a:pt x="773" y="477"/>
                      </a:lnTo>
                      <a:lnTo>
                        <a:pt x="773" y="479"/>
                      </a:lnTo>
                      <a:lnTo>
                        <a:pt x="773" y="480"/>
                      </a:lnTo>
                      <a:lnTo>
                        <a:pt x="771" y="481"/>
                      </a:lnTo>
                      <a:lnTo>
                        <a:pt x="771" y="480"/>
                      </a:lnTo>
                      <a:lnTo>
                        <a:pt x="770" y="479"/>
                      </a:lnTo>
                      <a:lnTo>
                        <a:pt x="769" y="479"/>
                      </a:lnTo>
                      <a:lnTo>
                        <a:pt x="767" y="477"/>
                      </a:lnTo>
                      <a:lnTo>
                        <a:pt x="766" y="477"/>
                      </a:lnTo>
                      <a:lnTo>
                        <a:pt x="765" y="475"/>
                      </a:lnTo>
                      <a:lnTo>
                        <a:pt x="763" y="474"/>
                      </a:lnTo>
                      <a:lnTo>
                        <a:pt x="761" y="473"/>
                      </a:lnTo>
                      <a:lnTo>
                        <a:pt x="758" y="473"/>
                      </a:lnTo>
                      <a:lnTo>
                        <a:pt x="757" y="473"/>
                      </a:lnTo>
                      <a:lnTo>
                        <a:pt x="756" y="473"/>
                      </a:lnTo>
                      <a:lnTo>
                        <a:pt x="754" y="473"/>
                      </a:lnTo>
                      <a:lnTo>
                        <a:pt x="753" y="475"/>
                      </a:lnTo>
                      <a:lnTo>
                        <a:pt x="751" y="477"/>
                      </a:lnTo>
                      <a:lnTo>
                        <a:pt x="749" y="480"/>
                      </a:lnTo>
                      <a:lnTo>
                        <a:pt x="747" y="483"/>
                      </a:lnTo>
                      <a:lnTo>
                        <a:pt x="747" y="483"/>
                      </a:lnTo>
                      <a:lnTo>
                        <a:pt x="748" y="484"/>
                      </a:lnTo>
                      <a:lnTo>
                        <a:pt x="748" y="485"/>
                      </a:lnTo>
                      <a:lnTo>
                        <a:pt x="749" y="484"/>
                      </a:lnTo>
                      <a:lnTo>
                        <a:pt x="751" y="484"/>
                      </a:lnTo>
                      <a:lnTo>
                        <a:pt x="752" y="484"/>
                      </a:lnTo>
                      <a:lnTo>
                        <a:pt x="754" y="485"/>
                      </a:lnTo>
                      <a:lnTo>
                        <a:pt x="756" y="485"/>
                      </a:lnTo>
                      <a:lnTo>
                        <a:pt x="757" y="487"/>
                      </a:lnTo>
                      <a:lnTo>
                        <a:pt x="758" y="489"/>
                      </a:lnTo>
                      <a:lnTo>
                        <a:pt x="760" y="491"/>
                      </a:lnTo>
                      <a:lnTo>
                        <a:pt x="761" y="493"/>
                      </a:lnTo>
                      <a:lnTo>
                        <a:pt x="761" y="496"/>
                      </a:lnTo>
                      <a:lnTo>
                        <a:pt x="762" y="498"/>
                      </a:lnTo>
                      <a:lnTo>
                        <a:pt x="763" y="500"/>
                      </a:lnTo>
                      <a:lnTo>
                        <a:pt x="763" y="502"/>
                      </a:lnTo>
                      <a:lnTo>
                        <a:pt x="763" y="504"/>
                      </a:lnTo>
                      <a:lnTo>
                        <a:pt x="762" y="505"/>
                      </a:lnTo>
                      <a:lnTo>
                        <a:pt x="761" y="505"/>
                      </a:lnTo>
                      <a:lnTo>
                        <a:pt x="761" y="504"/>
                      </a:lnTo>
                      <a:lnTo>
                        <a:pt x="759" y="504"/>
                      </a:lnTo>
                      <a:lnTo>
                        <a:pt x="758" y="504"/>
                      </a:lnTo>
                      <a:lnTo>
                        <a:pt x="757" y="504"/>
                      </a:lnTo>
                      <a:lnTo>
                        <a:pt x="755" y="504"/>
                      </a:lnTo>
                      <a:lnTo>
                        <a:pt x="752" y="504"/>
                      </a:lnTo>
                      <a:lnTo>
                        <a:pt x="750" y="505"/>
                      </a:lnTo>
                      <a:lnTo>
                        <a:pt x="748" y="506"/>
                      </a:lnTo>
                      <a:lnTo>
                        <a:pt x="746" y="507"/>
                      </a:lnTo>
                      <a:lnTo>
                        <a:pt x="744" y="508"/>
                      </a:lnTo>
                      <a:lnTo>
                        <a:pt x="742" y="509"/>
                      </a:lnTo>
                      <a:lnTo>
                        <a:pt x="741" y="510"/>
                      </a:lnTo>
                      <a:lnTo>
                        <a:pt x="740" y="511"/>
                      </a:lnTo>
                      <a:lnTo>
                        <a:pt x="739" y="512"/>
                      </a:lnTo>
                      <a:lnTo>
                        <a:pt x="740" y="513"/>
                      </a:lnTo>
                      <a:lnTo>
                        <a:pt x="742" y="513"/>
                      </a:lnTo>
                      <a:lnTo>
                        <a:pt x="743" y="514"/>
                      </a:lnTo>
                      <a:lnTo>
                        <a:pt x="744" y="515"/>
                      </a:lnTo>
                      <a:lnTo>
                        <a:pt x="746" y="515"/>
                      </a:lnTo>
                      <a:lnTo>
                        <a:pt x="748" y="517"/>
                      </a:lnTo>
                      <a:lnTo>
                        <a:pt x="749" y="517"/>
                      </a:lnTo>
                      <a:lnTo>
                        <a:pt x="750" y="516"/>
                      </a:lnTo>
                      <a:lnTo>
                        <a:pt x="751" y="516"/>
                      </a:lnTo>
                      <a:lnTo>
                        <a:pt x="752" y="516"/>
                      </a:lnTo>
                      <a:lnTo>
                        <a:pt x="753" y="517"/>
                      </a:lnTo>
                      <a:lnTo>
                        <a:pt x="754" y="518"/>
                      </a:lnTo>
                      <a:lnTo>
                        <a:pt x="754" y="519"/>
                      </a:lnTo>
                      <a:lnTo>
                        <a:pt x="753" y="519"/>
                      </a:lnTo>
                      <a:lnTo>
                        <a:pt x="752" y="521"/>
                      </a:lnTo>
                      <a:lnTo>
                        <a:pt x="750" y="522"/>
                      </a:lnTo>
                      <a:lnTo>
                        <a:pt x="750" y="523"/>
                      </a:lnTo>
                      <a:lnTo>
                        <a:pt x="750" y="525"/>
                      </a:lnTo>
                      <a:lnTo>
                        <a:pt x="750" y="526"/>
                      </a:lnTo>
                      <a:lnTo>
                        <a:pt x="749" y="527"/>
                      </a:lnTo>
                      <a:lnTo>
                        <a:pt x="748" y="527"/>
                      </a:lnTo>
                      <a:lnTo>
                        <a:pt x="747" y="528"/>
                      </a:lnTo>
                      <a:lnTo>
                        <a:pt x="747" y="529"/>
                      </a:lnTo>
                      <a:lnTo>
                        <a:pt x="748" y="529"/>
                      </a:lnTo>
                      <a:lnTo>
                        <a:pt x="749" y="529"/>
                      </a:lnTo>
                      <a:lnTo>
                        <a:pt x="750" y="529"/>
                      </a:lnTo>
                      <a:lnTo>
                        <a:pt x="751" y="529"/>
                      </a:lnTo>
                      <a:lnTo>
                        <a:pt x="752" y="529"/>
                      </a:lnTo>
                      <a:lnTo>
                        <a:pt x="753" y="529"/>
                      </a:lnTo>
                      <a:lnTo>
                        <a:pt x="754" y="529"/>
                      </a:lnTo>
                      <a:lnTo>
                        <a:pt x="754" y="530"/>
                      </a:lnTo>
                      <a:lnTo>
                        <a:pt x="755" y="532"/>
                      </a:lnTo>
                      <a:lnTo>
                        <a:pt x="755" y="533"/>
                      </a:lnTo>
                      <a:lnTo>
                        <a:pt x="754" y="534"/>
                      </a:lnTo>
                      <a:lnTo>
                        <a:pt x="754" y="536"/>
                      </a:lnTo>
                      <a:lnTo>
                        <a:pt x="752" y="537"/>
                      </a:lnTo>
                      <a:lnTo>
                        <a:pt x="750" y="538"/>
                      </a:lnTo>
                      <a:lnTo>
                        <a:pt x="747" y="540"/>
                      </a:lnTo>
                      <a:lnTo>
                        <a:pt x="745" y="541"/>
                      </a:lnTo>
                      <a:lnTo>
                        <a:pt x="744" y="542"/>
                      </a:lnTo>
                      <a:lnTo>
                        <a:pt x="742" y="542"/>
                      </a:lnTo>
                      <a:lnTo>
                        <a:pt x="740" y="543"/>
                      </a:lnTo>
                      <a:lnTo>
                        <a:pt x="740" y="544"/>
                      </a:lnTo>
                      <a:lnTo>
                        <a:pt x="740" y="545"/>
                      </a:lnTo>
                      <a:lnTo>
                        <a:pt x="740" y="548"/>
                      </a:lnTo>
                      <a:lnTo>
                        <a:pt x="740" y="549"/>
                      </a:lnTo>
                      <a:lnTo>
                        <a:pt x="739" y="550"/>
                      </a:lnTo>
                      <a:lnTo>
                        <a:pt x="739" y="551"/>
                      </a:lnTo>
                      <a:lnTo>
                        <a:pt x="738" y="552"/>
                      </a:lnTo>
                      <a:lnTo>
                        <a:pt x="737" y="553"/>
                      </a:lnTo>
                      <a:lnTo>
                        <a:pt x="735" y="553"/>
                      </a:lnTo>
                      <a:lnTo>
                        <a:pt x="735" y="553"/>
                      </a:lnTo>
                      <a:lnTo>
                        <a:pt x="733" y="553"/>
                      </a:lnTo>
                      <a:lnTo>
                        <a:pt x="732" y="552"/>
                      </a:lnTo>
                      <a:lnTo>
                        <a:pt x="731" y="550"/>
                      </a:lnTo>
                      <a:lnTo>
                        <a:pt x="731" y="549"/>
                      </a:lnTo>
                      <a:lnTo>
                        <a:pt x="732" y="548"/>
                      </a:lnTo>
                      <a:lnTo>
                        <a:pt x="733" y="547"/>
                      </a:lnTo>
                      <a:lnTo>
                        <a:pt x="735" y="546"/>
                      </a:lnTo>
                      <a:lnTo>
                        <a:pt x="737" y="546"/>
                      </a:lnTo>
                      <a:lnTo>
                        <a:pt x="737" y="544"/>
                      </a:lnTo>
                      <a:lnTo>
                        <a:pt x="738" y="543"/>
                      </a:lnTo>
                      <a:lnTo>
                        <a:pt x="738" y="542"/>
                      </a:lnTo>
                      <a:lnTo>
                        <a:pt x="738" y="540"/>
                      </a:lnTo>
                      <a:lnTo>
                        <a:pt x="737" y="540"/>
                      </a:lnTo>
                      <a:lnTo>
                        <a:pt x="736" y="539"/>
                      </a:lnTo>
                      <a:lnTo>
                        <a:pt x="734" y="539"/>
                      </a:lnTo>
                      <a:lnTo>
                        <a:pt x="732" y="540"/>
                      </a:lnTo>
                      <a:lnTo>
                        <a:pt x="729" y="540"/>
                      </a:lnTo>
                      <a:lnTo>
                        <a:pt x="727" y="540"/>
                      </a:lnTo>
                      <a:lnTo>
                        <a:pt x="726" y="540"/>
                      </a:lnTo>
                      <a:lnTo>
                        <a:pt x="725" y="541"/>
                      </a:lnTo>
                      <a:lnTo>
                        <a:pt x="724" y="543"/>
                      </a:lnTo>
                      <a:lnTo>
                        <a:pt x="723" y="544"/>
                      </a:lnTo>
                      <a:lnTo>
                        <a:pt x="723" y="546"/>
                      </a:lnTo>
                      <a:lnTo>
                        <a:pt x="723" y="548"/>
                      </a:lnTo>
                      <a:lnTo>
                        <a:pt x="721" y="552"/>
                      </a:lnTo>
                      <a:lnTo>
                        <a:pt x="721" y="554"/>
                      </a:lnTo>
                      <a:lnTo>
                        <a:pt x="721" y="557"/>
                      </a:lnTo>
                      <a:lnTo>
                        <a:pt x="721" y="558"/>
                      </a:lnTo>
                      <a:lnTo>
                        <a:pt x="720" y="559"/>
                      </a:lnTo>
                      <a:lnTo>
                        <a:pt x="720" y="559"/>
                      </a:lnTo>
                      <a:lnTo>
                        <a:pt x="718" y="559"/>
                      </a:lnTo>
                      <a:lnTo>
                        <a:pt x="717" y="558"/>
                      </a:lnTo>
                      <a:lnTo>
                        <a:pt x="716" y="557"/>
                      </a:lnTo>
                      <a:lnTo>
                        <a:pt x="715" y="556"/>
                      </a:lnTo>
                      <a:lnTo>
                        <a:pt x="714" y="554"/>
                      </a:lnTo>
                      <a:lnTo>
                        <a:pt x="713" y="553"/>
                      </a:lnTo>
                      <a:lnTo>
                        <a:pt x="712" y="553"/>
                      </a:lnTo>
                      <a:lnTo>
                        <a:pt x="711" y="553"/>
                      </a:lnTo>
                      <a:lnTo>
                        <a:pt x="710" y="553"/>
                      </a:lnTo>
                      <a:lnTo>
                        <a:pt x="708" y="553"/>
                      </a:lnTo>
                      <a:lnTo>
                        <a:pt x="706" y="553"/>
                      </a:lnTo>
                      <a:lnTo>
                        <a:pt x="704" y="553"/>
                      </a:lnTo>
                      <a:lnTo>
                        <a:pt x="703" y="553"/>
                      </a:lnTo>
                      <a:lnTo>
                        <a:pt x="701" y="554"/>
                      </a:lnTo>
                      <a:lnTo>
                        <a:pt x="701" y="556"/>
                      </a:lnTo>
                      <a:lnTo>
                        <a:pt x="700" y="559"/>
                      </a:lnTo>
                      <a:lnTo>
                        <a:pt x="699" y="562"/>
                      </a:lnTo>
                      <a:lnTo>
                        <a:pt x="700" y="563"/>
                      </a:lnTo>
                      <a:lnTo>
                        <a:pt x="701" y="563"/>
                      </a:lnTo>
                      <a:lnTo>
                        <a:pt x="702" y="563"/>
                      </a:lnTo>
                      <a:lnTo>
                        <a:pt x="704" y="563"/>
                      </a:lnTo>
                      <a:lnTo>
                        <a:pt x="706" y="561"/>
                      </a:lnTo>
                      <a:lnTo>
                        <a:pt x="708" y="561"/>
                      </a:lnTo>
                      <a:lnTo>
                        <a:pt x="709" y="561"/>
                      </a:lnTo>
                      <a:lnTo>
                        <a:pt x="710" y="561"/>
                      </a:lnTo>
                      <a:lnTo>
                        <a:pt x="710" y="561"/>
                      </a:lnTo>
                      <a:lnTo>
                        <a:pt x="712" y="563"/>
                      </a:lnTo>
                      <a:lnTo>
                        <a:pt x="712" y="565"/>
                      </a:lnTo>
                      <a:lnTo>
                        <a:pt x="712" y="566"/>
                      </a:lnTo>
                      <a:lnTo>
                        <a:pt x="712" y="567"/>
                      </a:lnTo>
                      <a:lnTo>
                        <a:pt x="712" y="568"/>
                      </a:lnTo>
                      <a:lnTo>
                        <a:pt x="712" y="569"/>
                      </a:lnTo>
                      <a:lnTo>
                        <a:pt x="712" y="570"/>
                      </a:lnTo>
                      <a:lnTo>
                        <a:pt x="713" y="571"/>
                      </a:lnTo>
                      <a:lnTo>
                        <a:pt x="714" y="572"/>
                      </a:lnTo>
                      <a:lnTo>
                        <a:pt x="716" y="572"/>
                      </a:lnTo>
                      <a:lnTo>
                        <a:pt x="716" y="572"/>
                      </a:lnTo>
                      <a:lnTo>
                        <a:pt x="716" y="573"/>
                      </a:lnTo>
                      <a:lnTo>
                        <a:pt x="716" y="574"/>
                      </a:lnTo>
                      <a:lnTo>
                        <a:pt x="715" y="575"/>
                      </a:lnTo>
                      <a:lnTo>
                        <a:pt x="713" y="576"/>
                      </a:lnTo>
                      <a:lnTo>
                        <a:pt x="711" y="579"/>
                      </a:lnTo>
                      <a:lnTo>
                        <a:pt x="708" y="582"/>
                      </a:lnTo>
                      <a:lnTo>
                        <a:pt x="707" y="583"/>
                      </a:lnTo>
                      <a:lnTo>
                        <a:pt x="705" y="584"/>
                      </a:lnTo>
                      <a:lnTo>
                        <a:pt x="704" y="584"/>
                      </a:lnTo>
                      <a:lnTo>
                        <a:pt x="703" y="584"/>
                      </a:lnTo>
                      <a:lnTo>
                        <a:pt x="701" y="584"/>
                      </a:lnTo>
                      <a:lnTo>
                        <a:pt x="700" y="585"/>
                      </a:lnTo>
                      <a:lnTo>
                        <a:pt x="698" y="586"/>
                      </a:lnTo>
                      <a:lnTo>
                        <a:pt x="697" y="588"/>
                      </a:lnTo>
                      <a:lnTo>
                        <a:pt x="695" y="588"/>
                      </a:lnTo>
                      <a:lnTo>
                        <a:pt x="694" y="588"/>
                      </a:lnTo>
                      <a:lnTo>
                        <a:pt x="693" y="588"/>
                      </a:lnTo>
                      <a:lnTo>
                        <a:pt x="693" y="588"/>
                      </a:lnTo>
                      <a:lnTo>
                        <a:pt x="692" y="588"/>
                      </a:lnTo>
                      <a:lnTo>
                        <a:pt x="691" y="588"/>
                      </a:lnTo>
                      <a:lnTo>
                        <a:pt x="691" y="589"/>
                      </a:lnTo>
                      <a:lnTo>
                        <a:pt x="690" y="590"/>
                      </a:lnTo>
                      <a:lnTo>
                        <a:pt x="691" y="592"/>
                      </a:lnTo>
                      <a:lnTo>
                        <a:pt x="691" y="593"/>
                      </a:lnTo>
                      <a:lnTo>
                        <a:pt x="690" y="593"/>
                      </a:lnTo>
                      <a:lnTo>
                        <a:pt x="689" y="594"/>
                      </a:lnTo>
                      <a:lnTo>
                        <a:pt x="688" y="594"/>
                      </a:lnTo>
                      <a:lnTo>
                        <a:pt x="687" y="593"/>
                      </a:lnTo>
                      <a:lnTo>
                        <a:pt x="687" y="593"/>
                      </a:lnTo>
                      <a:lnTo>
                        <a:pt x="685" y="593"/>
                      </a:lnTo>
                      <a:lnTo>
                        <a:pt x="685" y="595"/>
                      </a:lnTo>
                      <a:lnTo>
                        <a:pt x="685" y="597"/>
                      </a:lnTo>
                      <a:lnTo>
                        <a:pt x="685" y="599"/>
                      </a:lnTo>
                      <a:lnTo>
                        <a:pt x="686" y="601"/>
                      </a:lnTo>
                      <a:lnTo>
                        <a:pt x="687" y="602"/>
                      </a:lnTo>
                      <a:lnTo>
                        <a:pt x="689" y="603"/>
                      </a:lnTo>
                      <a:lnTo>
                        <a:pt x="691" y="605"/>
                      </a:lnTo>
                      <a:lnTo>
                        <a:pt x="691" y="605"/>
                      </a:lnTo>
                      <a:lnTo>
                        <a:pt x="692" y="604"/>
                      </a:lnTo>
                      <a:lnTo>
                        <a:pt x="692" y="603"/>
                      </a:lnTo>
                      <a:lnTo>
                        <a:pt x="691" y="602"/>
                      </a:lnTo>
                      <a:lnTo>
                        <a:pt x="691" y="600"/>
                      </a:lnTo>
                      <a:lnTo>
                        <a:pt x="690" y="599"/>
                      </a:lnTo>
                      <a:lnTo>
                        <a:pt x="691" y="598"/>
                      </a:lnTo>
                      <a:lnTo>
                        <a:pt x="691" y="597"/>
                      </a:lnTo>
                      <a:lnTo>
                        <a:pt x="692" y="597"/>
                      </a:lnTo>
                      <a:lnTo>
                        <a:pt x="693" y="597"/>
                      </a:lnTo>
                      <a:lnTo>
                        <a:pt x="695" y="597"/>
                      </a:lnTo>
                      <a:lnTo>
                        <a:pt x="696" y="599"/>
                      </a:lnTo>
                      <a:lnTo>
                        <a:pt x="697" y="600"/>
                      </a:lnTo>
                      <a:lnTo>
                        <a:pt x="698" y="601"/>
                      </a:lnTo>
                      <a:lnTo>
                        <a:pt x="698" y="602"/>
                      </a:lnTo>
                      <a:lnTo>
                        <a:pt x="698" y="603"/>
                      </a:lnTo>
                      <a:lnTo>
                        <a:pt x="698" y="603"/>
                      </a:lnTo>
                      <a:lnTo>
                        <a:pt x="698" y="604"/>
                      </a:lnTo>
                      <a:lnTo>
                        <a:pt x="697" y="605"/>
                      </a:lnTo>
                      <a:lnTo>
                        <a:pt x="697" y="606"/>
                      </a:lnTo>
                      <a:lnTo>
                        <a:pt x="697" y="607"/>
                      </a:lnTo>
                      <a:lnTo>
                        <a:pt x="698" y="608"/>
                      </a:lnTo>
                      <a:lnTo>
                        <a:pt x="699" y="609"/>
                      </a:lnTo>
                      <a:lnTo>
                        <a:pt x="699" y="609"/>
                      </a:lnTo>
                      <a:lnTo>
                        <a:pt x="700" y="608"/>
                      </a:lnTo>
                      <a:lnTo>
                        <a:pt x="701" y="608"/>
                      </a:lnTo>
                      <a:lnTo>
                        <a:pt x="701" y="607"/>
                      </a:lnTo>
                      <a:lnTo>
                        <a:pt x="702" y="607"/>
                      </a:lnTo>
                      <a:lnTo>
                        <a:pt x="703" y="607"/>
                      </a:lnTo>
                      <a:lnTo>
                        <a:pt x="704" y="608"/>
                      </a:lnTo>
                      <a:lnTo>
                        <a:pt x="704" y="609"/>
                      </a:lnTo>
                      <a:lnTo>
                        <a:pt x="704" y="611"/>
                      </a:lnTo>
                      <a:lnTo>
                        <a:pt x="704" y="612"/>
                      </a:lnTo>
                      <a:lnTo>
                        <a:pt x="705" y="614"/>
                      </a:lnTo>
                      <a:lnTo>
                        <a:pt x="705" y="616"/>
                      </a:lnTo>
                      <a:lnTo>
                        <a:pt x="706" y="617"/>
                      </a:lnTo>
                      <a:lnTo>
                        <a:pt x="706" y="619"/>
                      </a:lnTo>
                      <a:lnTo>
                        <a:pt x="707" y="622"/>
                      </a:lnTo>
                      <a:lnTo>
                        <a:pt x="707" y="622"/>
                      </a:lnTo>
                      <a:lnTo>
                        <a:pt x="707" y="623"/>
                      </a:lnTo>
                      <a:lnTo>
                        <a:pt x="707" y="624"/>
                      </a:lnTo>
                      <a:lnTo>
                        <a:pt x="707" y="624"/>
                      </a:lnTo>
                      <a:lnTo>
                        <a:pt x="707" y="625"/>
                      </a:lnTo>
                      <a:lnTo>
                        <a:pt x="706" y="625"/>
                      </a:lnTo>
                      <a:lnTo>
                        <a:pt x="706" y="626"/>
                      </a:lnTo>
                      <a:lnTo>
                        <a:pt x="706" y="626"/>
                      </a:lnTo>
                      <a:lnTo>
                        <a:pt x="706" y="627"/>
                      </a:lnTo>
                      <a:lnTo>
                        <a:pt x="706" y="627"/>
                      </a:lnTo>
                      <a:lnTo>
                        <a:pt x="706" y="628"/>
                      </a:lnTo>
                      <a:lnTo>
                        <a:pt x="706" y="628"/>
                      </a:lnTo>
                      <a:lnTo>
                        <a:pt x="705" y="628"/>
                      </a:lnTo>
                      <a:lnTo>
                        <a:pt x="705" y="629"/>
                      </a:lnTo>
                      <a:lnTo>
                        <a:pt x="705" y="630"/>
                      </a:lnTo>
                      <a:lnTo>
                        <a:pt x="704" y="630"/>
                      </a:lnTo>
                      <a:lnTo>
                        <a:pt x="704" y="631"/>
                      </a:lnTo>
                      <a:lnTo>
                        <a:pt x="704" y="631"/>
                      </a:lnTo>
                      <a:lnTo>
                        <a:pt x="704" y="632"/>
                      </a:lnTo>
                      <a:lnTo>
                        <a:pt x="704" y="633"/>
                      </a:lnTo>
                      <a:lnTo>
                        <a:pt x="704" y="633"/>
                      </a:lnTo>
                      <a:lnTo>
                        <a:pt x="703" y="633"/>
                      </a:lnTo>
                      <a:lnTo>
                        <a:pt x="703" y="634"/>
                      </a:lnTo>
                      <a:lnTo>
                        <a:pt x="703" y="635"/>
                      </a:lnTo>
                      <a:lnTo>
                        <a:pt x="703" y="635"/>
                      </a:lnTo>
                      <a:lnTo>
                        <a:pt x="703" y="636"/>
                      </a:lnTo>
                      <a:lnTo>
                        <a:pt x="704" y="636"/>
                      </a:lnTo>
                      <a:lnTo>
                        <a:pt x="704" y="636"/>
                      </a:lnTo>
                      <a:lnTo>
                        <a:pt x="705" y="636"/>
                      </a:lnTo>
                      <a:lnTo>
                        <a:pt x="706" y="636"/>
                      </a:lnTo>
                      <a:lnTo>
                        <a:pt x="706" y="635"/>
                      </a:lnTo>
                      <a:lnTo>
                        <a:pt x="706" y="635"/>
                      </a:lnTo>
                      <a:lnTo>
                        <a:pt x="707" y="635"/>
                      </a:lnTo>
                      <a:lnTo>
                        <a:pt x="708" y="635"/>
                      </a:lnTo>
                      <a:lnTo>
                        <a:pt x="708" y="636"/>
                      </a:lnTo>
                      <a:lnTo>
                        <a:pt x="709" y="636"/>
                      </a:lnTo>
                      <a:lnTo>
                        <a:pt x="709" y="637"/>
                      </a:lnTo>
                      <a:lnTo>
                        <a:pt x="709" y="637"/>
                      </a:lnTo>
                      <a:lnTo>
                        <a:pt x="710" y="638"/>
                      </a:lnTo>
                      <a:lnTo>
                        <a:pt x="710" y="639"/>
                      </a:lnTo>
                      <a:lnTo>
                        <a:pt x="710" y="639"/>
                      </a:lnTo>
                      <a:lnTo>
                        <a:pt x="710" y="640"/>
                      </a:lnTo>
                      <a:lnTo>
                        <a:pt x="710" y="641"/>
                      </a:lnTo>
                      <a:lnTo>
                        <a:pt x="710" y="641"/>
                      </a:lnTo>
                      <a:lnTo>
                        <a:pt x="710" y="642"/>
                      </a:lnTo>
                      <a:lnTo>
                        <a:pt x="710" y="643"/>
                      </a:lnTo>
                      <a:lnTo>
                        <a:pt x="711" y="643"/>
                      </a:lnTo>
                      <a:lnTo>
                        <a:pt x="711" y="644"/>
                      </a:lnTo>
                      <a:lnTo>
                        <a:pt x="712" y="645"/>
                      </a:lnTo>
                      <a:lnTo>
                        <a:pt x="712" y="645"/>
                      </a:lnTo>
                      <a:lnTo>
                        <a:pt x="712" y="646"/>
                      </a:lnTo>
                      <a:lnTo>
                        <a:pt x="712" y="647"/>
                      </a:lnTo>
                      <a:lnTo>
                        <a:pt x="712" y="647"/>
                      </a:lnTo>
                      <a:lnTo>
                        <a:pt x="712" y="648"/>
                      </a:lnTo>
                      <a:lnTo>
                        <a:pt x="713" y="648"/>
                      </a:lnTo>
                      <a:lnTo>
                        <a:pt x="713" y="649"/>
                      </a:lnTo>
                      <a:lnTo>
                        <a:pt x="713" y="649"/>
                      </a:lnTo>
                      <a:lnTo>
                        <a:pt x="712" y="650"/>
                      </a:lnTo>
                      <a:lnTo>
                        <a:pt x="712" y="651"/>
                      </a:lnTo>
                      <a:lnTo>
                        <a:pt x="712" y="651"/>
                      </a:lnTo>
                      <a:lnTo>
                        <a:pt x="711" y="652"/>
                      </a:lnTo>
                      <a:lnTo>
                        <a:pt x="710" y="652"/>
                      </a:lnTo>
                      <a:lnTo>
                        <a:pt x="710" y="653"/>
                      </a:lnTo>
                      <a:lnTo>
                        <a:pt x="709" y="654"/>
                      </a:lnTo>
                      <a:lnTo>
                        <a:pt x="708" y="654"/>
                      </a:lnTo>
                      <a:lnTo>
                        <a:pt x="708" y="654"/>
                      </a:lnTo>
                      <a:lnTo>
                        <a:pt x="708" y="655"/>
                      </a:lnTo>
                      <a:lnTo>
                        <a:pt x="707" y="655"/>
                      </a:lnTo>
                      <a:lnTo>
                        <a:pt x="707" y="656"/>
                      </a:lnTo>
                      <a:lnTo>
                        <a:pt x="706" y="656"/>
                      </a:lnTo>
                      <a:lnTo>
                        <a:pt x="705" y="658"/>
                      </a:lnTo>
                      <a:lnTo>
                        <a:pt x="704" y="658"/>
                      </a:lnTo>
                      <a:lnTo>
                        <a:pt x="704" y="658"/>
                      </a:lnTo>
                      <a:lnTo>
                        <a:pt x="704" y="659"/>
                      </a:lnTo>
                      <a:lnTo>
                        <a:pt x="703" y="660"/>
                      </a:lnTo>
                      <a:lnTo>
                        <a:pt x="702" y="660"/>
                      </a:lnTo>
                      <a:lnTo>
                        <a:pt x="701" y="660"/>
                      </a:lnTo>
                      <a:lnTo>
                        <a:pt x="701" y="661"/>
                      </a:lnTo>
                      <a:lnTo>
                        <a:pt x="700" y="662"/>
                      </a:lnTo>
                      <a:lnTo>
                        <a:pt x="700" y="662"/>
                      </a:lnTo>
                      <a:lnTo>
                        <a:pt x="699" y="663"/>
                      </a:lnTo>
                      <a:lnTo>
                        <a:pt x="699" y="664"/>
                      </a:lnTo>
                      <a:lnTo>
                        <a:pt x="699" y="664"/>
                      </a:lnTo>
                      <a:lnTo>
                        <a:pt x="699" y="665"/>
                      </a:lnTo>
                      <a:lnTo>
                        <a:pt x="699" y="666"/>
                      </a:lnTo>
                      <a:lnTo>
                        <a:pt x="700" y="666"/>
                      </a:lnTo>
                      <a:lnTo>
                        <a:pt x="700" y="667"/>
                      </a:lnTo>
                      <a:lnTo>
                        <a:pt x="700" y="668"/>
                      </a:lnTo>
                      <a:lnTo>
                        <a:pt x="700" y="668"/>
                      </a:lnTo>
                      <a:lnTo>
                        <a:pt x="701" y="669"/>
                      </a:lnTo>
                      <a:lnTo>
                        <a:pt x="701" y="670"/>
                      </a:lnTo>
                      <a:lnTo>
                        <a:pt x="701" y="670"/>
                      </a:lnTo>
                      <a:lnTo>
                        <a:pt x="701" y="671"/>
                      </a:lnTo>
                      <a:lnTo>
                        <a:pt x="702" y="671"/>
                      </a:lnTo>
                      <a:lnTo>
                        <a:pt x="703" y="671"/>
                      </a:lnTo>
                      <a:lnTo>
                        <a:pt x="704" y="671"/>
                      </a:lnTo>
                      <a:lnTo>
                        <a:pt x="704" y="671"/>
                      </a:lnTo>
                      <a:lnTo>
                        <a:pt x="705" y="671"/>
                      </a:lnTo>
                      <a:lnTo>
                        <a:pt x="706" y="671"/>
                      </a:lnTo>
                      <a:lnTo>
                        <a:pt x="706" y="671"/>
                      </a:lnTo>
                      <a:lnTo>
                        <a:pt x="707" y="671"/>
                      </a:lnTo>
                      <a:lnTo>
                        <a:pt x="708" y="672"/>
                      </a:lnTo>
                      <a:lnTo>
                        <a:pt x="708" y="672"/>
                      </a:lnTo>
                      <a:lnTo>
                        <a:pt x="708" y="673"/>
                      </a:lnTo>
                      <a:lnTo>
                        <a:pt x="709" y="673"/>
                      </a:lnTo>
                      <a:lnTo>
                        <a:pt x="709" y="674"/>
                      </a:lnTo>
                      <a:lnTo>
                        <a:pt x="710" y="675"/>
                      </a:lnTo>
                      <a:lnTo>
                        <a:pt x="710" y="676"/>
                      </a:lnTo>
                      <a:lnTo>
                        <a:pt x="710" y="677"/>
                      </a:lnTo>
                      <a:lnTo>
                        <a:pt x="710" y="677"/>
                      </a:lnTo>
                      <a:lnTo>
                        <a:pt x="710" y="679"/>
                      </a:lnTo>
                      <a:lnTo>
                        <a:pt x="710" y="679"/>
                      </a:lnTo>
                      <a:lnTo>
                        <a:pt x="710" y="681"/>
                      </a:lnTo>
                      <a:lnTo>
                        <a:pt x="710" y="681"/>
                      </a:lnTo>
                      <a:lnTo>
                        <a:pt x="710" y="682"/>
                      </a:lnTo>
                      <a:lnTo>
                        <a:pt x="710" y="683"/>
                      </a:lnTo>
                      <a:lnTo>
                        <a:pt x="710" y="683"/>
                      </a:lnTo>
                      <a:lnTo>
                        <a:pt x="710" y="684"/>
                      </a:lnTo>
                      <a:lnTo>
                        <a:pt x="710" y="685"/>
                      </a:lnTo>
                      <a:lnTo>
                        <a:pt x="710" y="686"/>
                      </a:lnTo>
                      <a:lnTo>
                        <a:pt x="710" y="687"/>
                      </a:lnTo>
                      <a:lnTo>
                        <a:pt x="710" y="687"/>
                      </a:lnTo>
                      <a:lnTo>
                        <a:pt x="710" y="688"/>
                      </a:lnTo>
                      <a:lnTo>
                        <a:pt x="709" y="688"/>
                      </a:lnTo>
                      <a:lnTo>
                        <a:pt x="709" y="689"/>
                      </a:lnTo>
                      <a:lnTo>
                        <a:pt x="708" y="689"/>
                      </a:lnTo>
                      <a:lnTo>
                        <a:pt x="708" y="690"/>
                      </a:lnTo>
                      <a:lnTo>
                        <a:pt x="708" y="690"/>
                      </a:lnTo>
                      <a:lnTo>
                        <a:pt x="707" y="692"/>
                      </a:lnTo>
                      <a:lnTo>
                        <a:pt x="706" y="692"/>
                      </a:lnTo>
                      <a:lnTo>
                        <a:pt x="706" y="693"/>
                      </a:lnTo>
                      <a:lnTo>
                        <a:pt x="706" y="694"/>
                      </a:lnTo>
                      <a:lnTo>
                        <a:pt x="705" y="694"/>
                      </a:lnTo>
                      <a:lnTo>
                        <a:pt x="705" y="695"/>
                      </a:lnTo>
                      <a:lnTo>
                        <a:pt x="704" y="695"/>
                      </a:lnTo>
                      <a:lnTo>
                        <a:pt x="704" y="696"/>
                      </a:lnTo>
                      <a:lnTo>
                        <a:pt x="704" y="696"/>
                      </a:lnTo>
                      <a:lnTo>
                        <a:pt x="704" y="697"/>
                      </a:lnTo>
                      <a:lnTo>
                        <a:pt x="703" y="697"/>
                      </a:lnTo>
                      <a:lnTo>
                        <a:pt x="702" y="697"/>
                      </a:lnTo>
                      <a:lnTo>
                        <a:pt x="701" y="698"/>
                      </a:lnTo>
                      <a:lnTo>
                        <a:pt x="701" y="698"/>
                      </a:lnTo>
                      <a:lnTo>
                        <a:pt x="700" y="698"/>
                      </a:lnTo>
                      <a:lnTo>
                        <a:pt x="699" y="698"/>
                      </a:lnTo>
                      <a:lnTo>
                        <a:pt x="698" y="698"/>
                      </a:lnTo>
                      <a:lnTo>
                        <a:pt x="697" y="699"/>
                      </a:lnTo>
                      <a:lnTo>
                        <a:pt x="696" y="699"/>
                      </a:lnTo>
                      <a:lnTo>
                        <a:pt x="695" y="700"/>
                      </a:lnTo>
                      <a:lnTo>
                        <a:pt x="695" y="700"/>
                      </a:lnTo>
                      <a:lnTo>
                        <a:pt x="695" y="700"/>
                      </a:lnTo>
                      <a:lnTo>
                        <a:pt x="694" y="700"/>
                      </a:lnTo>
                      <a:lnTo>
                        <a:pt x="694" y="701"/>
                      </a:lnTo>
                      <a:lnTo>
                        <a:pt x="694" y="702"/>
                      </a:lnTo>
                      <a:lnTo>
                        <a:pt x="694" y="703"/>
                      </a:lnTo>
                      <a:lnTo>
                        <a:pt x="694" y="704"/>
                      </a:lnTo>
                      <a:lnTo>
                        <a:pt x="694" y="704"/>
                      </a:lnTo>
                      <a:lnTo>
                        <a:pt x="695" y="705"/>
                      </a:lnTo>
                      <a:lnTo>
                        <a:pt x="695" y="706"/>
                      </a:lnTo>
                      <a:lnTo>
                        <a:pt x="695" y="706"/>
                      </a:lnTo>
                      <a:lnTo>
                        <a:pt x="695" y="707"/>
                      </a:lnTo>
                      <a:lnTo>
                        <a:pt x="695" y="708"/>
                      </a:lnTo>
                      <a:lnTo>
                        <a:pt x="695" y="708"/>
                      </a:lnTo>
                      <a:lnTo>
                        <a:pt x="695" y="708"/>
                      </a:lnTo>
                      <a:lnTo>
                        <a:pt x="696" y="708"/>
                      </a:lnTo>
                      <a:lnTo>
                        <a:pt x="697" y="709"/>
                      </a:lnTo>
                      <a:lnTo>
                        <a:pt x="697" y="709"/>
                      </a:lnTo>
                      <a:lnTo>
                        <a:pt x="698" y="709"/>
                      </a:lnTo>
                      <a:lnTo>
                        <a:pt x="699" y="709"/>
                      </a:lnTo>
                      <a:lnTo>
                        <a:pt x="700" y="709"/>
                      </a:lnTo>
                      <a:lnTo>
                        <a:pt x="701" y="709"/>
                      </a:lnTo>
                      <a:lnTo>
                        <a:pt x="701" y="709"/>
                      </a:lnTo>
                      <a:lnTo>
                        <a:pt x="702" y="710"/>
                      </a:lnTo>
                      <a:lnTo>
                        <a:pt x="703" y="710"/>
                      </a:lnTo>
                      <a:lnTo>
                        <a:pt x="704" y="711"/>
                      </a:lnTo>
                      <a:lnTo>
                        <a:pt x="704" y="711"/>
                      </a:lnTo>
                      <a:lnTo>
                        <a:pt x="705" y="711"/>
                      </a:lnTo>
                      <a:lnTo>
                        <a:pt x="706" y="712"/>
                      </a:lnTo>
                      <a:lnTo>
                        <a:pt x="706" y="713"/>
                      </a:lnTo>
                      <a:lnTo>
                        <a:pt x="707" y="714"/>
                      </a:lnTo>
                      <a:lnTo>
                        <a:pt x="707" y="715"/>
                      </a:lnTo>
                      <a:lnTo>
                        <a:pt x="708" y="715"/>
                      </a:lnTo>
                      <a:lnTo>
                        <a:pt x="708" y="716"/>
                      </a:lnTo>
                      <a:lnTo>
                        <a:pt x="708" y="717"/>
                      </a:lnTo>
                      <a:lnTo>
                        <a:pt x="708" y="717"/>
                      </a:lnTo>
                      <a:lnTo>
                        <a:pt x="708" y="718"/>
                      </a:lnTo>
                      <a:lnTo>
                        <a:pt x="708" y="719"/>
                      </a:lnTo>
                      <a:lnTo>
                        <a:pt x="708" y="719"/>
                      </a:lnTo>
                      <a:lnTo>
                        <a:pt x="707" y="719"/>
                      </a:lnTo>
                      <a:lnTo>
                        <a:pt x="707" y="720"/>
                      </a:lnTo>
                      <a:lnTo>
                        <a:pt x="706" y="720"/>
                      </a:lnTo>
                      <a:lnTo>
                        <a:pt x="706" y="720"/>
                      </a:lnTo>
                      <a:lnTo>
                        <a:pt x="705" y="720"/>
                      </a:lnTo>
                      <a:lnTo>
                        <a:pt x="704" y="720"/>
                      </a:lnTo>
                      <a:lnTo>
                        <a:pt x="704" y="721"/>
                      </a:lnTo>
                      <a:lnTo>
                        <a:pt x="703" y="721"/>
                      </a:lnTo>
                      <a:lnTo>
                        <a:pt x="702" y="721"/>
                      </a:lnTo>
                      <a:lnTo>
                        <a:pt x="702" y="721"/>
                      </a:lnTo>
                      <a:lnTo>
                        <a:pt x="701" y="721"/>
                      </a:lnTo>
                      <a:lnTo>
                        <a:pt x="701" y="722"/>
                      </a:lnTo>
                      <a:lnTo>
                        <a:pt x="700" y="723"/>
                      </a:lnTo>
                      <a:lnTo>
                        <a:pt x="700" y="723"/>
                      </a:lnTo>
                      <a:lnTo>
                        <a:pt x="699" y="723"/>
                      </a:lnTo>
                      <a:lnTo>
                        <a:pt x="699" y="724"/>
                      </a:lnTo>
                      <a:lnTo>
                        <a:pt x="699" y="725"/>
                      </a:lnTo>
                      <a:lnTo>
                        <a:pt x="698" y="725"/>
                      </a:lnTo>
                      <a:lnTo>
                        <a:pt x="697" y="726"/>
                      </a:lnTo>
                      <a:lnTo>
                        <a:pt x="697" y="727"/>
                      </a:lnTo>
                      <a:lnTo>
                        <a:pt x="695" y="727"/>
                      </a:lnTo>
                      <a:lnTo>
                        <a:pt x="695" y="728"/>
                      </a:lnTo>
                      <a:lnTo>
                        <a:pt x="694" y="729"/>
                      </a:lnTo>
                      <a:lnTo>
                        <a:pt x="693" y="729"/>
                      </a:lnTo>
                      <a:lnTo>
                        <a:pt x="693" y="730"/>
                      </a:lnTo>
                      <a:lnTo>
                        <a:pt x="693" y="730"/>
                      </a:lnTo>
                      <a:lnTo>
                        <a:pt x="692" y="730"/>
                      </a:lnTo>
                      <a:lnTo>
                        <a:pt x="691" y="730"/>
                      </a:lnTo>
                      <a:lnTo>
                        <a:pt x="691" y="731"/>
                      </a:lnTo>
                      <a:lnTo>
                        <a:pt x="690" y="731"/>
                      </a:lnTo>
                      <a:lnTo>
                        <a:pt x="689" y="732"/>
                      </a:lnTo>
                      <a:lnTo>
                        <a:pt x="689" y="732"/>
                      </a:lnTo>
                      <a:lnTo>
                        <a:pt x="689" y="733"/>
                      </a:lnTo>
                      <a:lnTo>
                        <a:pt x="689" y="734"/>
                      </a:lnTo>
                      <a:lnTo>
                        <a:pt x="689" y="734"/>
                      </a:lnTo>
                      <a:lnTo>
                        <a:pt x="690" y="735"/>
                      </a:lnTo>
                      <a:lnTo>
                        <a:pt x="691" y="736"/>
                      </a:lnTo>
                      <a:lnTo>
                        <a:pt x="691" y="736"/>
                      </a:lnTo>
                      <a:lnTo>
                        <a:pt x="692" y="737"/>
                      </a:lnTo>
                      <a:lnTo>
                        <a:pt x="692" y="738"/>
                      </a:lnTo>
                      <a:lnTo>
                        <a:pt x="693" y="738"/>
                      </a:lnTo>
                      <a:lnTo>
                        <a:pt x="693" y="739"/>
                      </a:lnTo>
                      <a:lnTo>
                        <a:pt x="694" y="740"/>
                      </a:lnTo>
                      <a:lnTo>
                        <a:pt x="695" y="741"/>
                      </a:lnTo>
                      <a:lnTo>
                        <a:pt x="695" y="742"/>
                      </a:lnTo>
                      <a:lnTo>
                        <a:pt x="696" y="742"/>
                      </a:lnTo>
                      <a:lnTo>
                        <a:pt x="697" y="742"/>
                      </a:lnTo>
                      <a:lnTo>
                        <a:pt x="697" y="743"/>
                      </a:lnTo>
                      <a:lnTo>
                        <a:pt x="697" y="744"/>
                      </a:lnTo>
                      <a:lnTo>
                        <a:pt x="698" y="744"/>
                      </a:lnTo>
                      <a:lnTo>
                        <a:pt x="699" y="745"/>
                      </a:lnTo>
                      <a:lnTo>
                        <a:pt x="699" y="746"/>
                      </a:lnTo>
                      <a:lnTo>
                        <a:pt x="699" y="746"/>
                      </a:lnTo>
                      <a:lnTo>
                        <a:pt x="698" y="746"/>
                      </a:lnTo>
                      <a:lnTo>
                        <a:pt x="698" y="747"/>
                      </a:lnTo>
                      <a:lnTo>
                        <a:pt x="697" y="747"/>
                      </a:lnTo>
                      <a:lnTo>
                        <a:pt x="697" y="747"/>
                      </a:lnTo>
                      <a:lnTo>
                        <a:pt x="696" y="746"/>
                      </a:lnTo>
                      <a:lnTo>
                        <a:pt x="695" y="746"/>
                      </a:lnTo>
                      <a:lnTo>
                        <a:pt x="695" y="746"/>
                      </a:lnTo>
                      <a:lnTo>
                        <a:pt x="694" y="746"/>
                      </a:lnTo>
                      <a:lnTo>
                        <a:pt x="694" y="747"/>
                      </a:lnTo>
                      <a:lnTo>
                        <a:pt x="693" y="747"/>
                      </a:lnTo>
                      <a:lnTo>
                        <a:pt x="693" y="747"/>
                      </a:lnTo>
                      <a:lnTo>
                        <a:pt x="692" y="748"/>
                      </a:lnTo>
                      <a:lnTo>
                        <a:pt x="691" y="748"/>
                      </a:lnTo>
                      <a:lnTo>
                        <a:pt x="691" y="748"/>
                      </a:lnTo>
                      <a:lnTo>
                        <a:pt x="690" y="749"/>
                      </a:lnTo>
                      <a:lnTo>
                        <a:pt x="690" y="750"/>
                      </a:lnTo>
                      <a:lnTo>
                        <a:pt x="690" y="751"/>
                      </a:lnTo>
                      <a:lnTo>
                        <a:pt x="681" y="746"/>
                      </a:lnTo>
                      <a:lnTo>
                        <a:pt x="418" y="586"/>
                      </a:lnTo>
                      <a:lnTo>
                        <a:pt x="418" y="586"/>
                      </a:lnTo>
                      <a:lnTo>
                        <a:pt x="418" y="588"/>
                      </a:lnTo>
                      <a:lnTo>
                        <a:pt x="419" y="590"/>
                      </a:lnTo>
                      <a:lnTo>
                        <a:pt x="420" y="592"/>
                      </a:lnTo>
                      <a:lnTo>
                        <a:pt x="422" y="594"/>
                      </a:lnTo>
                      <a:lnTo>
                        <a:pt x="423" y="596"/>
                      </a:lnTo>
                      <a:lnTo>
                        <a:pt x="423" y="599"/>
                      </a:lnTo>
                      <a:lnTo>
                        <a:pt x="424" y="601"/>
                      </a:lnTo>
                      <a:lnTo>
                        <a:pt x="425" y="604"/>
                      </a:lnTo>
                      <a:lnTo>
                        <a:pt x="424" y="607"/>
                      </a:lnTo>
                      <a:lnTo>
                        <a:pt x="424" y="608"/>
                      </a:lnTo>
                      <a:lnTo>
                        <a:pt x="423" y="610"/>
                      </a:lnTo>
                      <a:lnTo>
                        <a:pt x="421" y="612"/>
                      </a:lnTo>
                      <a:lnTo>
                        <a:pt x="419" y="614"/>
                      </a:lnTo>
                      <a:lnTo>
                        <a:pt x="418" y="615"/>
                      </a:lnTo>
                      <a:lnTo>
                        <a:pt x="416" y="617"/>
                      </a:lnTo>
                      <a:lnTo>
                        <a:pt x="414" y="618"/>
                      </a:lnTo>
                      <a:lnTo>
                        <a:pt x="414" y="620"/>
                      </a:lnTo>
                      <a:lnTo>
                        <a:pt x="412" y="620"/>
                      </a:lnTo>
                      <a:lnTo>
                        <a:pt x="410" y="621"/>
                      </a:lnTo>
                      <a:lnTo>
                        <a:pt x="408" y="622"/>
                      </a:lnTo>
                      <a:lnTo>
                        <a:pt x="406" y="622"/>
                      </a:lnTo>
                      <a:lnTo>
                        <a:pt x="404" y="624"/>
                      </a:lnTo>
                      <a:lnTo>
                        <a:pt x="402" y="625"/>
                      </a:lnTo>
                      <a:lnTo>
                        <a:pt x="401" y="627"/>
                      </a:lnTo>
                      <a:lnTo>
                        <a:pt x="399" y="629"/>
                      </a:lnTo>
                      <a:lnTo>
                        <a:pt x="396" y="632"/>
                      </a:lnTo>
                      <a:lnTo>
                        <a:pt x="394" y="633"/>
                      </a:lnTo>
                      <a:lnTo>
                        <a:pt x="393" y="635"/>
                      </a:lnTo>
                      <a:lnTo>
                        <a:pt x="391" y="636"/>
                      </a:lnTo>
                      <a:lnTo>
                        <a:pt x="389" y="636"/>
                      </a:lnTo>
                      <a:lnTo>
                        <a:pt x="388" y="635"/>
                      </a:lnTo>
                      <a:lnTo>
                        <a:pt x="387" y="634"/>
                      </a:lnTo>
                      <a:lnTo>
                        <a:pt x="385" y="633"/>
                      </a:lnTo>
                      <a:lnTo>
                        <a:pt x="383" y="632"/>
                      </a:lnTo>
                      <a:lnTo>
                        <a:pt x="382" y="632"/>
                      </a:lnTo>
                      <a:lnTo>
                        <a:pt x="380" y="633"/>
                      </a:lnTo>
                      <a:lnTo>
                        <a:pt x="378" y="633"/>
                      </a:lnTo>
                      <a:lnTo>
                        <a:pt x="377" y="632"/>
                      </a:lnTo>
                      <a:lnTo>
                        <a:pt x="376" y="631"/>
                      </a:lnTo>
                      <a:lnTo>
                        <a:pt x="374" y="631"/>
                      </a:lnTo>
                      <a:lnTo>
                        <a:pt x="372" y="630"/>
                      </a:lnTo>
                      <a:lnTo>
                        <a:pt x="370" y="629"/>
                      </a:lnTo>
                      <a:lnTo>
                        <a:pt x="368" y="629"/>
                      </a:lnTo>
                      <a:lnTo>
                        <a:pt x="366" y="629"/>
                      </a:lnTo>
                      <a:lnTo>
                        <a:pt x="363" y="629"/>
                      </a:lnTo>
                      <a:lnTo>
                        <a:pt x="361" y="629"/>
                      </a:lnTo>
                      <a:lnTo>
                        <a:pt x="359" y="629"/>
                      </a:lnTo>
                      <a:lnTo>
                        <a:pt x="358" y="629"/>
                      </a:lnTo>
                      <a:lnTo>
                        <a:pt x="357" y="629"/>
                      </a:lnTo>
                      <a:lnTo>
                        <a:pt x="356" y="630"/>
                      </a:lnTo>
                      <a:lnTo>
                        <a:pt x="356" y="631"/>
                      </a:lnTo>
                      <a:lnTo>
                        <a:pt x="356" y="633"/>
                      </a:lnTo>
                      <a:lnTo>
                        <a:pt x="356" y="634"/>
                      </a:lnTo>
                      <a:lnTo>
                        <a:pt x="357" y="636"/>
                      </a:lnTo>
                      <a:lnTo>
                        <a:pt x="358" y="637"/>
                      </a:lnTo>
                      <a:lnTo>
                        <a:pt x="358" y="639"/>
                      </a:lnTo>
                      <a:lnTo>
                        <a:pt x="358" y="641"/>
                      </a:lnTo>
                      <a:lnTo>
                        <a:pt x="359" y="644"/>
                      </a:lnTo>
                      <a:lnTo>
                        <a:pt x="359" y="647"/>
                      </a:lnTo>
                      <a:lnTo>
                        <a:pt x="359" y="649"/>
                      </a:lnTo>
                      <a:lnTo>
                        <a:pt x="359" y="651"/>
                      </a:lnTo>
                      <a:lnTo>
                        <a:pt x="358" y="653"/>
                      </a:lnTo>
                      <a:lnTo>
                        <a:pt x="358" y="654"/>
                      </a:lnTo>
                      <a:lnTo>
                        <a:pt x="359" y="656"/>
                      </a:lnTo>
                      <a:lnTo>
                        <a:pt x="360" y="660"/>
                      </a:lnTo>
                      <a:lnTo>
                        <a:pt x="360" y="663"/>
                      </a:lnTo>
                      <a:lnTo>
                        <a:pt x="359" y="666"/>
                      </a:lnTo>
                      <a:lnTo>
                        <a:pt x="359" y="669"/>
                      </a:lnTo>
                      <a:lnTo>
                        <a:pt x="358" y="672"/>
                      </a:lnTo>
                      <a:lnTo>
                        <a:pt x="356" y="675"/>
                      </a:lnTo>
                      <a:lnTo>
                        <a:pt x="355" y="677"/>
                      </a:lnTo>
                      <a:lnTo>
                        <a:pt x="354" y="678"/>
                      </a:lnTo>
                      <a:lnTo>
                        <a:pt x="351" y="679"/>
                      </a:lnTo>
                      <a:lnTo>
                        <a:pt x="350" y="680"/>
                      </a:lnTo>
                      <a:lnTo>
                        <a:pt x="349" y="681"/>
                      </a:lnTo>
                      <a:lnTo>
                        <a:pt x="347" y="683"/>
                      </a:lnTo>
                      <a:lnTo>
                        <a:pt x="345" y="685"/>
                      </a:lnTo>
                      <a:lnTo>
                        <a:pt x="342" y="687"/>
                      </a:lnTo>
                      <a:lnTo>
                        <a:pt x="340" y="687"/>
                      </a:lnTo>
                      <a:lnTo>
                        <a:pt x="338" y="687"/>
                      </a:lnTo>
                      <a:lnTo>
                        <a:pt x="336" y="687"/>
                      </a:lnTo>
                      <a:lnTo>
                        <a:pt x="334" y="687"/>
                      </a:lnTo>
                      <a:lnTo>
                        <a:pt x="333" y="686"/>
                      </a:lnTo>
                      <a:lnTo>
                        <a:pt x="332" y="686"/>
                      </a:lnTo>
                      <a:lnTo>
                        <a:pt x="331" y="685"/>
                      </a:lnTo>
                      <a:lnTo>
                        <a:pt x="328" y="686"/>
                      </a:lnTo>
                      <a:lnTo>
                        <a:pt x="325" y="686"/>
                      </a:lnTo>
                      <a:lnTo>
                        <a:pt x="323" y="687"/>
                      </a:lnTo>
                      <a:lnTo>
                        <a:pt x="321" y="689"/>
                      </a:lnTo>
                      <a:lnTo>
                        <a:pt x="318" y="691"/>
                      </a:lnTo>
                      <a:lnTo>
                        <a:pt x="316" y="693"/>
                      </a:lnTo>
                      <a:lnTo>
                        <a:pt x="314" y="695"/>
                      </a:lnTo>
                      <a:lnTo>
                        <a:pt x="312" y="698"/>
                      </a:lnTo>
                      <a:lnTo>
                        <a:pt x="311" y="700"/>
                      </a:lnTo>
                      <a:lnTo>
                        <a:pt x="311" y="702"/>
                      </a:lnTo>
                      <a:lnTo>
                        <a:pt x="313" y="704"/>
                      </a:lnTo>
                      <a:lnTo>
                        <a:pt x="315" y="708"/>
                      </a:lnTo>
                      <a:lnTo>
                        <a:pt x="315" y="716"/>
                      </a:lnTo>
                      <a:lnTo>
                        <a:pt x="315" y="720"/>
                      </a:lnTo>
                      <a:lnTo>
                        <a:pt x="314" y="724"/>
                      </a:lnTo>
                      <a:lnTo>
                        <a:pt x="313" y="726"/>
                      </a:lnTo>
                      <a:lnTo>
                        <a:pt x="311" y="729"/>
                      </a:lnTo>
                      <a:lnTo>
                        <a:pt x="309" y="732"/>
                      </a:lnTo>
                      <a:lnTo>
                        <a:pt x="306" y="733"/>
                      </a:lnTo>
                      <a:lnTo>
                        <a:pt x="304" y="735"/>
                      </a:lnTo>
                      <a:lnTo>
                        <a:pt x="302" y="737"/>
                      </a:lnTo>
                      <a:lnTo>
                        <a:pt x="301" y="738"/>
                      </a:lnTo>
                      <a:lnTo>
                        <a:pt x="300" y="739"/>
                      </a:lnTo>
                      <a:lnTo>
                        <a:pt x="299" y="740"/>
                      </a:lnTo>
                      <a:lnTo>
                        <a:pt x="297" y="740"/>
                      </a:lnTo>
                      <a:lnTo>
                        <a:pt x="295" y="740"/>
                      </a:lnTo>
                      <a:lnTo>
                        <a:pt x="294" y="740"/>
                      </a:lnTo>
                      <a:lnTo>
                        <a:pt x="292" y="738"/>
                      </a:lnTo>
                      <a:lnTo>
                        <a:pt x="290" y="737"/>
                      </a:lnTo>
                      <a:lnTo>
                        <a:pt x="289" y="735"/>
                      </a:lnTo>
                      <a:lnTo>
                        <a:pt x="287" y="734"/>
                      </a:lnTo>
                      <a:lnTo>
                        <a:pt x="286" y="734"/>
                      </a:lnTo>
                      <a:lnTo>
                        <a:pt x="285" y="733"/>
                      </a:lnTo>
                      <a:lnTo>
                        <a:pt x="283" y="733"/>
                      </a:lnTo>
                      <a:lnTo>
                        <a:pt x="282" y="733"/>
                      </a:lnTo>
                      <a:lnTo>
                        <a:pt x="281" y="733"/>
                      </a:lnTo>
                      <a:lnTo>
                        <a:pt x="279" y="732"/>
                      </a:lnTo>
                      <a:lnTo>
                        <a:pt x="278" y="732"/>
                      </a:lnTo>
                      <a:lnTo>
                        <a:pt x="277" y="732"/>
                      </a:lnTo>
                      <a:lnTo>
                        <a:pt x="277" y="732"/>
                      </a:lnTo>
                      <a:lnTo>
                        <a:pt x="276" y="732"/>
                      </a:lnTo>
                      <a:lnTo>
                        <a:pt x="275" y="732"/>
                      </a:lnTo>
                      <a:lnTo>
                        <a:pt x="274" y="732"/>
                      </a:lnTo>
                      <a:lnTo>
                        <a:pt x="273" y="732"/>
                      </a:lnTo>
                      <a:lnTo>
                        <a:pt x="272" y="732"/>
                      </a:lnTo>
                      <a:lnTo>
                        <a:pt x="271" y="732"/>
                      </a:lnTo>
                      <a:lnTo>
                        <a:pt x="271" y="732"/>
                      </a:lnTo>
                      <a:lnTo>
                        <a:pt x="271" y="732"/>
                      </a:lnTo>
                      <a:lnTo>
                        <a:pt x="270" y="732"/>
                      </a:lnTo>
                      <a:lnTo>
                        <a:pt x="269" y="732"/>
                      </a:lnTo>
                      <a:lnTo>
                        <a:pt x="268" y="732"/>
                      </a:lnTo>
                      <a:lnTo>
                        <a:pt x="268" y="733"/>
                      </a:lnTo>
                      <a:lnTo>
                        <a:pt x="267" y="733"/>
                      </a:lnTo>
                      <a:lnTo>
                        <a:pt x="267" y="734"/>
                      </a:lnTo>
                      <a:lnTo>
                        <a:pt x="266" y="734"/>
                      </a:lnTo>
                      <a:lnTo>
                        <a:pt x="266" y="734"/>
                      </a:lnTo>
                      <a:lnTo>
                        <a:pt x="266" y="734"/>
                      </a:lnTo>
                      <a:lnTo>
                        <a:pt x="266" y="735"/>
                      </a:lnTo>
                      <a:lnTo>
                        <a:pt x="266" y="736"/>
                      </a:lnTo>
                      <a:lnTo>
                        <a:pt x="266" y="736"/>
                      </a:lnTo>
                      <a:lnTo>
                        <a:pt x="266" y="737"/>
                      </a:lnTo>
                      <a:lnTo>
                        <a:pt x="267" y="738"/>
                      </a:lnTo>
                      <a:lnTo>
                        <a:pt x="267" y="738"/>
                      </a:lnTo>
                      <a:lnTo>
                        <a:pt x="268" y="739"/>
                      </a:lnTo>
                      <a:lnTo>
                        <a:pt x="268" y="740"/>
                      </a:lnTo>
                      <a:lnTo>
                        <a:pt x="268" y="740"/>
                      </a:lnTo>
                      <a:lnTo>
                        <a:pt x="268" y="740"/>
                      </a:lnTo>
                      <a:lnTo>
                        <a:pt x="269" y="740"/>
                      </a:lnTo>
                      <a:lnTo>
                        <a:pt x="270" y="741"/>
                      </a:lnTo>
                      <a:lnTo>
                        <a:pt x="271" y="742"/>
                      </a:lnTo>
                      <a:lnTo>
                        <a:pt x="272" y="744"/>
                      </a:lnTo>
                      <a:lnTo>
                        <a:pt x="273" y="744"/>
                      </a:lnTo>
                      <a:lnTo>
                        <a:pt x="273" y="745"/>
                      </a:lnTo>
                      <a:lnTo>
                        <a:pt x="274" y="746"/>
                      </a:lnTo>
                      <a:lnTo>
                        <a:pt x="275" y="747"/>
                      </a:lnTo>
                      <a:lnTo>
                        <a:pt x="275" y="748"/>
                      </a:lnTo>
                      <a:lnTo>
                        <a:pt x="275" y="748"/>
                      </a:lnTo>
                      <a:lnTo>
                        <a:pt x="275" y="749"/>
                      </a:lnTo>
                      <a:lnTo>
                        <a:pt x="274" y="750"/>
                      </a:lnTo>
                      <a:lnTo>
                        <a:pt x="273" y="751"/>
                      </a:lnTo>
                      <a:lnTo>
                        <a:pt x="273" y="751"/>
                      </a:lnTo>
                      <a:lnTo>
                        <a:pt x="270" y="753"/>
                      </a:lnTo>
                      <a:lnTo>
                        <a:pt x="269" y="753"/>
                      </a:lnTo>
                      <a:lnTo>
                        <a:pt x="268" y="754"/>
                      </a:lnTo>
                      <a:lnTo>
                        <a:pt x="266" y="755"/>
                      </a:lnTo>
                      <a:lnTo>
                        <a:pt x="265" y="756"/>
                      </a:lnTo>
                      <a:lnTo>
                        <a:pt x="263" y="757"/>
                      </a:lnTo>
                      <a:lnTo>
                        <a:pt x="261" y="759"/>
                      </a:lnTo>
                      <a:lnTo>
                        <a:pt x="259" y="760"/>
                      </a:lnTo>
                      <a:lnTo>
                        <a:pt x="257" y="761"/>
                      </a:lnTo>
                      <a:lnTo>
                        <a:pt x="254" y="761"/>
                      </a:lnTo>
                      <a:lnTo>
                        <a:pt x="250" y="761"/>
                      </a:lnTo>
                      <a:lnTo>
                        <a:pt x="249" y="759"/>
                      </a:lnTo>
                      <a:lnTo>
                        <a:pt x="195" y="661"/>
                      </a:lnTo>
                      <a:lnTo>
                        <a:pt x="194" y="661"/>
                      </a:lnTo>
                      <a:lnTo>
                        <a:pt x="164" y="607"/>
                      </a:lnTo>
                      <a:lnTo>
                        <a:pt x="159" y="599"/>
                      </a:lnTo>
                      <a:lnTo>
                        <a:pt x="158" y="599"/>
                      </a:lnTo>
                      <a:lnTo>
                        <a:pt x="156" y="596"/>
                      </a:lnTo>
                      <a:lnTo>
                        <a:pt x="116" y="535"/>
                      </a:lnTo>
                      <a:lnTo>
                        <a:pt x="101" y="511"/>
                      </a:lnTo>
                      <a:lnTo>
                        <a:pt x="87" y="488"/>
                      </a:lnTo>
                      <a:lnTo>
                        <a:pt x="68" y="461"/>
                      </a:lnTo>
                      <a:lnTo>
                        <a:pt x="65" y="456"/>
                      </a:lnTo>
                      <a:lnTo>
                        <a:pt x="61" y="451"/>
                      </a:lnTo>
                      <a:lnTo>
                        <a:pt x="58" y="446"/>
                      </a:lnTo>
                      <a:lnTo>
                        <a:pt x="51" y="435"/>
                      </a:lnTo>
                      <a:lnTo>
                        <a:pt x="48" y="430"/>
                      </a:lnTo>
                      <a:lnTo>
                        <a:pt x="45" y="424"/>
                      </a:lnTo>
                      <a:lnTo>
                        <a:pt x="40" y="418"/>
                      </a:lnTo>
                      <a:lnTo>
                        <a:pt x="36" y="411"/>
                      </a:lnTo>
                      <a:lnTo>
                        <a:pt x="33" y="405"/>
                      </a:lnTo>
                      <a:lnTo>
                        <a:pt x="29" y="399"/>
                      </a:lnTo>
                      <a:lnTo>
                        <a:pt x="27" y="396"/>
                      </a:lnTo>
                      <a:lnTo>
                        <a:pt x="3" y="359"/>
                      </a:lnTo>
                      <a:lnTo>
                        <a:pt x="0" y="354"/>
                      </a:lnTo>
                      <a:lnTo>
                        <a:pt x="0" y="354"/>
                      </a:lnTo>
                      <a:lnTo>
                        <a:pt x="1" y="354"/>
                      </a:lnTo>
                      <a:lnTo>
                        <a:pt x="1" y="353"/>
                      </a:lnTo>
                      <a:lnTo>
                        <a:pt x="2" y="353"/>
                      </a:lnTo>
                      <a:lnTo>
                        <a:pt x="2" y="354"/>
                      </a:lnTo>
                      <a:lnTo>
                        <a:pt x="3" y="354"/>
                      </a:lnTo>
                      <a:lnTo>
                        <a:pt x="4" y="354"/>
                      </a:lnTo>
                      <a:lnTo>
                        <a:pt x="4" y="355"/>
                      </a:lnTo>
                      <a:lnTo>
                        <a:pt x="4" y="355"/>
                      </a:lnTo>
                      <a:lnTo>
                        <a:pt x="5" y="355"/>
                      </a:lnTo>
                      <a:lnTo>
                        <a:pt x="5" y="354"/>
                      </a:lnTo>
                      <a:lnTo>
                        <a:pt x="6" y="354"/>
                      </a:lnTo>
                      <a:lnTo>
                        <a:pt x="6" y="355"/>
                      </a:lnTo>
                      <a:lnTo>
                        <a:pt x="6" y="355"/>
                      </a:lnTo>
                      <a:lnTo>
                        <a:pt x="6" y="356"/>
                      </a:lnTo>
                      <a:lnTo>
                        <a:pt x="7" y="356"/>
                      </a:lnTo>
                      <a:lnTo>
                        <a:pt x="7" y="356"/>
                      </a:lnTo>
                      <a:lnTo>
                        <a:pt x="8" y="355"/>
                      </a:lnTo>
                      <a:lnTo>
                        <a:pt x="9" y="355"/>
                      </a:lnTo>
                      <a:lnTo>
                        <a:pt x="9" y="355"/>
                      </a:lnTo>
                      <a:lnTo>
                        <a:pt x="9" y="354"/>
                      </a:lnTo>
                      <a:lnTo>
                        <a:pt x="8" y="354"/>
                      </a:lnTo>
                      <a:lnTo>
                        <a:pt x="8" y="353"/>
                      </a:lnTo>
                      <a:lnTo>
                        <a:pt x="8" y="352"/>
                      </a:lnTo>
                      <a:lnTo>
                        <a:pt x="8" y="352"/>
                      </a:lnTo>
                      <a:lnTo>
                        <a:pt x="9" y="352"/>
                      </a:lnTo>
                      <a:lnTo>
                        <a:pt x="9" y="351"/>
                      </a:lnTo>
                      <a:lnTo>
                        <a:pt x="9" y="351"/>
                      </a:lnTo>
                      <a:lnTo>
                        <a:pt x="10" y="351"/>
                      </a:lnTo>
                      <a:lnTo>
                        <a:pt x="11" y="351"/>
                      </a:lnTo>
                      <a:lnTo>
                        <a:pt x="11" y="351"/>
                      </a:lnTo>
                      <a:lnTo>
                        <a:pt x="12" y="351"/>
                      </a:lnTo>
                      <a:lnTo>
                        <a:pt x="13" y="351"/>
                      </a:lnTo>
                      <a:lnTo>
                        <a:pt x="13" y="351"/>
                      </a:lnTo>
                      <a:lnTo>
                        <a:pt x="14" y="351"/>
                      </a:lnTo>
                      <a:lnTo>
                        <a:pt x="15" y="352"/>
                      </a:lnTo>
                      <a:lnTo>
                        <a:pt x="15" y="352"/>
                      </a:lnTo>
                      <a:lnTo>
                        <a:pt x="16" y="352"/>
                      </a:lnTo>
                      <a:lnTo>
                        <a:pt x="16" y="352"/>
                      </a:lnTo>
                      <a:lnTo>
                        <a:pt x="17" y="352"/>
                      </a:lnTo>
                      <a:lnTo>
                        <a:pt x="17" y="353"/>
                      </a:lnTo>
                      <a:lnTo>
                        <a:pt x="17" y="353"/>
                      </a:lnTo>
                      <a:lnTo>
                        <a:pt x="17" y="352"/>
                      </a:lnTo>
                      <a:lnTo>
                        <a:pt x="18" y="352"/>
                      </a:lnTo>
                      <a:lnTo>
                        <a:pt x="19" y="352"/>
                      </a:lnTo>
                      <a:lnTo>
                        <a:pt x="19" y="351"/>
                      </a:lnTo>
                      <a:lnTo>
                        <a:pt x="19" y="351"/>
                      </a:lnTo>
                      <a:lnTo>
                        <a:pt x="19" y="352"/>
                      </a:lnTo>
                      <a:lnTo>
                        <a:pt x="19" y="352"/>
                      </a:lnTo>
                      <a:lnTo>
                        <a:pt x="19" y="353"/>
                      </a:lnTo>
                      <a:lnTo>
                        <a:pt x="20" y="353"/>
                      </a:lnTo>
                      <a:lnTo>
                        <a:pt x="20" y="354"/>
                      </a:lnTo>
                      <a:lnTo>
                        <a:pt x="21" y="354"/>
                      </a:lnTo>
                      <a:lnTo>
                        <a:pt x="21" y="355"/>
                      </a:lnTo>
                      <a:lnTo>
                        <a:pt x="21" y="355"/>
                      </a:lnTo>
                      <a:lnTo>
                        <a:pt x="22" y="355"/>
                      </a:lnTo>
                      <a:lnTo>
                        <a:pt x="23" y="355"/>
                      </a:lnTo>
                      <a:lnTo>
                        <a:pt x="23" y="355"/>
                      </a:lnTo>
                      <a:lnTo>
                        <a:pt x="24" y="355"/>
                      </a:lnTo>
                      <a:lnTo>
                        <a:pt x="24" y="355"/>
                      </a:lnTo>
                      <a:lnTo>
                        <a:pt x="25" y="355"/>
                      </a:lnTo>
                      <a:lnTo>
                        <a:pt x="25" y="356"/>
                      </a:lnTo>
                      <a:lnTo>
                        <a:pt x="26" y="355"/>
                      </a:lnTo>
                      <a:lnTo>
                        <a:pt x="26" y="355"/>
                      </a:lnTo>
                      <a:lnTo>
                        <a:pt x="26" y="354"/>
                      </a:lnTo>
                      <a:lnTo>
                        <a:pt x="25" y="354"/>
                      </a:lnTo>
                      <a:lnTo>
                        <a:pt x="25" y="353"/>
                      </a:lnTo>
                      <a:lnTo>
                        <a:pt x="26" y="353"/>
                      </a:lnTo>
                      <a:lnTo>
                        <a:pt x="26" y="353"/>
                      </a:lnTo>
                      <a:lnTo>
                        <a:pt x="26" y="352"/>
                      </a:lnTo>
                      <a:lnTo>
                        <a:pt x="26" y="353"/>
                      </a:lnTo>
                      <a:lnTo>
                        <a:pt x="27" y="353"/>
                      </a:lnTo>
                      <a:lnTo>
                        <a:pt x="27" y="354"/>
                      </a:lnTo>
                      <a:lnTo>
                        <a:pt x="28" y="354"/>
                      </a:lnTo>
                      <a:lnTo>
                        <a:pt x="28" y="355"/>
                      </a:lnTo>
                      <a:lnTo>
                        <a:pt x="28" y="355"/>
                      </a:lnTo>
                      <a:lnTo>
                        <a:pt x="29" y="355"/>
                      </a:lnTo>
                      <a:lnTo>
                        <a:pt x="30" y="355"/>
                      </a:lnTo>
                      <a:lnTo>
                        <a:pt x="30" y="354"/>
                      </a:lnTo>
                      <a:lnTo>
                        <a:pt x="30" y="354"/>
                      </a:lnTo>
                      <a:lnTo>
                        <a:pt x="30" y="353"/>
                      </a:lnTo>
                      <a:lnTo>
                        <a:pt x="31" y="353"/>
                      </a:lnTo>
                      <a:lnTo>
                        <a:pt x="31" y="354"/>
                      </a:lnTo>
                      <a:lnTo>
                        <a:pt x="32" y="354"/>
                      </a:lnTo>
                      <a:lnTo>
                        <a:pt x="32" y="353"/>
                      </a:lnTo>
                      <a:lnTo>
                        <a:pt x="32" y="352"/>
                      </a:lnTo>
                      <a:lnTo>
                        <a:pt x="32" y="352"/>
                      </a:lnTo>
                      <a:lnTo>
                        <a:pt x="32" y="351"/>
                      </a:lnTo>
                      <a:lnTo>
                        <a:pt x="32" y="350"/>
                      </a:lnTo>
                      <a:lnTo>
                        <a:pt x="32" y="350"/>
                      </a:lnTo>
                      <a:lnTo>
                        <a:pt x="33" y="350"/>
                      </a:lnTo>
                      <a:lnTo>
                        <a:pt x="34" y="350"/>
                      </a:lnTo>
                      <a:lnTo>
                        <a:pt x="34" y="350"/>
                      </a:lnTo>
                      <a:lnTo>
                        <a:pt x="35" y="350"/>
                      </a:lnTo>
                      <a:lnTo>
                        <a:pt x="36" y="350"/>
                      </a:lnTo>
                      <a:lnTo>
                        <a:pt x="36" y="350"/>
                      </a:lnTo>
                      <a:lnTo>
                        <a:pt x="36" y="350"/>
                      </a:lnTo>
                      <a:lnTo>
                        <a:pt x="37" y="350"/>
                      </a:lnTo>
                      <a:lnTo>
                        <a:pt x="38" y="350"/>
                      </a:lnTo>
                      <a:lnTo>
                        <a:pt x="38" y="351"/>
                      </a:lnTo>
                      <a:lnTo>
                        <a:pt x="38" y="350"/>
                      </a:lnTo>
                      <a:lnTo>
                        <a:pt x="39" y="350"/>
                      </a:lnTo>
                      <a:lnTo>
                        <a:pt x="39" y="350"/>
                      </a:lnTo>
                      <a:lnTo>
                        <a:pt x="39" y="349"/>
                      </a:lnTo>
                      <a:lnTo>
                        <a:pt x="38" y="349"/>
                      </a:lnTo>
                      <a:lnTo>
                        <a:pt x="38" y="348"/>
                      </a:lnTo>
                      <a:lnTo>
                        <a:pt x="39" y="348"/>
                      </a:lnTo>
                      <a:lnTo>
                        <a:pt x="40" y="348"/>
                      </a:lnTo>
                      <a:lnTo>
                        <a:pt x="40" y="348"/>
                      </a:lnTo>
                      <a:lnTo>
                        <a:pt x="41" y="348"/>
                      </a:lnTo>
                      <a:lnTo>
                        <a:pt x="42" y="348"/>
                      </a:lnTo>
                      <a:lnTo>
                        <a:pt x="42" y="348"/>
                      </a:lnTo>
                      <a:lnTo>
                        <a:pt x="42" y="349"/>
                      </a:lnTo>
                      <a:lnTo>
                        <a:pt x="42" y="350"/>
                      </a:lnTo>
                      <a:lnTo>
                        <a:pt x="42" y="350"/>
                      </a:lnTo>
                      <a:lnTo>
                        <a:pt x="42" y="350"/>
                      </a:lnTo>
                      <a:lnTo>
                        <a:pt x="43" y="350"/>
                      </a:lnTo>
                      <a:lnTo>
                        <a:pt x="43" y="349"/>
                      </a:lnTo>
                      <a:lnTo>
                        <a:pt x="44" y="349"/>
                      </a:lnTo>
                      <a:lnTo>
                        <a:pt x="44" y="348"/>
                      </a:lnTo>
                      <a:lnTo>
                        <a:pt x="45" y="348"/>
                      </a:lnTo>
                      <a:lnTo>
                        <a:pt x="45" y="348"/>
                      </a:lnTo>
                      <a:lnTo>
                        <a:pt x="45" y="349"/>
                      </a:lnTo>
                      <a:lnTo>
                        <a:pt x="46" y="350"/>
                      </a:lnTo>
                      <a:lnTo>
                        <a:pt x="46" y="350"/>
                      </a:lnTo>
                      <a:lnTo>
                        <a:pt x="46" y="351"/>
                      </a:lnTo>
                      <a:lnTo>
                        <a:pt x="46" y="352"/>
                      </a:lnTo>
                      <a:lnTo>
                        <a:pt x="47" y="352"/>
                      </a:lnTo>
                      <a:lnTo>
                        <a:pt x="47" y="352"/>
                      </a:lnTo>
                      <a:lnTo>
                        <a:pt x="47" y="352"/>
                      </a:lnTo>
                      <a:lnTo>
                        <a:pt x="48" y="352"/>
                      </a:lnTo>
                      <a:lnTo>
                        <a:pt x="48" y="352"/>
                      </a:lnTo>
                      <a:lnTo>
                        <a:pt x="47" y="352"/>
                      </a:lnTo>
                      <a:lnTo>
                        <a:pt x="47" y="351"/>
                      </a:lnTo>
                      <a:lnTo>
                        <a:pt x="47" y="351"/>
                      </a:lnTo>
                      <a:lnTo>
                        <a:pt x="47" y="350"/>
                      </a:lnTo>
                      <a:lnTo>
                        <a:pt x="47" y="350"/>
                      </a:lnTo>
                      <a:lnTo>
                        <a:pt x="47" y="350"/>
                      </a:lnTo>
                      <a:lnTo>
                        <a:pt x="48" y="350"/>
                      </a:lnTo>
                      <a:lnTo>
                        <a:pt x="49" y="350"/>
                      </a:lnTo>
                      <a:lnTo>
                        <a:pt x="49" y="350"/>
                      </a:lnTo>
                      <a:lnTo>
                        <a:pt x="49" y="350"/>
                      </a:lnTo>
                      <a:lnTo>
                        <a:pt x="49" y="351"/>
                      </a:lnTo>
                      <a:lnTo>
                        <a:pt x="49" y="351"/>
                      </a:lnTo>
                      <a:lnTo>
                        <a:pt x="49" y="352"/>
                      </a:lnTo>
                      <a:lnTo>
                        <a:pt x="50" y="352"/>
                      </a:lnTo>
                      <a:lnTo>
                        <a:pt x="51" y="351"/>
                      </a:lnTo>
                      <a:lnTo>
                        <a:pt x="51" y="351"/>
                      </a:lnTo>
                      <a:lnTo>
                        <a:pt x="51" y="352"/>
                      </a:lnTo>
                      <a:lnTo>
                        <a:pt x="51" y="352"/>
                      </a:lnTo>
                      <a:lnTo>
                        <a:pt x="51" y="353"/>
                      </a:lnTo>
                      <a:lnTo>
                        <a:pt x="51" y="354"/>
                      </a:lnTo>
                      <a:lnTo>
                        <a:pt x="51" y="355"/>
                      </a:lnTo>
                      <a:lnTo>
                        <a:pt x="51" y="355"/>
                      </a:lnTo>
                      <a:lnTo>
                        <a:pt x="52" y="355"/>
                      </a:lnTo>
                      <a:lnTo>
                        <a:pt x="53" y="355"/>
                      </a:lnTo>
                      <a:lnTo>
                        <a:pt x="53" y="355"/>
                      </a:lnTo>
                      <a:lnTo>
                        <a:pt x="53" y="354"/>
                      </a:lnTo>
                      <a:lnTo>
                        <a:pt x="53" y="353"/>
                      </a:lnTo>
                      <a:lnTo>
                        <a:pt x="53" y="352"/>
                      </a:lnTo>
                      <a:lnTo>
                        <a:pt x="53" y="352"/>
                      </a:lnTo>
                      <a:lnTo>
                        <a:pt x="53" y="351"/>
                      </a:lnTo>
                      <a:lnTo>
                        <a:pt x="53" y="351"/>
                      </a:lnTo>
                      <a:lnTo>
                        <a:pt x="53" y="350"/>
                      </a:lnTo>
                      <a:lnTo>
                        <a:pt x="54" y="350"/>
                      </a:lnTo>
                      <a:lnTo>
                        <a:pt x="54" y="351"/>
                      </a:lnTo>
                      <a:lnTo>
                        <a:pt x="55" y="351"/>
                      </a:lnTo>
                      <a:lnTo>
                        <a:pt x="55" y="351"/>
                      </a:lnTo>
                      <a:lnTo>
                        <a:pt x="56" y="352"/>
                      </a:lnTo>
                      <a:lnTo>
                        <a:pt x="57" y="352"/>
                      </a:lnTo>
                      <a:lnTo>
                        <a:pt x="57" y="352"/>
                      </a:lnTo>
                      <a:lnTo>
                        <a:pt x="57" y="352"/>
                      </a:lnTo>
                      <a:lnTo>
                        <a:pt x="57" y="352"/>
                      </a:lnTo>
                      <a:lnTo>
                        <a:pt x="57" y="351"/>
                      </a:lnTo>
                      <a:lnTo>
                        <a:pt x="57" y="351"/>
                      </a:lnTo>
                      <a:lnTo>
                        <a:pt x="57" y="350"/>
                      </a:lnTo>
                      <a:lnTo>
                        <a:pt x="57" y="350"/>
                      </a:lnTo>
                      <a:lnTo>
                        <a:pt x="57" y="350"/>
                      </a:lnTo>
                      <a:lnTo>
                        <a:pt x="58" y="350"/>
                      </a:lnTo>
                      <a:lnTo>
                        <a:pt x="58" y="350"/>
                      </a:lnTo>
                      <a:lnTo>
                        <a:pt x="59" y="350"/>
                      </a:lnTo>
                      <a:lnTo>
                        <a:pt x="59" y="350"/>
                      </a:lnTo>
                      <a:lnTo>
                        <a:pt x="60" y="350"/>
                      </a:lnTo>
                      <a:lnTo>
                        <a:pt x="60" y="351"/>
                      </a:lnTo>
                      <a:lnTo>
                        <a:pt x="59" y="352"/>
                      </a:lnTo>
                      <a:lnTo>
                        <a:pt x="59" y="352"/>
                      </a:lnTo>
                      <a:lnTo>
                        <a:pt x="59" y="353"/>
                      </a:lnTo>
                      <a:lnTo>
                        <a:pt x="60" y="353"/>
                      </a:lnTo>
                      <a:lnTo>
                        <a:pt x="60" y="354"/>
                      </a:lnTo>
                      <a:lnTo>
                        <a:pt x="61" y="354"/>
                      </a:lnTo>
                      <a:lnTo>
                        <a:pt x="61" y="353"/>
                      </a:lnTo>
                      <a:lnTo>
                        <a:pt x="61" y="352"/>
                      </a:lnTo>
                      <a:lnTo>
                        <a:pt x="61" y="352"/>
                      </a:lnTo>
                      <a:lnTo>
                        <a:pt x="61" y="352"/>
                      </a:lnTo>
                      <a:lnTo>
                        <a:pt x="61" y="351"/>
                      </a:lnTo>
                      <a:lnTo>
                        <a:pt x="62" y="351"/>
                      </a:lnTo>
                      <a:lnTo>
                        <a:pt x="63" y="351"/>
                      </a:lnTo>
                      <a:lnTo>
                        <a:pt x="63" y="352"/>
                      </a:lnTo>
                      <a:lnTo>
                        <a:pt x="63" y="352"/>
                      </a:lnTo>
                      <a:lnTo>
                        <a:pt x="63" y="353"/>
                      </a:lnTo>
                      <a:lnTo>
                        <a:pt x="64" y="353"/>
                      </a:lnTo>
                      <a:lnTo>
                        <a:pt x="64" y="354"/>
                      </a:lnTo>
                      <a:lnTo>
                        <a:pt x="64" y="354"/>
                      </a:lnTo>
                      <a:lnTo>
                        <a:pt x="64" y="353"/>
                      </a:lnTo>
                      <a:lnTo>
                        <a:pt x="65" y="353"/>
                      </a:lnTo>
                      <a:lnTo>
                        <a:pt x="65" y="352"/>
                      </a:lnTo>
                      <a:lnTo>
                        <a:pt x="65" y="352"/>
                      </a:lnTo>
                      <a:lnTo>
                        <a:pt x="65" y="351"/>
                      </a:lnTo>
                      <a:lnTo>
                        <a:pt x="65" y="350"/>
                      </a:lnTo>
                      <a:lnTo>
                        <a:pt x="65" y="350"/>
                      </a:lnTo>
                      <a:lnTo>
                        <a:pt x="66" y="350"/>
                      </a:lnTo>
                      <a:lnTo>
                        <a:pt x="66" y="350"/>
                      </a:lnTo>
                      <a:lnTo>
                        <a:pt x="66" y="351"/>
                      </a:lnTo>
                      <a:lnTo>
                        <a:pt x="66" y="352"/>
                      </a:lnTo>
                      <a:lnTo>
                        <a:pt x="67" y="352"/>
                      </a:lnTo>
                      <a:lnTo>
                        <a:pt x="68" y="352"/>
                      </a:lnTo>
                      <a:lnTo>
                        <a:pt x="68" y="352"/>
                      </a:lnTo>
                      <a:lnTo>
                        <a:pt x="69" y="352"/>
                      </a:lnTo>
                      <a:lnTo>
                        <a:pt x="70" y="352"/>
                      </a:lnTo>
                      <a:lnTo>
                        <a:pt x="70" y="352"/>
                      </a:lnTo>
                      <a:lnTo>
                        <a:pt x="70" y="352"/>
                      </a:lnTo>
                      <a:lnTo>
                        <a:pt x="70" y="353"/>
                      </a:lnTo>
                      <a:lnTo>
                        <a:pt x="71" y="353"/>
                      </a:lnTo>
                      <a:lnTo>
                        <a:pt x="72" y="353"/>
                      </a:lnTo>
                      <a:lnTo>
                        <a:pt x="72" y="352"/>
                      </a:lnTo>
                      <a:lnTo>
                        <a:pt x="72" y="353"/>
                      </a:lnTo>
                      <a:lnTo>
                        <a:pt x="72" y="352"/>
                      </a:lnTo>
                      <a:lnTo>
                        <a:pt x="73" y="352"/>
                      </a:lnTo>
                      <a:lnTo>
                        <a:pt x="73" y="353"/>
                      </a:lnTo>
                      <a:lnTo>
                        <a:pt x="74" y="353"/>
                      </a:lnTo>
                      <a:lnTo>
                        <a:pt x="74" y="353"/>
                      </a:lnTo>
                      <a:lnTo>
                        <a:pt x="75" y="353"/>
                      </a:lnTo>
                      <a:lnTo>
                        <a:pt x="76" y="353"/>
                      </a:lnTo>
                      <a:lnTo>
                        <a:pt x="76" y="352"/>
                      </a:lnTo>
                      <a:lnTo>
                        <a:pt x="75" y="352"/>
                      </a:lnTo>
                      <a:lnTo>
                        <a:pt x="76" y="352"/>
                      </a:lnTo>
                      <a:lnTo>
                        <a:pt x="76" y="352"/>
                      </a:lnTo>
                      <a:lnTo>
                        <a:pt x="77" y="352"/>
                      </a:lnTo>
                      <a:lnTo>
                        <a:pt x="77" y="352"/>
                      </a:lnTo>
                      <a:lnTo>
                        <a:pt x="78" y="352"/>
                      </a:lnTo>
                      <a:lnTo>
                        <a:pt x="78" y="353"/>
                      </a:lnTo>
                      <a:lnTo>
                        <a:pt x="78" y="354"/>
                      </a:lnTo>
                      <a:lnTo>
                        <a:pt x="78" y="355"/>
                      </a:lnTo>
                      <a:lnTo>
                        <a:pt x="79" y="355"/>
                      </a:lnTo>
                      <a:lnTo>
                        <a:pt x="79" y="354"/>
                      </a:lnTo>
                      <a:lnTo>
                        <a:pt x="80" y="354"/>
                      </a:lnTo>
                      <a:lnTo>
                        <a:pt x="80" y="353"/>
                      </a:lnTo>
                      <a:lnTo>
                        <a:pt x="79" y="353"/>
                      </a:lnTo>
                      <a:lnTo>
                        <a:pt x="78" y="353"/>
                      </a:lnTo>
                      <a:lnTo>
                        <a:pt x="78" y="352"/>
                      </a:lnTo>
                      <a:lnTo>
                        <a:pt x="78" y="352"/>
                      </a:lnTo>
                      <a:lnTo>
                        <a:pt x="79" y="351"/>
                      </a:lnTo>
                      <a:lnTo>
                        <a:pt x="80" y="351"/>
                      </a:lnTo>
                      <a:lnTo>
                        <a:pt x="80" y="351"/>
                      </a:lnTo>
                      <a:lnTo>
                        <a:pt x="81" y="351"/>
                      </a:lnTo>
                      <a:lnTo>
                        <a:pt x="81" y="350"/>
                      </a:lnTo>
                      <a:lnTo>
                        <a:pt x="82" y="351"/>
                      </a:lnTo>
                      <a:lnTo>
                        <a:pt x="83" y="351"/>
                      </a:lnTo>
                      <a:lnTo>
                        <a:pt x="83" y="351"/>
                      </a:lnTo>
                      <a:lnTo>
                        <a:pt x="84" y="350"/>
                      </a:lnTo>
                      <a:lnTo>
                        <a:pt x="85" y="350"/>
                      </a:lnTo>
                      <a:lnTo>
                        <a:pt x="85" y="350"/>
                      </a:lnTo>
                      <a:lnTo>
                        <a:pt x="85" y="351"/>
                      </a:lnTo>
                      <a:lnTo>
                        <a:pt x="85" y="351"/>
                      </a:lnTo>
                      <a:lnTo>
                        <a:pt x="85" y="352"/>
                      </a:lnTo>
                      <a:lnTo>
                        <a:pt x="84" y="352"/>
                      </a:lnTo>
                      <a:lnTo>
                        <a:pt x="83" y="352"/>
                      </a:lnTo>
                      <a:lnTo>
                        <a:pt x="83" y="352"/>
                      </a:lnTo>
                      <a:lnTo>
                        <a:pt x="83" y="352"/>
                      </a:lnTo>
                      <a:lnTo>
                        <a:pt x="83" y="352"/>
                      </a:lnTo>
                      <a:lnTo>
                        <a:pt x="84" y="352"/>
                      </a:lnTo>
                      <a:lnTo>
                        <a:pt x="84" y="353"/>
                      </a:lnTo>
                      <a:lnTo>
                        <a:pt x="85" y="353"/>
                      </a:lnTo>
                      <a:lnTo>
                        <a:pt x="85" y="353"/>
                      </a:lnTo>
                      <a:lnTo>
                        <a:pt x="86" y="353"/>
                      </a:lnTo>
                      <a:lnTo>
                        <a:pt x="87" y="353"/>
                      </a:lnTo>
                      <a:lnTo>
                        <a:pt x="87" y="353"/>
                      </a:lnTo>
                      <a:lnTo>
                        <a:pt x="88" y="353"/>
                      </a:lnTo>
                      <a:lnTo>
                        <a:pt x="89" y="352"/>
                      </a:lnTo>
                      <a:lnTo>
                        <a:pt x="89" y="352"/>
                      </a:lnTo>
                      <a:lnTo>
                        <a:pt x="89" y="351"/>
                      </a:lnTo>
                      <a:lnTo>
                        <a:pt x="89" y="350"/>
                      </a:lnTo>
                      <a:lnTo>
                        <a:pt x="90" y="350"/>
                      </a:lnTo>
                      <a:lnTo>
                        <a:pt x="90" y="351"/>
                      </a:lnTo>
                      <a:lnTo>
                        <a:pt x="91" y="352"/>
                      </a:lnTo>
                      <a:lnTo>
                        <a:pt x="91" y="352"/>
                      </a:lnTo>
                      <a:lnTo>
                        <a:pt x="91" y="352"/>
                      </a:lnTo>
                      <a:lnTo>
                        <a:pt x="92" y="352"/>
                      </a:lnTo>
                      <a:lnTo>
                        <a:pt x="93" y="352"/>
                      </a:lnTo>
                      <a:lnTo>
                        <a:pt x="93" y="353"/>
                      </a:lnTo>
                      <a:lnTo>
                        <a:pt x="93" y="354"/>
                      </a:lnTo>
                      <a:lnTo>
                        <a:pt x="93" y="355"/>
                      </a:lnTo>
                      <a:lnTo>
                        <a:pt x="94" y="355"/>
                      </a:lnTo>
                      <a:lnTo>
                        <a:pt x="94" y="355"/>
                      </a:lnTo>
                      <a:lnTo>
                        <a:pt x="95" y="355"/>
                      </a:lnTo>
                      <a:lnTo>
                        <a:pt x="95" y="355"/>
                      </a:lnTo>
                      <a:lnTo>
                        <a:pt x="95" y="355"/>
                      </a:lnTo>
                      <a:lnTo>
                        <a:pt x="96" y="354"/>
                      </a:lnTo>
                      <a:lnTo>
                        <a:pt x="96" y="353"/>
                      </a:lnTo>
                      <a:lnTo>
                        <a:pt x="97" y="353"/>
                      </a:lnTo>
                      <a:lnTo>
                        <a:pt x="97" y="353"/>
                      </a:lnTo>
                      <a:lnTo>
                        <a:pt x="97" y="352"/>
                      </a:lnTo>
                      <a:lnTo>
                        <a:pt x="98" y="352"/>
                      </a:lnTo>
                      <a:lnTo>
                        <a:pt x="99" y="352"/>
                      </a:lnTo>
                      <a:lnTo>
                        <a:pt x="99" y="352"/>
                      </a:lnTo>
                      <a:lnTo>
                        <a:pt x="100" y="352"/>
                      </a:lnTo>
                      <a:lnTo>
                        <a:pt x="101" y="353"/>
                      </a:lnTo>
                      <a:lnTo>
                        <a:pt x="102" y="352"/>
                      </a:lnTo>
                      <a:lnTo>
                        <a:pt x="102" y="352"/>
                      </a:lnTo>
                      <a:lnTo>
                        <a:pt x="102" y="353"/>
                      </a:lnTo>
                      <a:lnTo>
                        <a:pt x="102" y="354"/>
                      </a:lnTo>
                      <a:lnTo>
                        <a:pt x="103" y="354"/>
                      </a:lnTo>
                      <a:lnTo>
                        <a:pt x="103" y="355"/>
                      </a:lnTo>
                      <a:lnTo>
                        <a:pt x="104" y="355"/>
                      </a:lnTo>
                      <a:lnTo>
                        <a:pt x="104" y="355"/>
                      </a:lnTo>
                      <a:lnTo>
                        <a:pt x="105" y="355"/>
                      </a:lnTo>
                      <a:lnTo>
                        <a:pt x="106" y="355"/>
                      </a:lnTo>
                      <a:lnTo>
                        <a:pt x="106" y="355"/>
                      </a:lnTo>
                      <a:lnTo>
                        <a:pt x="106" y="356"/>
                      </a:lnTo>
                      <a:lnTo>
                        <a:pt x="106" y="357"/>
                      </a:lnTo>
                      <a:lnTo>
                        <a:pt x="107" y="357"/>
                      </a:lnTo>
                      <a:lnTo>
                        <a:pt x="108" y="357"/>
                      </a:lnTo>
                      <a:lnTo>
                        <a:pt x="108" y="357"/>
                      </a:lnTo>
                      <a:lnTo>
                        <a:pt x="108" y="357"/>
                      </a:lnTo>
                      <a:lnTo>
                        <a:pt x="109" y="357"/>
                      </a:lnTo>
                      <a:lnTo>
                        <a:pt x="109" y="356"/>
                      </a:lnTo>
                      <a:lnTo>
                        <a:pt x="109" y="355"/>
                      </a:lnTo>
                      <a:lnTo>
                        <a:pt x="110" y="355"/>
                      </a:lnTo>
                      <a:lnTo>
                        <a:pt x="110" y="355"/>
                      </a:lnTo>
                      <a:lnTo>
                        <a:pt x="110" y="354"/>
                      </a:lnTo>
                      <a:lnTo>
                        <a:pt x="111" y="354"/>
                      </a:lnTo>
                      <a:lnTo>
                        <a:pt x="111" y="355"/>
                      </a:lnTo>
                      <a:lnTo>
                        <a:pt x="111" y="355"/>
                      </a:lnTo>
                      <a:lnTo>
                        <a:pt x="110" y="355"/>
                      </a:lnTo>
                      <a:lnTo>
                        <a:pt x="110" y="356"/>
                      </a:lnTo>
                      <a:lnTo>
                        <a:pt x="110" y="357"/>
                      </a:lnTo>
                      <a:lnTo>
                        <a:pt x="110" y="357"/>
                      </a:lnTo>
                      <a:lnTo>
                        <a:pt x="111" y="357"/>
                      </a:lnTo>
                      <a:lnTo>
                        <a:pt x="112" y="357"/>
                      </a:lnTo>
                      <a:lnTo>
                        <a:pt x="112" y="356"/>
                      </a:lnTo>
                      <a:lnTo>
                        <a:pt x="112" y="356"/>
                      </a:lnTo>
                      <a:lnTo>
                        <a:pt x="113" y="356"/>
                      </a:lnTo>
                      <a:lnTo>
                        <a:pt x="113" y="357"/>
                      </a:lnTo>
                      <a:lnTo>
                        <a:pt x="112" y="357"/>
                      </a:lnTo>
                      <a:lnTo>
                        <a:pt x="112" y="357"/>
                      </a:lnTo>
                      <a:lnTo>
                        <a:pt x="111" y="358"/>
                      </a:lnTo>
                      <a:lnTo>
                        <a:pt x="111" y="359"/>
                      </a:lnTo>
                      <a:lnTo>
                        <a:pt x="112" y="359"/>
                      </a:lnTo>
                      <a:lnTo>
                        <a:pt x="112" y="359"/>
                      </a:lnTo>
                      <a:lnTo>
                        <a:pt x="113" y="358"/>
                      </a:lnTo>
                      <a:lnTo>
                        <a:pt x="114" y="358"/>
                      </a:lnTo>
                      <a:lnTo>
                        <a:pt x="114" y="357"/>
                      </a:lnTo>
                      <a:lnTo>
                        <a:pt x="115" y="358"/>
                      </a:lnTo>
                      <a:lnTo>
                        <a:pt x="115" y="359"/>
                      </a:lnTo>
                      <a:lnTo>
                        <a:pt x="114" y="359"/>
                      </a:lnTo>
                      <a:lnTo>
                        <a:pt x="114" y="359"/>
                      </a:lnTo>
                      <a:lnTo>
                        <a:pt x="115" y="359"/>
                      </a:lnTo>
                      <a:lnTo>
                        <a:pt x="115" y="359"/>
                      </a:lnTo>
                      <a:lnTo>
                        <a:pt x="116" y="359"/>
                      </a:lnTo>
                      <a:lnTo>
                        <a:pt x="116" y="358"/>
                      </a:lnTo>
                      <a:lnTo>
                        <a:pt x="116" y="358"/>
                      </a:lnTo>
                      <a:lnTo>
                        <a:pt x="117" y="357"/>
                      </a:lnTo>
                      <a:lnTo>
                        <a:pt x="118" y="357"/>
                      </a:lnTo>
                      <a:lnTo>
                        <a:pt x="118" y="357"/>
                      </a:lnTo>
                      <a:lnTo>
                        <a:pt x="118" y="357"/>
                      </a:lnTo>
                      <a:lnTo>
                        <a:pt x="118" y="357"/>
                      </a:lnTo>
                      <a:lnTo>
                        <a:pt x="119" y="357"/>
                      </a:lnTo>
                      <a:lnTo>
                        <a:pt x="119" y="358"/>
                      </a:lnTo>
                      <a:lnTo>
                        <a:pt x="119" y="359"/>
                      </a:lnTo>
                      <a:lnTo>
                        <a:pt x="119" y="359"/>
                      </a:lnTo>
                      <a:lnTo>
                        <a:pt x="119" y="360"/>
                      </a:lnTo>
                      <a:lnTo>
                        <a:pt x="119" y="361"/>
                      </a:lnTo>
                      <a:lnTo>
                        <a:pt x="120" y="361"/>
                      </a:lnTo>
                      <a:lnTo>
                        <a:pt x="120" y="360"/>
                      </a:lnTo>
                      <a:lnTo>
                        <a:pt x="121" y="360"/>
                      </a:lnTo>
                      <a:lnTo>
                        <a:pt x="121" y="359"/>
                      </a:lnTo>
                      <a:lnTo>
                        <a:pt x="121" y="359"/>
                      </a:lnTo>
                      <a:lnTo>
                        <a:pt x="121" y="359"/>
                      </a:lnTo>
                      <a:lnTo>
                        <a:pt x="121" y="358"/>
                      </a:lnTo>
                      <a:lnTo>
                        <a:pt x="122" y="358"/>
                      </a:lnTo>
                      <a:lnTo>
                        <a:pt x="122" y="359"/>
                      </a:lnTo>
                      <a:lnTo>
                        <a:pt x="123" y="359"/>
                      </a:lnTo>
                      <a:lnTo>
                        <a:pt x="123" y="359"/>
                      </a:lnTo>
                      <a:lnTo>
                        <a:pt x="123" y="360"/>
                      </a:lnTo>
                      <a:lnTo>
                        <a:pt x="123" y="361"/>
                      </a:lnTo>
                      <a:lnTo>
                        <a:pt x="124" y="361"/>
                      </a:lnTo>
                      <a:lnTo>
                        <a:pt x="125" y="361"/>
                      </a:lnTo>
                      <a:lnTo>
                        <a:pt x="125" y="361"/>
                      </a:lnTo>
                      <a:lnTo>
                        <a:pt x="125" y="360"/>
                      </a:lnTo>
                      <a:lnTo>
                        <a:pt x="126" y="360"/>
                      </a:lnTo>
                      <a:lnTo>
                        <a:pt x="127" y="359"/>
                      </a:lnTo>
                      <a:lnTo>
                        <a:pt x="127" y="359"/>
                      </a:lnTo>
                      <a:lnTo>
                        <a:pt x="127" y="359"/>
                      </a:lnTo>
                      <a:lnTo>
                        <a:pt x="127" y="358"/>
                      </a:lnTo>
                      <a:lnTo>
                        <a:pt x="128" y="358"/>
                      </a:lnTo>
                      <a:lnTo>
                        <a:pt x="129" y="358"/>
                      </a:lnTo>
                      <a:lnTo>
                        <a:pt x="129" y="358"/>
                      </a:lnTo>
                      <a:lnTo>
                        <a:pt x="129" y="359"/>
                      </a:lnTo>
                      <a:lnTo>
                        <a:pt x="130" y="359"/>
                      </a:lnTo>
                      <a:lnTo>
                        <a:pt x="130" y="359"/>
                      </a:lnTo>
                      <a:lnTo>
                        <a:pt x="131" y="359"/>
                      </a:lnTo>
                      <a:lnTo>
                        <a:pt x="131" y="359"/>
                      </a:lnTo>
                      <a:lnTo>
                        <a:pt x="131" y="358"/>
                      </a:lnTo>
                      <a:lnTo>
                        <a:pt x="131" y="358"/>
                      </a:lnTo>
                      <a:lnTo>
                        <a:pt x="131" y="357"/>
                      </a:lnTo>
                      <a:lnTo>
                        <a:pt x="132" y="357"/>
                      </a:lnTo>
                      <a:lnTo>
                        <a:pt x="132" y="357"/>
                      </a:lnTo>
                      <a:lnTo>
                        <a:pt x="133" y="357"/>
                      </a:lnTo>
                      <a:lnTo>
                        <a:pt x="133" y="358"/>
                      </a:lnTo>
                      <a:lnTo>
                        <a:pt x="133" y="359"/>
                      </a:lnTo>
                      <a:lnTo>
                        <a:pt x="133" y="359"/>
                      </a:lnTo>
                      <a:lnTo>
                        <a:pt x="133" y="359"/>
                      </a:lnTo>
                      <a:lnTo>
                        <a:pt x="133" y="360"/>
                      </a:lnTo>
                      <a:lnTo>
                        <a:pt x="134" y="360"/>
                      </a:lnTo>
                      <a:lnTo>
                        <a:pt x="134" y="361"/>
                      </a:lnTo>
                      <a:lnTo>
                        <a:pt x="135" y="361"/>
                      </a:lnTo>
                      <a:lnTo>
                        <a:pt x="135" y="361"/>
                      </a:lnTo>
                      <a:lnTo>
                        <a:pt x="135" y="362"/>
                      </a:lnTo>
                      <a:lnTo>
                        <a:pt x="135" y="361"/>
                      </a:lnTo>
                      <a:lnTo>
                        <a:pt x="136" y="361"/>
                      </a:lnTo>
                      <a:lnTo>
                        <a:pt x="136" y="361"/>
                      </a:lnTo>
                      <a:lnTo>
                        <a:pt x="137" y="361"/>
                      </a:lnTo>
                      <a:lnTo>
                        <a:pt x="137" y="360"/>
                      </a:lnTo>
                      <a:lnTo>
                        <a:pt x="137" y="359"/>
                      </a:lnTo>
                      <a:lnTo>
                        <a:pt x="137" y="359"/>
                      </a:lnTo>
                      <a:lnTo>
                        <a:pt x="138" y="359"/>
                      </a:lnTo>
                      <a:lnTo>
                        <a:pt x="138" y="359"/>
                      </a:lnTo>
                      <a:lnTo>
                        <a:pt x="137" y="360"/>
                      </a:lnTo>
                      <a:lnTo>
                        <a:pt x="138" y="361"/>
                      </a:lnTo>
                      <a:lnTo>
                        <a:pt x="139" y="361"/>
                      </a:lnTo>
                      <a:lnTo>
                        <a:pt x="140" y="361"/>
                      </a:lnTo>
                      <a:lnTo>
                        <a:pt x="140" y="360"/>
                      </a:lnTo>
                      <a:lnTo>
                        <a:pt x="140" y="360"/>
                      </a:lnTo>
                      <a:lnTo>
                        <a:pt x="140" y="359"/>
                      </a:lnTo>
                      <a:lnTo>
                        <a:pt x="141" y="359"/>
                      </a:lnTo>
                      <a:lnTo>
                        <a:pt x="141" y="360"/>
                      </a:lnTo>
                      <a:lnTo>
                        <a:pt x="141" y="361"/>
                      </a:lnTo>
                      <a:lnTo>
                        <a:pt x="142" y="361"/>
                      </a:lnTo>
                      <a:lnTo>
                        <a:pt x="142" y="361"/>
                      </a:lnTo>
                      <a:lnTo>
                        <a:pt x="142" y="362"/>
                      </a:lnTo>
                      <a:lnTo>
                        <a:pt x="143" y="362"/>
                      </a:lnTo>
                      <a:lnTo>
                        <a:pt x="143" y="361"/>
                      </a:lnTo>
                      <a:lnTo>
                        <a:pt x="144" y="361"/>
                      </a:lnTo>
                      <a:lnTo>
                        <a:pt x="144" y="361"/>
                      </a:lnTo>
                      <a:lnTo>
                        <a:pt x="144" y="361"/>
                      </a:lnTo>
                      <a:lnTo>
                        <a:pt x="144" y="361"/>
                      </a:lnTo>
                      <a:lnTo>
                        <a:pt x="144" y="362"/>
                      </a:lnTo>
                      <a:lnTo>
                        <a:pt x="144" y="362"/>
                      </a:lnTo>
                      <a:lnTo>
                        <a:pt x="144" y="363"/>
                      </a:lnTo>
                      <a:lnTo>
                        <a:pt x="144" y="363"/>
                      </a:lnTo>
                      <a:lnTo>
                        <a:pt x="144" y="363"/>
                      </a:lnTo>
                      <a:lnTo>
                        <a:pt x="145" y="363"/>
                      </a:lnTo>
                      <a:lnTo>
                        <a:pt x="146" y="363"/>
                      </a:lnTo>
                      <a:lnTo>
                        <a:pt x="146" y="363"/>
                      </a:lnTo>
                      <a:lnTo>
                        <a:pt x="146" y="363"/>
                      </a:lnTo>
                      <a:lnTo>
                        <a:pt x="147" y="363"/>
                      </a:lnTo>
                      <a:lnTo>
                        <a:pt x="148" y="363"/>
                      </a:lnTo>
                      <a:lnTo>
                        <a:pt x="148" y="363"/>
                      </a:lnTo>
                      <a:lnTo>
                        <a:pt x="148" y="363"/>
                      </a:lnTo>
                      <a:lnTo>
                        <a:pt x="148" y="364"/>
                      </a:lnTo>
                      <a:lnTo>
                        <a:pt x="148" y="365"/>
                      </a:lnTo>
                      <a:lnTo>
                        <a:pt x="147" y="365"/>
                      </a:lnTo>
                      <a:lnTo>
                        <a:pt x="147" y="366"/>
                      </a:lnTo>
                      <a:lnTo>
                        <a:pt x="148" y="366"/>
                      </a:lnTo>
                      <a:lnTo>
                        <a:pt x="148" y="366"/>
                      </a:lnTo>
                      <a:lnTo>
                        <a:pt x="149" y="365"/>
                      </a:lnTo>
                      <a:lnTo>
                        <a:pt x="149" y="366"/>
                      </a:lnTo>
                      <a:lnTo>
                        <a:pt x="150" y="366"/>
                      </a:lnTo>
                      <a:lnTo>
                        <a:pt x="150" y="367"/>
                      </a:lnTo>
                      <a:lnTo>
                        <a:pt x="150" y="367"/>
                      </a:lnTo>
                      <a:lnTo>
                        <a:pt x="150" y="367"/>
                      </a:lnTo>
                      <a:lnTo>
                        <a:pt x="151" y="367"/>
                      </a:lnTo>
                      <a:lnTo>
                        <a:pt x="151" y="367"/>
                      </a:lnTo>
                      <a:lnTo>
                        <a:pt x="151" y="366"/>
                      </a:lnTo>
                      <a:lnTo>
                        <a:pt x="152" y="366"/>
                      </a:lnTo>
                      <a:lnTo>
                        <a:pt x="152" y="366"/>
                      </a:lnTo>
                      <a:lnTo>
                        <a:pt x="152" y="367"/>
                      </a:lnTo>
                      <a:lnTo>
                        <a:pt x="152" y="367"/>
                      </a:lnTo>
                      <a:lnTo>
                        <a:pt x="152" y="368"/>
                      </a:lnTo>
                      <a:lnTo>
                        <a:pt x="153" y="368"/>
                      </a:lnTo>
                      <a:lnTo>
                        <a:pt x="154" y="368"/>
                      </a:lnTo>
                      <a:lnTo>
                        <a:pt x="154" y="368"/>
                      </a:lnTo>
                      <a:lnTo>
                        <a:pt x="155" y="367"/>
                      </a:lnTo>
                      <a:lnTo>
                        <a:pt x="155" y="367"/>
                      </a:lnTo>
                      <a:lnTo>
                        <a:pt x="154" y="367"/>
                      </a:lnTo>
                      <a:lnTo>
                        <a:pt x="154" y="366"/>
                      </a:lnTo>
                      <a:lnTo>
                        <a:pt x="154" y="365"/>
                      </a:lnTo>
                      <a:lnTo>
                        <a:pt x="154" y="365"/>
                      </a:lnTo>
                      <a:lnTo>
                        <a:pt x="155" y="365"/>
                      </a:lnTo>
                      <a:lnTo>
                        <a:pt x="155" y="364"/>
                      </a:lnTo>
                      <a:lnTo>
                        <a:pt x="156" y="364"/>
                      </a:lnTo>
                      <a:lnTo>
                        <a:pt x="156" y="364"/>
                      </a:lnTo>
                      <a:lnTo>
                        <a:pt x="156" y="363"/>
                      </a:lnTo>
                      <a:lnTo>
                        <a:pt x="157" y="363"/>
                      </a:lnTo>
                      <a:lnTo>
                        <a:pt x="157" y="363"/>
                      </a:lnTo>
                      <a:lnTo>
                        <a:pt x="158" y="362"/>
                      </a:lnTo>
                      <a:lnTo>
                        <a:pt x="159" y="362"/>
                      </a:lnTo>
                      <a:lnTo>
                        <a:pt x="159" y="362"/>
                      </a:lnTo>
                      <a:lnTo>
                        <a:pt x="159" y="361"/>
                      </a:lnTo>
                      <a:lnTo>
                        <a:pt x="160" y="361"/>
                      </a:lnTo>
                      <a:lnTo>
                        <a:pt x="160" y="362"/>
                      </a:lnTo>
                      <a:lnTo>
                        <a:pt x="161" y="363"/>
                      </a:lnTo>
                      <a:lnTo>
                        <a:pt x="161" y="363"/>
                      </a:lnTo>
                      <a:lnTo>
                        <a:pt x="161" y="363"/>
                      </a:lnTo>
                      <a:lnTo>
                        <a:pt x="162" y="363"/>
                      </a:lnTo>
                      <a:lnTo>
                        <a:pt x="163" y="363"/>
                      </a:lnTo>
                      <a:lnTo>
                        <a:pt x="163" y="362"/>
                      </a:lnTo>
                      <a:lnTo>
                        <a:pt x="163" y="362"/>
                      </a:lnTo>
                      <a:lnTo>
                        <a:pt x="163" y="363"/>
                      </a:lnTo>
                      <a:lnTo>
                        <a:pt x="163" y="363"/>
                      </a:lnTo>
                      <a:lnTo>
                        <a:pt x="163" y="364"/>
                      </a:lnTo>
                      <a:lnTo>
                        <a:pt x="163" y="365"/>
                      </a:lnTo>
                      <a:lnTo>
                        <a:pt x="162" y="365"/>
                      </a:lnTo>
                      <a:lnTo>
                        <a:pt x="163" y="365"/>
                      </a:lnTo>
                      <a:lnTo>
                        <a:pt x="163" y="366"/>
                      </a:lnTo>
                      <a:lnTo>
                        <a:pt x="163" y="366"/>
                      </a:lnTo>
                      <a:lnTo>
                        <a:pt x="164" y="366"/>
                      </a:lnTo>
                      <a:lnTo>
                        <a:pt x="165" y="366"/>
                      </a:lnTo>
                      <a:lnTo>
                        <a:pt x="165" y="367"/>
                      </a:lnTo>
                      <a:lnTo>
                        <a:pt x="165" y="367"/>
                      </a:lnTo>
                      <a:lnTo>
                        <a:pt x="165" y="368"/>
                      </a:lnTo>
                      <a:lnTo>
                        <a:pt x="165" y="368"/>
                      </a:lnTo>
                      <a:lnTo>
                        <a:pt x="166" y="368"/>
                      </a:lnTo>
                      <a:lnTo>
                        <a:pt x="166" y="367"/>
                      </a:lnTo>
                      <a:lnTo>
                        <a:pt x="167" y="367"/>
                      </a:lnTo>
                      <a:lnTo>
                        <a:pt x="167" y="367"/>
                      </a:lnTo>
                      <a:lnTo>
                        <a:pt x="167" y="366"/>
                      </a:lnTo>
                      <a:lnTo>
                        <a:pt x="168" y="366"/>
                      </a:lnTo>
                      <a:lnTo>
                        <a:pt x="169" y="366"/>
                      </a:lnTo>
                      <a:lnTo>
                        <a:pt x="169" y="367"/>
                      </a:lnTo>
                      <a:lnTo>
                        <a:pt x="169" y="367"/>
                      </a:lnTo>
                      <a:lnTo>
                        <a:pt x="169" y="368"/>
                      </a:lnTo>
                      <a:lnTo>
                        <a:pt x="169" y="368"/>
                      </a:lnTo>
                      <a:lnTo>
                        <a:pt x="170" y="368"/>
                      </a:lnTo>
                      <a:lnTo>
                        <a:pt x="171" y="368"/>
                      </a:lnTo>
                      <a:lnTo>
                        <a:pt x="171" y="369"/>
                      </a:lnTo>
                      <a:lnTo>
                        <a:pt x="171" y="369"/>
                      </a:lnTo>
                      <a:lnTo>
                        <a:pt x="171" y="369"/>
                      </a:lnTo>
                      <a:lnTo>
                        <a:pt x="171" y="369"/>
                      </a:lnTo>
                      <a:lnTo>
                        <a:pt x="171" y="368"/>
                      </a:lnTo>
                      <a:lnTo>
                        <a:pt x="172" y="368"/>
                      </a:lnTo>
                      <a:lnTo>
                        <a:pt x="172" y="369"/>
                      </a:lnTo>
                      <a:lnTo>
                        <a:pt x="173" y="369"/>
                      </a:lnTo>
                      <a:lnTo>
                        <a:pt x="173" y="369"/>
                      </a:lnTo>
                      <a:lnTo>
                        <a:pt x="173" y="369"/>
                      </a:lnTo>
                      <a:lnTo>
                        <a:pt x="174" y="370"/>
                      </a:lnTo>
                      <a:lnTo>
                        <a:pt x="174" y="371"/>
                      </a:lnTo>
                      <a:lnTo>
                        <a:pt x="175" y="371"/>
                      </a:lnTo>
                      <a:lnTo>
                        <a:pt x="176" y="370"/>
                      </a:lnTo>
                      <a:lnTo>
                        <a:pt x="176" y="369"/>
                      </a:lnTo>
                      <a:lnTo>
                        <a:pt x="176" y="369"/>
                      </a:lnTo>
                      <a:lnTo>
                        <a:pt x="176" y="369"/>
                      </a:lnTo>
                      <a:lnTo>
                        <a:pt x="176" y="368"/>
                      </a:lnTo>
                      <a:lnTo>
                        <a:pt x="177" y="367"/>
                      </a:lnTo>
                      <a:lnTo>
                        <a:pt x="178" y="367"/>
                      </a:lnTo>
                      <a:lnTo>
                        <a:pt x="178" y="367"/>
                      </a:lnTo>
                      <a:lnTo>
                        <a:pt x="178" y="367"/>
                      </a:lnTo>
                      <a:lnTo>
                        <a:pt x="178" y="366"/>
                      </a:lnTo>
                      <a:lnTo>
                        <a:pt x="179" y="366"/>
                      </a:lnTo>
                      <a:lnTo>
                        <a:pt x="179" y="367"/>
                      </a:lnTo>
                      <a:lnTo>
                        <a:pt x="180" y="367"/>
                      </a:lnTo>
                      <a:lnTo>
                        <a:pt x="180" y="367"/>
                      </a:lnTo>
                      <a:lnTo>
                        <a:pt x="180" y="368"/>
                      </a:lnTo>
                      <a:lnTo>
                        <a:pt x="180" y="369"/>
                      </a:lnTo>
                      <a:lnTo>
                        <a:pt x="181" y="369"/>
                      </a:lnTo>
                      <a:lnTo>
                        <a:pt x="181" y="369"/>
                      </a:lnTo>
                      <a:lnTo>
                        <a:pt x="182" y="369"/>
                      </a:lnTo>
                      <a:lnTo>
                        <a:pt x="182" y="370"/>
                      </a:lnTo>
                      <a:lnTo>
                        <a:pt x="183" y="370"/>
                      </a:lnTo>
                      <a:lnTo>
                        <a:pt x="184" y="370"/>
                      </a:lnTo>
                      <a:lnTo>
                        <a:pt x="184" y="369"/>
                      </a:lnTo>
                      <a:lnTo>
                        <a:pt x="184" y="369"/>
                      </a:lnTo>
                      <a:lnTo>
                        <a:pt x="184" y="368"/>
                      </a:lnTo>
                      <a:lnTo>
                        <a:pt x="183" y="368"/>
                      </a:lnTo>
                      <a:lnTo>
                        <a:pt x="183" y="367"/>
                      </a:lnTo>
                      <a:lnTo>
                        <a:pt x="182" y="367"/>
                      </a:lnTo>
                      <a:lnTo>
                        <a:pt x="182" y="368"/>
                      </a:lnTo>
                      <a:lnTo>
                        <a:pt x="182" y="369"/>
                      </a:lnTo>
                      <a:lnTo>
                        <a:pt x="182" y="369"/>
                      </a:lnTo>
                      <a:lnTo>
                        <a:pt x="182" y="369"/>
                      </a:lnTo>
                      <a:lnTo>
                        <a:pt x="182" y="369"/>
                      </a:lnTo>
                      <a:lnTo>
                        <a:pt x="181" y="368"/>
                      </a:lnTo>
                      <a:lnTo>
                        <a:pt x="181" y="367"/>
                      </a:lnTo>
                      <a:lnTo>
                        <a:pt x="182" y="367"/>
                      </a:lnTo>
                      <a:lnTo>
                        <a:pt x="182" y="367"/>
                      </a:lnTo>
                      <a:lnTo>
                        <a:pt x="182" y="367"/>
                      </a:lnTo>
                      <a:lnTo>
                        <a:pt x="183" y="367"/>
                      </a:lnTo>
                      <a:lnTo>
                        <a:pt x="184" y="367"/>
                      </a:lnTo>
                      <a:lnTo>
                        <a:pt x="184" y="367"/>
                      </a:lnTo>
                      <a:lnTo>
                        <a:pt x="185" y="367"/>
                      </a:lnTo>
                      <a:lnTo>
                        <a:pt x="185" y="367"/>
                      </a:lnTo>
                      <a:lnTo>
                        <a:pt x="184" y="367"/>
                      </a:lnTo>
                      <a:lnTo>
                        <a:pt x="185" y="368"/>
                      </a:lnTo>
                      <a:lnTo>
                        <a:pt x="186" y="368"/>
                      </a:lnTo>
                      <a:lnTo>
                        <a:pt x="186" y="368"/>
                      </a:lnTo>
                      <a:lnTo>
                        <a:pt x="187" y="369"/>
                      </a:lnTo>
                      <a:lnTo>
                        <a:pt x="188" y="369"/>
                      </a:lnTo>
                      <a:lnTo>
                        <a:pt x="188" y="369"/>
                      </a:lnTo>
                      <a:lnTo>
                        <a:pt x="188" y="368"/>
                      </a:lnTo>
                      <a:lnTo>
                        <a:pt x="188" y="367"/>
                      </a:lnTo>
                      <a:lnTo>
                        <a:pt x="188" y="367"/>
                      </a:lnTo>
                      <a:lnTo>
                        <a:pt x="188" y="367"/>
                      </a:lnTo>
                      <a:lnTo>
                        <a:pt x="188" y="366"/>
                      </a:lnTo>
                      <a:lnTo>
                        <a:pt x="188" y="365"/>
                      </a:lnTo>
                      <a:lnTo>
                        <a:pt x="188" y="365"/>
                      </a:lnTo>
                      <a:lnTo>
                        <a:pt x="189" y="365"/>
                      </a:lnTo>
                      <a:lnTo>
                        <a:pt x="190" y="365"/>
                      </a:lnTo>
                      <a:lnTo>
                        <a:pt x="190" y="364"/>
                      </a:lnTo>
                      <a:lnTo>
                        <a:pt x="190" y="363"/>
                      </a:lnTo>
                      <a:lnTo>
                        <a:pt x="190" y="363"/>
                      </a:lnTo>
                      <a:lnTo>
                        <a:pt x="191" y="362"/>
                      </a:lnTo>
                      <a:lnTo>
                        <a:pt x="192" y="362"/>
                      </a:lnTo>
                      <a:lnTo>
                        <a:pt x="192" y="362"/>
                      </a:lnTo>
                      <a:lnTo>
                        <a:pt x="192" y="363"/>
                      </a:lnTo>
                      <a:lnTo>
                        <a:pt x="192" y="363"/>
                      </a:lnTo>
                      <a:lnTo>
                        <a:pt x="193" y="363"/>
                      </a:lnTo>
                      <a:lnTo>
                        <a:pt x="193" y="364"/>
                      </a:lnTo>
                      <a:lnTo>
                        <a:pt x="192" y="364"/>
                      </a:lnTo>
                      <a:lnTo>
                        <a:pt x="192" y="364"/>
                      </a:lnTo>
                      <a:lnTo>
                        <a:pt x="192" y="365"/>
                      </a:lnTo>
                      <a:lnTo>
                        <a:pt x="192" y="365"/>
                      </a:lnTo>
                      <a:lnTo>
                        <a:pt x="193" y="365"/>
                      </a:lnTo>
                      <a:lnTo>
                        <a:pt x="194" y="365"/>
                      </a:lnTo>
                      <a:lnTo>
                        <a:pt x="194" y="364"/>
                      </a:lnTo>
                      <a:lnTo>
                        <a:pt x="194" y="363"/>
                      </a:lnTo>
                      <a:lnTo>
                        <a:pt x="195" y="363"/>
                      </a:lnTo>
                      <a:lnTo>
                        <a:pt x="195" y="363"/>
                      </a:lnTo>
                      <a:lnTo>
                        <a:pt x="195" y="362"/>
                      </a:lnTo>
                      <a:lnTo>
                        <a:pt x="195" y="363"/>
                      </a:lnTo>
                      <a:lnTo>
                        <a:pt x="196" y="363"/>
                      </a:lnTo>
                      <a:lnTo>
                        <a:pt x="196" y="363"/>
                      </a:lnTo>
                      <a:lnTo>
                        <a:pt x="197" y="363"/>
                      </a:lnTo>
                      <a:lnTo>
                        <a:pt x="197" y="364"/>
                      </a:lnTo>
                      <a:lnTo>
                        <a:pt x="197" y="365"/>
                      </a:lnTo>
                      <a:lnTo>
                        <a:pt x="196" y="365"/>
                      </a:lnTo>
                      <a:lnTo>
                        <a:pt x="196" y="364"/>
                      </a:lnTo>
                      <a:lnTo>
                        <a:pt x="195" y="364"/>
                      </a:lnTo>
                      <a:lnTo>
                        <a:pt x="195" y="365"/>
                      </a:lnTo>
                      <a:lnTo>
                        <a:pt x="195" y="365"/>
                      </a:lnTo>
                      <a:lnTo>
                        <a:pt x="196" y="365"/>
                      </a:lnTo>
                      <a:lnTo>
                        <a:pt x="196" y="366"/>
                      </a:lnTo>
                      <a:lnTo>
                        <a:pt x="197" y="366"/>
                      </a:lnTo>
                      <a:lnTo>
                        <a:pt x="197" y="366"/>
                      </a:lnTo>
                      <a:lnTo>
                        <a:pt x="197" y="365"/>
                      </a:lnTo>
                      <a:lnTo>
                        <a:pt x="197" y="365"/>
                      </a:lnTo>
                      <a:lnTo>
                        <a:pt x="198" y="365"/>
                      </a:lnTo>
                      <a:lnTo>
                        <a:pt x="198" y="365"/>
                      </a:lnTo>
                      <a:lnTo>
                        <a:pt x="199" y="365"/>
                      </a:lnTo>
                      <a:lnTo>
                        <a:pt x="199" y="365"/>
                      </a:lnTo>
                      <a:lnTo>
                        <a:pt x="200" y="365"/>
                      </a:lnTo>
                      <a:lnTo>
                        <a:pt x="200" y="365"/>
                      </a:lnTo>
                      <a:lnTo>
                        <a:pt x="201" y="365"/>
                      </a:lnTo>
                      <a:lnTo>
                        <a:pt x="201" y="364"/>
                      </a:lnTo>
                      <a:lnTo>
                        <a:pt x="201" y="365"/>
                      </a:lnTo>
                      <a:lnTo>
                        <a:pt x="202" y="364"/>
                      </a:lnTo>
                      <a:lnTo>
                        <a:pt x="202" y="365"/>
                      </a:lnTo>
                      <a:lnTo>
                        <a:pt x="203" y="365"/>
                      </a:lnTo>
                      <a:lnTo>
                        <a:pt x="203" y="364"/>
                      </a:lnTo>
                      <a:lnTo>
                        <a:pt x="202" y="364"/>
                      </a:lnTo>
                      <a:lnTo>
                        <a:pt x="201" y="363"/>
                      </a:lnTo>
                      <a:lnTo>
                        <a:pt x="201" y="363"/>
                      </a:lnTo>
                      <a:lnTo>
                        <a:pt x="201" y="363"/>
                      </a:lnTo>
                      <a:lnTo>
                        <a:pt x="201" y="363"/>
                      </a:lnTo>
                      <a:lnTo>
                        <a:pt x="202" y="363"/>
                      </a:lnTo>
                      <a:lnTo>
                        <a:pt x="203" y="363"/>
                      </a:lnTo>
                      <a:lnTo>
                        <a:pt x="203" y="363"/>
                      </a:lnTo>
                      <a:lnTo>
                        <a:pt x="203" y="362"/>
                      </a:lnTo>
                      <a:lnTo>
                        <a:pt x="204" y="361"/>
                      </a:lnTo>
                      <a:lnTo>
                        <a:pt x="205" y="361"/>
                      </a:lnTo>
                      <a:lnTo>
                        <a:pt x="205" y="361"/>
                      </a:lnTo>
                      <a:lnTo>
                        <a:pt x="205" y="362"/>
                      </a:lnTo>
                      <a:lnTo>
                        <a:pt x="205" y="363"/>
                      </a:lnTo>
                      <a:lnTo>
                        <a:pt x="204" y="363"/>
                      </a:lnTo>
                      <a:lnTo>
                        <a:pt x="204" y="363"/>
                      </a:lnTo>
                      <a:lnTo>
                        <a:pt x="204" y="364"/>
                      </a:lnTo>
                      <a:lnTo>
                        <a:pt x="205" y="364"/>
                      </a:lnTo>
                      <a:lnTo>
                        <a:pt x="205" y="364"/>
                      </a:lnTo>
                      <a:lnTo>
                        <a:pt x="206" y="364"/>
                      </a:lnTo>
                      <a:lnTo>
                        <a:pt x="207" y="365"/>
                      </a:lnTo>
                      <a:lnTo>
                        <a:pt x="206" y="365"/>
                      </a:lnTo>
                      <a:lnTo>
                        <a:pt x="206" y="365"/>
                      </a:lnTo>
                      <a:lnTo>
                        <a:pt x="206" y="366"/>
                      </a:lnTo>
                      <a:lnTo>
                        <a:pt x="206" y="367"/>
                      </a:lnTo>
                      <a:lnTo>
                        <a:pt x="206" y="367"/>
                      </a:lnTo>
                      <a:lnTo>
                        <a:pt x="207" y="368"/>
                      </a:lnTo>
                      <a:lnTo>
                        <a:pt x="207" y="367"/>
                      </a:lnTo>
                      <a:lnTo>
                        <a:pt x="207" y="367"/>
                      </a:lnTo>
                      <a:lnTo>
                        <a:pt x="207" y="367"/>
                      </a:lnTo>
                      <a:lnTo>
                        <a:pt x="207" y="366"/>
                      </a:lnTo>
                      <a:lnTo>
                        <a:pt x="207" y="365"/>
                      </a:lnTo>
                      <a:lnTo>
                        <a:pt x="207" y="365"/>
                      </a:lnTo>
                      <a:lnTo>
                        <a:pt x="208" y="365"/>
                      </a:lnTo>
                      <a:lnTo>
                        <a:pt x="208" y="364"/>
                      </a:lnTo>
                      <a:lnTo>
                        <a:pt x="208" y="363"/>
                      </a:lnTo>
                      <a:lnTo>
                        <a:pt x="209" y="363"/>
                      </a:lnTo>
                      <a:lnTo>
                        <a:pt x="209" y="363"/>
                      </a:lnTo>
                      <a:lnTo>
                        <a:pt x="209" y="364"/>
                      </a:lnTo>
                      <a:lnTo>
                        <a:pt x="209" y="364"/>
                      </a:lnTo>
                      <a:lnTo>
                        <a:pt x="209" y="365"/>
                      </a:lnTo>
                      <a:lnTo>
                        <a:pt x="209" y="365"/>
                      </a:lnTo>
                      <a:lnTo>
                        <a:pt x="209" y="365"/>
                      </a:lnTo>
                      <a:lnTo>
                        <a:pt x="210" y="365"/>
                      </a:lnTo>
                      <a:lnTo>
                        <a:pt x="211" y="365"/>
                      </a:lnTo>
                      <a:lnTo>
                        <a:pt x="211" y="365"/>
                      </a:lnTo>
                      <a:lnTo>
                        <a:pt x="211" y="366"/>
                      </a:lnTo>
                      <a:lnTo>
                        <a:pt x="211" y="365"/>
                      </a:lnTo>
                      <a:lnTo>
                        <a:pt x="212" y="365"/>
                      </a:lnTo>
                      <a:lnTo>
                        <a:pt x="213" y="365"/>
                      </a:lnTo>
                      <a:lnTo>
                        <a:pt x="214" y="365"/>
                      </a:lnTo>
                      <a:lnTo>
                        <a:pt x="214" y="364"/>
                      </a:lnTo>
                      <a:lnTo>
                        <a:pt x="214" y="364"/>
                      </a:lnTo>
                      <a:lnTo>
                        <a:pt x="215" y="364"/>
                      </a:lnTo>
                      <a:lnTo>
                        <a:pt x="214" y="365"/>
                      </a:lnTo>
                      <a:lnTo>
                        <a:pt x="214" y="365"/>
                      </a:lnTo>
                      <a:lnTo>
                        <a:pt x="215" y="365"/>
                      </a:lnTo>
                      <a:lnTo>
                        <a:pt x="215" y="366"/>
                      </a:lnTo>
                      <a:lnTo>
                        <a:pt x="215" y="367"/>
                      </a:lnTo>
                      <a:lnTo>
                        <a:pt x="214" y="367"/>
                      </a:lnTo>
                      <a:lnTo>
                        <a:pt x="214" y="367"/>
                      </a:lnTo>
                      <a:lnTo>
                        <a:pt x="214" y="367"/>
                      </a:lnTo>
                      <a:lnTo>
                        <a:pt x="213" y="367"/>
                      </a:lnTo>
                      <a:lnTo>
                        <a:pt x="213" y="368"/>
                      </a:lnTo>
                      <a:lnTo>
                        <a:pt x="214" y="368"/>
                      </a:lnTo>
                      <a:lnTo>
                        <a:pt x="214" y="369"/>
                      </a:lnTo>
                      <a:lnTo>
                        <a:pt x="214" y="369"/>
                      </a:lnTo>
                      <a:lnTo>
                        <a:pt x="214" y="368"/>
                      </a:lnTo>
                      <a:lnTo>
                        <a:pt x="214" y="367"/>
                      </a:lnTo>
                      <a:lnTo>
                        <a:pt x="215" y="367"/>
                      </a:lnTo>
                      <a:lnTo>
                        <a:pt x="216" y="366"/>
                      </a:lnTo>
                      <a:lnTo>
                        <a:pt x="216" y="366"/>
                      </a:lnTo>
                      <a:lnTo>
                        <a:pt x="217" y="366"/>
                      </a:lnTo>
                      <a:lnTo>
                        <a:pt x="218" y="366"/>
                      </a:lnTo>
                      <a:lnTo>
                        <a:pt x="218" y="367"/>
                      </a:lnTo>
                      <a:lnTo>
                        <a:pt x="217" y="367"/>
                      </a:lnTo>
                      <a:lnTo>
                        <a:pt x="217" y="367"/>
                      </a:lnTo>
                      <a:lnTo>
                        <a:pt x="216" y="368"/>
                      </a:lnTo>
                      <a:lnTo>
                        <a:pt x="216" y="369"/>
                      </a:lnTo>
                      <a:lnTo>
                        <a:pt x="217" y="369"/>
                      </a:lnTo>
                      <a:lnTo>
                        <a:pt x="217" y="369"/>
                      </a:lnTo>
                      <a:lnTo>
                        <a:pt x="216" y="369"/>
                      </a:lnTo>
                      <a:lnTo>
                        <a:pt x="216" y="369"/>
                      </a:lnTo>
                      <a:lnTo>
                        <a:pt x="216" y="370"/>
                      </a:lnTo>
                      <a:lnTo>
                        <a:pt x="216" y="370"/>
                      </a:lnTo>
                      <a:lnTo>
                        <a:pt x="216" y="371"/>
                      </a:lnTo>
                      <a:lnTo>
                        <a:pt x="216" y="371"/>
                      </a:lnTo>
                      <a:lnTo>
                        <a:pt x="216" y="372"/>
                      </a:lnTo>
                      <a:lnTo>
                        <a:pt x="216" y="373"/>
                      </a:lnTo>
                      <a:lnTo>
                        <a:pt x="217" y="373"/>
                      </a:lnTo>
                      <a:lnTo>
                        <a:pt x="216" y="373"/>
                      </a:lnTo>
                      <a:lnTo>
                        <a:pt x="217" y="373"/>
                      </a:lnTo>
                      <a:lnTo>
                        <a:pt x="217" y="374"/>
                      </a:lnTo>
                      <a:lnTo>
                        <a:pt x="216" y="374"/>
                      </a:lnTo>
                      <a:lnTo>
                        <a:pt x="216" y="374"/>
                      </a:lnTo>
                      <a:lnTo>
                        <a:pt x="216" y="374"/>
                      </a:lnTo>
                      <a:lnTo>
                        <a:pt x="216" y="375"/>
                      </a:lnTo>
                      <a:lnTo>
                        <a:pt x="215" y="375"/>
                      </a:lnTo>
                      <a:lnTo>
                        <a:pt x="214" y="375"/>
                      </a:lnTo>
                      <a:lnTo>
                        <a:pt x="214" y="376"/>
                      </a:lnTo>
                      <a:lnTo>
                        <a:pt x="214" y="376"/>
                      </a:lnTo>
                      <a:lnTo>
                        <a:pt x="214" y="377"/>
                      </a:lnTo>
                      <a:lnTo>
                        <a:pt x="214" y="377"/>
                      </a:lnTo>
                      <a:lnTo>
                        <a:pt x="213" y="378"/>
                      </a:lnTo>
                      <a:lnTo>
                        <a:pt x="213" y="378"/>
                      </a:lnTo>
                      <a:lnTo>
                        <a:pt x="213" y="379"/>
                      </a:lnTo>
                      <a:lnTo>
                        <a:pt x="213" y="380"/>
                      </a:lnTo>
                      <a:lnTo>
                        <a:pt x="214" y="380"/>
                      </a:lnTo>
                      <a:lnTo>
                        <a:pt x="214" y="380"/>
                      </a:lnTo>
                      <a:lnTo>
                        <a:pt x="214" y="381"/>
                      </a:lnTo>
                      <a:lnTo>
                        <a:pt x="213" y="382"/>
                      </a:lnTo>
                      <a:lnTo>
                        <a:pt x="213" y="382"/>
                      </a:lnTo>
                      <a:lnTo>
                        <a:pt x="213" y="383"/>
                      </a:lnTo>
                      <a:lnTo>
                        <a:pt x="214" y="384"/>
                      </a:lnTo>
                      <a:lnTo>
                        <a:pt x="214" y="384"/>
                      </a:lnTo>
                      <a:lnTo>
                        <a:pt x="214" y="384"/>
                      </a:lnTo>
                      <a:lnTo>
                        <a:pt x="215" y="384"/>
                      </a:lnTo>
                      <a:lnTo>
                        <a:pt x="215" y="385"/>
                      </a:lnTo>
                      <a:lnTo>
                        <a:pt x="215" y="386"/>
                      </a:lnTo>
                      <a:lnTo>
                        <a:pt x="215" y="386"/>
                      </a:lnTo>
                      <a:lnTo>
                        <a:pt x="215" y="387"/>
                      </a:lnTo>
                      <a:lnTo>
                        <a:pt x="216" y="387"/>
                      </a:lnTo>
                      <a:lnTo>
                        <a:pt x="216" y="387"/>
                      </a:lnTo>
                      <a:lnTo>
                        <a:pt x="216" y="388"/>
                      </a:lnTo>
                      <a:lnTo>
                        <a:pt x="217" y="388"/>
                      </a:lnTo>
                      <a:lnTo>
                        <a:pt x="217" y="389"/>
                      </a:lnTo>
                      <a:lnTo>
                        <a:pt x="218" y="389"/>
                      </a:lnTo>
                      <a:lnTo>
                        <a:pt x="218" y="389"/>
                      </a:lnTo>
                      <a:lnTo>
                        <a:pt x="219" y="389"/>
                      </a:lnTo>
                      <a:lnTo>
                        <a:pt x="220" y="390"/>
                      </a:lnTo>
                      <a:lnTo>
                        <a:pt x="220" y="389"/>
                      </a:lnTo>
                      <a:lnTo>
                        <a:pt x="220" y="389"/>
                      </a:lnTo>
                      <a:lnTo>
                        <a:pt x="221" y="389"/>
                      </a:lnTo>
                      <a:lnTo>
                        <a:pt x="222" y="389"/>
                      </a:lnTo>
                      <a:lnTo>
                        <a:pt x="222" y="390"/>
                      </a:lnTo>
                      <a:lnTo>
                        <a:pt x="222" y="390"/>
                      </a:lnTo>
                      <a:lnTo>
                        <a:pt x="222" y="390"/>
                      </a:lnTo>
                      <a:lnTo>
                        <a:pt x="223" y="390"/>
                      </a:lnTo>
                      <a:lnTo>
                        <a:pt x="223" y="391"/>
                      </a:lnTo>
                      <a:lnTo>
                        <a:pt x="224" y="391"/>
                      </a:lnTo>
                      <a:lnTo>
                        <a:pt x="224" y="392"/>
                      </a:lnTo>
                      <a:lnTo>
                        <a:pt x="224" y="392"/>
                      </a:lnTo>
                      <a:lnTo>
                        <a:pt x="225" y="392"/>
                      </a:lnTo>
                      <a:lnTo>
                        <a:pt x="225" y="393"/>
                      </a:lnTo>
                      <a:lnTo>
                        <a:pt x="225" y="394"/>
                      </a:lnTo>
                      <a:lnTo>
                        <a:pt x="225" y="395"/>
                      </a:lnTo>
                      <a:lnTo>
                        <a:pt x="225" y="395"/>
                      </a:lnTo>
                      <a:lnTo>
                        <a:pt x="226" y="395"/>
                      </a:lnTo>
                      <a:lnTo>
                        <a:pt x="226" y="396"/>
                      </a:lnTo>
                      <a:lnTo>
                        <a:pt x="226" y="396"/>
                      </a:lnTo>
                      <a:lnTo>
                        <a:pt x="226" y="397"/>
                      </a:lnTo>
                      <a:lnTo>
                        <a:pt x="226" y="397"/>
                      </a:lnTo>
                      <a:lnTo>
                        <a:pt x="227" y="398"/>
                      </a:lnTo>
                      <a:lnTo>
                        <a:pt x="227" y="399"/>
                      </a:lnTo>
                      <a:lnTo>
                        <a:pt x="227" y="399"/>
                      </a:lnTo>
                      <a:lnTo>
                        <a:pt x="228" y="399"/>
                      </a:lnTo>
                      <a:lnTo>
                        <a:pt x="228" y="400"/>
                      </a:lnTo>
                      <a:lnTo>
                        <a:pt x="228" y="401"/>
                      </a:lnTo>
                      <a:lnTo>
                        <a:pt x="227" y="401"/>
                      </a:lnTo>
                      <a:lnTo>
                        <a:pt x="227" y="401"/>
                      </a:lnTo>
                      <a:lnTo>
                        <a:pt x="227" y="402"/>
                      </a:lnTo>
                      <a:lnTo>
                        <a:pt x="226" y="402"/>
                      </a:lnTo>
                      <a:lnTo>
                        <a:pt x="226" y="403"/>
                      </a:lnTo>
                      <a:lnTo>
                        <a:pt x="230" y="402"/>
                      </a:lnTo>
                      <a:lnTo>
                        <a:pt x="233" y="401"/>
                      </a:lnTo>
                      <a:lnTo>
                        <a:pt x="237" y="401"/>
                      </a:lnTo>
                      <a:lnTo>
                        <a:pt x="239" y="400"/>
                      </a:lnTo>
                      <a:lnTo>
                        <a:pt x="244" y="399"/>
                      </a:lnTo>
                      <a:lnTo>
                        <a:pt x="246" y="398"/>
                      </a:lnTo>
                      <a:lnTo>
                        <a:pt x="249" y="397"/>
                      </a:lnTo>
                      <a:lnTo>
                        <a:pt x="254" y="395"/>
                      </a:lnTo>
                      <a:lnTo>
                        <a:pt x="259" y="394"/>
                      </a:lnTo>
                      <a:lnTo>
                        <a:pt x="262" y="393"/>
                      </a:lnTo>
                      <a:lnTo>
                        <a:pt x="265" y="392"/>
                      </a:lnTo>
                      <a:lnTo>
                        <a:pt x="270" y="392"/>
                      </a:lnTo>
                      <a:lnTo>
                        <a:pt x="271" y="392"/>
                      </a:lnTo>
                      <a:lnTo>
                        <a:pt x="271" y="392"/>
                      </a:lnTo>
                      <a:lnTo>
                        <a:pt x="271" y="390"/>
                      </a:lnTo>
                      <a:lnTo>
                        <a:pt x="271" y="390"/>
                      </a:lnTo>
                      <a:lnTo>
                        <a:pt x="271" y="389"/>
                      </a:lnTo>
                      <a:lnTo>
                        <a:pt x="272" y="388"/>
                      </a:lnTo>
                      <a:lnTo>
                        <a:pt x="273" y="388"/>
                      </a:lnTo>
                      <a:lnTo>
                        <a:pt x="273" y="388"/>
                      </a:lnTo>
                      <a:lnTo>
                        <a:pt x="275" y="387"/>
                      </a:lnTo>
                      <a:lnTo>
                        <a:pt x="275" y="387"/>
                      </a:lnTo>
                      <a:lnTo>
                        <a:pt x="277" y="386"/>
                      </a:lnTo>
                      <a:lnTo>
                        <a:pt x="277" y="386"/>
                      </a:lnTo>
                      <a:lnTo>
                        <a:pt x="277" y="386"/>
                      </a:lnTo>
                      <a:lnTo>
                        <a:pt x="278" y="385"/>
                      </a:lnTo>
                      <a:lnTo>
                        <a:pt x="278" y="384"/>
                      </a:lnTo>
                      <a:lnTo>
                        <a:pt x="279" y="384"/>
                      </a:lnTo>
                      <a:lnTo>
                        <a:pt x="279" y="383"/>
                      </a:lnTo>
                      <a:lnTo>
                        <a:pt x="280" y="382"/>
                      </a:lnTo>
                      <a:lnTo>
                        <a:pt x="280" y="382"/>
                      </a:lnTo>
                      <a:lnTo>
                        <a:pt x="281" y="381"/>
                      </a:lnTo>
                      <a:lnTo>
                        <a:pt x="281" y="381"/>
                      </a:lnTo>
                      <a:lnTo>
                        <a:pt x="281" y="380"/>
                      </a:lnTo>
                      <a:lnTo>
                        <a:pt x="282" y="380"/>
                      </a:lnTo>
                      <a:lnTo>
                        <a:pt x="283" y="380"/>
                      </a:lnTo>
                      <a:lnTo>
                        <a:pt x="283" y="379"/>
                      </a:lnTo>
                      <a:lnTo>
                        <a:pt x="283" y="379"/>
                      </a:lnTo>
                      <a:lnTo>
                        <a:pt x="284" y="379"/>
                      </a:lnTo>
                      <a:lnTo>
                        <a:pt x="284" y="378"/>
                      </a:lnTo>
                      <a:lnTo>
                        <a:pt x="284" y="378"/>
                      </a:lnTo>
                      <a:lnTo>
                        <a:pt x="285" y="378"/>
                      </a:lnTo>
                      <a:lnTo>
                        <a:pt x="285" y="378"/>
                      </a:lnTo>
                      <a:lnTo>
                        <a:pt x="286" y="377"/>
                      </a:lnTo>
                      <a:lnTo>
                        <a:pt x="287" y="377"/>
                      </a:lnTo>
                      <a:lnTo>
                        <a:pt x="287" y="376"/>
                      </a:lnTo>
                      <a:lnTo>
                        <a:pt x="287" y="376"/>
                      </a:lnTo>
                      <a:lnTo>
                        <a:pt x="288" y="376"/>
                      </a:lnTo>
                      <a:lnTo>
                        <a:pt x="289" y="376"/>
                      </a:lnTo>
                      <a:lnTo>
                        <a:pt x="290" y="377"/>
                      </a:lnTo>
                      <a:lnTo>
                        <a:pt x="290" y="377"/>
                      </a:lnTo>
                      <a:lnTo>
                        <a:pt x="290" y="376"/>
                      </a:lnTo>
                      <a:lnTo>
                        <a:pt x="291" y="376"/>
                      </a:lnTo>
                      <a:lnTo>
                        <a:pt x="292" y="376"/>
                      </a:lnTo>
                      <a:lnTo>
                        <a:pt x="292" y="376"/>
                      </a:lnTo>
                      <a:lnTo>
                        <a:pt x="293" y="376"/>
                      </a:lnTo>
                      <a:lnTo>
                        <a:pt x="294" y="376"/>
                      </a:lnTo>
                      <a:lnTo>
                        <a:pt x="294" y="376"/>
                      </a:lnTo>
                      <a:lnTo>
                        <a:pt x="294" y="376"/>
                      </a:lnTo>
                      <a:lnTo>
                        <a:pt x="294" y="375"/>
                      </a:lnTo>
                      <a:lnTo>
                        <a:pt x="295" y="375"/>
                      </a:lnTo>
                      <a:lnTo>
                        <a:pt x="296" y="375"/>
                      </a:lnTo>
                      <a:lnTo>
                        <a:pt x="296" y="376"/>
                      </a:lnTo>
                      <a:lnTo>
                        <a:pt x="296" y="376"/>
                      </a:lnTo>
                      <a:lnTo>
                        <a:pt x="297" y="376"/>
                      </a:lnTo>
                      <a:lnTo>
                        <a:pt x="297" y="375"/>
                      </a:lnTo>
                      <a:lnTo>
                        <a:pt x="298" y="375"/>
                      </a:lnTo>
                      <a:lnTo>
                        <a:pt x="298" y="374"/>
                      </a:lnTo>
                      <a:lnTo>
                        <a:pt x="298" y="374"/>
                      </a:lnTo>
                      <a:lnTo>
                        <a:pt x="299" y="374"/>
                      </a:lnTo>
                      <a:lnTo>
                        <a:pt x="299" y="373"/>
                      </a:lnTo>
                      <a:lnTo>
                        <a:pt x="299" y="372"/>
                      </a:lnTo>
                      <a:lnTo>
                        <a:pt x="299" y="371"/>
                      </a:lnTo>
                      <a:lnTo>
                        <a:pt x="300" y="371"/>
                      </a:lnTo>
                      <a:lnTo>
                        <a:pt x="300" y="371"/>
                      </a:lnTo>
                      <a:lnTo>
                        <a:pt x="301" y="371"/>
                      </a:lnTo>
                      <a:lnTo>
                        <a:pt x="301" y="372"/>
                      </a:lnTo>
                      <a:lnTo>
                        <a:pt x="302" y="372"/>
                      </a:lnTo>
                      <a:lnTo>
                        <a:pt x="302" y="373"/>
                      </a:lnTo>
                      <a:lnTo>
                        <a:pt x="302" y="374"/>
                      </a:lnTo>
                      <a:lnTo>
                        <a:pt x="302" y="374"/>
                      </a:lnTo>
                      <a:lnTo>
                        <a:pt x="302" y="374"/>
                      </a:lnTo>
                      <a:lnTo>
                        <a:pt x="303" y="374"/>
                      </a:lnTo>
                      <a:lnTo>
                        <a:pt x="304" y="374"/>
                      </a:lnTo>
                      <a:lnTo>
                        <a:pt x="304" y="374"/>
                      </a:lnTo>
                      <a:lnTo>
                        <a:pt x="304" y="374"/>
                      </a:lnTo>
                      <a:lnTo>
                        <a:pt x="305" y="374"/>
                      </a:lnTo>
                      <a:lnTo>
                        <a:pt x="306" y="374"/>
                      </a:lnTo>
                      <a:lnTo>
                        <a:pt x="306" y="374"/>
                      </a:lnTo>
                      <a:lnTo>
                        <a:pt x="306" y="374"/>
                      </a:lnTo>
                      <a:lnTo>
                        <a:pt x="306" y="375"/>
                      </a:lnTo>
                      <a:lnTo>
                        <a:pt x="306" y="376"/>
                      </a:lnTo>
                      <a:lnTo>
                        <a:pt x="307" y="376"/>
                      </a:lnTo>
                      <a:lnTo>
                        <a:pt x="307" y="376"/>
                      </a:lnTo>
                      <a:lnTo>
                        <a:pt x="308" y="376"/>
                      </a:lnTo>
                      <a:lnTo>
                        <a:pt x="308" y="377"/>
                      </a:lnTo>
                      <a:lnTo>
                        <a:pt x="309" y="377"/>
                      </a:lnTo>
                      <a:lnTo>
                        <a:pt x="309" y="376"/>
                      </a:lnTo>
                      <a:lnTo>
                        <a:pt x="309" y="376"/>
                      </a:lnTo>
                      <a:lnTo>
                        <a:pt x="310" y="376"/>
                      </a:lnTo>
                      <a:lnTo>
                        <a:pt x="310" y="376"/>
                      </a:lnTo>
                      <a:lnTo>
                        <a:pt x="311" y="376"/>
                      </a:lnTo>
                      <a:lnTo>
                        <a:pt x="311" y="375"/>
                      </a:lnTo>
                      <a:lnTo>
                        <a:pt x="312" y="375"/>
                      </a:lnTo>
                      <a:lnTo>
                        <a:pt x="312" y="374"/>
                      </a:lnTo>
                      <a:lnTo>
                        <a:pt x="313" y="374"/>
                      </a:lnTo>
                      <a:lnTo>
                        <a:pt x="313" y="374"/>
                      </a:lnTo>
                      <a:lnTo>
                        <a:pt x="312" y="374"/>
                      </a:lnTo>
                      <a:lnTo>
                        <a:pt x="312" y="373"/>
                      </a:lnTo>
                      <a:lnTo>
                        <a:pt x="312" y="372"/>
                      </a:lnTo>
                      <a:lnTo>
                        <a:pt x="312" y="371"/>
                      </a:lnTo>
                      <a:lnTo>
                        <a:pt x="312" y="371"/>
                      </a:lnTo>
                      <a:lnTo>
                        <a:pt x="312" y="370"/>
                      </a:lnTo>
                      <a:lnTo>
                        <a:pt x="312" y="369"/>
                      </a:lnTo>
                      <a:lnTo>
                        <a:pt x="312" y="369"/>
                      </a:lnTo>
                      <a:lnTo>
                        <a:pt x="312" y="368"/>
                      </a:lnTo>
                      <a:lnTo>
                        <a:pt x="312" y="367"/>
                      </a:lnTo>
                      <a:lnTo>
                        <a:pt x="313" y="367"/>
                      </a:lnTo>
                      <a:lnTo>
                        <a:pt x="313" y="367"/>
                      </a:lnTo>
                      <a:lnTo>
                        <a:pt x="313" y="367"/>
                      </a:lnTo>
                      <a:lnTo>
                        <a:pt x="314" y="367"/>
                      </a:lnTo>
                      <a:lnTo>
                        <a:pt x="315" y="366"/>
                      </a:lnTo>
                      <a:lnTo>
                        <a:pt x="315" y="366"/>
                      </a:lnTo>
                      <a:lnTo>
                        <a:pt x="316" y="366"/>
                      </a:lnTo>
                      <a:lnTo>
                        <a:pt x="316" y="365"/>
                      </a:lnTo>
                      <a:lnTo>
                        <a:pt x="317" y="365"/>
                      </a:lnTo>
                      <a:lnTo>
                        <a:pt x="317" y="365"/>
                      </a:lnTo>
                      <a:lnTo>
                        <a:pt x="317" y="365"/>
                      </a:lnTo>
                      <a:lnTo>
                        <a:pt x="318" y="365"/>
                      </a:lnTo>
                      <a:lnTo>
                        <a:pt x="319" y="365"/>
                      </a:lnTo>
                      <a:lnTo>
                        <a:pt x="319" y="364"/>
                      </a:lnTo>
                      <a:lnTo>
                        <a:pt x="319" y="364"/>
                      </a:lnTo>
                      <a:lnTo>
                        <a:pt x="320" y="364"/>
                      </a:lnTo>
                      <a:lnTo>
                        <a:pt x="321" y="364"/>
                      </a:lnTo>
                      <a:lnTo>
                        <a:pt x="321" y="364"/>
                      </a:lnTo>
                      <a:lnTo>
                        <a:pt x="321" y="363"/>
                      </a:lnTo>
                      <a:lnTo>
                        <a:pt x="321" y="364"/>
                      </a:lnTo>
                      <a:lnTo>
                        <a:pt x="322" y="364"/>
                      </a:lnTo>
                      <a:lnTo>
                        <a:pt x="323" y="364"/>
                      </a:lnTo>
                      <a:lnTo>
                        <a:pt x="323" y="364"/>
                      </a:lnTo>
                      <a:lnTo>
                        <a:pt x="324" y="364"/>
                      </a:lnTo>
                      <a:lnTo>
                        <a:pt x="325" y="364"/>
                      </a:lnTo>
                      <a:lnTo>
                        <a:pt x="325" y="364"/>
                      </a:lnTo>
                      <a:lnTo>
                        <a:pt x="325" y="365"/>
                      </a:lnTo>
                      <a:lnTo>
                        <a:pt x="325" y="365"/>
                      </a:lnTo>
                      <a:lnTo>
                        <a:pt x="325" y="366"/>
                      </a:lnTo>
                      <a:lnTo>
                        <a:pt x="326" y="366"/>
                      </a:lnTo>
                      <a:lnTo>
                        <a:pt x="327" y="366"/>
                      </a:lnTo>
                      <a:lnTo>
                        <a:pt x="327" y="365"/>
                      </a:lnTo>
                      <a:lnTo>
                        <a:pt x="328" y="365"/>
                      </a:lnTo>
                      <a:lnTo>
                        <a:pt x="328" y="365"/>
                      </a:lnTo>
                      <a:lnTo>
                        <a:pt x="328" y="365"/>
                      </a:lnTo>
                      <a:lnTo>
                        <a:pt x="328" y="364"/>
                      </a:lnTo>
                      <a:lnTo>
                        <a:pt x="328" y="363"/>
                      </a:lnTo>
                      <a:lnTo>
                        <a:pt x="329" y="363"/>
                      </a:lnTo>
                      <a:lnTo>
                        <a:pt x="329" y="363"/>
                      </a:lnTo>
                      <a:lnTo>
                        <a:pt x="331" y="362"/>
                      </a:lnTo>
                      <a:lnTo>
                        <a:pt x="332" y="361"/>
                      </a:lnTo>
                      <a:lnTo>
                        <a:pt x="332" y="361"/>
                      </a:lnTo>
                      <a:lnTo>
                        <a:pt x="332" y="361"/>
                      </a:lnTo>
                      <a:lnTo>
                        <a:pt x="332" y="360"/>
                      </a:lnTo>
                      <a:lnTo>
                        <a:pt x="333" y="360"/>
                      </a:lnTo>
                      <a:lnTo>
                        <a:pt x="334" y="360"/>
                      </a:lnTo>
                      <a:lnTo>
                        <a:pt x="334" y="360"/>
                      </a:lnTo>
                      <a:lnTo>
                        <a:pt x="335" y="360"/>
                      </a:lnTo>
                      <a:lnTo>
                        <a:pt x="336" y="360"/>
                      </a:lnTo>
                      <a:lnTo>
                        <a:pt x="336" y="359"/>
                      </a:lnTo>
                      <a:lnTo>
                        <a:pt x="336" y="359"/>
                      </a:lnTo>
                      <a:lnTo>
                        <a:pt x="337" y="359"/>
                      </a:lnTo>
                      <a:lnTo>
                        <a:pt x="338" y="359"/>
                      </a:lnTo>
                      <a:lnTo>
                        <a:pt x="338" y="360"/>
                      </a:lnTo>
                      <a:lnTo>
                        <a:pt x="338" y="360"/>
                      </a:lnTo>
                      <a:lnTo>
                        <a:pt x="339" y="360"/>
                      </a:lnTo>
                      <a:lnTo>
                        <a:pt x="339" y="359"/>
                      </a:lnTo>
                      <a:lnTo>
                        <a:pt x="340" y="359"/>
                      </a:lnTo>
                      <a:lnTo>
                        <a:pt x="340" y="359"/>
                      </a:lnTo>
                      <a:lnTo>
                        <a:pt x="341" y="359"/>
                      </a:lnTo>
                      <a:lnTo>
                        <a:pt x="341" y="358"/>
                      </a:lnTo>
                      <a:lnTo>
                        <a:pt x="342" y="358"/>
                      </a:lnTo>
                      <a:lnTo>
                        <a:pt x="342" y="357"/>
                      </a:lnTo>
                      <a:lnTo>
                        <a:pt x="341" y="357"/>
                      </a:lnTo>
                      <a:lnTo>
                        <a:pt x="341" y="357"/>
                      </a:lnTo>
                      <a:lnTo>
                        <a:pt x="342" y="357"/>
                      </a:lnTo>
                      <a:lnTo>
                        <a:pt x="342" y="356"/>
                      </a:lnTo>
                      <a:lnTo>
                        <a:pt x="342" y="356"/>
                      </a:lnTo>
                      <a:lnTo>
                        <a:pt x="343" y="356"/>
                      </a:lnTo>
                      <a:lnTo>
                        <a:pt x="343" y="355"/>
                      </a:lnTo>
                      <a:lnTo>
                        <a:pt x="344" y="355"/>
                      </a:lnTo>
                      <a:lnTo>
                        <a:pt x="344" y="356"/>
                      </a:lnTo>
                      <a:lnTo>
                        <a:pt x="344" y="356"/>
                      </a:lnTo>
                      <a:lnTo>
                        <a:pt x="344" y="355"/>
                      </a:lnTo>
                      <a:lnTo>
                        <a:pt x="345" y="355"/>
                      </a:lnTo>
                      <a:lnTo>
                        <a:pt x="345" y="355"/>
                      </a:lnTo>
                      <a:lnTo>
                        <a:pt x="345" y="354"/>
                      </a:lnTo>
                      <a:lnTo>
                        <a:pt x="346" y="354"/>
                      </a:lnTo>
                      <a:lnTo>
                        <a:pt x="347" y="353"/>
                      </a:lnTo>
                      <a:lnTo>
                        <a:pt x="347" y="352"/>
                      </a:lnTo>
                      <a:lnTo>
                        <a:pt x="347" y="352"/>
                      </a:lnTo>
                      <a:lnTo>
                        <a:pt x="348" y="352"/>
                      </a:lnTo>
                      <a:lnTo>
                        <a:pt x="348" y="352"/>
                      </a:lnTo>
                      <a:lnTo>
                        <a:pt x="349" y="352"/>
                      </a:lnTo>
                      <a:lnTo>
                        <a:pt x="349" y="352"/>
                      </a:lnTo>
                      <a:lnTo>
                        <a:pt x="349" y="351"/>
                      </a:lnTo>
                      <a:lnTo>
                        <a:pt x="350" y="351"/>
                      </a:lnTo>
                      <a:lnTo>
                        <a:pt x="350" y="350"/>
                      </a:lnTo>
                      <a:lnTo>
                        <a:pt x="351" y="350"/>
                      </a:lnTo>
                      <a:lnTo>
                        <a:pt x="351" y="351"/>
                      </a:lnTo>
                      <a:lnTo>
                        <a:pt x="351" y="351"/>
                      </a:lnTo>
                      <a:lnTo>
                        <a:pt x="351" y="350"/>
                      </a:lnTo>
                      <a:lnTo>
                        <a:pt x="351" y="350"/>
                      </a:lnTo>
                      <a:lnTo>
                        <a:pt x="351" y="349"/>
                      </a:lnTo>
                      <a:lnTo>
                        <a:pt x="352" y="349"/>
                      </a:lnTo>
                      <a:lnTo>
                        <a:pt x="352" y="348"/>
                      </a:lnTo>
                      <a:lnTo>
                        <a:pt x="352" y="348"/>
                      </a:lnTo>
                      <a:lnTo>
                        <a:pt x="352" y="347"/>
                      </a:lnTo>
                      <a:lnTo>
                        <a:pt x="353" y="347"/>
                      </a:lnTo>
                      <a:lnTo>
                        <a:pt x="353" y="347"/>
                      </a:lnTo>
                      <a:lnTo>
                        <a:pt x="353" y="346"/>
                      </a:lnTo>
                      <a:lnTo>
                        <a:pt x="353" y="346"/>
                      </a:lnTo>
                      <a:lnTo>
                        <a:pt x="353" y="346"/>
                      </a:lnTo>
                      <a:lnTo>
                        <a:pt x="353" y="345"/>
                      </a:lnTo>
                      <a:lnTo>
                        <a:pt x="353" y="345"/>
                      </a:lnTo>
                      <a:lnTo>
                        <a:pt x="353" y="344"/>
                      </a:lnTo>
                      <a:lnTo>
                        <a:pt x="353" y="344"/>
                      </a:lnTo>
                      <a:lnTo>
                        <a:pt x="353" y="343"/>
                      </a:lnTo>
                      <a:lnTo>
                        <a:pt x="353" y="342"/>
                      </a:lnTo>
                      <a:lnTo>
                        <a:pt x="353" y="342"/>
                      </a:lnTo>
                      <a:lnTo>
                        <a:pt x="353" y="341"/>
                      </a:lnTo>
                      <a:lnTo>
                        <a:pt x="353" y="340"/>
                      </a:lnTo>
                      <a:lnTo>
                        <a:pt x="354" y="340"/>
                      </a:lnTo>
                      <a:lnTo>
                        <a:pt x="354" y="340"/>
                      </a:lnTo>
                      <a:lnTo>
                        <a:pt x="354" y="339"/>
                      </a:lnTo>
                      <a:lnTo>
                        <a:pt x="354" y="338"/>
                      </a:lnTo>
                      <a:lnTo>
                        <a:pt x="355" y="338"/>
                      </a:lnTo>
                      <a:lnTo>
                        <a:pt x="355" y="338"/>
                      </a:lnTo>
                      <a:lnTo>
                        <a:pt x="355" y="338"/>
                      </a:lnTo>
                      <a:lnTo>
                        <a:pt x="355" y="337"/>
                      </a:lnTo>
                      <a:lnTo>
                        <a:pt x="356" y="337"/>
                      </a:lnTo>
                      <a:lnTo>
                        <a:pt x="357" y="337"/>
                      </a:lnTo>
                      <a:lnTo>
                        <a:pt x="357" y="336"/>
                      </a:lnTo>
                      <a:lnTo>
                        <a:pt x="357" y="336"/>
                      </a:lnTo>
                      <a:lnTo>
                        <a:pt x="358" y="336"/>
                      </a:lnTo>
                      <a:lnTo>
                        <a:pt x="359" y="336"/>
                      </a:lnTo>
                      <a:lnTo>
                        <a:pt x="359" y="336"/>
                      </a:lnTo>
                      <a:lnTo>
                        <a:pt x="359" y="335"/>
                      </a:lnTo>
                      <a:lnTo>
                        <a:pt x="359" y="334"/>
                      </a:lnTo>
                      <a:lnTo>
                        <a:pt x="359" y="334"/>
                      </a:lnTo>
                      <a:lnTo>
                        <a:pt x="359" y="333"/>
                      </a:lnTo>
                      <a:lnTo>
                        <a:pt x="359" y="333"/>
                      </a:lnTo>
                      <a:lnTo>
                        <a:pt x="359" y="332"/>
                      </a:lnTo>
                      <a:lnTo>
                        <a:pt x="359" y="331"/>
                      </a:lnTo>
                      <a:lnTo>
                        <a:pt x="359" y="331"/>
                      </a:lnTo>
                      <a:lnTo>
                        <a:pt x="359" y="330"/>
                      </a:lnTo>
                      <a:lnTo>
                        <a:pt x="359" y="329"/>
                      </a:lnTo>
                      <a:lnTo>
                        <a:pt x="360" y="329"/>
                      </a:lnTo>
                      <a:lnTo>
                        <a:pt x="360" y="329"/>
                      </a:lnTo>
                      <a:lnTo>
                        <a:pt x="360" y="328"/>
                      </a:lnTo>
                      <a:lnTo>
                        <a:pt x="360" y="327"/>
                      </a:lnTo>
                      <a:lnTo>
                        <a:pt x="361" y="327"/>
                      </a:lnTo>
                      <a:lnTo>
                        <a:pt x="361" y="327"/>
                      </a:lnTo>
                      <a:lnTo>
                        <a:pt x="361" y="327"/>
                      </a:lnTo>
                      <a:lnTo>
                        <a:pt x="361" y="326"/>
                      </a:lnTo>
                      <a:lnTo>
                        <a:pt x="361" y="325"/>
                      </a:lnTo>
                      <a:lnTo>
                        <a:pt x="361" y="325"/>
                      </a:lnTo>
                      <a:lnTo>
                        <a:pt x="361" y="324"/>
                      </a:lnTo>
                      <a:lnTo>
                        <a:pt x="362" y="324"/>
                      </a:lnTo>
                      <a:lnTo>
                        <a:pt x="362" y="323"/>
                      </a:lnTo>
                      <a:lnTo>
                        <a:pt x="363" y="323"/>
                      </a:lnTo>
                      <a:lnTo>
                        <a:pt x="363" y="323"/>
                      </a:lnTo>
                      <a:lnTo>
                        <a:pt x="364" y="323"/>
                      </a:lnTo>
                      <a:lnTo>
                        <a:pt x="364" y="323"/>
                      </a:lnTo>
                      <a:lnTo>
                        <a:pt x="365" y="323"/>
                      </a:lnTo>
                      <a:lnTo>
                        <a:pt x="365" y="323"/>
                      </a:lnTo>
                      <a:lnTo>
                        <a:pt x="365" y="323"/>
                      </a:lnTo>
                      <a:lnTo>
                        <a:pt x="366" y="323"/>
                      </a:lnTo>
                      <a:lnTo>
                        <a:pt x="366" y="322"/>
                      </a:lnTo>
                      <a:lnTo>
                        <a:pt x="366" y="322"/>
                      </a:lnTo>
                      <a:lnTo>
                        <a:pt x="366" y="321"/>
                      </a:lnTo>
                      <a:lnTo>
                        <a:pt x="366" y="321"/>
                      </a:lnTo>
                      <a:lnTo>
                        <a:pt x="367" y="321"/>
                      </a:lnTo>
                      <a:lnTo>
                        <a:pt x="367" y="320"/>
                      </a:lnTo>
                      <a:lnTo>
                        <a:pt x="367" y="319"/>
                      </a:lnTo>
                      <a:lnTo>
                        <a:pt x="368" y="319"/>
                      </a:lnTo>
                      <a:lnTo>
                        <a:pt x="368" y="319"/>
                      </a:lnTo>
                      <a:lnTo>
                        <a:pt x="368" y="318"/>
                      </a:lnTo>
                      <a:lnTo>
                        <a:pt x="368" y="318"/>
                      </a:lnTo>
                      <a:lnTo>
                        <a:pt x="369" y="318"/>
                      </a:lnTo>
                      <a:lnTo>
                        <a:pt x="369" y="317"/>
                      </a:lnTo>
                      <a:lnTo>
                        <a:pt x="370" y="317"/>
                      </a:lnTo>
                      <a:lnTo>
                        <a:pt x="370" y="317"/>
                      </a:lnTo>
                      <a:lnTo>
                        <a:pt x="370" y="317"/>
                      </a:lnTo>
                      <a:lnTo>
                        <a:pt x="371" y="317"/>
                      </a:lnTo>
                      <a:lnTo>
                        <a:pt x="371" y="316"/>
                      </a:lnTo>
                      <a:lnTo>
                        <a:pt x="371" y="315"/>
                      </a:lnTo>
                      <a:lnTo>
                        <a:pt x="372" y="315"/>
                      </a:lnTo>
                      <a:lnTo>
                        <a:pt x="372" y="315"/>
                      </a:lnTo>
                      <a:lnTo>
                        <a:pt x="372" y="315"/>
                      </a:lnTo>
                      <a:lnTo>
                        <a:pt x="372" y="314"/>
                      </a:lnTo>
                      <a:lnTo>
                        <a:pt x="372" y="313"/>
                      </a:lnTo>
                      <a:lnTo>
                        <a:pt x="373" y="313"/>
                      </a:lnTo>
                      <a:lnTo>
                        <a:pt x="373" y="314"/>
                      </a:lnTo>
                      <a:lnTo>
                        <a:pt x="373" y="313"/>
                      </a:lnTo>
                      <a:lnTo>
                        <a:pt x="374" y="313"/>
                      </a:lnTo>
                      <a:lnTo>
                        <a:pt x="374" y="312"/>
                      </a:lnTo>
                      <a:lnTo>
                        <a:pt x="374" y="312"/>
                      </a:lnTo>
                      <a:lnTo>
                        <a:pt x="375" y="312"/>
                      </a:lnTo>
                      <a:lnTo>
                        <a:pt x="375" y="312"/>
                      </a:lnTo>
                      <a:lnTo>
                        <a:pt x="375" y="311"/>
                      </a:lnTo>
                      <a:lnTo>
                        <a:pt x="376" y="311"/>
                      </a:lnTo>
                      <a:lnTo>
                        <a:pt x="376" y="310"/>
                      </a:lnTo>
                      <a:lnTo>
                        <a:pt x="376" y="310"/>
                      </a:lnTo>
                      <a:lnTo>
                        <a:pt x="376" y="310"/>
                      </a:lnTo>
                      <a:lnTo>
                        <a:pt x="376" y="310"/>
                      </a:lnTo>
                      <a:lnTo>
                        <a:pt x="376" y="310"/>
                      </a:lnTo>
                      <a:lnTo>
                        <a:pt x="377" y="310"/>
                      </a:lnTo>
                      <a:lnTo>
                        <a:pt x="377" y="309"/>
                      </a:lnTo>
                      <a:lnTo>
                        <a:pt x="378" y="309"/>
                      </a:lnTo>
                      <a:lnTo>
                        <a:pt x="378" y="308"/>
                      </a:lnTo>
                      <a:lnTo>
                        <a:pt x="378" y="308"/>
                      </a:lnTo>
                      <a:lnTo>
                        <a:pt x="378" y="308"/>
                      </a:lnTo>
                      <a:lnTo>
                        <a:pt x="379" y="308"/>
                      </a:lnTo>
                      <a:lnTo>
                        <a:pt x="379" y="307"/>
                      </a:lnTo>
                      <a:lnTo>
                        <a:pt x="380" y="307"/>
                      </a:lnTo>
                      <a:lnTo>
                        <a:pt x="380" y="306"/>
                      </a:lnTo>
                      <a:lnTo>
                        <a:pt x="380" y="306"/>
                      </a:lnTo>
                      <a:lnTo>
                        <a:pt x="380" y="306"/>
                      </a:lnTo>
                      <a:lnTo>
                        <a:pt x="380" y="305"/>
                      </a:lnTo>
                      <a:lnTo>
                        <a:pt x="381" y="305"/>
                      </a:lnTo>
                      <a:lnTo>
                        <a:pt x="381" y="304"/>
                      </a:lnTo>
                      <a:lnTo>
                        <a:pt x="382" y="304"/>
                      </a:lnTo>
                      <a:lnTo>
                        <a:pt x="382" y="304"/>
                      </a:lnTo>
                      <a:lnTo>
                        <a:pt x="382" y="304"/>
                      </a:lnTo>
                      <a:lnTo>
                        <a:pt x="383" y="303"/>
                      </a:lnTo>
                      <a:lnTo>
                        <a:pt x="384" y="303"/>
                      </a:lnTo>
                      <a:lnTo>
                        <a:pt x="385" y="303"/>
                      </a:lnTo>
                      <a:lnTo>
                        <a:pt x="385" y="302"/>
                      </a:lnTo>
                      <a:lnTo>
                        <a:pt x="385" y="302"/>
                      </a:lnTo>
                      <a:lnTo>
                        <a:pt x="385" y="302"/>
                      </a:lnTo>
                      <a:lnTo>
                        <a:pt x="385" y="302"/>
                      </a:lnTo>
                      <a:lnTo>
                        <a:pt x="385" y="301"/>
                      </a:lnTo>
                      <a:lnTo>
                        <a:pt x="385" y="300"/>
                      </a:lnTo>
                      <a:lnTo>
                        <a:pt x="385" y="300"/>
                      </a:lnTo>
                      <a:lnTo>
                        <a:pt x="385" y="299"/>
                      </a:lnTo>
                      <a:lnTo>
                        <a:pt x="385" y="298"/>
                      </a:lnTo>
                      <a:lnTo>
                        <a:pt x="385" y="298"/>
                      </a:lnTo>
                      <a:lnTo>
                        <a:pt x="385" y="298"/>
                      </a:lnTo>
                      <a:lnTo>
                        <a:pt x="385" y="297"/>
                      </a:lnTo>
                      <a:lnTo>
                        <a:pt x="385" y="296"/>
                      </a:lnTo>
                      <a:lnTo>
                        <a:pt x="385" y="296"/>
                      </a:lnTo>
                      <a:lnTo>
                        <a:pt x="386" y="296"/>
                      </a:lnTo>
                      <a:lnTo>
                        <a:pt x="386" y="295"/>
                      </a:lnTo>
                      <a:lnTo>
                        <a:pt x="387" y="295"/>
                      </a:lnTo>
                      <a:lnTo>
                        <a:pt x="387" y="294"/>
                      </a:lnTo>
                      <a:lnTo>
                        <a:pt x="386" y="294"/>
                      </a:lnTo>
                      <a:lnTo>
                        <a:pt x="386" y="293"/>
                      </a:lnTo>
                      <a:lnTo>
                        <a:pt x="385" y="293"/>
                      </a:lnTo>
                      <a:lnTo>
                        <a:pt x="385" y="293"/>
                      </a:lnTo>
                      <a:lnTo>
                        <a:pt x="385" y="292"/>
                      </a:lnTo>
                      <a:lnTo>
                        <a:pt x="385" y="292"/>
                      </a:lnTo>
                      <a:lnTo>
                        <a:pt x="384" y="292"/>
                      </a:lnTo>
                      <a:lnTo>
                        <a:pt x="384" y="291"/>
                      </a:lnTo>
                      <a:lnTo>
                        <a:pt x="385" y="291"/>
                      </a:lnTo>
                      <a:lnTo>
                        <a:pt x="384" y="291"/>
                      </a:lnTo>
                      <a:lnTo>
                        <a:pt x="384" y="290"/>
                      </a:lnTo>
                      <a:lnTo>
                        <a:pt x="384" y="289"/>
                      </a:lnTo>
                      <a:lnTo>
                        <a:pt x="384" y="289"/>
                      </a:lnTo>
                      <a:lnTo>
                        <a:pt x="385" y="289"/>
                      </a:lnTo>
                      <a:lnTo>
                        <a:pt x="384" y="289"/>
                      </a:lnTo>
                      <a:lnTo>
                        <a:pt x="384" y="288"/>
                      </a:lnTo>
                      <a:lnTo>
                        <a:pt x="385" y="288"/>
                      </a:lnTo>
                      <a:lnTo>
                        <a:pt x="385" y="287"/>
                      </a:lnTo>
                      <a:lnTo>
                        <a:pt x="385" y="287"/>
                      </a:lnTo>
                      <a:lnTo>
                        <a:pt x="384" y="287"/>
                      </a:lnTo>
                      <a:lnTo>
                        <a:pt x="384" y="286"/>
                      </a:lnTo>
                      <a:lnTo>
                        <a:pt x="385" y="286"/>
                      </a:lnTo>
                      <a:lnTo>
                        <a:pt x="384" y="286"/>
                      </a:lnTo>
                      <a:lnTo>
                        <a:pt x="385" y="286"/>
                      </a:lnTo>
                      <a:lnTo>
                        <a:pt x="385" y="285"/>
                      </a:lnTo>
                      <a:lnTo>
                        <a:pt x="385" y="285"/>
                      </a:lnTo>
                      <a:lnTo>
                        <a:pt x="385" y="285"/>
                      </a:lnTo>
                      <a:lnTo>
                        <a:pt x="385" y="285"/>
                      </a:lnTo>
                      <a:lnTo>
                        <a:pt x="385" y="285"/>
                      </a:lnTo>
                      <a:lnTo>
                        <a:pt x="385" y="284"/>
                      </a:lnTo>
                      <a:lnTo>
                        <a:pt x="385" y="285"/>
                      </a:lnTo>
                      <a:lnTo>
                        <a:pt x="386" y="285"/>
                      </a:lnTo>
                      <a:lnTo>
                        <a:pt x="386" y="284"/>
                      </a:lnTo>
                      <a:lnTo>
                        <a:pt x="387" y="284"/>
                      </a:lnTo>
                      <a:lnTo>
                        <a:pt x="387" y="284"/>
                      </a:lnTo>
                      <a:lnTo>
                        <a:pt x="387" y="283"/>
                      </a:lnTo>
                      <a:lnTo>
                        <a:pt x="387" y="283"/>
                      </a:lnTo>
                      <a:lnTo>
                        <a:pt x="387" y="283"/>
                      </a:lnTo>
                      <a:lnTo>
                        <a:pt x="387" y="283"/>
                      </a:lnTo>
                      <a:lnTo>
                        <a:pt x="388" y="283"/>
                      </a:lnTo>
                      <a:lnTo>
                        <a:pt x="388" y="282"/>
                      </a:lnTo>
                      <a:lnTo>
                        <a:pt x="389" y="282"/>
                      </a:lnTo>
                      <a:lnTo>
                        <a:pt x="389" y="281"/>
                      </a:lnTo>
                      <a:lnTo>
                        <a:pt x="389" y="281"/>
                      </a:lnTo>
                      <a:lnTo>
                        <a:pt x="389" y="281"/>
                      </a:lnTo>
                      <a:lnTo>
                        <a:pt x="389" y="280"/>
                      </a:lnTo>
                      <a:lnTo>
                        <a:pt x="390" y="280"/>
                      </a:lnTo>
                      <a:lnTo>
                        <a:pt x="390" y="279"/>
                      </a:lnTo>
                      <a:lnTo>
                        <a:pt x="391" y="279"/>
                      </a:lnTo>
                      <a:lnTo>
                        <a:pt x="391" y="280"/>
                      </a:lnTo>
                      <a:lnTo>
                        <a:pt x="391" y="279"/>
                      </a:lnTo>
                      <a:lnTo>
                        <a:pt x="391" y="279"/>
                      </a:lnTo>
                      <a:lnTo>
                        <a:pt x="391" y="279"/>
                      </a:lnTo>
                      <a:lnTo>
                        <a:pt x="391" y="278"/>
                      </a:lnTo>
                      <a:lnTo>
                        <a:pt x="392" y="278"/>
                      </a:lnTo>
                      <a:lnTo>
                        <a:pt x="391" y="278"/>
                      </a:lnTo>
                      <a:lnTo>
                        <a:pt x="391" y="277"/>
                      </a:lnTo>
                      <a:lnTo>
                        <a:pt x="392" y="277"/>
                      </a:lnTo>
                      <a:lnTo>
                        <a:pt x="393" y="277"/>
                      </a:lnTo>
                      <a:lnTo>
                        <a:pt x="393" y="277"/>
                      </a:lnTo>
                      <a:lnTo>
                        <a:pt x="394" y="277"/>
                      </a:lnTo>
                      <a:lnTo>
                        <a:pt x="394" y="277"/>
                      </a:lnTo>
                      <a:lnTo>
                        <a:pt x="395" y="277"/>
                      </a:lnTo>
                      <a:lnTo>
                        <a:pt x="395" y="277"/>
                      </a:lnTo>
                      <a:lnTo>
                        <a:pt x="395" y="277"/>
                      </a:lnTo>
                      <a:lnTo>
                        <a:pt x="395" y="276"/>
                      </a:lnTo>
                      <a:lnTo>
                        <a:pt x="395" y="275"/>
                      </a:lnTo>
                      <a:lnTo>
                        <a:pt x="395" y="275"/>
                      </a:lnTo>
                      <a:lnTo>
                        <a:pt x="395" y="274"/>
                      </a:lnTo>
                      <a:lnTo>
                        <a:pt x="396" y="274"/>
                      </a:lnTo>
                      <a:lnTo>
                        <a:pt x="397" y="274"/>
                      </a:lnTo>
                      <a:lnTo>
                        <a:pt x="397" y="274"/>
                      </a:lnTo>
                      <a:lnTo>
                        <a:pt x="397" y="274"/>
                      </a:lnTo>
                      <a:lnTo>
                        <a:pt x="397" y="273"/>
                      </a:lnTo>
                      <a:lnTo>
                        <a:pt x="398" y="273"/>
                      </a:lnTo>
                      <a:lnTo>
                        <a:pt x="398" y="274"/>
                      </a:lnTo>
                      <a:lnTo>
                        <a:pt x="399" y="274"/>
                      </a:lnTo>
                      <a:lnTo>
                        <a:pt x="399" y="273"/>
                      </a:lnTo>
                      <a:lnTo>
                        <a:pt x="399" y="273"/>
                      </a:lnTo>
                      <a:lnTo>
                        <a:pt x="400" y="273"/>
                      </a:lnTo>
                      <a:lnTo>
                        <a:pt x="400" y="272"/>
                      </a:lnTo>
                      <a:lnTo>
                        <a:pt x="401" y="272"/>
                      </a:lnTo>
                      <a:lnTo>
                        <a:pt x="401" y="272"/>
                      </a:lnTo>
                      <a:lnTo>
                        <a:pt x="402" y="272"/>
                      </a:lnTo>
                      <a:lnTo>
                        <a:pt x="402" y="272"/>
                      </a:lnTo>
                      <a:lnTo>
                        <a:pt x="403" y="272"/>
                      </a:lnTo>
                      <a:lnTo>
                        <a:pt x="404" y="272"/>
                      </a:lnTo>
                      <a:lnTo>
                        <a:pt x="404" y="271"/>
                      </a:lnTo>
                      <a:lnTo>
                        <a:pt x="404" y="271"/>
                      </a:lnTo>
                      <a:lnTo>
                        <a:pt x="404" y="270"/>
                      </a:lnTo>
                      <a:lnTo>
                        <a:pt x="404" y="270"/>
                      </a:lnTo>
                      <a:lnTo>
                        <a:pt x="403" y="270"/>
                      </a:lnTo>
                      <a:lnTo>
                        <a:pt x="404" y="270"/>
                      </a:lnTo>
                      <a:lnTo>
                        <a:pt x="404" y="270"/>
                      </a:lnTo>
                      <a:lnTo>
                        <a:pt x="404" y="269"/>
                      </a:lnTo>
                      <a:lnTo>
                        <a:pt x="404" y="269"/>
                      </a:lnTo>
                      <a:lnTo>
                        <a:pt x="404" y="270"/>
                      </a:lnTo>
                      <a:lnTo>
                        <a:pt x="405" y="270"/>
                      </a:lnTo>
                      <a:lnTo>
                        <a:pt x="405" y="269"/>
                      </a:lnTo>
                      <a:lnTo>
                        <a:pt x="406" y="269"/>
                      </a:lnTo>
                      <a:lnTo>
                        <a:pt x="406" y="268"/>
                      </a:lnTo>
                      <a:lnTo>
                        <a:pt x="406" y="268"/>
                      </a:lnTo>
                      <a:lnTo>
                        <a:pt x="406" y="268"/>
                      </a:lnTo>
                      <a:lnTo>
                        <a:pt x="407" y="268"/>
                      </a:lnTo>
                      <a:lnTo>
                        <a:pt x="408" y="268"/>
                      </a:lnTo>
                      <a:lnTo>
                        <a:pt x="408" y="268"/>
                      </a:lnTo>
                      <a:lnTo>
                        <a:pt x="408" y="268"/>
                      </a:lnTo>
                      <a:lnTo>
                        <a:pt x="408" y="268"/>
                      </a:lnTo>
                      <a:lnTo>
                        <a:pt x="408" y="267"/>
                      </a:lnTo>
                      <a:lnTo>
                        <a:pt x="409" y="267"/>
                      </a:lnTo>
                      <a:lnTo>
                        <a:pt x="409" y="268"/>
                      </a:lnTo>
                      <a:lnTo>
                        <a:pt x="410" y="268"/>
                      </a:lnTo>
                      <a:lnTo>
                        <a:pt x="410" y="267"/>
                      </a:lnTo>
                      <a:lnTo>
                        <a:pt x="410" y="268"/>
                      </a:lnTo>
                      <a:lnTo>
                        <a:pt x="410" y="268"/>
                      </a:lnTo>
                      <a:lnTo>
                        <a:pt x="410" y="268"/>
                      </a:lnTo>
                      <a:lnTo>
                        <a:pt x="410" y="268"/>
                      </a:lnTo>
                      <a:lnTo>
                        <a:pt x="411" y="268"/>
                      </a:lnTo>
                      <a:lnTo>
                        <a:pt x="411" y="267"/>
                      </a:lnTo>
                      <a:lnTo>
                        <a:pt x="412" y="267"/>
                      </a:lnTo>
                      <a:lnTo>
                        <a:pt x="412" y="268"/>
                      </a:lnTo>
                      <a:lnTo>
                        <a:pt x="412" y="268"/>
                      </a:lnTo>
                      <a:lnTo>
                        <a:pt x="413" y="268"/>
                      </a:lnTo>
                      <a:lnTo>
                        <a:pt x="414" y="268"/>
                      </a:lnTo>
                      <a:lnTo>
                        <a:pt x="414" y="268"/>
                      </a:lnTo>
                      <a:lnTo>
                        <a:pt x="414" y="268"/>
                      </a:lnTo>
                      <a:lnTo>
                        <a:pt x="414" y="268"/>
                      </a:lnTo>
                      <a:lnTo>
                        <a:pt x="414" y="268"/>
                      </a:lnTo>
                      <a:lnTo>
                        <a:pt x="415" y="268"/>
                      </a:lnTo>
                      <a:lnTo>
                        <a:pt x="415" y="269"/>
                      </a:lnTo>
                      <a:lnTo>
                        <a:pt x="416" y="269"/>
                      </a:lnTo>
                      <a:lnTo>
                        <a:pt x="416" y="268"/>
                      </a:lnTo>
                      <a:lnTo>
                        <a:pt x="416" y="269"/>
                      </a:lnTo>
                      <a:lnTo>
                        <a:pt x="416" y="269"/>
                      </a:lnTo>
                      <a:lnTo>
                        <a:pt x="417" y="269"/>
                      </a:lnTo>
                      <a:lnTo>
                        <a:pt x="417" y="270"/>
                      </a:lnTo>
                      <a:lnTo>
                        <a:pt x="418" y="270"/>
                      </a:lnTo>
                      <a:lnTo>
                        <a:pt x="418" y="270"/>
                      </a:lnTo>
                      <a:lnTo>
                        <a:pt x="418" y="270"/>
                      </a:lnTo>
                      <a:lnTo>
                        <a:pt x="418" y="270"/>
                      </a:lnTo>
                      <a:lnTo>
                        <a:pt x="418" y="269"/>
                      </a:lnTo>
                      <a:lnTo>
                        <a:pt x="419" y="269"/>
                      </a:lnTo>
                      <a:lnTo>
                        <a:pt x="419" y="268"/>
                      </a:lnTo>
                      <a:lnTo>
                        <a:pt x="420" y="268"/>
                      </a:lnTo>
                      <a:lnTo>
                        <a:pt x="420" y="268"/>
                      </a:lnTo>
                      <a:lnTo>
                        <a:pt x="420" y="268"/>
                      </a:lnTo>
                      <a:lnTo>
                        <a:pt x="420" y="268"/>
                      </a:lnTo>
                      <a:lnTo>
                        <a:pt x="421" y="268"/>
                      </a:lnTo>
                      <a:lnTo>
                        <a:pt x="421" y="268"/>
                      </a:lnTo>
                      <a:lnTo>
                        <a:pt x="421" y="267"/>
                      </a:lnTo>
                      <a:lnTo>
                        <a:pt x="422" y="267"/>
                      </a:lnTo>
                      <a:lnTo>
                        <a:pt x="422" y="266"/>
                      </a:lnTo>
                      <a:lnTo>
                        <a:pt x="422" y="267"/>
                      </a:lnTo>
                      <a:lnTo>
                        <a:pt x="423" y="266"/>
                      </a:lnTo>
                      <a:lnTo>
                        <a:pt x="423" y="267"/>
                      </a:lnTo>
                      <a:lnTo>
                        <a:pt x="423" y="267"/>
                      </a:lnTo>
                      <a:lnTo>
                        <a:pt x="423" y="266"/>
                      </a:lnTo>
                      <a:lnTo>
                        <a:pt x="423" y="267"/>
                      </a:lnTo>
                      <a:lnTo>
                        <a:pt x="423" y="266"/>
                      </a:lnTo>
                      <a:lnTo>
                        <a:pt x="424" y="266"/>
                      </a:lnTo>
                      <a:lnTo>
                        <a:pt x="424" y="267"/>
                      </a:lnTo>
                      <a:lnTo>
                        <a:pt x="424" y="268"/>
                      </a:lnTo>
                      <a:lnTo>
                        <a:pt x="425" y="268"/>
                      </a:lnTo>
                      <a:lnTo>
                        <a:pt x="425" y="267"/>
                      </a:lnTo>
                      <a:lnTo>
                        <a:pt x="425" y="267"/>
                      </a:lnTo>
                      <a:lnTo>
                        <a:pt x="425" y="268"/>
                      </a:lnTo>
                      <a:lnTo>
                        <a:pt x="426" y="268"/>
                      </a:lnTo>
                      <a:lnTo>
                        <a:pt x="426" y="267"/>
                      </a:lnTo>
                      <a:lnTo>
                        <a:pt x="425" y="267"/>
                      </a:lnTo>
                      <a:lnTo>
                        <a:pt x="426" y="267"/>
                      </a:lnTo>
                      <a:lnTo>
                        <a:pt x="426" y="268"/>
                      </a:lnTo>
                      <a:lnTo>
                        <a:pt x="427" y="268"/>
                      </a:lnTo>
                      <a:lnTo>
                        <a:pt x="427" y="268"/>
                      </a:lnTo>
                      <a:lnTo>
                        <a:pt x="427" y="268"/>
                      </a:lnTo>
                      <a:lnTo>
                        <a:pt x="427" y="268"/>
                      </a:lnTo>
                      <a:lnTo>
                        <a:pt x="427" y="268"/>
                      </a:lnTo>
                      <a:lnTo>
                        <a:pt x="428" y="268"/>
                      </a:lnTo>
                      <a:lnTo>
                        <a:pt x="428" y="268"/>
                      </a:lnTo>
                      <a:lnTo>
                        <a:pt x="429" y="268"/>
                      </a:lnTo>
                      <a:lnTo>
                        <a:pt x="429" y="268"/>
                      </a:lnTo>
                      <a:lnTo>
                        <a:pt x="429" y="268"/>
                      </a:lnTo>
                      <a:lnTo>
                        <a:pt x="429" y="268"/>
                      </a:lnTo>
                      <a:lnTo>
                        <a:pt x="429" y="268"/>
                      </a:lnTo>
                      <a:lnTo>
                        <a:pt x="429" y="268"/>
                      </a:lnTo>
                      <a:lnTo>
                        <a:pt x="429" y="268"/>
                      </a:lnTo>
                      <a:lnTo>
                        <a:pt x="430" y="268"/>
                      </a:lnTo>
                      <a:lnTo>
                        <a:pt x="430" y="268"/>
                      </a:lnTo>
                      <a:lnTo>
                        <a:pt x="430" y="268"/>
                      </a:lnTo>
                      <a:lnTo>
                        <a:pt x="431" y="268"/>
                      </a:lnTo>
                      <a:lnTo>
                        <a:pt x="431" y="268"/>
                      </a:lnTo>
                      <a:lnTo>
                        <a:pt x="431" y="268"/>
                      </a:lnTo>
                      <a:lnTo>
                        <a:pt x="431" y="267"/>
                      </a:lnTo>
                      <a:lnTo>
                        <a:pt x="432" y="267"/>
                      </a:lnTo>
                      <a:lnTo>
                        <a:pt x="432" y="268"/>
                      </a:lnTo>
                      <a:lnTo>
                        <a:pt x="432" y="267"/>
                      </a:lnTo>
                      <a:lnTo>
                        <a:pt x="433" y="267"/>
                      </a:lnTo>
                      <a:lnTo>
                        <a:pt x="433" y="267"/>
                      </a:lnTo>
                      <a:lnTo>
                        <a:pt x="433" y="268"/>
                      </a:lnTo>
                      <a:lnTo>
                        <a:pt x="433" y="267"/>
                      </a:lnTo>
                      <a:lnTo>
                        <a:pt x="434" y="267"/>
                      </a:lnTo>
                      <a:lnTo>
                        <a:pt x="434" y="266"/>
                      </a:lnTo>
                      <a:lnTo>
                        <a:pt x="435" y="266"/>
                      </a:lnTo>
                      <a:lnTo>
                        <a:pt x="435" y="266"/>
                      </a:lnTo>
                      <a:lnTo>
                        <a:pt x="435" y="266"/>
                      </a:lnTo>
                      <a:lnTo>
                        <a:pt x="435" y="265"/>
                      </a:lnTo>
                      <a:lnTo>
                        <a:pt x="435" y="264"/>
                      </a:lnTo>
                      <a:lnTo>
                        <a:pt x="436" y="264"/>
                      </a:lnTo>
                      <a:lnTo>
                        <a:pt x="437" y="264"/>
                      </a:lnTo>
                      <a:lnTo>
                        <a:pt x="437" y="265"/>
                      </a:lnTo>
                      <a:lnTo>
                        <a:pt x="437" y="264"/>
                      </a:lnTo>
                      <a:lnTo>
                        <a:pt x="437" y="264"/>
                      </a:lnTo>
                      <a:lnTo>
                        <a:pt x="437" y="265"/>
                      </a:lnTo>
                      <a:lnTo>
                        <a:pt x="438" y="265"/>
                      </a:lnTo>
                      <a:lnTo>
                        <a:pt x="438" y="264"/>
                      </a:lnTo>
                      <a:lnTo>
                        <a:pt x="438" y="265"/>
                      </a:lnTo>
                      <a:lnTo>
                        <a:pt x="439" y="265"/>
                      </a:lnTo>
                      <a:lnTo>
                        <a:pt x="439" y="266"/>
                      </a:lnTo>
                      <a:lnTo>
                        <a:pt x="440" y="266"/>
                      </a:lnTo>
                      <a:lnTo>
                        <a:pt x="439" y="266"/>
                      </a:lnTo>
                      <a:lnTo>
                        <a:pt x="440" y="266"/>
                      </a:lnTo>
                      <a:lnTo>
                        <a:pt x="440" y="266"/>
                      </a:lnTo>
                      <a:lnTo>
                        <a:pt x="440" y="265"/>
                      </a:lnTo>
                      <a:lnTo>
                        <a:pt x="441" y="265"/>
                      </a:lnTo>
                      <a:lnTo>
                        <a:pt x="441" y="264"/>
                      </a:lnTo>
                      <a:lnTo>
                        <a:pt x="440" y="264"/>
                      </a:lnTo>
                      <a:lnTo>
                        <a:pt x="440" y="264"/>
                      </a:lnTo>
                      <a:lnTo>
                        <a:pt x="440" y="264"/>
                      </a:lnTo>
                      <a:lnTo>
                        <a:pt x="441" y="264"/>
                      </a:lnTo>
                      <a:lnTo>
                        <a:pt x="441" y="264"/>
                      </a:lnTo>
                      <a:lnTo>
                        <a:pt x="442" y="264"/>
                      </a:lnTo>
                      <a:lnTo>
                        <a:pt x="442" y="264"/>
                      </a:lnTo>
                      <a:lnTo>
                        <a:pt x="442" y="264"/>
                      </a:lnTo>
                      <a:lnTo>
                        <a:pt x="442" y="264"/>
                      </a:lnTo>
                      <a:lnTo>
                        <a:pt x="443" y="264"/>
                      </a:lnTo>
                      <a:lnTo>
                        <a:pt x="443" y="264"/>
                      </a:lnTo>
                      <a:lnTo>
                        <a:pt x="444" y="264"/>
                      </a:lnTo>
                      <a:lnTo>
                        <a:pt x="444" y="264"/>
                      </a:lnTo>
                      <a:lnTo>
                        <a:pt x="444" y="264"/>
                      </a:lnTo>
                      <a:lnTo>
                        <a:pt x="444" y="264"/>
                      </a:lnTo>
                      <a:lnTo>
                        <a:pt x="444" y="264"/>
                      </a:lnTo>
                      <a:lnTo>
                        <a:pt x="444" y="264"/>
                      </a:lnTo>
                      <a:lnTo>
                        <a:pt x="444" y="265"/>
                      </a:lnTo>
                      <a:lnTo>
                        <a:pt x="445" y="265"/>
                      </a:lnTo>
                      <a:lnTo>
                        <a:pt x="445" y="264"/>
                      </a:lnTo>
                      <a:lnTo>
                        <a:pt x="446" y="264"/>
                      </a:lnTo>
                      <a:lnTo>
                        <a:pt x="446" y="264"/>
                      </a:lnTo>
                      <a:lnTo>
                        <a:pt x="447" y="264"/>
                      </a:lnTo>
                      <a:lnTo>
                        <a:pt x="447" y="264"/>
                      </a:lnTo>
                      <a:lnTo>
                        <a:pt x="447" y="264"/>
                      </a:lnTo>
                      <a:lnTo>
                        <a:pt x="447" y="264"/>
                      </a:lnTo>
                      <a:lnTo>
                        <a:pt x="448" y="264"/>
                      </a:lnTo>
                      <a:lnTo>
                        <a:pt x="448" y="264"/>
                      </a:lnTo>
                      <a:lnTo>
                        <a:pt x="448" y="264"/>
                      </a:lnTo>
                      <a:lnTo>
                        <a:pt x="448" y="265"/>
                      </a:lnTo>
                      <a:lnTo>
                        <a:pt x="449" y="265"/>
                      </a:lnTo>
                      <a:lnTo>
                        <a:pt x="449" y="266"/>
                      </a:lnTo>
                      <a:lnTo>
                        <a:pt x="449" y="265"/>
                      </a:lnTo>
                      <a:lnTo>
                        <a:pt x="449" y="266"/>
                      </a:lnTo>
                      <a:lnTo>
                        <a:pt x="450" y="266"/>
                      </a:lnTo>
                      <a:lnTo>
                        <a:pt x="450" y="266"/>
                      </a:lnTo>
                      <a:lnTo>
                        <a:pt x="450" y="266"/>
                      </a:lnTo>
                      <a:lnTo>
                        <a:pt x="450" y="266"/>
                      </a:lnTo>
                      <a:lnTo>
                        <a:pt x="451" y="266"/>
                      </a:lnTo>
                      <a:lnTo>
                        <a:pt x="452" y="266"/>
                      </a:lnTo>
                      <a:lnTo>
                        <a:pt x="452" y="266"/>
                      </a:lnTo>
                      <a:lnTo>
                        <a:pt x="452" y="266"/>
                      </a:lnTo>
                      <a:lnTo>
                        <a:pt x="452" y="267"/>
                      </a:lnTo>
                      <a:lnTo>
                        <a:pt x="453" y="267"/>
                      </a:lnTo>
                      <a:lnTo>
                        <a:pt x="453" y="266"/>
                      </a:lnTo>
                      <a:lnTo>
                        <a:pt x="453" y="267"/>
                      </a:lnTo>
                      <a:lnTo>
                        <a:pt x="454" y="267"/>
                      </a:lnTo>
                      <a:lnTo>
                        <a:pt x="454" y="266"/>
                      </a:lnTo>
                      <a:lnTo>
                        <a:pt x="455" y="266"/>
                      </a:lnTo>
                      <a:lnTo>
                        <a:pt x="454" y="266"/>
                      </a:lnTo>
                      <a:lnTo>
                        <a:pt x="455" y="266"/>
                      </a:lnTo>
                      <a:lnTo>
                        <a:pt x="455" y="267"/>
                      </a:lnTo>
                      <a:lnTo>
                        <a:pt x="456" y="267"/>
                      </a:lnTo>
                      <a:lnTo>
                        <a:pt x="456" y="266"/>
                      </a:lnTo>
                      <a:lnTo>
                        <a:pt x="456" y="267"/>
                      </a:lnTo>
                      <a:lnTo>
                        <a:pt x="456" y="267"/>
                      </a:lnTo>
                      <a:lnTo>
                        <a:pt x="457" y="266"/>
                      </a:lnTo>
                      <a:lnTo>
                        <a:pt x="457" y="267"/>
                      </a:lnTo>
                      <a:lnTo>
                        <a:pt x="458" y="266"/>
                      </a:lnTo>
                      <a:lnTo>
                        <a:pt x="458" y="267"/>
                      </a:lnTo>
                      <a:lnTo>
                        <a:pt x="458" y="268"/>
                      </a:lnTo>
                      <a:lnTo>
                        <a:pt x="458" y="267"/>
                      </a:lnTo>
                      <a:lnTo>
                        <a:pt x="459" y="267"/>
                      </a:lnTo>
                      <a:lnTo>
                        <a:pt x="459" y="268"/>
                      </a:lnTo>
                      <a:lnTo>
                        <a:pt x="459" y="268"/>
                      </a:lnTo>
                      <a:lnTo>
                        <a:pt x="459" y="268"/>
                      </a:lnTo>
                      <a:lnTo>
                        <a:pt x="460" y="268"/>
                      </a:lnTo>
                      <a:lnTo>
                        <a:pt x="460" y="269"/>
                      </a:lnTo>
                      <a:lnTo>
                        <a:pt x="459" y="269"/>
                      </a:lnTo>
                      <a:lnTo>
                        <a:pt x="460" y="269"/>
                      </a:lnTo>
                      <a:lnTo>
                        <a:pt x="460" y="270"/>
                      </a:lnTo>
                      <a:lnTo>
                        <a:pt x="461" y="270"/>
                      </a:lnTo>
                      <a:lnTo>
                        <a:pt x="461" y="270"/>
                      </a:lnTo>
                      <a:lnTo>
                        <a:pt x="461" y="270"/>
                      </a:lnTo>
                      <a:lnTo>
                        <a:pt x="461" y="270"/>
                      </a:lnTo>
                      <a:lnTo>
                        <a:pt x="461" y="269"/>
                      </a:lnTo>
                      <a:lnTo>
                        <a:pt x="462" y="269"/>
                      </a:lnTo>
                      <a:lnTo>
                        <a:pt x="462" y="270"/>
                      </a:lnTo>
                      <a:lnTo>
                        <a:pt x="463" y="270"/>
                      </a:lnTo>
                      <a:lnTo>
                        <a:pt x="463" y="270"/>
                      </a:lnTo>
                      <a:lnTo>
                        <a:pt x="462" y="270"/>
                      </a:lnTo>
                      <a:lnTo>
                        <a:pt x="462" y="271"/>
                      </a:lnTo>
                      <a:lnTo>
                        <a:pt x="463" y="271"/>
                      </a:lnTo>
                      <a:lnTo>
                        <a:pt x="463" y="271"/>
                      </a:lnTo>
                      <a:lnTo>
                        <a:pt x="464" y="271"/>
                      </a:lnTo>
                      <a:lnTo>
                        <a:pt x="464" y="272"/>
                      </a:lnTo>
                      <a:lnTo>
                        <a:pt x="465" y="272"/>
                      </a:lnTo>
                      <a:lnTo>
                        <a:pt x="465" y="271"/>
                      </a:lnTo>
                      <a:lnTo>
                        <a:pt x="465" y="271"/>
                      </a:lnTo>
                      <a:lnTo>
                        <a:pt x="465" y="272"/>
                      </a:lnTo>
                      <a:lnTo>
                        <a:pt x="465" y="272"/>
                      </a:lnTo>
                      <a:lnTo>
                        <a:pt x="465" y="272"/>
                      </a:lnTo>
                      <a:lnTo>
                        <a:pt x="465" y="272"/>
                      </a:lnTo>
                      <a:lnTo>
                        <a:pt x="466" y="272"/>
                      </a:lnTo>
                      <a:lnTo>
                        <a:pt x="466" y="273"/>
                      </a:lnTo>
                      <a:lnTo>
                        <a:pt x="467" y="273"/>
                      </a:lnTo>
                      <a:lnTo>
                        <a:pt x="467" y="274"/>
                      </a:lnTo>
                      <a:lnTo>
                        <a:pt x="467" y="273"/>
                      </a:lnTo>
                      <a:lnTo>
                        <a:pt x="467" y="273"/>
                      </a:lnTo>
                      <a:lnTo>
                        <a:pt x="467" y="272"/>
                      </a:lnTo>
                      <a:lnTo>
                        <a:pt x="468" y="272"/>
                      </a:lnTo>
                      <a:lnTo>
                        <a:pt x="468" y="273"/>
                      </a:lnTo>
                      <a:lnTo>
                        <a:pt x="468" y="274"/>
                      </a:lnTo>
                      <a:lnTo>
                        <a:pt x="468" y="273"/>
                      </a:lnTo>
                      <a:lnTo>
                        <a:pt x="469" y="273"/>
                      </a:lnTo>
                      <a:lnTo>
                        <a:pt x="469" y="273"/>
                      </a:lnTo>
                      <a:lnTo>
                        <a:pt x="469" y="274"/>
                      </a:lnTo>
                      <a:lnTo>
                        <a:pt x="469" y="274"/>
                      </a:lnTo>
                      <a:lnTo>
                        <a:pt x="470" y="274"/>
                      </a:lnTo>
                      <a:lnTo>
                        <a:pt x="471" y="274"/>
                      </a:lnTo>
                      <a:lnTo>
                        <a:pt x="471" y="274"/>
                      </a:lnTo>
                      <a:lnTo>
                        <a:pt x="471" y="274"/>
                      </a:lnTo>
                      <a:lnTo>
                        <a:pt x="471" y="274"/>
                      </a:lnTo>
                      <a:lnTo>
                        <a:pt x="471" y="275"/>
                      </a:lnTo>
                      <a:lnTo>
                        <a:pt x="471" y="275"/>
                      </a:lnTo>
                      <a:lnTo>
                        <a:pt x="471" y="275"/>
                      </a:lnTo>
                      <a:lnTo>
                        <a:pt x="471" y="276"/>
                      </a:lnTo>
                      <a:lnTo>
                        <a:pt x="472" y="276"/>
                      </a:lnTo>
                      <a:lnTo>
                        <a:pt x="472" y="275"/>
                      </a:lnTo>
                      <a:lnTo>
                        <a:pt x="472" y="276"/>
                      </a:lnTo>
                      <a:lnTo>
                        <a:pt x="473" y="276"/>
                      </a:lnTo>
                      <a:lnTo>
                        <a:pt x="473" y="276"/>
                      </a:lnTo>
                      <a:lnTo>
                        <a:pt x="473" y="277"/>
                      </a:lnTo>
                      <a:lnTo>
                        <a:pt x="473" y="276"/>
                      </a:lnTo>
                      <a:lnTo>
                        <a:pt x="474" y="276"/>
                      </a:lnTo>
                      <a:lnTo>
                        <a:pt x="474" y="275"/>
                      </a:lnTo>
                      <a:lnTo>
                        <a:pt x="475" y="275"/>
                      </a:lnTo>
                      <a:lnTo>
                        <a:pt x="475" y="275"/>
                      </a:lnTo>
                      <a:lnTo>
                        <a:pt x="475" y="276"/>
                      </a:lnTo>
                      <a:lnTo>
                        <a:pt x="475" y="277"/>
                      </a:lnTo>
                      <a:lnTo>
                        <a:pt x="476" y="277"/>
                      </a:lnTo>
                      <a:lnTo>
                        <a:pt x="476" y="277"/>
                      </a:lnTo>
                      <a:lnTo>
                        <a:pt x="476" y="278"/>
                      </a:lnTo>
                      <a:lnTo>
                        <a:pt x="477" y="278"/>
                      </a:lnTo>
                      <a:lnTo>
                        <a:pt x="478" y="279"/>
                      </a:lnTo>
                      <a:lnTo>
                        <a:pt x="478" y="279"/>
                      </a:lnTo>
                      <a:lnTo>
                        <a:pt x="479" y="279"/>
                      </a:lnTo>
                      <a:lnTo>
                        <a:pt x="479" y="278"/>
                      </a:lnTo>
                      <a:lnTo>
                        <a:pt x="479" y="279"/>
                      </a:lnTo>
                      <a:lnTo>
                        <a:pt x="479" y="279"/>
                      </a:lnTo>
                      <a:lnTo>
                        <a:pt x="479" y="280"/>
                      </a:lnTo>
                      <a:lnTo>
                        <a:pt x="479" y="281"/>
                      </a:lnTo>
                      <a:lnTo>
                        <a:pt x="480" y="281"/>
                      </a:lnTo>
                      <a:lnTo>
                        <a:pt x="482" y="283"/>
                      </a:lnTo>
                      <a:lnTo>
                        <a:pt x="482" y="283"/>
                      </a:lnTo>
                      <a:lnTo>
                        <a:pt x="483" y="283"/>
                      </a:lnTo>
                      <a:lnTo>
                        <a:pt x="482" y="283"/>
                      </a:lnTo>
                      <a:lnTo>
                        <a:pt x="482" y="282"/>
                      </a:lnTo>
                      <a:lnTo>
                        <a:pt x="483" y="282"/>
                      </a:lnTo>
                      <a:lnTo>
                        <a:pt x="483" y="283"/>
                      </a:lnTo>
                      <a:lnTo>
                        <a:pt x="484" y="283"/>
                      </a:lnTo>
                      <a:lnTo>
                        <a:pt x="484" y="282"/>
                      </a:lnTo>
                      <a:lnTo>
                        <a:pt x="484" y="281"/>
                      </a:lnTo>
                      <a:lnTo>
                        <a:pt x="484" y="281"/>
                      </a:lnTo>
                      <a:lnTo>
                        <a:pt x="484" y="282"/>
                      </a:lnTo>
                      <a:lnTo>
                        <a:pt x="485" y="282"/>
                      </a:lnTo>
                      <a:lnTo>
                        <a:pt x="485" y="283"/>
                      </a:lnTo>
                      <a:lnTo>
                        <a:pt x="486" y="283"/>
                      </a:lnTo>
                      <a:lnTo>
                        <a:pt x="486" y="282"/>
                      </a:lnTo>
                      <a:lnTo>
                        <a:pt x="486" y="282"/>
                      </a:lnTo>
                      <a:lnTo>
                        <a:pt x="486" y="281"/>
                      </a:lnTo>
                      <a:lnTo>
                        <a:pt x="487" y="281"/>
                      </a:lnTo>
                      <a:lnTo>
                        <a:pt x="488" y="281"/>
                      </a:lnTo>
                      <a:lnTo>
                        <a:pt x="487" y="281"/>
                      </a:lnTo>
                      <a:lnTo>
                        <a:pt x="488" y="281"/>
                      </a:lnTo>
                      <a:lnTo>
                        <a:pt x="488" y="281"/>
                      </a:lnTo>
                      <a:lnTo>
                        <a:pt x="488" y="282"/>
                      </a:lnTo>
                      <a:lnTo>
                        <a:pt x="489" y="281"/>
                      </a:lnTo>
                      <a:lnTo>
                        <a:pt x="490" y="276"/>
                      </a:lnTo>
                      <a:lnTo>
                        <a:pt x="490" y="275"/>
                      </a:lnTo>
                      <a:lnTo>
                        <a:pt x="491" y="274"/>
                      </a:lnTo>
                      <a:lnTo>
                        <a:pt x="491" y="274"/>
                      </a:lnTo>
                      <a:lnTo>
                        <a:pt x="491" y="272"/>
                      </a:lnTo>
                      <a:lnTo>
                        <a:pt x="492" y="272"/>
                      </a:lnTo>
                      <a:lnTo>
                        <a:pt x="492" y="271"/>
                      </a:lnTo>
                      <a:lnTo>
                        <a:pt x="492" y="270"/>
                      </a:lnTo>
                      <a:lnTo>
                        <a:pt x="492" y="270"/>
                      </a:lnTo>
                      <a:lnTo>
                        <a:pt x="492" y="269"/>
                      </a:lnTo>
                      <a:lnTo>
                        <a:pt x="492" y="268"/>
                      </a:lnTo>
                      <a:lnTo>
                        <a:pt x="492" y="268"/>
                      </a:lnTo>
                      <a:lnTo>
                        <a:pt x="493" y="268"/>
                      </a:lnTo>
                      <a:lnTo>
                        <a:pt x="493" y="267"/>
                      </a:lnTo>
                      <a:lnTo>
                        <a:pt x="493" y="266"/>
                      </a:lnTo>
                      <a:lnTo>
                        <a:pt x="493" y="266"/>
                      </a:lnTo>
                      <a:lnTo>
                        <a:pt x="493" y="265"/>
                      </a:lnTo>
                      <a:lnTo>
                        <a:pt x="494" y="265"/>
                      </a:lnTo>
                      <a:lnTo>
                        <a:pt x="494" y="264"/>
                      </a:lnTo>
                      <a:lnTo>
                        <a:pt x="494" y="263"/>
                      </a:lnTo>
                      <a:lnTo>
                        <a:pt x="494" y="263"/>
                      </a:lnTo>
                      <a:lnTo>
                        <a:pt x="494" y="262"/>
                      </a:lnTo>
                      <a:lnTo>
                        <a:pt x="494" y="262"/>
                      </a:lnTo>
                      <a:lnTo>
                        <a:pt x="494" y="261"/>
                      </a:lnTo>
                      <a:lnTo>
                        <a:pt x="495" y="260"/>
                      </a:lnTo>
                      <a:lnTo>
                        <a:pt x="495" y="260"/>
                      </a:lnTo>
                      <a:lnTo>
                        <a:pt x="495" y="259"/>
                      </a:lnTo>
                      <a:lnTo>
                        <a:pt x="495" y="258"/>
                      </a:lnTo>
                      <a:lnTo>
                        <a:pt x="496" y="258"/>
                      </a:lnTo>
                      <a:lnTo>
                        <a:pt x="496" y="258"/>
                      </a:lnTo>
                      <a:lnTo>
                        <a:pt x="496" y="257"/>
                      </a:lnTo>
                      <a:lnTo>
                        <a:pt x="496" y="256"/>
                      </a:lnTo>
                      <a:lnTo>
                        <a:pt x="497" y="256"/>
                      </a:lnTo>
                      <a:lnTo>
                        <a:pt x="497" y="254"/>
                      </a:lnTo>
                      <a:lnTo>
                        <a:pt x="497" y="254"/>
                      </a:lnTo>
                      <a:lnTo>
                        <a:pt x="498" y="254"/>
                      </a:lnTo>
                      <a:lnTo>
                        <a:pt x="499" y="255"/>
                      </a:lnTo>
                      <a:lnTo>
                        <a:pt x="499" y="255"/>
                      </a:lnTo>
                      <a:lnTo>
                        <a:pt x="499" y="256"/>
                      </a:lnTo>
                      <a:lnTo>
                        <a:pt x="500" y="256"/>
                      </a:lnTo>
                      <a:lnTo>
                        <a:pt x="501" y="257"/>
                      </a:lnTo>
                      <a:lnTo>
                        <a:pt x="501" y="257"/>
                      </a:lnTo>
                      <a:lnTo>
                        <a:pt x="503" y="256"/>
                      </a:lnTo>
                      <a:lnTo>
                        <a:pt x="503" y="255"/>
                      </a:lnTo>
                      <a:lnTo>
                        <a:pt x="504" y="255"/>
                      </a:lnTo>
                      <a:lnTo>
                        <a:pt x="504" y="254"/>
                      </a:lnTo>
                      <a:lnTo>
                        <a:pt x="505" y="253"/>
                      </a:lnTo>
                      <a:lnTo>
                        <a:pt x="505" y="253"/>
                      </a:lnTo>
                      <a:lnTo>
                        <a:pt x="505" y="253"/>
                      </a:lnTo>
                      <a:lnTo>
                        <a:pt x="506" y="253"/>
                      </a:lnTo>
                      <a:lnTo>
                        <a:pt x="506" y="252"/>
                      </a:lnTo>
                      <a:lnTo>
                        <a:pt x="507" y="252"/>
                      </a:lnTo>
                      <a:lnTo>
                        <a:pt x="507" y="251"/>
                      </a:lnTo>
                      <a:lnTo>
                        <a:pt x="506" y="251"/>
                      </a:lnTo>
                      <a:lnTo>
                        <a:pt x="505" y="251"/>
                      </a:lnTo>
                      <a:lnTo>
                        <a:pt x="506" y="251"/>
                      </a:lnTo>
                      <a:lnTo>
                        <a:pt x="507" y="251"/>
                      </a:lnTo>
                      <a:lnTo>
                        <a:pt x="507" y="251"/>
                      </a:lnTo>
                      <a:lnTo>
                        <a:pt x="507" y="251"/>
                      </a:lnTo>
                      <a:lnTo>
                        <a:pt x="507" y="250"/>
                      </a:lnTo>
                      <a:lnTo>
                        <a:pt x="507" y="249"/>
                      </a:lnTo>
                      <a:lnTo>
                        <a:pt x="507" y="249"/>
                      </a:lnTo>
                      <a:lnTo>
                        <a:pt x="507" y="248"/>
                      </a:lnTo>
                      <a:lnTo>
                        <a:pt x="508" y="248"/>
                      </a:lnTo>
                      <a:lnTo>
                        <a:pt x="508" y="247"/>
                      </a:lnTo>
                      <a:lnTo>
                        <a:pt x="508" y="247"/>
                      </a:lnTo>
                      <a:lnTo>
                        <a:pt x="509" y="247"/>
                      </a:lnTo>
                      <a:lnTo>
                        <a:pt x="509" y="246"/>
                      </a:lnTo>
                      <a:lnTo>
                        <a:pt x="509" y="246"/>
                      </a:lnTo>
                      <a:lnTo>
                        <a:pt x="510" y="246"/>
                      </a:lnTo>
                      <a:lnTo>
                        <a:pt x="510" y="245"/>
                      </a:lnTo>
                      <a:lnTo>
                        <a:pt x="511" y="245"/>
                      </a:lnTo>
                      <a:lnTo>
                        <a:pt x="511" y="245"/>
                      </a:lnTo>
                      <a:lnTo>
                        <a:pt x="511" y="245"/>
                      </a:lnTo>
                      <a:lnTo>
                        <a:pt x="512" y="245"/>
                      </a:lnTo>
                      <a:lnTo>
                        <a:pt x="513" y="245"/>
                      </a:lnTo>
                      <a:lnTo>
                        <a:pt x="513" y="244"/>
                      </a:lnTo>
                      <a:lnTo>
                        <a:pt x="513" y="244"/>
                      </a:lnTo>
                      <a:lnTo>
                        <a:pt x="513" y="243"/>
                      </a:lnTo>
                      <a:lnTo>
                        <a:pt x="514" y="243"/>
                      </a:lnTo>
                      <a:lnTo>
                        <a:pt x="514" y="243"/>
                      </a:lnTo>
                      <a:lnTo>
                        <a:pt x="515" y="243"/>
                      </a:lnTo>
                      <a:lnTo>
                        <a:pt x="515" y="242"/>
                      </a:lnTo>
                      <a:lnTo>
                        <a:pt x="515" y="241"/>
                      </a:lnTo>
                      <a:lnTo>
                        <a:pt x="515" y="241"/>
                      </a:lnTo>
                      <a:lnTo>
                        <a:pt x="515" y="240"/>
                      </a:lnTo>
                      <a:lnTo>
                        <a:pt x="515" y="239"/>
                      </a:lnTo>
                      <a:lnTo>
                        <a:pt x="515" y="239"/>
                      </a:lnTo>
                      <a:lnTo>
                        <a:pt x="516" y="239"/>
                      </a:lnTo>
                      <a:lnTo>
                        <a:pt x="516" y="238"/>
                      </a:lnTo>
                      <a:lnTo>
                        <a:pt x="516" y="237"/>
                      </a:lnTo>
                      <a:lnTo>
                        <a:pt x="516" y="237"/>
                      </a:lnTo>
                      <a:lnTo>
                        <a:pt x="516" y="236"/>
                      </a:lnTo>
                      <a:lnTo>
                        <a:pt x="516" y="235"/>
                      </a:lnTo>
                      <a:lnTo>
                        <a:pt x="516" y="234"/>
                      </a:lnTo>
                      <a:lnTo>
                        <a:pt x="517" y="234"/>
                      </a:lnTo>
                      <a:lnTo>
                        <a:pt x="517" y="233"/>
                      </a:lnTo>
                      <a:lnTo>
                        <a:pt x="518" y="233"/>
                      </a:lnTo>
                      <a:lnTo>
                        <a:pt x="518" y="232"/>
                      </a:lnTo>
                      <a:lnTo>
                        <a:pt x="518" y="232"/>
                      </a:lnTo>
                      <a:lnTo>
                        <a:pt x="518" y="232"/>
                      </a:lnTo>
                      <a:lnTo>
                        <a:pt x="519" y="231"/>
                      </a:lnTo>
                      <a:lnTo>
                        <a:pt x="520" y="232"/>
                      </a:lnTo>
                      <a:lnTo>
                        <a:pt x="520" y="232"/>
                      </a:lnTo>
                      <a:lnTo>
                        <a:pt x="521" y="231"/>
                      </a:lnTo>
                      <a:lnTo>
                        <a:pt x="522" y="231"/>
                      </a:lnTo>
                      <a:lnTo>
                        <a:pt x="522" y="231"/>
                      </a:lnTo>
                      <a:lnTo>
                        <a:pt x="523" y="231"/>
                      </a:lnTo>
                      <a:lnTo>
                        <a:pt x="523" y="230"/>
                      </a:lnTo>
                      <a:lnTo>
                        <a:pt x="523" y="230"/>
                      </a:lnTo>
                      <a:lnTo>
                        <a:pt x="524" y="230"/>
                      </a:lnTo>
                      <a:lnTo>
                        <a:pt x="524" y="230"/>
                      </a:lnTo>
                      <a:lnTo>
                        <a:pt x="524" y="229"/>
                      </a:lnTo>
                      <a:lnTo>
                        <a:pt x="524" y="228"/>
                      </a:lnTo>
                      <a:lnTo>
                        <a:pt x="525" y="228"/>
                      </a:lnTo>
                      <a:lnTo>
                        <a:pt x="525" y="228"/>
                      </a:lnTo>
                      <a:lnTo>
                        <a:pt x="524" y="228"/>
                      </a:lnTo>
                      <a:lnTo>
                        <a:pt x="524" y="227"/>
                      </a:lnTo>
                      <a:lnTo>
                        <a:pt x="524" y="226"/>
                      </a:lnTo>
                      <a:lnTo>
                        <a:pt x="525" y="226"/>
                      </a:lnTo>
                      <a:lnTo>
                        <a:pt x="525" y="225"/>
                      </a:lnTo>
                      <a:lnTo>
                        <a:pt x="526" y="225"/>
                      </a:lnTo>
                      <a:lnTo>
                        <a:pt x="526" y="225"/>
                      </a:lnTo>
                      <a:lnTo>
                        <a:pt x="527" y="225"/>
                      </a:lnTo>
                      <a:lnTo>
                        <a:pt x="528" y="225"/>
                      </a:lnTo>
                      <a:lnTo>
                        <a:pt x="528" y="224"/>
                      </a:lnTo>
                      <a:lnTo>
                        <a:pt x="528" y="224"/>
                      </a:lnTo>
                      <a:lnTo>
                        <a:pt x="529" y="224"/>
                      </a:lnTo>
                      <a:lnTo>
                        <a:pt x="529" y="224"/>
                      </a:lnTo>
                      <a:lnTo>
                        <a:pt x="530" y="224"/>
                      </a:lnTo>
                      <a:lnTo>
                        <a:pt x="530" y="224"/>
                      </a:lnTo>
                      <a:lnTo>
                        <a:pt x="531" y="223"/>
                      </a:lnTo>
                      <a:lnTo>
                        <a:pt x="532" y="223"/>
                      </a:lnTo>
                      <a:lnTo>
                        <a:pt x="532" y="222"/>
                      </a:lnTo>
                      <a:lnTo>
                        <a:pt x="532" y="223"/>
                      </a:lnTo>
                      <a:lnTo>
                        <a:pt x="533" y="223"/>
                      </a:lnTo>
                      <a:lnTo>
                        <a:pt x="534" y="223"/>
                      </a:lnTo>
                      <a:lnTo>
                        <a:pt x="535" y="223"/>
                      </a:lnTo>
                      <a:lnTo>
                        <a:pt x="535" y="223"/>
                      </a:lnTo>
                      <a:lnTo>
                        <a:pt x="535" y="224"/>
                      </a:lnTo>
                      <a:lnTo>
                        <a:pt x="536" y="224"/>
                      </a:lnTo>
                      <a:lnTo>
                        <a:pt x="537" y="224"/>
                      </a:lnTo>
                      <a:lnTo>
                        <a:pt x="537" y="224"/>
                      </a:lnTo>
                      <a:lnTo>
                        <a:pt x="537" y="223"/>
                      </a:lnTo>
                      <a:lnTo>
                        <a:pt x="538" y="223"/>
                      </a:lnTo>
                      <a:lnTo>
                        <a:pt x="538" y="222"/>
                      </a:lnTo>
                      <a:lnTo>
                        <a:pt x="539" y="222"/>
                      </a:lnTo>
                      <a:lnTo>
                        <a:pt x="539" y="222"/>
                      </a:lnTo>
                      <a:lnTo>
                        <a:pt x="539" y="221"/>
                      </a:lnTo>
                      <a:lnTo>
                        <a:pt x="539" y="220"/>
                      </a:lnTo>
                      <a:lnTo>
                        <a:pt x="539" y="220"/>
                      </a:lnTo>
                      <a:lnTo>
                        <a:pt x="539" y="220"/>
                      </a:lnTo>
                      <a:lnTo>
                        <a:pt x="539" y="219"/>
                      </a:lnTo>
                      <a:lnTo>
                        <a:pt x="540" y="219"/>
                      </a:lnTo>
                      <a:lnTo>
                        <a:pt x="540" y="220"/>
                      </a:lnTo>
                      <a:lnTo>
                        <a:pt x="541" y="220"/>
                      </a:lnTo>
                      <a:lnTo>
                        <a:pt x="541" y="219"/>
                      </a:lnTo>
                      <a:lnTo>
                        <a:pt x="541" y="218"/>
                      </a:lnTo>
                      <a:lnTo>
                        <a:pt x="542" y="218"/>
                      </a:lnTo>
                      <a:lnTo>
                        <a:pt x="543" y="218"/>
                      </a:lnTo>
                      <a:lnTo>
                        <a:pt x="544" y="218"/>
                      </a:lnTo>
                      <a:lnTo>
                        <a:pt x="545" y="218"/>
                      </a:lnTo>
                      <a:lnTo>
                        <a:pt x="545" y="218"/>
                      </a:lnTo>
                      <a:lnTo>
                        <a:pt x="546" y="218"/>
                      </a:lnTo>
                      <a:lnTo>
                        <a:pt x="546" y="218"/>
                      </a:lnTo>
                      <a:lnTo>
                        <a:pt x="547" y="218"/>
                      </a:lnTo>
                      <a:lnTo>
                        <a:pt x="547" y="218"/>
                      </a:lnTo>
                      <a:lnTo>
                        <a:pt x="547" y="217"/>
                      </a:lnTo>
                      <a:lnTo>
                        <a:pt x="548" y="217"/>
                      </a:lnTo>
                      <a:lnTo>
                        <a:pt x="548" y="216"/>
                      </a:lnTo>
                      <a:lnTo>
                        <a:pt x="549" y="216"/>
                      </a:lnTo>
                      <a:lnTo>
                        <a:pt x="549" y="216"/>
                      </a:lnTo>
                      <a:lnTo>
                        <a:pt x="549" y="216"/>
                      </a:lnTo>
                      <a:lnTo>
                        <a:pt x="550" y="216"/>
                      </a:lnTo>
                      <a:lnTo>
                        <a:pt x="550" y="215"/>
                      </a:lnTo>
                      <a:lnTo>
                        <a:pt x="550" y="214"/>
                      </a:lnTo>
                      <a:lnTo>
                        <a:pt x="551" y="214"/>
                      </a:lnTo>
                      <a:lnTo>
                        <a:pt x="551" y="214"/>
                      </a:lnTo>
                      <a:lnTo>
                        <a:pt x="552" y="214"/>
                      </a:lnTo>
                      <a:lnTo>
                        <a:pt x="552" y="215"/>
                      </a:lnTo>
                      <a:lnTo>
                        <a:pt x="553" y="215"/>
                      </a:lnTo>
                      <a:lnTo>
                        <a:pt x="553" y="216"/>
                      </a:lnTo>
                      <a:lnTo>
                        <a:pt x="554" y="216"/>
                      </a:lnTo>
                      <a:lnTo>
                        <a:pt x="554" y="216"/>
                      </a:lnTo>
                      <a:lnTo>
                        <a:pt x="554" y="216"/>
                      </a:lnTo>
                      <a:lnTo>
                        <a:pt x="555" y="216"/>
                      </a:lnTo>
                      <a:lnTo>
                        <a:pt x="556" y="216"/>
                      </a:lnTo>
                      <a:lnTo>
                        <a:pt x="556" y="216"/>
                      </a:lnTo>
                      <a:lnTo>
                        <a:pt x="555" y="216"/>
                      </a:lnTo>
                      <a:lnTo>
                        <a:pt x="555" y="215"/>
                      </a:lnTo>
                      <a:lnTo>
                        <a:pt x="555" y="214"/>
                      </a:lnTo>
                      <a:lnTo>
                        <a:pt x="556" y="214"/>
                      </a:lnTo>
                      <a:lnTo>
                        <a:pt x="556" y="214"/>
                      </a:lnTo>
                      <a:lnTo>
                        <a:pt x="556" y="213"/>
                      </a:lnTo>
                      <a:lnTo>
                        <a:pt x="557" y="213"/>
                      </a:lnTo>
                      <a:lnTo>
                        <a:pt x="557" y="213"/>
                      </a:lnTo>
                      <a:lnTo>
                        <a:pt x="558" y="213"/>
                      </a:lnTo>
                      <a:lnTo>
                        <a:pt x="558" y="212"/>
                      </a:lnTo>
                      <a:lnTo>
                        <a:pt x="558" y="212"/>
                      </a:lnTo>
                      <a:lnTo>
                        <a:pt x="559" y="212"/>
                      </a:lnTo>
                      <a:lnTo>
                        <a:pt x="559" y="211"/>
                      </a:lnTo>
                      <a:lnTo>
                        <a:pt x="560" y="211"/>
                      </a:lnTo>
                      <a:lnTo>
                        <a:pt x="560" y="211"/>
                      </a:lnTo>
                      <a:lnTo>
                        <a:pt x="559" y="211"/>
                      </a:lnTo>
                      <a:lnTo>
                        <a:pt x="559" y="210"/>
                      </a:lnTo>
                      <a:lnTo>
                        <a:pt x="560" y="210"/>
                      </a:lnTo>
                      <a:lnTo>
                        <a:pt x="560" y="209"/>
                      </a:lnTo>
                      <a:lnTo>
                        <a:pt x="560" y="209"/>
                      </a:lnTo>
                      <a:lnTo>
                        <a:pt x="560" y="208"/>
                      </a:lnTo>
                      <a:lnTo>
                        <a:pt x="560" y="208"/>
                      </a:lnTo>
                      <a:lnTo>
                        <a:pt x="560" y="207"/>
                      </a:lnTo>
                      <a:lnTo>
                        <a:pt x="560" y="207"/>
                      </a:lnTo>
                      <a:lnTo>
                        <a:pt x="561" y="207"/>
                      </a:lnTo>
                      <a:lnTo>
                        <a:pt x="561" y="207"/>
                      </a:lnTo>
                      <a:lnTo>
                        <a:pt x="562" y="207"/>
                      </a:lnTo>
                      <a:lnTo>
                        <a:pt x="562" y="207"/>
                      </a:lnTo>
                      <a:lnTo>
                        <a:pt x="563" y="207"/>
                      </a:lnTo>
                      <a:lnTo>
                        <a:pt x="564" y="207"/>
                      </a:lnTo>
                      <a:lnTo>
                        <a:pt x="564" y="207"/>
                      </a:lnTo>
                      <a:lnTo>
                        <a:pt x="564" y="206"/>
                      </a:lnTo>
                      <a:lnTo>
                        <a:pt x="565" y="206"/>
                      </a:lnTo>
                      <a:lnTo>
                        <a:pt x="565" y="205"/>
                      </a:lnTo>
                      <a:lnTo>
                        <a:pt x="565" y="205"/>
                      </a:lnTo>
                      <a:lnTo>
                        <a:pt x="566" y="205"/>
                      </a:lnTo>
                      <a:lnTo>
                        <a:pt x="565" y="205"/>
                      </a:lnTo>
                      <a:lnTo>
                        <a:pt x="566" y="205"/>
                      </a:lnTo>
                      <a:lnTo>
                        <a:pt x="566" y="204"/>
                      </a:lnTo>
                      <a:lnTo>
                        <a:pt x="566" y="203"/>
                      </a:lnTo>
                      <a:lnTo>
                        <a:pt x="565" y="203"/>
                      </a:lnTo>
                      <a:lnTo>
                        <a:pt x="565" y="203"/>
                      </a:lnTo>
                      <a:lnTo>
                        <a:pt x="565" y="202"/>
                      </a:lnTo>
                      <a:lnTo>
                        <a:pt x="565" y="201"/>
                      </a:lnTo>
                      <a:lnTo>
                        <a:pt x="564" y="201"/>
                      </a:lnTo>
                      <a:lnTo>
                        <a:pt x="564" y="201"/>
                      </a:lnTo>
                      <a:lnTo>
                        <a:pt x="565" y="201"/>
                      </a:lnTo>
                      <a:lnTo>
                        <a:pt x="565" y="200"/>
                      </a:lnTo>
                      <a:lnTo>
                        <a:pt x="564" y="199"/>
                      </a:lnTo>
                      <a:lnTo>
                        <a:pt x="564" y="199"/>
                      </a:lnTo>
                      <a:lnTo>
                        <a:pt x="563" y="199"/>
                      </a:lnTo>
                      <a:lnTo>
                        <a:pt x="563" y="199"/>
                      </a:lnTo>
                      <a:lnTo>
                        <a:pt x="562" y="199"/>
                      </a:lnTo>
                      <a:lnTo>
                        <a:pt x="562" y="198"/>
                      </a:lnTo>
                      <a:lnTo>
                        <a:pt x="562" y="197"/>
                      </a:lnTo>
                      <a:lnTo>
                        <a:pt x="563" y="197"/>
                      </a:lnTo>
                      <a:lnTo>
                        <a:pt x="563" y="197"/>
                      </a:lnTo>
                      <a:lnTo>
                        <a:pt x="563" y="196"/>
                      </a:lnTo>
                      <a:lnTo>
                        <a:pt x="564" y="196"/>
                      </a:lnTo>
                      <a:lnTo>
                        <a:pt x="564" y="195"/>
                      </a:lnTo>
                      <a:lnTo>
                        <a:pt x="564" y="196"/>
                      </a:lnTo>
                      <a:lnTo>
                        <a:pt x="564" y="196"/>
                      </a:lnTo>
                      <a:lnTo>
                        <a:pt x="564" y="195"/>
                      </a:lnTo>
                      <a:lnTo>
                        <a:pt x="565" y="195"/>
                      </a:lnTo>
                      <a:lnTo>
                        <a:pt x="565" y="194"/>
                      </a:lnTo>
                      <a:lnTo>
                        <a:pt x="566" y="193"/>
                      </a:lnTo>
                      <a:lnTo>
                        <a:pt x="566" y="192"/>
                      </a:lnTo>
                      <a:lnTo>
                        <a:pt x="567" y="192"/>
                      </a:lnTo>
                      <a:lnTo>
                        <a:pt x="568" y="192"/>
                      </a:lnTo>
                      <a:lnTo>
                        <a:pt x="568" y="192"/>
                      </a:lnTo>
                      <a:lnTo>
                        <a:pt x="568" y="192"/>
                      </a:lnTo>
                      <a:lnTo>
                        <a:pt x="568" y="192"/>
                      </a:lnTo>
                      <a:lnTo>
                        <a:pt x="568" y="192"/>
                      </a:lnTo>
                      <a:lnTo>
                        <a:pt x="568" y="192"/>
                      </a:lnTo>
                      <a:lnTo>
                        <a:pt x="569" y="192"/>
                      </a:lnTo>
                      <a:lnTo>
                        <a:pt x="569" y="193"/>
                      </a:lnTo>
                      <a:lnTo>
                        <a:pt x="569" y="194"/>
                      </a:lnTo>
                      <a:lnTo>
                        <a:pt x="570" y="194"/>
                      </a:lnTo>
                      <a:lnTo>
                        <a:pt x="570" y="194"/>
                      </a:lnTo>
                      <a:lnTo>
                        <a:pt x="570" y="195"/>
                      </a:lnTo>
                      <a:lnTo>
                        <a:pt x="570" y="194"/>
                      </a:lnTo>
                      <a:lnTo>
                        <a:pt x="570" y="194"/>
                      </a:lnTo>
                      <a:lnTo>
                        <a:pt x="570" y="194"/>
                      </a:lnTo>
                      <a:lnTo>
                        <a:pt x="571" y="194"/>
                      </a:lnTo>
                      <a:lnTo>
                        <a:pt x="572" y="194"/>
                      </a:lnTo>
                      <a:lnTo>
                        <a:pt x="573" y="194"/>
                      </a:lnTo>
                      <a:lnTo>
                        <a:pt x="573" y="194"/>
                      </a:lnTo>
                      <a:lnTo>
                        <a:pt x="574" y="194"/>
                      </a:lnTo>
                      <a:lnTo>
                        <a:pt x="574" y="195"/>
                      </a:lnTo>
                      <a:lnTo>
                        <a:pt x="574" y="194"/>
                      </a:lnTo>
                      <a:lnTo>
                        <a:pt x="575" y="194"/>
                      </a:lnTo>
                      <a:lnTo>
                        <a:pt x="575" y="194"/>
                      </a:lnTo>
                      <a:lnTo>
                        <a:pt x="576" y="194"/>
                      </a:lnTo>
                      <a:lnTo>
                        <a:pt x="576" y="194"/>
                      </a:lnTo>
                      <a:lnTo>
                        <a:pt x="577" y="194"/>
                      </a:lnTo>
                      <a:lnTo>
                        <a:pt x="577" y="193"/>
                      </a:lnTo>
                      <a:lnTo>
                        <a:pt x="577" y="193"/>
                      </a:lnTo>
                      <a:lnTo>
                        <a:pt x="577" y="194"/>
                      </a:lnTo>
                      <a:lnTo>
                        <a:pt x="578" y="194"/>
                      </a:lnTo>
                      <a:lnTo>
                        <a:pt x="578" y="194"/>
                      </a:lnTo>
                      <a:lnTo>
                        <a:pt x="578" y="195"/>
                      </a:lnTo>
                      <a:lnTo>
                        <a:pt x="579" y="195"/>
                      </a:lnTo>
                      <a:lnTo>
                        <a:pt x="579" y="196"/>
                      </a:lnTo>
                      <a:lnTo>
                        <a:pt x="579" y="196"/>
                      </a:lnTo>
                      <a:lnTo>
                        <a:pt x="579" y="197"/>
                      </a:lnTo>
                      <a:lnTo>
                        <a:pt x="580" y="197"/>
                      </a:lnTo>
                      <a:lnTo>
                        <a:pt x="580" y="197"/>
                      </a:lnTo>
                      <a:lnTo>
                        <a:pt x="581" y="197"/>
                      </a:lnTo>
                      <a:lnTo>
                        <a:pt x="581" y="197"/>
                      </a:lnTo>
                      <a:lnTo>
                        <a:pt x="581" y="197"/>
                      </a:lnTo>
                      <a:lnTo>
                        <a:pt x="581" y="197"/>
                      </a:lnTo>
                      <a:lnTo>
                        <a:pt x="581" y="197"/>
                      </a:lnTo>
                      <a:lnTo>
                        <a:pt x="581" y="197"/>
                      </a:lnTo>
                      <a:lnTo>
                        <a:pt x="581" y="196"/>
                      </a:lnTo>
                      <a:lnTo>
                        <a:pt x="581" y="196"/>
                      </a:lnTo>
                      <a:lnTo>
                        <a:pt x="581" y="195"/>
                      </a:lnTo>
                      <a:lnTo>
                        <a:pt x="581" y="194"/>
                      </a:lnTo>
                      <a:lnTo>
                        <a:pt x="581" y="194"/>
                      </a:lnTo>
                      <a:lnTo>
                        <a:pt x="581" y="195"/>
                      </a:lnTo>
                      <a:lnTo>
                        <a:pt x="580" y="195"/>
                      </a:lnTo>
                      <a:lnTo>
                        <a:pt x="581" y="195"/>
                      </a:lnTo>
                      <a:lnTo>
                        <a:pt x="581" y="194"/>
                      </a:lnTo>
                      <a:lnTo>
                        <a:pt x="581" y="194"/>
                      </a:lnTo>
                      <a:lnTo>
                        <a:pt x="581" y="194"/>
                      </a:lnTo>
                      <a:lnTo>
                        <a:pt x="582" y="194"/>
                      </a:lnTo>
                      <a:lnTo>
                        <a:pt x="583" y="194"/>
                      </a:lnTo>
                      <a:lnTo>
                        <a:pt x="583" y="193"/>
                      </a:lnTo>
                      <a:lnTo>
                        <a:pt x="583" y="193"/>
                      </a:lnTo>
                      <a:lnTo>
                        <a:pt x="584" y="193"/>
                      </a:lnTo>
                      <a:lnTo>
                        <a:pt x="585" y="194"/>
                      </a:lnTo>
                      <a:lnTo>
                        <a:pt x="585" y="193"/>
                      </a:lnTo>
                      <a:lnTo>
                        <a:pt x="585" y="193"/>
                      </a:lnTo>
                      <a:lnTo>
                        <a:pt x="585" y="194"/>
                      </a:lnTo>
                      <a:lnTo>
                        <a:pt x="586" y="194"/>
                      </a:lnTo>
                      <a:lnTo>
                        <a:pt x="587" y="194"/>
                      </a:lnTo>
                      <a:lnTo>
                        <a:pt x="587" y="194"/>
                      </a:lnTo>
                      <a:lnTo>
                        <a:pt x="587" y="194"/>
                      </a:lnTo>
                      <a:lnTo>
                        <a:pt x="587" y="193"/>
                      </a:lnTo>
                      <a:lnTo>
                        <a:pt x="588" y="193"/>
                      </a:lnTo>
                      <a:lnTo>
                        <a:pt x="588" y="194"/>
                      </a:lnTo>
                      <a:lnTo>
                        <a:pt x="588" y="194"/>
                      </a:lnTo>
                      <a:lnTo>
                        <a:pt x="588" y="194"/>
                      </a:lnTo>
                      <a:lnTo>
                        <a:pt x="589" y="194"/>
                      </a:lnTo>
                      <a:lnTo>
                        <a:pt x="589" y="194"/>
                      </a:lnTo>
                      <a:lnTo>
                        <a:pt x="589" y="193"/>
                      </a:lnTo>
                      <a:lnTo>
                        <a:pt x="590" y="192"/>
                      </a:lnTo>
                      <a:lnTo>
                        <a:pt x="591" y="192"/>
                      </a:lnTo>
                      <a:lnTo>
                        <a:pt x="592" y="192"/>
                      </a:lnTo>
                      <a:lnTo>
                        <a:pt x="592" y="192"/>
                      </a:lnTo>
                      <a:lnTo>
                        <a:pt x="592" y="191"/>
                      </a:lnTo>
                      <a:lnTo>
                        <a:pt x="591" y="190"/>
                      </a:lnTo>
                      <a:lnTo>
                        <a:pt x="591" y="191"/>
                      </a:lnTo>
                      <a:lnTo>
                        <a:pt x="590" y="191"/>
                      </a:lnTo>
                      <a:lnTo>
                        <a:pt x="590" y="190"/>
                      </a:lnTo>
                      <a:lnTo>
                        <a:pt x="590" y="190"/>
                      </a:lnTo>
                      <a:lnTo>
                        <a:pt x="589" y="190"/>
                      </a:lnTo>
                      <a:lnTo>
                        <a:pt x="589" y="189"/>
                      </a:lnTo>
                      <a:lnTo>
                        <a:pt x="590" y="189"/>
                      </a:lnTo>
                      <a:lnTo>
                        <a:pt x="590" y="188"/>
                      </a:lnTo>
                      <a:lnTo>
                        <a:pt x="589" y="188"/>
                      </a:lnTo>
                      <a:lnTo>
                        <a:pt x="589" y="188"/>
                      </a:lnTo>
                      <a:lnTo>
                        <a:pt x="590" y="188"/>
                      </a:lnTo>
                      <a:lnTo>
                        <a:pt x="590" y="187"/>
                      </a:lnTo>
                      <a:lnTo>
                        <a:pt x="590" y="186"/>
                      </a:lnTo>
                      <a:lnTo>
                        <a:pt x="590" y="186"/>
                      </a:lnTo>
                      <a:lnTo>
                        <a:pt x="590" y="185"/>
                      </a:lnTo>
                      <a:lnTo>
                        <a:pt x="590" y="184"/>
                      </a:lnTo>
                      <a:lnTo>
                        <a:pt x="589" y="184"/>
                      </a:lnTo>
                      <a:lnTo>
                        <a:pt x="589" y="184"/>
                      </a:lnTo>
                      <a:lnTo>
                        <a:pt x="589" y="183"/>
                      </a:lnTo>
                      <a:lnTo>
                        <a:pt x="589" y="183"/>
                      </a:lnTo>
                      <a:lnTo>
                        <a:pt x="588" y="183"/>
                      </a:lnTo>
                      <a:lnTo>
                        <a:pt x="588" y="182"/>
                      </a:lnTo>
                      <a:lnTo>
                        <a:pt x="587" y="182"/>
                      </a:lnTo>
                      <a:lnTo>
                        <a:pt x="587" y="182"/>
                      </a:lnTo>
                      <a:lnTo>
                        <a:pt x="587" y="181"/>
                      </a:lnTo>
                      <a:lnTo>
                        <a:pt x="587" y="180"/>
                      </a:lnTo>
                      <a:lnTo>
                        <a:pt x="588" y="180"/>
                      </a:lnTo>
                      <a:lnTo>
                        <a:pt x="588" y="179"/>
                      </a:lnTo>
                      <a:lnTo>
                        <a:pt x="589" y="179"/>
                      </a:lnTo>
                      <a:lnTo>
                        <a:pt x="589" y="178"/>
                      </a:lnTo>
                      <a:lnTo>
                        <a:pt x="588" y="178"/>
                      </a:lnTo>
                      <a:lnTo>
                        <a:pt x="589" y="178"/>
                      </a:lnTo>
                      <a:lnTo>
                        <a:pt x="589" y="178"/>
                      </a:lnTo>
                      <a:lnTo>
                        <a:pt x="589" y="178"/>
                      </a:lnTo>
                      <a:lnTo>
                        <a:pt x="590" y="178"/>
                      </a:lnTo>
                      <a:lnTo>
                        <a:pt x="589" y="178"/>
                      </a:lnTo>
                      <a:lnTo>
                        <a:pt x="590" y="177"/>
                      </a:lnTo>
                      <a:lnTo>
                        <a:pt x="591" y="177"/>
                      </a:lnTo>
                      <a:lnTo>
                        <a:pt x="592" y="177"/>
                      </a:lnTo>
                      <a:lnTo>
                        <a:pt x="592" y="178"/>
                      </a:lnTo>
                      <a:lnTo>
                        <a:pt x="592" y="178"/>
                      </a:lnTo>
                      <a:lnTo>
                        <a:pt x="593" y="178"/>
                      </a:lnTo>
                      <a:lnTo>
                        <a:pt x="594" y="178"/>
                      </a:lnTo>
                      <a:lnTo>
                        <a:pt x="594" y="178"/>
                      </a:lnTo>
                      <a:lnTo>
                        <a:pt x="594" y="178"/>
                      </a:lnTo>
                      <a:lnTo>
                        <a:pt x="595" y="178"/>
                      </a:lnTo>
                      <a:lnTo>
                        <a:pt x="596" y="178"/>
                      </a:lnTo>
                      <a:lnTo>
                        <a:pt x="596" y="178"/>
                      </a:lnTo>
                      <a:lnTo>
                        <a:pt x="596" y="178"/>
                      </a:lnTo>
                      <a:lnTo>
                        <a:pt x="597" y="178"/>
                      </a:lnTo>
                      <a:lnTo>
                        <a:pt x="597" y="178"/>
                      </a:lnTo>
                      <a:lnTo>
                        <a:pt x="597" y="177"/>
                      </a:lnTo>
                      <a:lnTo>
                        <a:pt x="598" y="177"/>
                      </a:lnTo>
                      <a:lnTo>
                        <a:pt x="598" y="177"/>
                      </a:lnTo>
                      <a:lnTo>
                        <a:pt x="599" y="177"/>
                      </a:lnTo>
                      <a:lnTo>
                        <a:pt x="600" y="177"/>
                      </a:lnTo>
                      <a:lnTo>
                        <a:pt x="600" y="178"/>
                      </a:lnTo>
                      <a:lnTo>
                        <a:pt x="600" y="178"/>
                      </a:lnTo>
                      <a:lnTo>
                        <a:pt x="600" y="178"/>
                      </a:lnTo>
                      <a:lnTo>
                        <a:pt x="601" y="178"/>
                      </a:lnTo>
                      <a:lnTo>
                        <a:pt x="601" y="179"/>
                      </a:lnTo>
                      <a:lnTo>
                        <a:pt x="602" y="179"/>
                      </a:lnTo>
                      <a:lnTo>
                        <a:pt x="602" y="178"/>
                      </a:lnTo>
                      <a:lnTo>
                        <a:pt x="602" y="179"/>
                      </a:lnTo>
                      <a:lnTo>
                        <a:pt x="602" y="179"/>
                      </a:lnTo>
                      <a:lnTo>
                        <a:pt x="603" y="179"/>
                      </a:lnTo>
                      <a:lnTo>
                        <a:pt x="603" y="180"/>
                      </a:lnTo>
                      <a:lnTo>
                        <a:pt x="602" y="180"/>
                      </a:lnTo>
                      <a:lnTo>
                        <a:pt x="603" y="180"/>
                      </a:lnTo>
                      <a:lnTo>
                        <a:pt x="604" y="180"/>
                      </a:lnTo>
                      <a:lnTo>
                        <a:pt x="604" y="180"/>
                      </a:lnTo>
                      <a:lnTo>
                        <a:pt x="604" y="180"/>
                      </a:lnTo>
                      <a:lnTo>
                        <a:pt x="604" y="180"/>
                      </a:lnTo>
                      <a:lnTo>
                        <a:pt x="605" y="180"/>
                      </a:lnTo>
                      <a:lnTo>
                        <a:pt x="606" y="180"/>
                      </a:lnTo>
                      <a:lnTo>
                        <a:pt x="606" y="179"/>
                      </a:lnTo>
                      <a:lnTo>
                        <a:pt x="606" y="179"/>
                      </a:lnTo>
                      <a:lnTo>
                        <a:pt x="606" y="180"/>
                      </a:lnTo>
                      <a:lnTo>
                        <a:pt x="607" y="180"/>
                      </a:lnTo>
                      <a:lnTo>
                        <a:pt x="607" y="179"/>
                      </a:lnTo>
                      <a:lnTo>
                        <a:pt x="608" y="178"/>
                      </a:lnTo>
                      <a:lnTo>
                        <a:pt x="608" y="178"/>
                      </a:lnTo>
                      <a:lnTo>
                        <a:pt x="608" y="178"/>
                      </a:lnTo>
                      <a:lnTo>
                        <a:pt x="609" y="178"/>
                      </a:lnTo>
                      <a:lnTo>
                        <a:pt x="610" y="178"/>
                      </a:lnTo>
                      <a:lnTo>
                        <a:pt x="610" y="177"/>
                      </a:lnTo>
                      <a:lnTo>
                        <a:pt x="610" y="176"/>
                      </a:lnTo>
                      <a:lnTo>
                        <a:pt x="611" y="176"/>
                      </a:lnTo>
                      <a:lnTo>
                        <a:pt x="611" y="176"/>
                      </a:lnTo>
                      <a:lnTo>
                        <a:pt x="612" y="176"/>
                      </a:lnTo>
                      <a:lnTo>
                        <a:pt x="612" y="175"/>
                      </a:lnTo>
                      <a:lnTo>
                        <a:pt x="613" y="175"/>
                      </a:lnTo>
                      <a:lnTo>
                        <a:pt x="613" y="175"/>
                      </a:lnTo>
                      <a:lnTo>
                        <a:pt x="613" y="175"/>
                      </a:lnTo>
                      <a:lnTo>
                        <a:pt x="613" y="175"/>
                      </a:lnTo>
                      <a:lnTo>
                        <a:pt x="614" y="175"/>
                      </a:lnTo>
                      <a:lnTo>
                        <a:pt x="615" y="175"/>
                      </a:lnTo>
                      <a:lnTo>
                        <a:pt x="615" y="175"/>
                      </a:lnTo>
                      <a:lnTo>
                        <a:pt x="615" y="175"/>
                      </a:lnTo>
                      <a:lnTo>
                        <a:pt x="616" y="175"/>
                      </a:lnTo>
                      <a:lnTo>
                        <a:pt x="616" y="177"/>
                      </a:lnTo>
                      <a:lnTo>
                        <a:pt x="616" y="178"/>
                      </a:lnTo>
                      <a:lnTo>
                        <a:pt x="617" y="178"/>
                      </a:lnTo>
                      <a:lnTo>
                        <a:pt x="617" y="177"/>
                      </a:lnTo>
                      <a:lnTo>
                        <a:pt x="617" y="177"/>
                      </a:lnTo>
                      <a:lnTo>
                        <a:pt x="617" y="178"/>
                      </a:lnTo>
                      <a:lnTo>
                        <a:pt x="618" y="178"/>
                      </a:lnTo>
                      <a:lnTo>
                        <a:pt x="618" y="177"/>
                      </a:lnTo>
                      <a:lnTo>
                        <a:pt x="619" y="177"/>
                      </a:lnTo>
                      <a:lnTo>
                        <a:pt x="619" y="177"/>
                      </a:lnTo>
                      <a:lnTo>
                        <a:pt x="620" y="177"/>
                      </a:lnTo>
                      <a:lnTo>
                        <a:pt x="620" y="178"/>
                      </a:lnTo>
                      <a:lnTo>
                        <a:pt x="621" y="178"/>
                      </a:lnTo>
                      <a:lnTo>
                        <a:pt x="621" y="177"/>
                      </a:lnTo>
                      <a:lnTo>
                        <a:pt x="621" y="178"/>
                      </a:lnTo>
                      <a:lnTo>
                        <a:pt x="621" y="178"/>
                      </a:lnTo>
                      <a:lnTo>
                        <a:pt x="622" y="178"/>
                      </a:lnTo>
                      <a:lnTo>
                        <a:pt x="623" y="178"/>
                      </a:lnTo>
                      <a:lnTo>
                        <a:pt x="623" y="178"/>
                      </a:lnTo>
                      <a:lnTo>
                        <a:pt x="623" y="178"/>
                      </a:lnTo>
                      <a:lnTo>
                        <a:pt x="623" y="179"/>
                      </a:lnTo>
                      <a:lnTo>
                        <a:pt x="623" y="180"/>
                      </a:lnTo>
                      <a:lnTo>
                        <a:pt x="624" y="180"/>
                      </a:lnTo>
                      <a:lnTo>
                        <a:pt x="624" y="181"/>
                      </a:lnTo>
                      <a:lnTo>
                        <a:pt x="625" y="182"/>
                      </a:lnTo>
                      <a:lnTo>
                        <a:pt x="625" y="181"/>
                      </a:lnTo>
                      <a:lnTo>
                        <a:pt x="625" y="181"/>
                      </a:lnTo>
                      <a:lnTo>
                        <a:pt x="626" y="182"/>
                      </a:lnTo>
                      <a:lnTo>
                        <a:pt x="627" y="182"/>
                      </a:lnTo>
                      <a:lnTo>
                        <a:pt x="627" y="182"/>
                      </a:lnTo>
                      <a:lnTo>
                        <a:pt x="628" y="182"/>
                      </a:lnTo>
                      <a:lnTo>
                        <a:pt x="628" y="181"/>
                      </a:lnTo>
                      <a:lnTo>
                        <a:pt x="629" y="181"/>
                      </a:lnTo>
                      <a:lnTo>
                        <a:pt x="630" y="181"/>
                      </a:lnTo>
                      <a:lnTo>
                        <a:pt x="630" y="180"/>
                      </a:lnTo>
                      <a:lnTo>
                        <a:pt x="631" y="180"/>
                      </a:lnTo>
                      <a:lnTo>
                        <a:pt x="630" y="180"/>
                      </a:lnTo>
                      <a:lnTo>
                        <a:pt x="631" y="179"/>
                      </a:lnTo>
                      <a:lnTo>
                        <a:pt x="632" y="179"/>
                      </a:lnTo>
                      <a:lnTo>
                        <a:pt x="632" y="179"/>
                      </a:lnTo>
                      <a:lnTo>
                        <a:pt x="633" y="179"/>
                      </a:lnTo>
                      <a:lnTo>
                        <a:pt x="634" y="179"/>
                      </a:lnTo>
                      <a:lnTo>
                        <a:pt x="634" y="178"/>
                      </a:lnTo>
                      <a:lnTo>
                        <a:pt x="634" y="178"/>
                      </a:lnTo>
                      <a:lnTo>
                        <a:pt x="635" y="178"/>
                      </a:lnTo>
                      <a:lnTo>
                        <a:pt x="635" y="178"/>
                      </a:lnTo>
                      <a:lnTo>
                        <a:pt x="636" y="178"/>
                      </a:lnTo>
                      <a:lnTo>
                        <a:pt x="636" y="178"/>
                      </a:lnTo>
                      <a:lnTo>
                        <a:pt x="636" y="177"/>
                      </a:lnTo>
                      <a:lnTo>
                        <a:pt x="637" y="177"/>
                      </a:lnTo>
                      <a:lnTo>
                        <a:pt x="637" y="176"/>
                      </a:lnTo>
                      <a:lnTo>
                        <a:pt x="637" y="175"/>
                      </a:lnTo>
                      <a:lnTo>
                        <a:pt x="638" y="175"/>
                      </a:lnTo>
                      <a:lnTo>
                        <a:pt x="638" y="176"/>
                      </a:lnTo>
                      <a:lnTo>
                        <a:pt x="638" y="176"/>
                      </a:lnTo>
                      <a:lnTo>
                        <a:pt x="638" y="175"/>
                      </a:lnTo>
                      <a:lnTo>
                        <a:pt x="639" y="176"/>
                      </a:lnTo>
                      <a:lnTo>
                        <a:pt x="640" y="176"/>
                      </a:lnTo>
                      <a:lnTo>
                        <a:pt x="640" y="175"/>
                      </a:lnTo>
                      <a:lnTo>
                        <a:pt x="640" y="175"/>
                      </a:lnTo>
                      <a:lnTo>
                        <a:pt x="639" y="175"/>
                      </a:lnTo>
                      <a:lnTo>
                        <a:pt x="639" y="174"/>
                      </a:lnTo>
                      <a:lnTo>
                        <a:pt x="638" y="174"/>
                      </a:lnTo>
                      <a:lnTo>
                        <a:pt x="638" y="174"/>
                      </a:lnTo>
                      <a:lnTo>
                        <a:pt x="637" y="174"/>
                      </a:lnTo>
                      <a:lnTo>
                        <a:pt x="636" y="173"/>
                      </a:lnTo>
                      <a:lnTo>
                        <a:pt x="636" y="173"/>
                      </a:lnTo>
                      <a:lnTo>
                        <a:pt x="637" y="173"/>
                      </a:lnTo>
                      <a:lnTo>
                        <a:pt x="637" y="172"/>
                      </a:lnTo>
                      <a:lnTo>
                        <a:pt x="637" y="171"/>
                      </a:lnTo>
                      <a:lnTo>
                        <a:pt x="637" y="171"/>
                      </a:lnTo>
                      <a:lnTo>
                        <a:pt x="638" y="171"/>
                      </a:lnTo>
                      <a:lnTo>
                        <a:pt x="638" y="170"/>
                      </a:lnTo>
                      <a:lnTo>
                        <a:pt x="639" y="169"/>
                      </a:lnTo>
                      <a:lnTo>
                        <a:pt x="640" y="169"/>
                      </a:lnTo>
                      <a:lnTo>
                        <a:pt x="640" y="169"/>
                      </a:lnTo>
                      <a:lnTo>
                        <a:pt x="641" y="169"/>
                      </a:lnTo>
                      <a:lnTo>
                        <a:pt x="642" y="169"/>
                      </a:lnTo>
                      <a:lnTo>
                        <a:pt x="642" y="169"/>
                      </a:lnTo>
                      <a:lnTo>
                        <a:pt x="643" y="169"/>
                      </a:lnTo>
                      <a:lnTo>
                        <a:pt x="644" y="169"/>
                      </a:lnTo>
                      <a:lnTo>
                        <a:pt x="644" y="169"/>
                      </a:lnTo>
                      <a:lnTo>
                        <a:pt x="644" y="168"/>
                      </a:lnTo>
                      <a:lnTo>
                        <a:pt x="645" y="169"/>
                      </a:lnTo>
                      <a:lnTo>
                        <a:pt x="646" y="168"/>
                      </a:lnTo>
                      <a:lnTo>
                        <a:pt x="646" y="167"/>
                      </a:lnTo>
                      <a:lnTo>
                        <a:pt x="646" y="167"/>
                      </a:lnTo>
                      <a:lnTo>
                        <a:pt x="647" y="168"/>
                      </a:lnTo>
                      <a:lnTo>
                        <a:pt x="647" y="167"/>
                      </a:lnTo>
                      <a:lnTo>
                        <a:pt x="647" y="167"/>
                      </a:lnTo>
                      <a:lnTo>
                        <a:pt x="648" y="167"/>
                      </a:lnTo>
                      <a:lnTo>
                        <a:pt x="649" y="167"/>
                      </a:lnTo>
                      <a:lnTo>
                        <a:pt x="649" y="167"/>
                      </a:lnTo>
                      <a:lnTo>
                        <a:pt x="650" y="167"/>
                      </a:lnTo>
                      <a:lnTo>
                        <a:pt x="651" y="168"/>
                      </a:lnTo>
                      <a:lnTo>
                        <a:pt x="650" y="168"/>
                      </a:lnTo>
                      <a:lnTo>
                        <a:pt x="650" y="169"/>
                      </a:lnTo>
                      <a:lnTo>
                        <a:pt x="651" y="169"/>
                      </a:lnTo>
                      <a:lnTo>
                        <a:pt x="651" y="169"/>
                      </a:lnTo>
                      <a:lnTo>
                        <a:pt x="651" y="168"/>
                      </a:lnTo>
                      <a:lnTo>
                        <a:pt x="652" y="168"/>
                      </a:lnTo>
                      <a:lnTo>
                        <a:pt x="653" y="169"/>
                      </a:lnTo>
                      <a:lnTo>
                        <a:pt x="653" y="168"/>
                      </a:lnTo>
                      <a:lnTo>
                        <a:pt x="653" y="167"/>
                      </a:lnTo>
                      <a:lnTo>
                        <a:pt x="654" y="167"/>
                      </a:lnTo>
                      <a:lnTo>
                        <a:pt x="655" y="167"/>
                      </a:lnTo>
                      <a:lnTo>
                        <a:pt x="655" y="167"/>
                      </a:lnTo>
                      <a:lnTo>
                        <a:pt x="657" y="167"/>
                      </a:lnTo>
                      <a:lnTo>
                        <a:pt x="658" y="165"/>
                      </a:lnTo>
                      <a:lnTo>
                        <a:pt x="659" y="165"/>
                      </a:lnTo>
                      <a:lnTo>
                        <a:pt x="659" y="165"/>
                      </a:lnTo>
                      <a:lnTo>
                        <a:pt x="659" y="165"/>
                      </a:lnTo>
                      <a:lnTo>
                        <a:pt x="660" y="165"/>
                      </a:lnTo>
                      <a:lnTo>
                        <a:pt x="661" y="165"/>
                      </a:lnTo>
                      <a:lnTo>
                        <a:pt x="661" y="164"/>
                      </a:lnTo>
                      <a:lnTo>
                        <a:pt x="660" y="164"/>
                      </a:lnTo>
                      <a:lnTo>
                        <a:pt x="659" y="164"/>
                      </a:lnTo>
                      <a:lnTo>
                        <a:pt x="659" y="163"/>
                      </a:lnTo>
                      <a:lnTo>
                        <a:pt x="659" y="163"/>
                      </a:lnTo>
                      <a:lnTo>
                        <a:pt x="660" y="163"/>
                      </a:lnTo>
                      <a:lnTo>
                        <a:pt x="660" y="162"/>
                      </a:lnTo>
                      <a:lnTo>
                        <a:pt x="661" y="162"/>
                      </a:lnTo>
                      <a:lnTo>
                        <a:pt x="661" y="162"/>
                      </a:lnTo>
                      <a:lnTo>
                        <a:pt x="662" y="162"/>
                      </a:lnTo>
                      <a:lnTo>
                        <a:pt x="662" y="161"/>
                      </a:lnTo>
                      <a:lnTo>
                        <a:pt x="662" y="161"/>
                      </a:lnTo>
                      <a:lnTo>
                        <a:pt x="663" y="161"/>
                      </a:lnTo>
                      <a:lnTo>
                        <a:pt x="663" y="161"/>
                      </a:lnTo>
                      <a:lnTo>
                        <a:pt x="664" y="161"/>
                      </a:lnTo>
                      <a:lnTo>
                        <a:pt x="665" y="161"/>
                      </a:lnTo>
                      <a:lnTo>
                        <a:pt x="665" y="160"/>
                      </a:lnTo>
                      <a:lnTo>
                        <a:pt x="665" y="159"/>
                      </a:lnTo>
                      <a:lnTo>
                        <a:pt x="665" y="159"/>
                      </a:lnTo>
                      <a:lnTo>
                        <a:pt x="666" y="160"/>
                      </a:lnTo>
                      <a:lnTo>
                        <a:pt x="667" y="160"/>
                      </a:lnTo>
                      <a:lnTo>
                        <a:pt x="667" y="159"/>
                      </a:lnTo>
                      <a:lnTo>
                        <a:pt x="667" y="159"/>
                      </a:lnTo>
                      <a:lnTo>
                        <a:pt x="668" y="159"/>
                      </a:lnTo>
                      <a:lnTo>
                        <a:pt x="668" y="159"/>
                      </a:lnTo>
                      <a:lnTo>
                        <a:pt x="668" y="159"/>
                      </a:lnTo>
                      <a:lnTo>
                        <a:pt x="669" y="160"/>
                      </a:lnTo>
                      <a:lnTo>
                        <a:pt x="670" y="159"/>
                      </a:lnTo>
                      <a:lnTo>
                        <a:pt x="670" y="159"/>
                      </a:lnTo>
                      <a:lnTo>
                        <a:pt x="670" y="158"/>
                      </a:lnTo>
                      <a:lnTo>
                        <a:pt x="670" y="157"/>
                      </a:lnTo>
                      <a:lnTo>
                        <a:pt x="671" y="157"/>
                      </a:lnTo>
                      <a:lnTo>
                        <a:pt x="672" y="156"/>
                      </a:lnTo>
                      <a:lnTo>
                        <a:pt x="672" y="155"/>
                      </a:lnTo>
                      <a:lnTo>
                        <a:pt x="672" y="154"/>
                      </a:lnTo>
                      <a:lnTo>
                        <a:pt x="671" y="154"/>
                      </a:lnTo>
                      <a:lnTo>
                        <a:pt x="671" y="153"/>
                      </a:lnTo>
                      <a:lnTo>
                        <a:pt x="671" y="152"/>
                      </a:lnTo>
                      <a:lnTo>
                        <a:pt x="672" y="152"/>
                      </a:lnTo>
                      <a:lnTo>
                        <a:pt x="672" y="152"/>
                      </a:lnTo>
                      <a:lnTo>
                        <a:pt x="672" y="152"/>
                      </a:lnTo>
                      <a:lnTo>
                        <a:pt x="673" y="152"/>
                      </a:lnTo>
                      <a:lnTo>
                        <a:pt x="673" y="152"/>
                      </a:lnTo>
                      <a:lnTo>
                        <a:pt x="673" y="153"/>
                      </a:lnTo>
                      <a:lnTo>
                        <a:pt x="674" y="152"/>
                      </a:lnTo>
                      <a:lnTo>
                        <a:pt x="674" y="152"/>
                      </a:lnTo>
                      <a:lnTo>
                        <a:pt x="674" y="151"/>
                      </a:lnTo>
                      <a:lnTo>
                        <a:pt x="674" y="150"/>
                      </a:lnTo>
                      <a:lnTo>
                        <a:pt x="675" y="150"/>
                      </a:lnTo>
                      <a:lnTo>
                        <a:pt x="676" y="150"/>
                      </a:lnTo>
                      <a:lnTo>
                        <a:pt x="676" y="149"/>
                      </a:lnTo>
                      <a:lnTo>
                        <a:pt x="675" y="149"/>
                      </a:lnTo>
                      <a:lnTo>
                        <a:pt x="674" y="149"/>
                      </a:lnTo>
                      <a:lnTo>
                        <a:pt x="674" y="149"/>
                      </a:lnTo>
                      <a:lnTo>
                        <a:pt x="673" y="149"/>
                      </a:lnTo>
                      <a:lnTo>
                        <a:pt x="673" y="148"/>
                      </a:lnTo>
                      <a:lnTo>
                        <a:pt x="673" y="148"/>
                      </a:lnTo>
                      <a:lnTo>
                        <a:pt x="674" y="147"/>
                      </a:lnTo>
                      <a:lnTo>
                        <a:pt x="674" y="147"/>
                      </a:lnTo>
                      <a:lnTo>
                        <a:pt x="674" y="146"/>
                      </a:lnTo>
                      <a:lnTo>
                        <a:pt x="674" y="146"/>
                      </a:lnTo>
                      <a:lnTo>
                        <a:pt x="675" y="146"/>
                      </a:lnTo>
                      <a:lnTo>
                        <a:pt x="674" y="146"/>
                      </a:lnTo>
                      <a:lnTo>
                        <a:pt x="674" y="145"/>
                      </a:lnTo>
                      <a:lnTo>
                        <a:pt x="674" y="144"/>
                      </a:lnTo>
                      <a:lnTo>
                        <a:pt x="674" y="144"/>
                      </a:lnTo>
                      <a:lnTo>
                        <a:pt x="674" y="144"/>
                      </a:lnTo>
                      <a:lnTo>
                        <a:pt x="675" y="144"/>
                      </a:lnTo>
                      <a:lnTo>
                        <a:pt x="675" y="144"/>
                      </a:lnTo>
                      <a:lnTo>
                        <a:pt x="674" y="144"/>
                      </a:lnTo>
                      <a:lnTo>
                        <a:pt x="674" y="145"/>
                      </a:lnTo>
                      <a:lnTo>
                        <a:pt x="675" y="145"/>
                      </a:lnTo>
                      <a:lnTo>
                        <a:pt x="676" y="145"/>
                      </a:lnTo>
                      <a:lnTo>
                        <a:pt x="676" y="144"/>
                      </a:lnTo>
                      <a:lnTo>
                        <a:pt x="676" y="144"/>
                      </a:lnTo>
                      <a:lnTo>
                        <a:pt x="676" y="144"/>
                      </a:lnTo>
                      <a:lnTo>
                        <a:pt x="677" y="144"/>
                      </a:lnTo>
                      <a:lnTo>
                        <a:pt x="678" y="143"/>
                      </a:lnTo>
                      <a:lnTo>
                        <a:pt x="678" y="142"/>
                      </a:lnTo>
                      <a:lnTo>
                        <a:pt x="678" y="143"/>
                      </a:lnTo>
                      <a:lnTo>
                        <a:pt x="678" y="143"/>
                      </a:lnTo>
                      <a:lnTo>
                        <a:pt x="679" y="143"/>
                      </a:lnTo>
                      <a:lnTo>
                        <a:pt x="679" y="142"/>
                      </a:lnTo>
                      <a:lnTo>
                        <a:pt x="678" y="142"/>
                      </a:lnTo>
                      <a:lnTo>
                        <a:pt x="678" y="142"/>
                      </a:lnTo>
                      <a:lnTo>
                        <a:pt x="678" y="141"/>
                      </a:lnTo>
                      <a:lnTo>
                        <a:pt x="678" y="141"/>
                      </a:lnTo>
                      <a:lnTo>
                        <a:pt x="679" y="141"/>
                      </a:lnTo>
                      <a:lnTo>
                        <a:pt x="679" y="140"/>
                      </a:lnTo>
                      <a:lnTo>
                        <a:pt x="680" y="140"/>
                      </a:lnTo>
                      <a:lnTo>
                        <a:pt x="680" y="141"/>
                      </a:lnTo>
                      <a:lnTo>
                        <a:pt x="679" y="141"/>
                      </a:lnTo>
                      <a:lnTo>
                        <a:pt x="679" y="142"/>
                      </a:lnTo>
                      <a:lnTo>
                        <a:pt x="680" y="142"/>
                      </a:lnTo>
                      <a:lnTo>
                        <a:pt x="680" y="142"/>
                      </a:lnTo>
                      <a:lnTo>
                        <a:pt x="680" y="142"/>
                      </a:lnTo>
                      <a:lnTo>
                        <a:pt x="681" y="142"/>
                      </a:lnTo>
                      <a:lnTo>
                        <a:pt x="681" y="142"/>
                      </a:lnTo>
                      <a:lnTo>
                        <a:pt x="682" y="141"/>
                      </a:lnTo>
                      <a:lnTo>
                        <a:pt x="682" y="141"/>
                      </a:lnTo>
                      <a:lnTo>
                        <a:pt x="682" y="140"/>
                      </a:lnTo>
                      <a:lnTo>
                        <a:pt x="682" y="140"/>
                      </a:lnTo>
                      <a:lnTo>
                        <a:pt x="683" y="140"/>
                      </a:lnTo>
                      <a:lnTo>
                        <a:pt x="683" y="140"/>
                      </a:lnTo>
                      <a:lnTo>
                        <a:pt x="684" y="140"/>
                      </a:lnTo>
                      <a:lnTo>
                        <a:pt x="685" y="140"/>
                      </a:lnTo>
                      <a:lnTo>
                        <a:pt x="685" y="141"/>
                      </a:lnTo>
                      <a:lnTo>
                        <a:pt x="684" y="141"/>
                      </a:lnTo>
                      <a:lnTo>
                        <a:pt x="684" y="142"/>
                      </a:lnTo>
                      <a:lnTo>
                        <a:pt x="685" y="142"/>
                      </a:lnTo>
                      <a:lnTo>
                        <a:pt x="685" y="141"/>
                      </a:lnTo>
                      <a:lnTo>
                        <a:pt x="685" y="140"/>
                      </a:lnTo>
                      <a:lnTo>
                        <a:pt x="686" y="140"/>
                      </a:lnTo>
                      <a:lnTo>
                        <a:pt x="686" y="140"/>
                      </a:lnTo>
                      <a:lnTo>
                        <a:pt x="686" y="139"/>
                      </a:lnTo>
                      <a:lnTo>
                        <a:pt x="686" y="138"/>
                      </a:lnTo>
                      <a:lnTo>
                        <a:pt x="686" y="138"/>
                      </a:lnTo>
                      <a:lnTo>
                        <a:pt x="687" y="137"/>
                      </a:lnTo>
                      <a:lnTo>
                        <a:pt x="687" y="136"/>
                      </a:lnTo>
                      <a:lnTo>
                        <a:pt x="687" y="135"/>
                      </a:lnTo>
                      <a:lnTo>
                        <a:pt x="687" y="135"/>
                      </a:lnTo>
                      <a:lnTo>
                        <a:pt x="687" y="135"/>
                      </a:lnTo>
                      <a:lnTo>
                        <a:pt x="687" y="134"/>
                      </a:lnTo>
                      <a:lnTo>
                        <a:pt x="687" y="133"/>
                      </a:lnTo>
                      <a:lnTo>
                        <a:pt x="687" y="133"/>
                      </a:lnTo>
                      <a:lnTo>
                        <a:pt x="688" y="132"/>
                      </a:lnTo>
                      <a:lnTo>
                        <a:pt x="689" y="132"/>
                      </a:lnTo>
                      <a:lnTo>
                        <a:pt x="689" y="132"/>
                      </a:lnTo>
                      <a:lnTo>
                        <a:pt x="690" y="132"/>
                      </a:lnTo>
                      <a:lnTo>
                        <a:pt x="691" y="132"/>
                      </a:lnTo>
                      <a:lnTo>
                        <a:pt x="690" y="131"/>
                      </a:lnTo>
                      <a:lnTo>
                        <a:pt x="690" y="131"/>
                      </a:lnTo>
                      <a:lnTo>
                        <a:pt x="690" y="130"/>
                      </a:lnTo>
                      <a:lnTo>
                        <a:pt x="691" y="131"/>
                      </a:lnTo>
                      <a:lnTo>
                        <a:pt x="691" y="130"/>
                      </a:lnTo>
                      <a:lnTo>
                        <a:pt x="692" y="130"/>
                      </a:lnTo>
                      <a:lnTo>
                        <a:pt x="692" y="129"/>
                      </a:lnTo>
                      <a:lnTo>
                        <a:pt x="693" y="129"/>
                      </a:lnTo>
                      <a:lnTo>
                        <a:pt x="693" y="129"/>
                      </a:lnTo>
                      <a:lnTo>
                        <a:pt x="693" y="129"/>
                      </a:lnTo>
                      <a:lnTo>
                        <a:pt x="694" y="129"/>
                      </a:lnTo>
                      <a:lnTo>
                        <a:pt x="695" y="129"/>
                      </a:lnTo>
                      <a:lnTo>
                        <a:pt x="695" y="130"/>
                      </a:lnTo>
                      <a:lnTo>
                        <a:pt x="696" y="130"/>
                      </a:lnTo>
                      <a:lnTo>
                        <a:pt x="696" y="129"/>
                      </a:lnTo>
                      <a:lnTo>
                        <a:pt x="696" y="129"/>
                      </a:lnTo>
                      <a:lnTo>
                        <a:pt x="696" y="128"/>
                      </a:lnTo>
                      <a:lnTo>
                        <a:pt x="695" y="127"/>
                      </a:lnTo>
                      <a:lnTo>
                        <a:pt x="695" y="127"/>
                      </a:lnTo>
                      <a:lnTo>
                        <a:pt x="694" y="127"/>
                      </a:lnTo>
                      <a:lnTo>
                        <a:pt x="694" y="126"/>
                      </a:lnTo>
                      <a:lnTo>
                        <a:pt x="694" y="125"/>
                      </a:lnTo>
                      <a:lnTo>
                        <a:pt x="695" y="125"/>
                      </a:lnTo>
                      <a:lnTo>
                        <a:pt x="695" y="125"/>
                      </a:lnTo>
                      <a:lnTo>
                        <a:pt x="695" y="126"/>
                      </a:lnTo>
                      <a:lnTo>
                        <a:pt x="696" y="126"/>
                      </a:lnTo>
                      <a:lnTo>
                        <a:pt x="697" y="126"/>
                      </a:lnTo>
                      <a:lnTo>
                        <a:pt x="696" y="125"/>
                      </a:lnTo>
                      <a:lnTo>
                        <a:pt x="696" y="125"/>
                      </a:lnTo>
                      <a:lnTo>
                        <a:pt x="697" y="125"/>
                      </a:lnTo>
                      <a:lnTo>
                        <a:pt x="697" y="125"/>
                      </a:lnTo>
                      <a:lnTo>
                        <a:pt x="698" y="125"/>
                      </a:lnTo>
                      <a:lnTo>
                        <a:pt x="698" y="124"/>
                      </a:lnTo>
                      <a:lnTo>
                        <a:pt x="699" y="124"/>
                      </a:lnTo>
                      <a:lnTo>
                        <a:pt x="699" y="123"/>
                      </a:lnTo>
                      <a:lnTo>
                        <a:pt x="699" y="124"/>
                      </a:lnTo>
                      <a:lnTo>
                        <a:pt x="699" y="123"/>
                      </a:lnTo>
                      <a:lnTo>
                        <a:pt x="699" y="123"/>
                      </a:lnTo>
                      <a:lnTo>
                        <a:pt x="699" y="122"/>
                      </a:lnTo>
                      <a:lnTo>
                        <a:pt x="699" y="121"/>
                      </a:lnTo>
                      <a:lnTo>
                        <a:pt x="699" y="121"/>
                      </a:lnTo>
                      <a:lnTo>
                        <a:pt x="699" y="121"/>
                      </a:lnTo>
                      <a:lnTo>
                        <a:pt x="699" y="121"/>
                      </a:lnTo>
                      <a:lnTo>
                        <a:pt x="700" y="120"/>
                      </a:lnTo>
                      <a:lnTo>
                        <a:pt x="700" y="121"/>
                      </a:lnTo>
                      <a:lnTo>
                        <a:pt x="701" y="121"/>
                      </a:lnTo>
                      <a:lnTo>
                        <a:pt x="701" y="121"/>
                      </a:lnTo>
                      <a:lnTo>
                        <a:pt x="701" y="121"/>
                      </a:lnTo>
                      <a:lnTo>
                        <a:pt x="701" y="120"/>
                      </a:lnTo>
                      <a:lnTo>
                        <a:pt x="701" y="119"/>
                      </a:lnTo>
                      <a:lnTo>
                        <a:pt x="701" y="119"/>
                      </a:lnTo>
                      <a:lnTo>
                        <a:pt x="701" y="118"/>
                      </a:lnTo>
                      <a:lnTo>
                        <a:pt x="702" y="117"/>
                      </a:lnTo>
                      <a:lnTo>
                        <a:pt x="703" y="117"/>
                      </a:lnTo>
                      <a:lnTo>
                        <a:pt x="703" y="118"/>
                      </a:lnTo>
                      <a:lnTo>
                        <a:pt x="702" y="119"/>
                      </a:lnTo>
                      <a:lnTo>
                        <a:pt x="702" y="119"/>
                      </a:lnTo>
                      <a:lnTo>
                        <a:pt x="703" y="120"/>
                      </a:lnTo>
                      <a:lnTo>
                        <a:pt x="704" y="119"/>
                      </a:lnTo>
                      <a:lnTo>
                        <a:pt x="704" y="119"/>
                      </a:lnTo>
                      <a:lnTo>
                        <a:pt x="704" y="118"/>
                      </a:lnTo>
                      <a:lnTo>
                        <a:pt x="704" y="117"/>
                      </a:lnTo>
                      <a:lnTo>
                        <a:pt x="704" y="116"/>
                      </a:lnTo>
                      <a:lnTo>
                        <a:pt x="704" y="117"/>
                      </a:lnTo>
                      <a:lnTo>
                        <a:pt x="705" y="118"/>
                      </a:lnTo>
                      <a:lnTo>
                        <a:pt x="706" y="118"/>
                      </a:lnTo>
                      <a:lnTo>
                        <a:pt x="706" y="117"/>
                      </a:lnTo>
                      <a:lnTo>
                        <a:pt x="706" y="116"/>
                      </a:lnTo>
                      <a:lnTo>
                        <a:pt x="706" y="116"/>
                      </a:lnTo>
                      <a:lnTo>
                        <a:pt x="706" y="116"/>
                      </a:lnTo>
                      <a:lnTo>
                        <a:pt x="706" y="115"/>
                      </a:lnTo>
                      <a:lnTo>
                        <a:pt x="706" y="114"/>
                      </a:lnTo>
                      <a:lnTo>
                        <a:pt x="706" y="114"/>
                      </a:lnTo>
                      <a:lnTo>
                        <a:pt x="705" y="114"/>
                      </a:lnTo>
                      <a:lnTo>
                        <a:pt x="705" y="113"/>
                      </a:lnTo>
                      <a:lnTo>
                        <a:pt x="706" y="112"/>
                      </a:lnTo>
                      <a:lnTo>
                        <a:pt x="706" y="112"/>
                      </a:lnTo>
                      <a:lnTo>
                        <a:pt x="707" y="112"/>
                      </a:lnTo>
                      <a:lnTo>
                        <a:pt x="707" y="113"/>
                      </a:lnTo>
                      <a:lnTo>
                        <a:pt x="708" y="114"/>
                      </a:lnTo>
                      <a:lnTo>
                        <a:pt x="708" y="113"/>
                      </a:lnTo>
                      <a:lnTo>
                        <a:pt x="708" y="113"/>
                      </a:lnTo>
                      <a:lnTo>
                        <a:pt x="709" y="113"/>
                      </a:lnTo>
                      <a:lnTo>
                        <a:pt x="710" y="113"/>
                      </a:lnTo>
                      <a:lnTo>
                        <a:pt x="710" y="113"/>
                      </a:lnTo>
                      <a:lnTo>
                        <a:pt x="711" y="113"/>
                      </a:lnTo>
                      <a:lnTo>
                        <a:pt x="711" y="112"/>
                      </a:lnTo>
                      <a:lnTo>
                        <a:pt x="712" y="112"/>
                      </a:lnTo>
                      <a:lnTo>
                        <a:pt x="712" y="113"/>
                      </a:lnTo>
                      <a:lnTo>
                        <a:pt x="711" y="113"/>
                      </a:lnTo>
                      <a:lnTo>
                        <a:pt x="711" y="114"/>
                      </a:lnTo>
                      <a:lnTo>
                        <a:pt x="712" y="114"/>
                      </a:lnTo>
                      <a:lnTo>
                        <a:pt x="712" y="114"/>
                      </a:lnTo>
                      <a:lnTo>
                        <a:pt x="713" y="114"/>
                      </a:lnTo>
                      <a:lnTo>
                        <a:pt x="714" y="114"/>
                      </a:lnTo>
                      <a:lnTo>
                        <a:pt x="714" y="113"/>
                      </a:lnTo>
                      <a:lnTo>
                        <a:pt x="714" y="113"/>
                      </a:lnTo>
                      <a:lnTo>
                        <a:pt x="715" y="113"/>
                      </a:lnTo>
                      <a:lnTo>
                        <a:pt x="715" y="112"/>
                      </a:lnTo>
                      <a:lnTo>
                        <a:pt x="715" y="112"/>
                      </a:lnTo>
                      <a:lnTo>
                        <a:pt x="714" y="112"/>
                      </a:lnTo>
                      <a:lnTo>
                        <a:pt x="714" y="111"/>
                      </a:lnTo>
                      <a:lnTo>
                        <a:pt x="714" y="110"/>
                      </a:lnTo>
                      <a:lnTo>
                        <a:pt x="714" y="110"/>
                      </a:lnTo>
                      <a:lnTo>
                        <a:pt x="714" y="109"/>
                      </a:lnTo>
                      <a:lnTo>
                        <a:pt x="715" y="109"/>
                      </a:lnTo>
                      <a:lnTo>
                        <a:pt x="716" y="109"/>
                      </a:lnTo>
                      <a:lnTo>
                        <a:pt x="716" y="108"/>
                      </a:lnTo>
                      <a:lnTo>
                        <a:pt x="715" y="108"/>
                      </a:lnTo>
                      <a:lnTo>
                        <a:pt x="715" y="108"/>
                      </a:lnTo>
                      <a:lnTo>
                        <a:pt x="716" y="107"/>
                      </a:lnTo>
                      <a:lnTo>
                        <a:pt x="716" y="107"/>
                      </a:lnTo>
                      <a:lnTo>
                        <a:pt x="718" y="107"/>
                      </a:lnTo>
                      <a:lnTo>
                        <a:pt x="718" y="107"/>
                      </a:lnTo>
                      <a:lnTo>
                        <a:pt x="719" y="106"/>
                      </a:lnTo>
                      <a:lnTo>
                        <a:pt x="720" y="106"/>
                      </a:lnTo>
                      <a:lnTo>
                        <a:pt x="720" y="105"/>
                      </a:lnTo>
                      <a:lnTo>
                        <a:pt x="720" y="104"/>
                      </a:lnTo>
                      <a:lnTo>
                        <a:pt x="721" y="104"/>
                      </a:lnTo>
                      <a:lnTo>
                        <a:pt x="722" y="104"/>
                      </a:lnTo>
                      <a:lnTo>
                        <a:pt x="722" y="104"/>
                      </a:lnTo>
                      <a:lnTo>
                        <a:pt x="723" y="104"/>
                      </a:lnTo>
                      <a:lnTo>
                        <a:pt x="723" y="104"/>
                      </a:lnTo>
                      <a:lnTo>
                        <a:pt x="723" y="103"/>
                      </a:lnTo>
                      <a:lnTo>
                        <a:pt x="723" y="103"/>
                      </a:lnTo>
                      <a:lnTo>
                        <a:pt x="724" y="103"/>
                      </a:lnTo>
                      <a:lnTo>
                        <a:pt x="724" y="102"/>
                      </a:lnTo>
                      <a:lnTo>
                        <a:pt x="723" y="102"/>
                      </a:lnTo>
                      <a:lnTo>
                        <a:pt x="723" y="101"/>
                      </a:lnTo>
                      <a:lnTo>
                        <a:pt x="723" y="100"/>
                      </a:lnTo>
                      <a:lnTo>
                        <a:pt x="724" y="100"/>
                      </a:lnTo>
                      <a:lnTo>
                        <a:pt x="725" y="100"/>
                      </a:lnTo>
                      <a:lnTo>
                        <a:pt x="725" y="100"/>
                      </a:lnTo>
                      <a:lnTo>
                        <a:pt x="725" y="99"/>
                      </a:lnTo>
                      <a:lnTo>
                        <a:pt x="725" y="99"/>
                      </a:lnTo>
                      <a:lnTo>
                        <a:pt x="726" y="98"/>
                      </a:lnTo>
                      <a:lnTo>
                        <a:pt x="727" y="98"/>
                      </a:lnTo>
                      <a:lnTo>
                        <a:pt x="727" y="98"/>
                      </a:lnTo>
                      <a:lnTo>
                        <a:pt x="727" y="97"/>
                      </a:lnTo>
                      <a:lnTo>
                        <a:pt x="729" y="96"/>
                      </a:lnTo>
                      <a:lnTo>
                        <a:pt x="729" y="96"/>
                      </a:lnTo>
                      <a:lnTo>
                        <a:pt x="729" y="95"/>
                      </a:lnTo>
                      <a:lnTo>
                        <a:pt x="730" y="95"/>
                      </a:lnTo>
                      <a:lnTo>
                        <a:pt x="731" y="95"/>
                      </a:lnTo>
                      <a:lnTo>
                        <a:pt x="731" y="96"/>
                      </a:lnTo>
                      <a:lnTo>
                        <a:pt x="732" y="96"/>
                      </a:lnTo>
                      <a:lnTo>
                        <a:pt x="732" y="97"/>
                      </a:lnTo>
                      <a:lnTo>
                        <a:pt x="732" y="96"/>
                      </a:lnTo>
                      <a:lnTo>
                        <a:pt x="733" y="96"/>
                      </a:lnTo>
                      <a:lnTo>
                        <a:pt x="733" y="95"/>
                      </a:lnTo>
                      <a:lnTo>
                        <a:pt x="732" y="95"/>
                      </a:lnTo>
                      <a:lnTo>
                        <a:pt x="732" y="94"/>
                      </a:lnTo>
                      <a:lnTo>
                        <a:pt x="732" y="93"/>
                      </a:lnTo>
                      <a:lnTo>
                        <a:pt x="733" y="93"/>
                      </a:lnTo>
                      <a:lnTo>
                        <a:pt x="733" y="93"/>
                      </a:lnTo>
                      <a:lnTo>
                        <a:pt x="734" y="93"/>
                      </a:lnTo>
                      <a:lnTo>
                        <a:pt x="734" y="92"/>
                      </a:lnTo>
                      <a:lnTo>
                        <a:pt x="734" y="91"/>
                      </a:lnTo>
                      <a:lnTo>
                        <a:pt x="734" y="91"/>
                      </a:lnTo>
                      <a:lnTo>
                        <a:pt x="735" y="91"/>
                      </a:lnTo>
                      <a:lnTo>
                        <a:pt x="735" y="91"/>
                      </a:lnTo>
                      <a:lnTo>
                        <a:pt x="736" y="91"/>
                      </a:lnTo>
                      <a:lnTo>
                        <a:pt x="737" y="91"/>
                      </a:lnTo>
                      <a:lnTo>
                        <a:pt x="737" y="91"/>
                      </a:lnTo>
                      <a:lnTo>
                        <a:pt x="737" y="91"/>
                      </a:lnTo>
                      <a:lnTo>
                        <a:pt x="737" y="91"/>
                      </a:lnTo>
                      <a:lnTo>
                        <a:pt x="737" y="90"/>
                      </a:lnTo>
                      <a:lnTo>
                        <a:pt x="737" y="89"/>
                      </a:lnTo>
                      <a:lnTo>
                        <a:pt x="738" y="89"/>
                      </a:lnTo>
                      <a:lnTo>
                        <a:pt x="739" y="90"/>
                      </a:lnTo>
                      <a:lnTo>
                        <a:pt x="739" y="90"/>
                      </a:lnTo>
                      <a:lnTo>
                        <a:pt x="740" y="90"/>
                      </a:lnTo>
                      <a:lnTo>
                        <a:pt x="741" y="89"/>
                      </a:lnTo>
                      <a:lnTo>
                        <a:pt x="742" y="89"/>
                      </a:lnTo>
                      <a:lnTo>
                        <a:pt x="742" y="88"/>
                      </a:lnTo>
                      <a:lnTo>
                        <a:pt x="742" y="88"/>
                      </a:lnTo>
                      <a:lnTo>
                        <a:pt x="742" y="87"/>
                      </a:lnTo>
                      <a:lnTo>
                        <a:pt x="742" y="87"/>
                      </a:lnTo>
                      <a:lnTo>
                        <a:pt x="743" y="87"/>
                      </a:lnTo>
                      <a:lnTo>
                        <a:pt x="744" y="86"/>
                      </a:lnTo>
                      <a:lnTo>
                        <a:pt x="744" y="86"/>
                      </a:lnTo>
                      <a:lnTo>
                        <a:pt x="745" y="87"/>
                      </a:lnTo>
                      <a:lnTo>
                        <a:pt x="746" y="87"/>
                      </a:lnTo>
                      <a:lnTo>
                        <a:pt x="746" y="86"/>
                      </a:lnTo>
                      <a:lnTo>
                        <a:pt x="746" y="86"/>
                      </a:lnTo>
                      <a:lnTo>
                        <a:pt x="746" y="86"/>
                      </a:lnTo>
                      <a:lnTo>
                        <a:pt x="745" y="85"/>
                      </a:lnTo>
                      <a:lnTo>
                        <a:pt x="746" y="85"/>
                      </a:lnTo>
                      <a:lnTo>
                        <a:pt x="746" y="84"/>
                      </a:lnTo>
                      <a:lnTo>
                        <a:pt x="747" y="84"/>
                      </a:lnTo>
                      <a:lnTo>
                        <a:pt x="747" y="85"/>
                      </a:lnTo>
                      <a:lnTo>
                        <a:pt x="747" y="85"/>
                      </a:lnTo>
                      <a:lnTo>
                        <a:pt x="748" y="85"/>
                      </a:lnTo>
                      <a:lnTo>
                        <a:pt x="748" y="85"/>
                      </a:lnTo>
                      <a:lnTo>
                        <a:pt x="749" y="85"/>
                      </a:lnTo>
                      <a:lnTo>
                        <a:pt x="750" y="85"/>
                      </a:lnTo>
                      <a:lnTo>
                        <a:pt x="750" y="84"/>
                      </a:lnTo>
                      <a:lnTo>
                        <a:pt x="751" y="83"/>
                      </a:lnTo>
                      <a:lnTo>
                        <a:pt x="752" y="83"/>
                      </a:lnTo>
                      <a:lnTo>
                        <a:pt x="752" y="83"/>
                      </a:lnTo>
                      <a:lnTo>
                        <a:pt x="752" y="83"/>
                      </a:lnTo>
                      <a:lnTo>
                        <a:pt x="752" y="82"/>
                      </a:lnTo>
                      <a:lnTo>
                        <a:pt x="753" y="82"/>
                      </a:lnTo>
                      <a:lnTo>
                        <a:pt x="754" y="82"/>
                      </a:lnTo>
                      <a:lnTo>
                        <a:pt x="754" y="82"/>
                      </a:lnTo>
                      <a:lnTo>
                        <a:pt x="755" y="82"/>
                      </a:lnTo>
                      <a:lnTo>
                        <a:pt x="756" y="82"/>
                      </a:lnTo>
                      <a:lnTo>
                        <a:pt x="756" y="82"/>
                      </a:lnTo>
                      <a:lnTo>
                        <a:pt x="756" y="83"/>
                      </a:lnTo>
                      <a:lnTo>
                        <a:pt x="757" y="83"/>
                      </a:lnTo>
                      <a:lnTo>
                        <a:pt x="757" y="82"/>
                      </a:lnTo>
                      <a:lnTo>
                        <a:pt x="757" y="81"/>
                      </a:lnTo>
                      <a:lnTo>
                        <a:pt x="757" y="81"/>
                      </a:lnTo>
                      <a:lnTo>
                        <a:pt x="756" y="81"/>
                      </a:lnTo>
                      <a:lnTo>
                        <a:pt x="756" y="80"/>
                      </a:lnTo>
                      <a:lnTo>
                        <a:pt x="757" y="80"/>
                      </a:lnTo>
                      <a:lnTo>
                        <a:pt x="757" y="79"/>
                      </a:lnTo>
                      <a:lnTo>
                        <a:pt x="758" y="80"/>
                      </a:lnTo>
                      <a:lnTo>
                        <a:pt x="758" y="80"/>
                      </a:lnTo>
                      <a:lnTo>
                        <a:pt x="758" y="81"/>
                      </a:lnTo>
                      <a:lnTo>
                        <a:pt x="759" y="81"/>
                      </a:lnTo>
                      <a:lnTo>
                        <a:pt x="759" y="80"/>
                      </a:lnTo>
                      <a:lnTo>
                        <a:pt x="759" y="79"/>
                      </a:lnTo>
                      <a:lnTo>
                        <a:pt x="759" y="79"/>
                      </a:lnTo>
                      <a:lnTo>
                        <a:pt x="759" y="78"/>
                      </a:lnTo>
                      <a:lnTo>
                        <a:pt x="760" y="78"/>
                      </a:lnTo>
                      <a:lnTo>
                        <a:pt x="761" y="78"/>
                      </a:lnTo>
                      <a:lnTo>
                        <a:pt x="761" y="77"/>
                      </a:lnTo>
                      <a:lnTo>
                        <a:pt x="760" y="77"/>
                      </a:lnTo>
                      <a:lnTo>
                        <a:pt x="760" y="76"/>
                      </a:lnTo>
                      <a:lnTo>
                        <a:pt x="760" y="76"/>
                      </a:lnTo>
                      <a:lnTo>
                        <a:pt x="760" y="75"/>
                      </a:lnTo>
                      <a:lnTo>
                        <a:pt x="761" y="74"/>
                      </a:lnTo>
                      <a:lnTo>
                        <a:pt x="761" y="74"/>
                      </a:lnTo>
                      <a:lnTo>
                        <a:pt x="762" y="74"/>
                      </a:lnTo>
                      <a:lnTo>
                        <a:pt x="763" y="74"/>
                      </a:lnTo>
                      <a:lnTo>
                        <a:pt x="763" y="75"/>
                      </a:lnTo>
                      <a:lnTo>
                        <a:pt x="763" y="75"/>
                      </a:lnTo>
                      <a:lnTo>
                        <a:pt x="763" y="74"/>
                      </a:lnTo>
                      <a:lnTo>
                        <a:pt x="763" y="74"/>
                      </a:lnTo>
                      <a:lnTo>
                        <a:pt x="764" y="74"/>
                      </a:lnTo>
                      <a:lnTo>
                        <a:pt x="764" y="74"/>
                      </a:lnTo>
                      <a:lnTo>
                        <a:pt x="764" y="75"/>
                      </a:lnTo>
                      <a:lnTo>
                        <a:pt x="764" y="76"/>
                      </a:lnTo>
                      <a:lnTo>
                        <a:pt x="765" y="76"/>
                      </a:lnTo>
                      <a:lnTo>
                        <a:pt x="765" y="76"/>
                      </a:lnTo>
                      <a:lnTo>
                        <a:pt x="766" y="76"/>
                      </a:lnTo>
                      <a:lnTo>
                        <a:pt x="766" y="77"/>
                      </a:lnTo>
                      <a:lnTo>
                        <a:pt x="765" y="77"/>
                      </a:lnTo>
                      <a:lnTo>
                        <a:pt x="766" y="77"/>
                      </a:lnTo>
                      <a:lnTo>
                        <a:pt x="767" y="77"/>
                      </a:lnTo>
                      <a:lnTo>
                        <a:pt x="767" y="78"/>
                      </a:lnTo>
                      <a:lnTo>
                        <a:pt x="767" y="78"/>
                      </a:lnTo>
                      <a:lnTo>
                        <a:pt x="767" y="77"/>
                      </a:lnTo>
                      <a:lnTo>
                        <a:pt x="767" y="76"/>
                      </a:lnTo>
                      <a:lnTo>
                        <a:pt x="767" y="76"/>
                      </a:lnTo>
                      <a:lnTo>
                        <a:pt x="767" y="75"/>
                      </a:lnTo>
                      <a:lnTo>
                        <a:pt x="768" y="74"/>
                      </a:lnTo>
                      <a:lnTo>
                        <a:pt x="768" y="74"/>
                      </a:lnTo>
                      <a:lnTo>
                        <a:pt x="769" y="74"/>
                      </a:lnTo>
                      <a:lnTo>
                        <a:pt x="769" y="74"/>
                      </a:lnTo>
                      <a:lnTo>
                        <a:pt x="770" y="73"/>
                      </a:lnTo>
                      <a:lnTo>
                        <a:pt x="770" y="72"/>
                      </a:lnTo>
                      <a:lnTo>
                        <a:pt x="769" y="72"/>
                      </a:lnTo>
                      <a:lnTo>
                        <a:pt x="769" y="72"/>
                      </a:lnTo>
                      <a:lnTo>
                        <a:pt x="768" y="72"/>
                      </a:lnTo>
                      <a:lnTo>
                        <a:pt x="768" y="72"/>
                      </a:lnTo>
                      <a:lnTo>
                        <a:pt x="768" y="71"/>
                      </a:lnTo>
                      <a:lnTo>
                        <a:pt x="768" y="72"/>
                      </a:lnTo>
                      <a:lnTo>
                        <a:pt x="767" y="72"/>
                      </a:lnTo>
                      <a:lnTo>
                        <a:pt x="767" y="71"/>
                      </a:lnTo>
                      <a:lnTo>
                        <a:pt x="767" y="70"/>
                      </a:lnTo>
                      <a:lnTo>
                        <a:pt x="768" y="70"/>
                      </a:lnTo>
                      <a:lnTo>
                        <a:pt x="768" y="70"/>
                      </a:lnTo>
                      <a:lnTo>
                        <a:pt x="769" y="70"/>
                      </a:lnTo>
                      <a:lnTo>
                        <a:pt x="769" y="70"/>
                      </a:lnTo>
                      <a:lnTo>
                        <a:pt x="769" y="69"/>
                      </a:lnTo>
                      <a:lnTo>
                        <a:pt x="769" y="68"/>
                      </a:lnTo>
                      <a:lnTo>
                        <a:pt x="768" y="68"/>
                      </a:lnTo>
                      <a:lnTo>
                        <a:pt x="767" y="68"/>
                      </a:lnTo>
                      <a:lnTo>
                        <a:pt x="767" y="68"/>
                      </a:lnTo>
                      <a:lnTo>
                        <a:pt x="767" y="67"/>
                      </a:lnTo>
                      <a:lnTo>
                        <a:pt x="768" y="67"/>
                      </a:lnTo>
                      <a:lnTo>
                        <a:pt x="768" y="66"/>
                      </a:lnTo>
                      <a:lnTo>
                        <a:pt x="769" y="66"/>
                      </a:lnTo>
                      <a:lnTo>
                        <a:pt x="769" y="66"/>
                      </a:lnTo>
                      <a:lnTo>
                        <a:pt x="770" y="66"/>
                      </a:lnTo>
                      <a:lnTo>
                        <a:pt x="769" y="66"/>
                      </a:lnTo>
                      <a:lnTo>
                        <a:pt x="769" y="65"/>
                      </a:lnTo>
                      <a:lnTo>
                        <a:pt x="769" y="65"/>
                      </a:lnTo>
                      <a:lnTo>
                        <a:pt x="769" y="64"/>
                      </a:lnTo>
                      <a:lnTo>
                        <a:pt x="769" y="64"/>
                      </a:lnTo>
                      <a:lnTo>
                        <a:pt x="769" y="64"/>
                      </a:lnTo>
                      <a:lnTo>
                        <a:pt x="770" y="64"/>
                      </a:lnTo>
                      <a:lnTo>
                        <a:pt x="771" y="64"/>
                      </a:lnTo>
                      <a:lnTo>
                        <a:pt x="771" y="63"/>
                      </a:lnTo>
                      <a:lnTo>
                        <a:pt x="771" y="63"/>
                      </a:lnTo>
                      <a:lnTo>
                        <a:pt x="772" y="63"/>
                      </a:lnTo>
                      <a:lnTo>
                        <a:pt x="773" y="63"/>
                      </a:lnTo>
                      <a:lnTo>
                        <a:pt x="773" y="63"/>
                      </a:lnTo>
                      <a:lnTo>
                        <a:pt x="774" y="63"/>
                      </a:lnTo>
                      <a:lnTo>
                        <a:pt x="775" y="63"/>
                      </a:lnTo>
                      <a:lnTo>
                        <a:pt x="775" y="63"/>
                      </a:lnTo>
                      <a:lnTo>
                        <a:pt x="775" y="64"/>
                      </a:lnTo>
                      <a:lnTo>
                        <a:pt x="776" y="64"/>
                      </a:lnTo>
                      <a:lnTo>
                        <a:pt x="777" y="64"/>
                      </a:lnTo>
                      <a:lnTo>
                        <a:pt x="777" y="64"/>
                      </a:lnTo>
                      <a:lnTo>
                        <a:pt x="778" y="64"/>
                      </a:lnTo>
                      <a:lnTo>
                        <a:pt x="779" y="64"/>
                      </a:lnTo>
                      <a:lnTo>
                        <a:pt x="779" y="64"/>
                      </a:lnTo>
                      <a:lnTo>
                        <a:pt x="781" y="65"/>
                      </a:lnTo>
                      <a:lnTo>
                        <a:pt x="782" y="65"/>
                      </a:lnTo>
                      <a:lnTo>
                        <a:pt x="782" y="64"/>
                      </a:lnTo>
                      <a:lnTo>
                        <a:pt x="782" y="64"/>
                      </a:lnTo>
                      <a:lnTo>
                        <a:pt x="782" y="63"/>
                      </a:lnTo>
                      <a:lnTo>
                        <a:pt x="782" y="62"/>
                      </a:lnTo>
                      <a:lnTo>
                        <a:pt x="782" y="62"/>
                      </a:lnTo>
                      <a:lnTo>
                        <a:pt x="783" y="62"/>
                      </a:lnTo>
                      <a:lnTo>
                        <a:pt x="783" y="61"/>
                      </a:lnTo>
                      <a:lnTo>
                        <a:pt x="784" y="62"/>
                      </a:lnTo>
                      <a:lnTo>
                        <a:pt x="784" y="62"/>
                      </a:lnTo>
                      <a:lnTo>
                        <a:pt x="784" y="62"/>
                      </a:lnTo>
                      <a:lnTo>
                        <a:pt x="785" y="62"/>
                      </a:lnTo>
                      <a:lnTo>
                        <a:pt x="785" y="62"/>
                      </a:lnTo>
                      <a:lnTo>
                        <a:pt x="786" y="62"/>
                      </a:lnTo>
                      <a:lnTo>
                        <a:pt x="786" y="61"/>
                      </a:lnTo>
                      <a:lnTo>
                        <a:pt x="786" y="61"/>
                      </a:lnTo>
                      <a:lnTo>
                        <a:pt x="786" y="60"/>
                      </a:lnTo>
                      <a:lnTo>
                        <a:pt x="786" y="60"/>
                      </a:lnTo>
                      <a:lnTo>
                        <a:pt x="785" y="60"/>
                      </a:lnTo>
                      <a:lnTo>
                        <a:pt x="785" y="60"/>
                      </a:lnTo>
                      <a:lnTo>
                        <a:pt x="786" y="60"/>
                      </a:lnTo>
                      <a:lnTo>
                        <a:pt x="786" y="59"/>
                      </a:lnTo>
                      <a:lnTo>
                        <a:pt x="786" y="58"/>
                      </a:lnTo>
                      <a:lnTo>
                        <a:pt x="787" y="58"/>
                      </a:lnTo>
                      <a:lnTo>
                        <a:pt x="788" y="59"/>
                      </a:lnTo>
                      <a:lnTo>
                        <a:pt x="788" y="60"/>
                      </a:lnTo>
                      <a:lnTo>
                        <a:pt x="789" y="60"/>
                      </a:lnTo>
                      <a:lnTo>
                        <a:pt x="789" y="61"/>
                      </a:lnTo>
                      <a:lnTo>
                        <a:pt x="790" y="61"/>
                      </a:lnTo>
                      <a:lnTo>
                        <a:pt x="790" y="60"/>
                      </a:lnTo>
                      <a:lnTo>
                        <a:pt x="790" y="60"/>
                      </a:lnTo>
                      <a:lnTo>
                        <a:pt x="790" y="59"/>
                      </a:lnTo>
                      <a:lnTo>
                        <a:pt x="790" y="58"/>
                      </a:lnTo>
                      <a:lnTo>
                        <a:pt x="790" y="58"/>
                      </a:lnTo>
                      <a:lnTo>
                        <a:pt x="791" y="58"/>
                      </a:lnTo>
                      <a:lnTo>
                        <a:pt x="792" y="58"/>
                      </a:lnTo>
                      <a:lnTo>
                        <a:pt x="792" y="58"/>
                      </a:lnTo>
                      <a:lnTo>
                        <a:pt x="792" y="59"/>
                      </a:lnTo>
                      <a:lnTo>
                        <a:pt x="792" y="60"/>
                      </a:lnTo>
                      <a:lnTo>
                        <a:pt x="793" y="60"/>
                      </a:lnTo>
                      <a:lnTo>
                        <a:pt x="794" y="60"/>
                      </a:lnTo>
                      <a:lnTo>
                        <a:pt x="794" y="60"/>
                      </a:lnTo>
                      <a:lnTo>
                        <a:pt x="795" y="60"/>
                      </a:lnTo>
                      <a:lnTo>
                        <a:pt x="796" y="60"/>
                      </a:lnTo>
                      <a:lnTo>
                        <a:pt x="796" y="60"/>
                      </a:lnTo>
                      <a:lnTo>
                        <a:pt x="797" y="60"/>
                      </a:lnTo>
                      <a:lnTo>
                        <a:pt x="797" y="59"/>
                      </a:lnTo>
                      <a:lnTo>
                        <a:pt x="798" y="59"/>
                      </a:lnTo>
                      <a:lnTo>
                        <a:pt x="799" y="58"/>
                      </a:lnTo>
                      <a:lnTo>
                        <a:pt x="799" y="58"/>
                      </a:lnTo>
                      <a:lnTo>
                        <a:pt x="799" y="57"/>
                      </a:lnTo>
                      <a:lnTo>
                        <a:pt x="799" y="57"/>
                      </a:lnTo>
                      <a:lnTo>
                        <a:pt x="800" y="57"/>
                      </a:lnTo>
                      <a:lnTo>
                        <a:pt x="801" y="57"/>
                      </a:lnTo>
                      <a:lnTo>
                        <a:pt x="801" y="56"/>
                      </a:lnTo>
                      <a:lnTo>
                        <a:pt x="802" y="56"/>
                      </a:lnTo>
                      <a:lnTo>
                        <a:pt x="803" y="56"/>
                      </a:lnTo>
                      <a:lnTo>
                        <a:pt x="803" y="57"/>
                      </a:lnTo>
                      <a:lnTo>
                        <a:pt x="803" y="58"/>
                      </a:lnTo>
                      <a:lnTo>
                        <a:pt x="802" y="58"/>
                      </a:lnTo>
                      <a:lnTo>
                        <a:pt x="802" y="59"/>
                      </a:lnTo>
                      <a:lnTo>
                        <a:pt x="803" y="59"/>
                      </a:lnTo>
                      <a:lnTo>
                        <a:pt x="803" y="59"/>
                      </a:lnTo>
                      <a:lnTo>
                        <a:pt x="804" y="59"/>
                      </a:lnTo>
                      <a:lnTo>
                        <a:pt x="805" y="59"/>
                      </a:lnTo>
                      <a:lnTo>
                        <a:pt x="805" y="58"/>
                      </a:lnTo>
                      <a:lnTo>
                        <a:pt x="805" y="58"/>
                      </a:lnTo>
                      <a:lnTo>
                        <a:pt x="805" y="57"/>
                      </a:lnTo>
                      <a:lnTo>
                        <a:pt x="805" y="56"/>
                      </a:lnTo>
                      <a:lnTo>
                        <a:pt x="806" y="55"/>
                      </a:lnTo>
                      <a:lnTo>
                        <a:pt x="805" y="55"/>
                      </a:lnTo>
                      <a:lnTo>
                        <a:pt x="805" y="55"/>
                      </a:lnTo>
                      <a:lnTo>
                        <a:pt x="806" y="55"/>
                      </a:lnTo>
                      <a:lnTo>
                        <a:pt x="807" y="55"/>
                      </a:lnTo>
                      <a:lnTo>
                        <a:pt x="807" y="55"/>
                      </a:lnTo>
                      <a:lnTo>
                        <a:pt x="808" y="55"/>
                      </a:lnTo>
                      <a:lnTo>
                        <a:pt x="809" y="55"/>
                      </a:lnTo>
                      <a:lnTo>
                        <a:pt x="809" y="55"/>
                      </a:lnTo>
                      <a:lnTo>
                        <a:pt x="810" y="55"/>
                      </a:lnTo>
                      <a:lnTo>
                        <a:pt x="811" y="55"/>
                      </a:lnTo>
                      <a:lnTo>
                        <a:pt x="811" y="55"/>
                      </a:lnTo>
                      <a:lnTo>
                        <a:pt x="812" y="56"/>
                      </a:lnTo>
                      <a:lnTo>
                        <a:pt x="812" y="57"/>
                      </a:lnTo>
                      <a:lnTo>
                        <a:pt x="813" y="58"/>
                      </a:lnTo>
                      <a:lnTo>
                        <a:pt x="813" y="58"/>
                      </a:lnTo>
                      <a:lnTo>
                        <a:pt x="814" y="58"/>
                      </a:lnTo>
                      <a:lnTo>
                        <a:pt x="815" y="58"/>
                      </a:lnTo>
                      <a:lnTo>
                        <a:pt x="815" y="58"/>
                      </a:lnTo>
                      <a:lnTo>
                        <a:pt x="815" y="57"/>
                      </a:lnTo>
                      <a:lnTo>
                        <a:pt x="814" y="57"/>
                      </a:lnTo>
                      <a:lnTo>
                        <a:pt x="813" y="57"/>
                      </a:lnTo>
                      <a:lnTo>
                        <a:pt x="813" y="56"/>
                      </a:lnTo>
                      <a:lnTo>
                        <a:pt x="814" y="56"/>
                      </a:lnTo>
                      <a:lnTo>
                        <a:pt x="815" y="55"/>
                      </a:lnTo>
                      <a:lnTo>
                        <a:pt x="815" y="55"/>
                      </a:lnTo>
                      <a:lnTo>
                        <a:pt x="816" y="55"/>
                      </a:lnTo>
                      <a:lnTo>
                        <a:pt x="817" y="55"/>
                      </a:lnTo>
                      <a:lnTo>
                        <a:pt x="818" y="55"/>
                      </a:lnTo>
                      <a:lnTo>
                        <a:pt x="818" y="55"/>
                      </a:lnTo>
                      <a:lnTo>
                        <a:pt x="819" y="55"/>
                      </a:lnTo>
                      <a:lnTo>
                        <a:pt x="820" y="54"/>
                      </a:lnTo>
                      <a:lnTo>
                        <a:pt x="820" y="54"/>
                      </a:lnTo>
                      <a:lnTo>
                        <a:pt x="821" y="54"/>
                      </a:lnTo>
                      <a:lnTo>
                        <a:pt x="822" y="54"/>
                      </a:lnTo>
                      <a:lnTo>
                        <a:pt x="822" y="55"/>
                      </a:lnTo>
                      <a:lnTo>
                        <a:pt x="822" y="55"/>
                      </a:lnTo>
                      <a:lnTo>
                        <a:pt x="822" y="55"/>
                      </a:lnTo>
                      <a:lnTo>
                        <a:pt x="823" y="55"/>
                      </a:lnTo>
                      <a:lnTo>
                        <a:pt x="823" y="56"/>
                      </a:lnTo>
                      <a:lnTo>
                        <a:pt x="823" y="57"/>
                      </a:lnTo>
                      <a:lnTo>
                        <a:pt x="822" y="58"/>
                      </a:lnTo>
                      <a:lnTo>
                        <a:pt x="822" y="59"/>
                      </a:lnTo>
                      <a:lnTo>
                        <a:pt x="822" y="60"/>
                      </a:lnTo>
                      <a:lnTo>
                        <a:pt x="822" y="61"/>
                      </a:lnTo>
                      <a:lnTo>
                        <a:pt x="821" y="61"/>
                      </a:lnTo>
                      <a:lnTo>
                        <a:pt x="821" y="62"/>
                      </a:lnTo>
                      <a:lnTo>
                        <a:pt x="822" y="62"/>
                      </a:lnTo>
                      <a:lnTo>
                        <a:pt x="822" y="63"/>
                      </a:lnTo>
                      <a:lnTo>
                        <a:pt x="822" y="63"/>
                      </a:lnTo>
                      <a:lnTo>
                        <a:pt x="823" y="63"/>
                      </a:lnTo>
                      <a:lnTo>
                        <a:pt x="825" y="62"/>
                      </a:lnTo>
                      <a:lnTo>
                        <a:pt x="826" y="62"/>
                      </a:lnTo>
                      <a:lnTo>
                        <a:pt x="826" y="62"/>
                      </a:lnTo>
                      <a:lnTo>
                        <a:pt x="826" y="62"/>
                      </a:lnTo>
                      <a:lnTo>
                        <a:pt x="825" y="62"/>
                      </a:lnTo>
                      <a:lnTo>
                        <a:pt x="824" y="62"/>
                      </a:lnTo>
                      <a:lnTo>
                        <a:pt x="824" y="62"/>
                      </a:lnTo>
                      <a:lnTo>
                        <a:pt x="824" y="62"/>
                      </a:lnTo>
                      <a:lnTo>
                        <a:pt x="823" y="61"/>
                      </a:lnTo>
                      <a:lnTo>
                        <a:pt x="823" y="60"/>
                      </a:lnTo>
                      <a:lnTo>
                        <a:pt x="824" y="60"/>
                      </a:lnTo>
                      <a:lnTo>
                        <a:pt x="824" y="59"/>
                      </a:lnTo>
                      <a:lnTo>
                        <a:pt x="825" y="58"/>
                      </a:lnTo>
                      <a:lnTo>
                        <a:pt x="826" y="58"/>
                      </a:lnTo>
                      <a:lnTo>
                        <a:pt x="826" y="58"/>
                      </a:lnTo>
                      <a:lnTo>
                        <a:pt x="826" y="58"/>
                      </a:lnTo>
                      <a:lnTo>
                        <a:pt x="826" y="57"/>
                      </a:lnTo>
                      <a:lnTo>
                        <a:pt x="826" y="56"/>
                      </a:lnTo>
                      <a:lnTo>
                        <a:pt x="827" y="56"/>
                      </a:lnTo>
                      <a:lnTo>
                        <a:pt x="827" y="57"/>
                      </a:lnTo>
                      <a:lnTo>
                        <a:pt x="827" y="56"/>
                      </a:lnTo>
                      <a:lnTo>
                        <a:pt x="828" y="56"/>
                      </a:lnTo>
                      <a:lnTo>
                        <a:pt x="828" y="55"/>
                      </a:lnTo>
                      <a:lnTo>
                        <a:pt x="828" y="55"/>
                      </a:lnTo>
                      <a:lnTo>
                        <a:pt x="829" y="55"/>
                      </a:lnTo>
                      <a:lnTo>
                        <a:pt x="829" y="54"/>
                      </a:lnTo>
                      <a:lnTo>
                        <a:pt x="828" y="54"/>
                      </a:lnTo>
                      <a:lnTo>
                        <a:pt x="828" y="53"/>
                      </a:lnTo>
                      <a:lnTo>
                        <a:pt x="829" y="53"/>
                      </a:lnTo>
                      <a:lnTo>
                        <a:pt x="830" y="53"/>
                      </a:lnTo>
                      <a:lnTo>
                        <a:pt x="830" y="53"/>
                      </a:lnTo>
                      <a:lnTo>
                        <a:pt x="832" y="54"/>
                      </a:lnTo>
                      <a:lnTo>
                        <a:pt x="832" y="54"/>
                      </a:lnTo>
                      <a:lnTo>
                        <a:pt x="833" y="54"/>
                      </a:lnTo>
                      <a:lnTo>
                        <a:pt x="834" y="55"/>
                      </a:lnTo>
                      <a:lnTo>
                        <a:pt x="834" y="55"/>
                      </a:lnTo>
                      <a:lnTo>
                        <a:pt x="835" y="55"/>
                      </a:lnTo>
                      <a:lnTo>
                        <a:pt x="836" y="54"/>
                      </a:lnTo>
                      <a:lnTo>
                        <a:pt x="837" y="54"/>
                      </a:lnTo>
                      <a:lnTo>
                        <a:pt x="837" y="54"/>
                      </a:lnTo>
                      <a:lnTo>
                        <a:pt x="838" y="54"/>
                      </a:lnTo>
                      <a:lnTo>
                        <a:pt x="839" y="54"/>
                      </a:lnTo>
                      <a:lnTo>
                        <a:pt x="839" y="54"/>
                      </a:lnTo>
                      <a:lnTo>
                        <a:pt x="840" y="54"/>
                      </a:lnTo>
                      <a:lnTo>
                        <a:pt x="841" y="53"/>
                      </a:lnTo>
                      <a:lnTo>
                        <a:pt x="841" y="53"/>
                      </a:lnTo>
                      <a:lnTo>
                        <a:pt x="841" y="52"/>
                      </a:lnTo>
                      <a:lnTo>
                        <a:pt x="841" y="51"/>
                      </a:lnTo>
                      <a:lnTo>
                        <a:pt x="841" y="51"/>
                      </a:lnTo>
                      <a:lnTo>
                        <a:pt x="841" y="50"/>
                      </a:lnTo>
                      <a:lnTo>
                        <a:pt x="841" y="49"/>
                      </a:lnTo>
                      <a:lnTo>
                        <a:pt x="841" y="49"/>
                      </a:lnTo>
                      <a:lnTo>
                        <a:pt x="842" y="49"/>
                      </a:lnTo>
                      <a:lnTo>
                        <a:pt x="843" y="49"/>
                      </a:lnTo>
                      <a:lnTo>
                        <a:pt x="843" y="48"/>
                      </a:lnTo>
                      <a:lnTo>
                        <a:pt x="842" y="47"/>
                      </a:lnTo>
                      <a:lnTo>
                        <a:pt x="843" y="47"/>
                      </a:lnTo>
                      <a:lnTo>
                        <a:pt x="843" y="47"/>
                      </a:lnTo>
                      <a:lnTo>
                        <a:pt x="844" y="47"/>
                      </a:lnTo>
                      <a:lnTo>
                        <a:pt x="845" y="47"/>
                      </a:lnTo>
                      <a:lnTo>
                        <a:pt x="845" y="47"/>
                      </a:lnTo>
                      <a:lnTo>
                        <a:pt x="846" y="47"/>
                      </a:lnTo>
                      <a:lnTo>
                        <a:pt x="847" y="47"/>
                      </a:lnTo>
                      <a:lnTo>
                        <a:pt x="847" y="47"/>
                      </a:lnTo>
                      <a:lnTo>
                        <a:pt x="848" y="47"/>
                      </a:lnTo>
                      <a:lnTo>
                        <a:pt x="848" y="46"/>
                      </a:lnTo>
                      <a:lnTo>
                        <a:pt x="849" y="46"/>
                      </a:lnTo>
                      <a:lnTo>
                        <a:pt x="849" y="45"/>
                      </a:lnTo>
                      <a:lnTo>
                        <a:pt x="849" y="45"/>
                      </a:lnTo>
                      <a:lnTo>
                        <a:pt x="850" y="45"/>
                      </a:lnTo>
                      <a:lnTo>
                        <a:pt x="850" y="46"/>
                      </a:lnTo>
                      <a:lnTo>
                        <a:pt x="851" y="46"/>
                      </a:lnTo>
                      <a:lnTo>
                        <a:pt x="851" y="46"/>
                      </a:lnTo>
                      <a:lnTo>
                        <a:pt x="852" y="46"/>
                      </a:lnTo>
                      <a:lnTo>
                        <a:pt x="852" y="45"/>
                      </a:lnTo>
                      <a:lnTo>
                        <a:pt x="852" y="45"/>
                      </a:lnTo>
                      <a:lnTo>
                        <a:pt x="851" y="45"/>
                      </a:lnTo>
                      <a:lnTo>
                        <a:pt x="852" y="45"/>
                      </a:lnTo>
                      <a:lnTo>
                        <a:pt x="852" y="44"/>
                      </a:lnTo>
                      <a:lnTo>
                        <a:pt x="853" y="45"/>
                      </a:lnTo>
                      <a:lnTo>
                        <a:pt x="853" y="45"/>
                      </a:lnTo>
                      <a:lnTo>
                        <a:pt x="853" y="45"/>
                      </a:lnTo>
                      <a:lnTo>
                        <a:pt x="854" y="46"/>
                      </a:lnTo>
                      <a:lnTo>
                        <a:pt x="854" y="47"/>
                      </a:lnTo>
                      <a:lnTo>
                        <a:pt x="855" y="47"/>
                      </a:lnTo>
                      <a:lnTo>
                        <a:pt x="855" y="47"/>
                      </a:lnTo>
                      <a:lnTo>
                        <a:pt x="855" y="46"/>
                      </a:lnTo>
                      <a:lnTo>
                        <a:pt x="855" y="45"/>
                      </a:lnTo>
                      <a:lnTo>
                        <a:pt x="856" y="45"/>
                      </a:lnTo>
                      <a:lnTo>
                        <a:pt x="856" y="46"/>
                      </a:lnTo>
                      <a:lnTo>
                        <a:pt x="856" y="46"/>
                      </a:lnTo>
                      <a:lnTo>
                        <a:pt x="857" y="47"/>
                      </a:lnTo>
                      <a:lnTo>
                        <a:pt x="858" y="47"/>
                      </a:lnTo>
                      <a:lnTo>
                        <a:pt x="858" y="47"/>
                      </a:lnTo>
                      <a:lnTo>
                        <a:pt x="858" y="47"/>
                      </a:lnTo>
                      <a:lnTo>
                        <a:pt x="859" y="47"/>
                      </a:lnTo>
                      <a:lnTo>
                        <a:pt x="860" y="47"/>
                      </a:lnTo>
                      <a:lnTo>
                        <a:pt x="860" y="48"/>
                      </a:lnTo>
                      <a:lnTo>
                        <a:pt x="860" y="48"/>
                      </a:lnTo>
                      <a:lnTo>
                        <a:pt x="861" y="47"/>
                      </a:lnTo>
                      <a:lnTo>
                        <a:pt x="862" y="47"/>
                      </a:lnTo>
                      <a:lnTo>
                        <a:pt x="862" y="47"/>
                      </a:lnTo>
                      <a:lnTo>
                        <a:pt x="861" y="47"/>
                      </a:lnTo>
                      <a:lnTo>
                        <a:pt x="861" y="45"/>
                      </a:lnTo>
                      <a:lnTo>
                        <a:pt x="861" y="45"/>
                      </a:lnTo>
                      <a:lnTo>
                        <a:pt x="862" y="45"/>
                      </a:lnTo>
                      <a:lnTo>
                        <a:pt x="862" y="44"/>
                      </a:lnTo>
                      <a:lnTo>
                        <a:pt x="862" y="44"/>
                      </a:lnTo>
                      <a:lnTo>
                        <a:pt x="863" y="44"/>
                      </a:lnTo>
                      <a:lnTo>
                        <a:pt x="863" y="43"/>
                      </a:lnTo>
                      <a:lnTo>
                        <a:pt x="864" y="43"/>
                      </a:lnTo>
                      <a:lnTo>
                        <a:pt x="864" y="44"/>
                      </a:lnTo>
                      <a:lnTo>
                        <a:pt x="863" y="44"/>
                      </a:lnTo>
                      <a:lnTo>
                        <a:pt x="863" y="45"/>
                      </a:lnTo>
                      <a:lnTo>
                        <a:pt x="863" y="45"/>
                      </a:lnTo>
                      <a:lnTo>
                        <a:pt x="863" y="46"/>
                      </a:lnTo>
                      <a:lnTo>
                        <a:pt x="864" y="46"/>
                      </a:lnTo>
                      <a:lnTo>
                        <a:pt x="864" y="45"/>
                      </a:lnTo>
                      <a:lnTo>
                        <a:pt x="865" y="45"/>
                      </a:lnTo>
                      <a:lnTo>
                        <a:pt x="866" y="45"/>
                      </a:lnTo>
                      <a:lnTo>
                        <a:pt x="866" y="45"/>
                      </a:lnTo>
                      <a:lnTo>
                        <a:pt x="867" y="45"/>
                      </a:lnTo>
                      <a:lnTo>
                        <a:pt x="868" y="45"/>
                      </a:lnTo>
                      <a:lnTo>
                        <a:pt x="868" y="45"/>
                      </a:lnTo>
                      <a:lnTo>
                        <a:pt x="868" y="45"/>
                      </a:lnTo>
                      <a:lnTo>
                        <a:pt x="869" y="45"/>
                      </a:lnTo>
                      <a:lnTo>
                        <a:pt x="870" y="45"/>
                      </a:lnTo>
                      <a:lnTo>
                        <a:pt x="870" y="44"/>
                      </a:lnTo>
                      <a:lnTo>
                        <a:pt x="870" y="44"/>
                      </a:lnTo>
                      <a:lnTo>
                        <a:pt x="870" y="43"/>
                      </a:lnTo>
                      <a:lnTo>
                        <a:pt x="870" y="43"/>
                      </a:lnTo>
                      <a:lnTo>
                        <a:pt x="870" y="42"/>
                      </a:lnTo>
                      <a:lnTo>
                        <a:pt x="871" y="43"/>
                      </a:lnTo>
                      <a:lnTo>
                        <a:pt x="872" y="43"/>
                      </a:lnTo>
                      <a:lnTo>
                        <a:pt x="872" y="44"/>
                      </a:lnTo>
                      <a:lnTo>
                        <a:pt x="872" y="44"/>
                      </a:lnTo>
                      <a:lnTo>
                        <a:pt x="872" y="43"/>
                      </a:lnTo>
                      <a:lnTo>
                        <a:pt x="872" y="43"/>
                      </a:lnTo>
                      <a:lnTo>
                        <a:pt x="872" y="42"/>
                      </a:lnTo>
                      <a:lnTo>
                        <a:pt x="872" y="41"/>
                      </a:lnTo>
                      <a:lnTo>
                        <a:pt x="873" y="41"/>
                      </a:lnTo>
                      <a:lnTo>
                        <a:pt x="874" y="41"/>
                      </a:lnTo>
                      <a:lnTo>
                        <a:pt x="874" y="41"/>
                      </a:lnTo>
                      <a:lnTo>
                        <a:pt x="875" y="41"/>
                      </a:lnTo>
                      <a:lnTo>
                        <a:pt x="875" y="42"/>
                      </a:lnTo>
                      <a:lnTo>
                        <a:pt x="877" y="43"/>
                      </a:lnTo>
                      <a:lnTo>
                        <a:pt x="877" y="43"/>
                      </a:lnTo>
                      <a:lnTo>
                        <a:pt x="877" y="44"/>
                      </a:lnTo>
                      <a:lnTo>
                        <a:pt x="878" y="44"/>
                      </a:lnTo>
                      <a:lnTo>
                        <a:pt x="878" y="45"/>
                      </a:lnTo>
                      <a:lnTo>
                        <a:pt x="879" y="45"/>
                      </a:lnTo>
                      <a:lnTo>
                        <a:pt x="879" y="45"/>
                      </a:lnTo>
                      <a:lnTo>
                        <a:pt x="879" y="46"/>
                      </a:lnTo>
                      <a:lnTo>
                        <a:pt x="880" y="46"/>
                      </a:lnTo>
                      <a:lnTo>
                        <a:pt x="880" y="47"/>
                      </a:lnTo>
                      <a:lnTo>
                        <a:pt x="881" y="47"/>
                      </a:lnTo>
                      <a:lnTo>
                        <a:pt x="881" y="47"/>
                      </a:lnTo>
                      <a:lnTo>
                        <a:pt x="882" y="47"/>
                      </a:lnTo>
                      <a:lnTo>
                        <a:pt x="882" y="46"/>
                      </a:lnTo>
                      <a:lnTo>
                        <a:pt x="883" y="45"/>
                      </a:lnTo>
                      <a:lnTo>
                        <a:pt x="883" y="45"/>
                      </a:lnTo>
                      <a:lnTo>
                        <a:pt x="884" y="45"/>
                      </a:lnTo>
                      <a:lnTo>
                        <a:pt x="885" y="45"/>
                      </a:lnTo>
                      <a:lnTo>
                        <a:pt x="884" y="44"/>
                      </a:lnTo>
                      <a:lnTo>
                        <a:pt x="883" y="43"/>
                      </a:lnTo>
                      <a:lnTo>
                        <a:pt x="883" y="43"/>
                      </a:lnTo>
                      <a:lnTo>
                        <a:pt x="884" y="42"/>
                      </a:lnTo>
                      <a:lnTo>
                        <a:pt x="885" y="42"/>
                      </a:lnTo>
                      <a:lnTo>
                        <a:pt x="885" y="43"/>
                      </a:lnTo>
                      <a:lnTo>
                        <a:pt x="885" y="43"/>
                      </a:lnTo>
                      <a:lnTo>
                        <a:pt x="886" y="43"/>
                      </a:lnTo>
                      <a:lnTo>
                        <a:pt x="886" y="43"/>
                      </a:lnTo>
                      <a:lnTo>
                        <a:pt x="886" y="42"/>
                      </a:lnTo>
                      <a:lnTo>
                        <a:pt x="885" y="42"/>
                      </a:lnTo>
                      <a:lnTo>
                        <a:pt x="885" y="41"/>
                      </a:lnTo>
                      <a:lnTo>
                        <a:pt x="885" y="41"/>
                      </a:lnTo>
                      <a:lnTo>
                        <a:pt x="884" y="41"/>
                      </a:lnTo>
                      <a:lnTo>
                        <a:pt x="883" y="41"/>
                      </a:lnTo>
                      <a:lnTo>
                        <a:pt x="884" y="41"/>
                      </a:lnTo>
                      <a:lnTo>
                        <a:pt x="884" y="40"/>
                      </a:lnTo>
                      <a:lnTo>
                        <a:pt x="884" y="39"/>
                      </a:lnTo>
                      <a:lnTo>
                        <a:pt x="884" y="39"/>
                      </a:lnTo>
                      <a:lnTo>
                        <a:pt x="885" y="38"/>
                      </a:lnTo>
                      <a:lnTo>
                        <a:pt x="885" y="38"/>
                      </a:lnTo>
                      <a:lnTo>
                        <a:pt x="885" y="39"/>
                      </a:lnTo>
                      <a:lnTo>
                        <a:pt x="886" y="39"/>
                      </a:lnTo>
                      <a:lnTo>
                        <a:pt x="887" y="39"/>
                      </a:lnTo>
                      <a:lnTo>
                        <a:pt x="887" y="38"/>
                      </a:lnTo>
                      <a:lnTo>
                        <a:pt x="888" y="38"/>
                      </a:lnTo>
                      <a:lnTo>
                        <a:pt x="889" y="38"/>
                      </a:lnTo>
                      <a:lnTo>
                        <a:pt x="889" y="38"/>
                      </a:lnTo>
                      <a:lnTo>
                        <a:pt x="889" y="37"/>
                      </a:lnTo>
                      <a:lnTo>
                        <a:pt x="889" y="36"/>
                      </a:lnTo>
                      <a:lnTo>
                        <a:pt x="889" y="36"/>
                      </a:lnTo>
                      <a:lnTo>
                        <a:pt x="889" y="35"/>
                      </a:lnTo>
                      <a:lnTo>
                        <a:pt x="890" y="35"/>
                      </a:lnTo>
                      <a:lnTo>
                        <a:pt x="891" y="34"/>
                      </a:lnTo>
                      <a:lnTo>
                        <a:pt x="891" y="34"/>
                      </a:lnTo>
                      <a:lnTo>
                        <a:pt x="892" y="34"/>
                      </a:lnTo>
                      <a:lnTo>
                        <a:pt x="893" y="34"/>
                      </a:lnTo>
                      <a:lnTo>
                        <a:pt x="894" y="34"/>
                      </a:lnTo>
                      <a:lnTo>
                        <a:pt x="894" y="34"/>
                      </a:lnTo>
                      <a:lnTo>
                        <a:pt x="895" y="33"/>
                      </a:lnTo>
                      <a:lnTo>
                        <a:pt x="896" y="33"/>
                      </a:lnTo>
                      <a:lnTo>
                        <a:pt x="896" y="34"/>
                      </a:lnTo>
                      <a:lnTo>
                        <a:pt x="896" y="34"/>
                      </a:lnTo>
                      <a:lnTo>
                        <a:pt x="896" y="34"/>
                      </a:lnTo>
                      <a:lnTo>
                        <a:pt x="897" y="34"/>
                      </a:lnTo>
                      <a:lnTo>
                        <a:pt x="898" y="34"/>
                      </a:lnTo>
                      <a:lnTo>
                        <a:pt x="898" y="34"/>
                      </a:lnTo>
                      <a:lnTo>
                        <a:pt x="898" y="34"/>
                      </a:lnTo>
                      <a:lnTo>
                        <a:pt x="899" y="34"/>
                      </a:lnTo>
                      <a:lnTo>
                        <a:pt x="900" y="34"/>
                      </a:lnTo>
                      <a:lnTo>
                        <a:pt x="900" y="34"/>
                      </a:lnTo>
                      <a:lnTo>
                        <a:pt x="901" y="34"/>
                      </a:lnTo>
                      <a:lnTo>
                        <a:pt x="902" y="34"/>
                      </a:lnTo>
                      <a:lnTo>
                        <a:pt x="902" y="34"/>
                      </a:lnTo>
                      <a:lnTo>
                        <a:pt x="902" y="34"/>
                      </a:lnTo>
                      <a:lnTo>
                        <a:pt x="902" y="35"/>
                      </a:lnTo>
                      <a:lnTo>
                        <a:pt x="903" y="34"/>
                      </a:lnTo>
                      <a:lnTo>
                        <a:pt x="904" y="34"/>
                      </a:lnTo>
                      <a:lnTo>
                        <a:pt x="904" y="34"/>
                      </a:lnTo>
                      <a:lnTo>
                        <a:pt x="904" y="34"/>
                      </a:lnTo>
                      <a:lnTo>
                        <a:pt x="905" y="34"/>
                      </a:lnTo>
                      <a:lnTo>
                        <a:pt x="906" y="34"/>
                      </a:lnTo>
                      <a:lnTo>
                        <a:pt x="906" y="34"/>
                      </a:lnTo>
                      <a:lnTo>
                        <a:pt x="906" y="33"/>
                      </a:lnTo>
                      <a:lnTo>
                        <a:pt x="906" y="33"/>
                      </a:lnTo>
                      <a:lnTo>
                        <a:pt x="906" y="32"/>
                      </a:lnTo>
                      <a:lnTo>
                        <a:pt x="907" y="32"/>
                      </a:lnTo>
                      <a:lnTo>
                        <a:pt x="908" y="32"/>
                      </a:lnTo>
                      <a:lnTo>
                        <a:pt x="908" y="33"/>
                      </a:lnTo>
                      <a:lnTo>
                        <a:pt x="908" y="33"/>
                      </a:lnTo>
                      <a:lnTo>
                        <a:pt x="909" y="34"/>
                      </a:lnTo>
                      <a:lnTo>
                        <a:pt x="909" y="34"/>
                      </a:lnTo>
                      <a:lnTo>
                        <a:pt x="909" y="35"/>
                      </a:lnTo>
                      <a:lnTo>
                        <a:pt x="908" y="35"/>
                      </a:lnTo>
                      <a:lnTo>
                        <a:pt x="908" y="36"/>
                      </a:lnTo>
                      <a:lnTo>
                        <a:pt x="908" y="36"/>
                      </a:lnTo>
                      <a:lnTo>
                        <a:pt x="908" y="37"/>
                      </a:lnTo>
                      <a:lnTo>
                        <a:pt x="908" y="37"/>
                      </a:lnTo>
                      <a:lnTo>
                        <a:pt x="908" y="38"/>
                      </a:lnTo>
                      <a:lnTo>
                        <a:pt x="908" y="39"/>
                      </a:lnTo>
                      <a:lnTo>
                        <a:pt x="908" y="39"/>
                      </a:lnTo>
                      <a:lnTo>
                        <a:pt x="908" y="39"/>
                      </a:lnTo>
                      <a:lnTo>
                        <a:pt x="908" y="40"/>
                      </a:lnTo>
                      <a:lnTo>
                        <a:pt x="909" y="40"/>
                      </a:lnTo>
                      <a:lnTo>
                        <a:pt x="910" y="41"/>
                      </a:lnTo>
                      <a:lnTo>
                        <a:pt x="910" y="41"/>
                      </a:lnTo>
                      <a:lnTo>
                        <a:pt x="911" y="40"/>
                      </a:lnTo>
                      <a:lnTo>
                        <a:pt x="911" y="39"/>
                      </a:lnTo>
                      <a:lnTo>
                        <a:pt x="911" y="39"/>
                      </a:lnTo>
                      <a:lnTo>
                        <a:pt x="912" y="39"/>
                      </a:lnTo>
                      <a:lnTo>
                        <a:pt x="912" y="38"/>
                      </a:lnTo>
                      <a:lnTo>
                        <a:pt x="912" y="37"/>
                      </a:lnTo>
                      <a:lnTo>
                        <a:pt x="913" y="36"/>
                      </a:lnTo>
                      <a:lnTo>
                        <a:pt x="913" y="36"/>
                      </a:lnTo>
                      <a:lnTo>
                        <a:pt x="913" y="36"/>
                      </a:lnTo>
                      <a:lnTo>
                        <a:pt x="914" y="36"/>
                      </a:lnTo>
                      <a:lnTo>
                        <a:pt x="914" y="35"/>
                      </a:lnTo>
                      <a:lnTo>
                        <a:pt x="913" y="35"/>
                      </a:lnTo>
                      <a:lnTo>
                        <a:pt x="913" y="35"/>
                      </a:lnTo>
                      <a:lnTo>
                        <a:pt x="912" y="35"/>
                      </a:lnTo>
                      <a:lnTo>
                        <a:pt x="912" y="34"/>
                      </a:lnTo>
                      <a:lnTo>
                        <a:pt x="912" y="34"/>
                      </a:lnTo>
                      <a:lnTo>
                        <a:pt x="913" y="34"/>
                      </a:lnTo>
                      <a:lnTo>
                        <a:pt x="913" y="33"/>
                      </a:lnTo>
                      <a:lnTo>
                        <a:pt x="913" y="33"/>
                      </a:lnTo>
                      <a:lnTo>
                        <a:pt x="914" y="33"/>
                      </a:lnTo>
                      <a:lnTo>
                        <a:pt x="915" y="33"/>
                      </a:lnTo>
                      <a:lnTo>
                        <a:pt x="915" y="32"/>
                      </a:lnTo>
                      <a:lnTo>
                        <a:pt x="916" y="32"/>
                      </a:lnTo>
                      <a:lnTo>
                        <a:pt x="917" y="32"/>
                      </a:lnTo>
                      <a:lnTo>
                        <a:pt x="917" y="33"/>
                      </a:lnTo>
                      <a:lnTo>
                        <a:pt x="917" y="33"/>
                      </a:lnTo>
                      <a:lnTo>
                        <a:pt x="918" y="33"/>
                      </a:lnTo>
                      <a:lnTo>
                        <a:pt x="919" y="33"/>
                      </a:lnTo>
                      <a:lnTo>
                        <a:pt x="919" y="33"/>
                      </a:lnTo>
                      <a:lnTo>
                        <a:pt x="920" y="33"/>
                      </a:lnTo>
                      <a:lnTo>
                        <a:pt x="921" y="32"/>
                      </a:lnTo>
                      <a:lnTo>
                        <a:pt x="921" y="32"/>
                      </a:lnTo>
                      <a:lnTo>
                        <a:pt x="921" y="33"/>
                      </a:lnTo>
                      <a:lnTo>
                        <a:pt x="922" y="33"/>
                      </a:lnTo>
                      <a:lnTo>
                        <a:pt x="923" y="33"/>
                      </a:lnTo>
                      <a:lnTo>
                        <a:pt x="923" y="33"/>
                      </a:lnTo>
                      <a:lnTo>
                        <a:pt x="924" y="33"/>
                      </a:lnTo>
                      <a:lnTo>
                        <a:pt x="925" y="33"/>
                      </a:lnTo>
                      <a:lnTo>
                        <a:pt x="925" y="34"/>
                      </a:lnTo>
                      <a:lnTo>
                        <a:pt x="925" y="34"/>
                      </a:lnTo>
                      <a:lnTo>
                        <a:pt x="925" y="34"/>
                      </a:lnTo>
                      <a:lnTo>
                        <a:pt x="925" y="35"/>
                      </a:lnTo>
                      <a:lnTo>
                        <a:pt x="925" y="36"/>
                      </a:lnTo>
                      <a:lnTo>
                        <a:pt x="926" y="36"/>
                      </a:lnTo>
                      <a:lnTo>
                        <a:pt x="926" y="38"/>
                      </a:lnTo>
                      <a:lnTo>
                        <a:pt x="927" y="39"/>
                      </a:lnTo>
                      <a:lnTo>
                        <a:pt x="927" y="39"/>
                      </a:lnTo>
                      <a:lnTo>
                        <a:pt x="927" y="40"/>
                      </a:lnTo>
                      <a:lnTo>
                        <a:pt x="928" y="40"/>
                      </a:lnTo>
                      <a:lnTo>
                        <a:pt x="929" y="40"/>
                      </a:lnTo>
                      <a:lnTo>
                        <a:pt x="929" y="39"/>
                      </a:lnTo>
                      <a:lnTo>
                        <a:pt x="930" y="39"/>
                      </a:lnTo>
                      <a:lnTo>
                        <a:pt x="930" y="38"/>
                      </a:lnTo>
                      <a:lnTo>
                        <a:pt x="932" y="36"/>
                      </a:lnTo>
                      <a:lnTo>
                        <a:pt x="932" y="36"/>
                      </a:lnTo>
                      <a:lnTo>
                        <a:pt x="932" y="36"/>
                      </a:lnTo>
                      <a:lnTo>
                        <a:pt x="933" y="35"/>
                      </a:lnTo>
                      <a:lnTo>
                        <a:pt x="936" y="37"/>
                      </a:lnTo>
                      <a:lnTo>
                        <a:pt x="937" y="36"/>
                      </a:lnTo>
                      <a:lnTo>
                        <a:pt x="938" y="36"/>
                      </a:lnTo>
                      <a:lnTo>
                        <a:pt x="938" y="37"/>
                      </a:lnTo>
                      <a:lnTo>
                        <a:pt x="938" y="37"/>
                      </a:lnTo>
                      <a:lnTo>
                        <a:pt x="938" y="38"/>
                      </a:lnTo>
                      <a:lnTo>
                        <a:pt x="939" y="39"/>
                      </a:lnTo>
                      <a:lnTo>
                        <a:pt x="939" y="38"/>
                      </a:lnTo>
                      <a:lnTo>
                        <a:pt x="939" y="37"/>
                      </a:lnTo>
                      <a:lnTo>
                        <a:pt x="938" y="37"/>
                      </a:lnTo>
                      <a:lnTo>
                        <a:pt x="938" y="36"/>
                      </a:lnTo>
                      <a:lnTo>
                        <a:pt x="939" y="36"/>
                      </a:lnTo>
                      <a:lnTo>
                        <a:pt x="940" y="36"/>
                      </a:lnTo>
                      <a:lnTo>
                        <a:pt x="940" y="36"/>
                      </a:lnTo>
                      <a:lnTo>
                        <a:pt x="941" y="37"/>
                      </a:lnTo>
                      <a:lnTo>
                        <a:pt x="942" y="37"/>
                      </a:lnTo>
                      <a:lnTo>
                        <a:pt x="942" y="37"/>
                      </a:lnTo>
                      <a:lnTo>
                        <a:pt x="943" y="37"/>
                      </a:lnTo>
                      <a:lnTo>
                        <a:pt x="944" y="36"/>
                      </a:lnTo>
                      <a:lnTo>
                        <a:pt x="943" y="36"/>
                      </a:lnTo>
                      <a:lnTo>
                        <a:pt x="943" y="36"/>
                      </a:lnTo>
                      <a:lnTo>
                        <a:pt x="942" y="36"/>
                      </a:lnTo>
                      <a:lnTo>
                        <a:pt x="942" y="36"/>
                      </a:lnTo>
                      <a:lnTo>
                        <a:pt x="941" y="36"/>
                      </a:lnTo>
                      <a:lnTo>
                        <a:pt x="941" y="35"/>
                      </a:lnTo>
                      <a:lnTo>
                        <a:pt x="941" y="34"/>
                      </a:lnTo>
                      <a:lnTo>
                        <a:pt x="941" y="34"/>
                      </a:lnTo>
                      <a:lnTo>
                        <a:pt x="940" y="33"/>
                      </a:lnTo>
                      <a:lnTo>
                        <a:pt x="940" y="32"/>
                      </a:lnTo>
                      <a:lnTo>
                        <a:pt x="940" y="32"/>
                      </a:lnTo>
                      <a:lnTo>
                        <a:pt x="941" y="31"/>
                      </a:lnTo>
                      <a:lnTo>
                        <a:pt x="941" y="30"/>
                      </a:lnTo>
                      <a:lnTo>
                        <a:pt x="941" y="30"/>
                      </a:lnTo>
                      <a:lnTo>
                        <a:pt x="942" y="29"/>
                      </a:lnTo>
                      <a:lnTo>
                        <a:pt x="942" y="28"/>
                      </a:lnTo>
                      <a:lnTo>
                        <a:pt x="943" y="28"/>
                      </a:lnTo>
                      <a:lnTo>
                        <a:pt x="944" y="28"/>
                      </a:lnTo>
                      <a:lnTo>
                        <a:pt x="944" y="28"/>
                      </a:lnTo>
                      <a:lnTo>
                        <a:pt x="945" y="28"/>
                      </a:lnTo>
                      <a:lnTo>
                        <a:pt x="946" y="28"/>
                      </a:lnTo>
                      <a:lnTo>
                        <a:pt x="946" y="27"/>
                      </a:lnTo>
                      <a:lnTo>
                        <a:pt x="947" y="27"/>
                      </a:lnTo>
                      <a:lnTo>
                        <a:pt x="947" y="26"/>
                      </a:lnTo>
                      <a:lnTo>
                        <a:pt x="948" y="26"/>
                      </a:lnTo>
                      <a:lnTo>
                        <a:pt x="948" y="26"/>
                      </a:lnTo>
                      <a:lnTo>
                        <a:pt x="949" y="26"/>
                      </a:lnTo>
                      <a:lnTo>
                        <a:pt x="949" y="26"/>
                      </a:lnTo>
                      <a:lnTo>
                        <a:pt x="949" y="26"/>
                      </a:lnTo>
                      <a:lnTo>
                        <a:pt x="950" y="26"/>
                      </a:lnTo>
                      <a:lnTo>
                        <a:pt x="950" y="27"/>
                      </a:lnTo>
                      <a:lnTo>
                        <a:pt x="950" y="28"/>
                      </a:lnTo>
                      <a:lnTo>
                        <a:pt x="951" y="28"/>
                      </a:lnTo>
                      <a:lnTo>
                        <a:pt x="951" y="28"/>
                      </a:lnTo>
                      <a:lnTo>
                        <a:pt x="952" y="28"/>
                      </a:lnTo>
                      <a:lnTo>
                        <a:pt x="952" y="27"/>
                      </a:lnTo>
                      <a:lnTo>
                        <a:pt x="953" y="27"/>
                      </a:lnTo>
                      <a:lnTo>
                        <a:pt x="953" y="26"/>
                      </a:lnTo>
                      <a:lnTo>
                        <a:pt x="953" y="26"/>
                      </a:lnTo>
                      <a:lnTo>
                        <a:pt x="954" y="26"/>
                      </a:lnTo>
                      <a:lnTo>
                        <a:pt x="954" y="26"/>
                      </a:lnTo>
                      <a:lnTo>
                        <a:pt x="953" y="26"/>
                      </a:lnTo>
                      <a:lnTo>
                        <a:pt x="953" y="25"/>
                      </a:lnTo>
                      <a:lnTo>
                        <a:pt x="954" y="25"/>
                      </a:lnTo>
                      <a:lnTo>
                        <a:pt x="954" y="24"/>
                      </a:lnTo>
                      <a:lnTo>
                        <a:pt x="954" y="24"/>
                      </a:lnTo>
                      <a:lnTo>
                        <a:pt x="955" y="24"/>
                      </a:lnTo>
                      <a:lnTo>
                        <a:pt x="955" y="24"/>
                      </a:lnTo>
                      <a:lnTo>
                        <a:pt x="956" y="24"/>
                      </a:lnTo>
                      <a:lnTo>
                        <a:pt x="956" y="25"/>
                      </a:lnTo>
                      <a:lnTo>
                        <a:pt x="956" y="26"/>
                      </a:lnTo>
                      <a:lnTo>
                        <a:pt x="955" y="26"/>
                      </a:lnTo>
                      <a:lnTo>
                        <a:pt x="956" y="26"/>
                      </a:lnTo>
                      <a:lnTo>
                        <a:pt x="957" y="26"/>
                      </a:lnTo>
                      <a:lnTo>
                        <a:pt x="957" y="27"/>
                      </a:lnTo>
                      <a:lnTo>
                        <a:pt x="957" y="27"/>
                      </a:lnTo>
                      <a:lnTo>
                        <a:pt x="958" y="27"/>
                      </a:lnTo>
                      <a:lnTo>
                        <a:pt x="959" y="27"/>
                      </a:lnTo>
                      <a:lnTo>
                        <a:pt x="959" y="28"/>
                      </a:lnTo>
                      <a:lnTo>
                        <a:pt x="959" y="28"/>
                      </a:lnTo>
                      <a:lnTo>
                        <a:pt x="959" y="27"/>
                      </a:lnTo>
                      <a:lnTo>
                        <a:pt x="960" y="26"/>
                      </a:lnTo>
                      <a:lnTo>
                        <a:pt x="960" y="26"/>
                      </a:lnTo>
                      <a:lnTo>
                        <a:pt x="961" y="25"/>
                      </a:lnTo>
                      <a:lnTo>
                        <a:pt x="961" y="25"/>
                      </a:lnTo>
                      <a:lnTo>
                        <a:pt x="962" y="25"/>
                      </a:lnTo>
                      <a:lnTo>
                        <a:pt x="963" y="25"/>
                      </a:lnTo>
                      <a:lnTo>
                        <a:pt x="963" y="24"/>
                      </a:lnTo>
                      <a:lnTo>
                        <a:pt x="963" y="24"/>
                      </a:lnTo>
                      <a:lnTo>
                        <a:pt x="963" y="24"/>
                      </a:lnTo>
                      <a:lnTo>
                        <a:pt x="964" y="24"/>
                      </a:lnTo>
                      <a:lnTo>
                        <a:pt x="965" y="24"/>
                      </a:lnTo>
                      <a:lnTo>
                        <a:pt x="965" y="24"/>
                      </a:lnTo>
                      <a:lnTo>
                        <a:pt x="966" y="24"/>
                      </a:lnTo>
                      <a:lnTo>
                        <a:pt x="967" y="24"/>
                      </a:lnTo>
                      <a:lnTo>
                        <a:pt x="968" y="24"/>
                      </a:lnTo>
                      <a:lnTo>
                        <a:pt x="968" y="24"/>
                      </a:lnTo>
                      <a:lnTo>
                        <a:pt x="968" y="25"/>
                      </a:lnTo>
                      <a:lnTo>
                        <a:pt x="968" y="26"/>
                      </a:lnTo>
                      <a:lnTo>
                        <a:pt x="968" y="26"/>
                      </a:lnTo>
                      <a:lnTo>
                        <a:pt x="969" y="26"/>
                      </a:lnTo>
                      <a:lnTo>
                        <a:pt x="970" y="27"/>
                      </a:lnTo>
                      <a:lnTo>
                        <a:pt x="970" y="28"/>
                      </a:lnTo>
                      <a:lnTo>
                        <a:pt x="970" y="28"/>
                      </a:lnTo>
                      <a:lnTo>
                        <a:pt x="969" y="28"/>
                      </a:lnTo>
                      <a:lnTo>
                        <a:pt x="968" y="29"/>
                      </a:lnTo>
                      <a:lnTo>
                        <a:pt x="968" y="30"/>
                      </a:lnTo>
                      <a:lnTo>
                        <a:pt x="968" y="30"/>
                      </a:lnTo>
                      <a:lnTo>
                        <a:pt x="968" y="31"/>
                      </a:lnTo>
                      <a:lnTo>
                        <a:pt x="968" y="32"/>
                      </a:lnTo>
                      <a:lnTo>
                        <a:pt x="968" y="32"/>
                      </a:lnTo>
                      <a:lnTo>
                        <a:pt x="967" y="32"/>
                      </a:lnTo>
                      <a:lnTo>
                        <a:pt x="967" y="33"/>
                      </a:lnTo>
                      <a:lnTo>
                        <a:pt x="968" y="34"/>
                      </a:lnTo>
                      <a:lnTo>
                        <a:pt x="968" y="34"/>
                      </a:lnTo>
                      <a:lnTo>
                        <a:pt x="968" y="34"/>
                      </a:lnTo>
                      <a:lnTo>
                        <a:pt x="969" y="35"/>
                      </a:lnTo>
                      <a:lnTo>
                        <a:pt x="970" y="35"/>
                      </a:lnTo>
                      <a:lnTo>
                        <a:pt x="972" y="35"/>
                      </a:lnTo>
                      <a:lnTo>
                        <a:pt x="972" y="35"/>
                      </a:lnTo>
                      <a:lnTo>
                        <a:pt x="972" y="34"/>
                      </a:lnTo>
                      <a:lnTo>
                        <a:pt x="973" y="34"/>
                      </a:lnTo>
                      <a:lnTo>
                        <a:pt x="974" y="34"/>
                      </a:lnTo>
                      <a:lnTo>
                        <a:pt x="974" y="33"/>
                      </a:lnTo>
                      <a:lnTo>
                        <a:pt x="974" y="34"/>
                      </a:lnTo>
                      <a:lnTo>
                        <a:pt x="975" y="34"/>
                      </a:lnTo>
                      <a:lnTo>
                        <a:pt x="976" y="34"/>
                      </a:lnTo>
                      <a:lnTo>
                        <a:pt x="976" y="33"/>
                      </a:lnTo>
                      <a:lnTo>
                        <a:pt x="975" y="33"/>
                      </a:lnTo>
                      <a:lnTo>
                        <a:pt x="975" y="32"/>
                      </a:lnTo>
                      <a:lnTo>
                        <a:pt x="974" y="32"/>
                      </a:lnTo>
                      <a:lnTo>
                        <a:pt x="974" y="32"/>
                      </a:lnTo>
                      <a:lnTo>
                        <a:pt x="976" y="31"/>
                      </a:lnTo>
                      <a:lnTo>
                        <a:pt x="976" y="30"/>
                      </a:lnTo>
                      <a:lnTo>
                        <a:pt x="977" y="30"/>
                      </a:lnTo>
                      <a:lnTo>
                        <a:pt x="978" y="30"/>
                      </a:lnTo>
                      <a:lnTo>
                        <a:pt x="978" y="29"/>
                      </a:lnTo>
                      <a:lnTo>
                        <a:pt x="978" y="28"/>
                      </a:lnTo>
                      <a:lnTo>
                        <a:pt x="978" y="28"/>
                      </a:lnTo>
                      <a:lnTo>
                        <a:pt x="979" y="27"/>
                      </a:lnTo>
                      <a:lnTo>
                        <a:pt x="980" y="27"/>
                      </a:lnTo>
                      <a:lnTo>
                        <a:pt x="980" y="27"/>
                      </a:lnTo>
                      <a:lnTo>
                        <a:pt x="981" y="27"/>
                      </a:lnTo>
                      <a:lnTo>
                        <a:pt x="981" y="26"/>
                      </a:lnTo>
                      <a:lnTo>
                        <a:pt x="981" y="26"/>
                      </a:lnTo>
                      <a:lnTo>
                        <a:pt x="980" y="25"/>
                      </a:lnTo>
                      <a:lnTo>
                        <a:pt x="981" y="25"/>
                      </a:lnTo>
                      <a:lnTo>
                        <a:pt x="981" y="24"/>
                      </a:lnTo>
                      <a:lnTo>
                        <a:pt x="982" y="24"/>
                      </a:lnTo>
                      <a:lnTo>
                        <a:pt x="982" y="24"/>
                      </a:lnTo>
                      <a:lnTo>
                        <a:pt x="983" y="25"/>
                      </a:lnTo>
                      <a:lnTo>
                        <a:pt x="984" y="25"/>
                      </a:lnTo>
                      <a:lnTo>
                        <a:pt x="984" y="26"/>
                      </a:lnTo>
                      <a:lnTo>
                        <a:pt x="984" y="26"/>
                      </a:lnTo>
                      <a:lnTo>
                        <a:pt x="985" y="25"/>
                      </a:lnTo>
                      <a:lnTo>
                        <a:pt x="986" y="25"/>
                      </a:lnTo>
                      <a:lnTo>
                        <a:pt x="986" y="24"/>
                      </a:lnTo>
                      <a:lnTo>
                        <a:pt x="987" y="24"/>
                      </a:lnTo>
                      <a:lnTo>
                        <a:pt x="987" y="25"/>
                      </a:lnTo>
                      <a:lnTo>
                        <a:pt x="986" y="26"/>
                      </a:lnTo>
                      <a:lnTo>
                        <a:pt x="986" y="26"/>
                      </a:lnTo>
                      <a:lnTo>
                        <a:pt x="986" y="27"/>
                      </a:lnTo>
                      <a:lnTo>
                        <a:pt x="985" y="27"/>
                      </a:lnTo>
                      <a:lnTo>
                        <a:pt x="985" y="28"/>
                      </a:lnTo>
                      <a:lnTo>
                        <a:pt x="984" y="28"/>
                      </a:lnTo>
                      <a:lnTo>
                        <a:pt x="983" y="28"/>
                      </a:lnTo>
                      <a:lnTo>
                        <a:pt x="983" y="28"/>
                      </a:lnTo>
                      <a:lnTo>
                        <a:pt x="983" y="29"/>
                      </a:lnTo>
                      <a:lnTo>
                        <a:pt x="983" y="30"/>
                      </a:lnTo>
                      <a:lnTo>
                        <a:pt x="984" y="30"/>
                      </a:lnTo>
                      <a:lnTo>
                        <a:pt x="984" y="30"/>
                      </a:lnTo>
                      <a:lnTo>
                        <a:pt x="984" y="31"/>
                      </a:lnTo>
                      <a:lnTo>
                        <a:pt x="984" y="32"/>
                      </a:lnTo>
                      <a:lnTo>
                        <a:pt x="985" y="33"/>
                      </a:lnTo>
                      <a:lnTo>
                        <a:pt x="986" y="33"/>
                      </a:lnTo>
                      <a:lnTo>
                        <a:pt x="987" y="32"/>
                      </a:lnTo>
                      <a:lnTo>
                        <a:pt x="987" y="32"/>
                      </a:lnTo>
                      <a:lnTo>
                        <a:pt x="987" y="33"/>
                      </a:lnTo>
                      <a:lnTo>
                        <a:pt x="987" y="34"/>
                      </a:lnTo>
                      <a:lnTo>
                        <a:pt x="988" y="34"/>
                      </a:lnTo>
                      <a:lnTo>
                        <a:pt x="989" y="33"/>
                      </a:lnTo>
                      <a:lnTo>
                        <a:pt x="989" y="32"/>
                      </a:lnTo>
                      <a:lnTo>
                        <a:pt x="990" y="32"/>
                      </a:lnTo>
                      <a:lnTo>
                        <a:pt x="991" y="32"/>
                      </a:lnTo>
                      <a:lnTo>
                        <a:pt x="991" y="32"/>
                      </a:lnTo>
                      <a:lnTo>
                        <a:pt x="991" y="31"/>
                      </a:lnTo>
                      <a:lnTo>
                        <a:pt x="991" y="30"/>
                      </a:lnTo>
                      <a:lnTo>
                        <a:pt x="991" y="30"/>
                      </a:lnTo>
                      <a:lnTo>
                        <a:pt x="991" y="28"/>
                      </a:lnTo>
                      <a:lnTo>
                        <a:pt x="992" y="28"/>
                      </a:lnTo>
                      <a:lnTo>
                        <a:pt x="993" y="28"/>
                      </a:lnTo>
                      <a:lnTo>
                        <a:pt x="993" y="27"/>
                      </a:lnTo>
                      <a:lnTo>
                        <a:pt x="993" y="26"/>
                      </a:lnTo>
                      <a:lnTo>
                        <a:pt x="993" y="26"/>
                      </a:lnTo>
                      <a:lnTo>
                        <a:pt x="992" y="25"/>
                      </a:lnTo>
                      <a:lnTo>
                        <a:pt x="992" y="24"/>
                      </a:lnTo>
                      <a:lnTo>
                        <a:pt x="991" y="23"/>
                      </a:lnTo>
                      <a:lnTo>
                        <a:pt x="991" y="22"/>
                      </a:lnTo>
                      <a:lnTo>
                        <a:pt x="991" y="21"/>
                      </a:lnTo>
                      <a:lnTo>
                        <a:pt x="991" y="20"/>
                      </a:lnTo>
                      <a:lnTo>
                        <a:pt x="992" y="20"/>
                      </a:lnTo>
                      <a:lnTo>
                        <a:pt x="993" y="19"/>
                      </a:lnTo>
                      <a:lnTo>
                        <a:pt x="993" y="19"/>
                      </a:lnTo>
                      <a:lnTo>
                        <a:pt x="994" y="19"/>
                      </a:lnTo>
                      <a:lnTo>
                        <a:pt x="995" y="19"/>
                      </a:lnTo>
                      <a:lnTo>
                        <a:pt x="995" y="20"/>
                      </a:lnTo>
                      <a:lnTo>
                        <a:pt x="995" y="20"/>
                      </a:lnTo>
                      <a:lnTo>
                        <a:pt x="994" y="21"/>
                      </a:lnTo>
                      <a:lnTo>
                        <a:pt x="994" y="22"/>
                      </a:lnTo>
                      <a:lnTo>
                        <a:pt x="994" y="22"/>
                      </a:lnTo>
                      <a:lnTo>
                        <a:pt x="993" y="23"/>
                      </a:lnTo>
                      <a:lnTo>
                        <a:pt x="993" y="24"/>
                      </a:lnTo>
                      <a:lnTo>
                        <a:pt x="993" y="24"/>
                      </a:lnTo>
                      <a:lnTo>
                        <a:pt x="993" y="25"/>
                      </a:lnTo>
                      <a:lnTo>
                        <a:pt x="994" y="25"/>
                      </a:lnTo>
                      <a:lnTo>
                        <a:pt x="994" y="26"/>
                      </a:lnTo>
                      <a:lnTo>
                        <a:pt x="995" y="26"/>
                      </a:lnTo>
                      <a:lnTo>
                        <a:pt x="995" y="26"/>
                      </a:lnTo>
                      <a:lnTo>
                        <a:pt x="996" y="26"/>
                      </a:lnTo>
                      <a:lnTo>
                        <a:pt x="997" y="27"/>
                      </a:lnTo>
                      <a:lnTo>
                        <a:pt x="998" y="28"/>
                      </a:lnTo>
                      <a:lnTo>
                        <a:pt x="998" y="28"/>
                      </a:lnTo>
                      <a:lnTo>
                        <a:pt x="999" y="29"/>
                      </a:lnTo>
                      <a:lnTo>
                        <a:pt x="999" y="30"/>
                      </a:lnTo>
                      <a:lnTo>
                        <a:pt x="999" y="30"/>
                      </a:lnTo>
                      <a:lnTo>
                        <a:pt x="1000" y="30"/>
                      </a:lnTo>
                      <a:lnTo>
                        <a:pt x="1001" y="31"/>
                      </a:lnTo>
                      <a:lnTo>
                        <a:pt x="1001" y="31"/>
                      </a:lnTo>
                      <a:lnTo>
                        <a:pt x="1002" y="30"/>
                      </a:lnTo>
                      <a:lnTo>
                        <a:pt x="1003" y="30"/>
                      </a:lnTo>
                      <a:lnTo>
                        <a:pt x="1003" y="30"/>
                      </a:lnTo>
                      <a:lnTo>
                        <a:pt x="1003" y="30"/>
                      </a:lnTo>
                      <a:lnTo>
                        <a:pt x="1003" y="29"/>
                      </a:lnTo>
                      <a:lnTo>
                        <a:pt x="1003" y="28"/>
                      </a:lnTo>
                      <a:lnTo>
                        <a:pt x="1003" y="28"/>
                      </a:lnTo>
                      <a:lnTo>
                        <a:pt x="1003" y="27"/>
                      </a:lnTo>
                      <a:lnTo>
                        <a:pt x="1003" y="26"/>
                      </a:lnTo>
                      <a:lnTo>
                        <a:pt x="1003" y="26"/>
                      </a:lnTo>
                      <a:lnTo>
                        <a:pt x="1003" y="26"/>
                      </a:lnTo>
                      <a:lnTo>
                        <a:pt x="1004" y="26"/>
                      </a:lnTo>
                      <a:lnTo>
                        <a:pt x="1005" y="25"/>
                      </a:lnTo>
                      <a:lnTo>
                        <a:pt x="1006" y="24"/>
                      </a:lnTo>
                      <a:lnTo>
                        <a:pt x="1006" y="24"/>
                      </a:lnTo>
                      <a:lnTo>
                        <a:pt x="1008" y="24"/>
                      </a:lnTo>
                      <a:lnTo>
                        <a:pt x="1008" y="24"/>
                      </a:lnTo>
                      <a:lnTo>
                        <a:pt x="1009" y="24"/>
                      </a:lnTo>
                      <a:lnTo>
                        <a:pt x="1010" y="24"/>
                      </a:lnTo>
                      <a:lnTo>
                        <a:pt x="1011" y="24"/>
                      </a:lnTo>
                      <a:lnTo>
                        <a:pt x="1011" y="24"/>
                      </a:lnTo>
                      <a:lnTo>
                        <a:pt x="1012" y="24"/>
                      </a:lnTo>
                      <a:lnTo>
                        <a:pt x="1012" y="23"/>
                      </a:lnTo>
                      <a:lnTo>
                        <a:pt x="1013" y="22"/>
                      </a:lnTo>
                      <a:lnTo>
                        <a:pt x="1014" y="22"/>
                      </a:lnTo>
                      <a:lnTo>
                        <a:pt x="1014" y="22"/>
                      </a:lnTo>
                      <a:lnTo>
                        <a:pt x="1015" y="22"/>
                      </a:lnTo>
                      <a:lnTo>
                        <a:pt x="1016" y="22"/>
                      </a:lnTo>
                      <a:lnTo>
                        <a:pt x="1016" y="22"/>
                      </a:lnTo>
                      <a:lnTo>
                        <a:pt x="1016" y="22"/>
                      </a:lnTo>
                      <a:lnTo>
                        <a:pt x="1016" y="23"/>
                      </a:lnTo>
                      <a:lnTo>
                        <a:pt x="1016" y="24"/>
                      </a:lnTo>
                      <a:lnTo>
                        <a:pt x="1016" y="24"/>
                      </a:lnTo>
                      <a:lnTo>
                        <a:pt x="1016" y="25"/>
                      </a:lnTo>
                      <a:lnTo>
                        <a:pt x="1016" y="26"/>
                      </a:lnTo>
                      <a:lnTo>
                        <a:pt x="1017" y="26"/>
                      </a:lnTo>
                      <a:lnTo>
                        <a:pt x="1017" y="25"/>
                      </a:lnTo>
                      <a:lnTo>
                        <a:pt x="1018" y="25"/>
                      </a:lnTo>
                      <a:lnTo>
                        <a:pt x="1018" y="25"/>
                      </a:lnTo>
                      <a:lnTo>
                        <a:pt x="1018" y="26"/>
                      </a:lnTo>
                      <a:lnTo>
                        <a:pt x="1018" y="26"/>
                      </a:lnTo>
                      <a:lnTo>
                        <a:pt x="1018" y="27"/>
                      </a:lnTo>
                      <a:lnTo>
                        <a:pt x="1017" y="27"/>
                      </a:lnTo>
                      <a:lnTo>
                        <a:pt x="1016" y="27"/>
                      </a:lnTo>
                      <a:lnTo>
                        <a:pt x="1016" y="27"/>
                      </a:lnTo>
                      <a:lnTo>
                        <a:pt x="1015" y="27"/>
                      </a:lnTo>
                      <a:lnTo>
                        <a:pt x="1014" y="27"/>
                      </a:lnTo>
                      <a:lnTo>
                        <a:pt x="1014" y="26"/>
                      </a:lnTo>
                      <a:lnTo>
                        <a:pt x="1013" y="26"/>
                      </a:lnTo>
                      <a:lnTo>
                        <a:pt x="1012" y="26"/>
                      </a:lnTo>
                      <a:lnTo>
                        <a:pt x="1012" y="26"/>
                      </a:lnTo>
                      <a:lnTo>
                        <a:pt x="1011" y="26"/>
                      </a:lnTo>
                      <a:lnTo>
                        <a:pt x="1011" y="26"/>
                      </a:lnTo>
                      <a:lnTo>
                        <a:pt x="1010" y="27"/>
                      </a:lnTo>
                      <a:lnTo>
                        <a:pt x="1010" y="28"/>
                      </a:lnTo>
                      <a:lnTo>
                        <a:pt x="1010" y="28"/>
                      </a:lnTo>
                      <a:lnTo>
                        <a:pt x="1010" y="29"/>
                      </a:lnTo>
                      <a:lnTo>
                        <a:pt x="1011" y="29"/>
                      </a:lnTo>
                      <a:lnTo>
                        <a:pt x="1011" y="30"/>
                      </a:lnTo>
                      <a:lnTo>
                        <a:pt x="1012" y="30"/>
                      </a:lnTo>
                      <a:lnTo>
                        <a:pt x="1012" y="30"/>
                      </a:lnTo>
                      <a:lnTo>
                        <a:pt x="1012" y="30"/>
                      </a:lnTo>
                      <a:lnTo>
                        <a:pt x="1012" y="31"/>
                      </a:lnTo>
                      <a:lnTo>
                        <a:pt x="1013" y="32"/>
                      </a:lnTo>
                      <a:lnTo>
                        <a:pt x="1013" y="33"/>
                      </a:lnTo>
                      <a:lnTo>
                        <a:pt x="1012" y="33"/>
                      </a:lnTo>
                      <a:lnTo>
                        <a:pt x="1012" y="34"/>
                      </a:lnTo>
                      <a:lnTo>
                        <a:pt x="1012" y="34"/>
                      </a:lnTo>
                      <a:lnTo>
                        <a:pt x="1011" y="35"/>
                      </a:lnTo>
                      <a:lnTo>
                        <a:pt x="1011" y="36"/>
                      </a:lnTo>
                      <a:lnTo>
                        <a:pt x="1010" y="36"/>
                      </a:lnTo>
                      <a:lnTo>
                        <a:pt x="1010" y="37"/>
                      </a:lnTo>
                      <a:lnTo>
                        <a:pt x="1010" y="37"/>
                      </a:lnTo>
                      <a:lnTo>
                        <a:pt x="1010" y="38"/>
                      </a:lnTo>
                      <a:lnTo>
                        <a:pt x="1012" y="38"/>
                      </a:lnTo>
                      <a:lnTo>
                        <a:pt x="1012" y="38"/>
                      </a:lnTo>
                      <a:lnTo>
                        <a:pt x="1013" y="38"/>
                      </a:lnTo>
                      <a:lnTo>
                        <a:pt x="1014" y="39"/>
                      </a:lnTo>
                      <a:lnTo>
                        <a:pt x="1014" y="39"/>
                      </a:lnTo>
                      <a:lnTo>
                        <a:pt x="1015" y="39"/>
                      </a:lnTo>
                      <a:lnTo>
                        <a:pt x="1016" y="39"/>
                      </a:lnTo>
                      <a:lnTo>
                        <a:pt x="1016" y="37"/>
                      </a:lnTo>
                      <a:lnTo>
                        <a:pt x="1015" y="36"/>
                      </a:lnTo>
                      <a:lnTo>
                        <a:pt x="1016" y="36"/>
                      </a:lnTo>
                      <a:lnTo>
                        <a:pt x="1016" y="35"/>
                      </a:lnTo>
                      <a:lnTo>
                        <a:pt x="1017" y="34"/>
                      </a:lnTo>
                      <a:lnTo>
                        <a:pt x="1018" y="34"/>
                      </a:lnTo>
                      <a:lnTo>
                        <a:pt x="1018" y="33"/>
                      </a:lnTo>
                      <a:lnTo>
                        <a:pt x="1019" y="32"/>
                      </a:lnTo>
                      <a:lnTo>
                        <a:pt x="1019" y="32"/>
                      </a:lnTo>
                      <a:lnTo>
                        <a:pt x="1020" y="31"/>
                      </a:lnTo>
                      <a:lnTo>
                        <a:pt x="1020" y="30"/>
                      </a:lnTo>
                      <a:lnTo>
                        <a:pt x="1021" y="30"/>
                      </a:lnTo>
                      <a:lnTo>
                        <a:pt x="1022" y="31"/>
                      </a:lnTo>
                      <a:lnTo>
                        <a:pt x="1022" y="32"/>
                      </a:lnTo>
                      <a:lnTo>
                        <a:pt x="1022" y="32"/>
                      </a:lnTo>
                      <a:lnTo>
                        <a:pt x="1022" y="33"/>
                      </a:lnTo>
                      <a:lnTo>
                        <a:pt x="1023" y="34"/>
                      </a:lnTo>
                      <a:lnTo>
                        <a:pt x="1024" y="34"/>
                      </a:lnTo>
                      <a:lnTo>
                        <a:pt x="1025" y="33"/>
                      </a:lnTo>
                      <a:lnTo>
                        <a:pt x="1025" y="33"/>
                      </a:lnTo>
                      <a:lnTo>
                        <a:pt x="1027" y="33"/>
                      </a:lnTo>
                      <a:lnTo>
                        <a:pt x="1027" y="33"/>
                      </a:lnTo>
                      <a:lnTo>
                        <a:pt x="1027" y="34"/>
                      </a:lnTo>
                      <a:lnTo>
                        <a:pt x="1027" y="34"/>
                      </a:lnTo>
                      <a:lnTo>
                        <a:pt x="1027" y="35"/>
                      </a:lnTo>
                      <a:lnTo>
                        <a:pt x="1027" y="36"/>
                      </a:lnTo>
                      <a:lnTo>
                        <a:pt x="1026" y="36"/>
                      </a:lnTo>
                      <a:lnTo>
                        <a:pt x="1025" y="36"/>
                      </a:lnTo>
                      <a:lnTo>
                        <a:pt x="1025" y="37"/>
                      </a:lnTo>
                      <a:lnTo>
                        <a:pt x="1025" y="38"/>
                      </a:lnTo>
                      <a:lnTo>
                        <a:pt x="1025" y="39"/>
                      </a:lnTo>
                      <a:lnTo>
                        <a:pt x="1026" y="39"/>
                      </a:lnTo>
                      <a:lnTo>
                        <a:pt x="1027" y="40"/>
                      </a:lnTo>
                      <a:lnTo>
                        <a:pt x="1027" y="39"/>
                      </a:lnTo>
                      <a:lnTo>
                        <a:pt x="1028" y="38"/>
                      </a:lnTo>
                      <a:lnTo>
                        <a:pt x="1029" y="37"/>
                      </a:lnTo>
                      <a:lnTo>
                        <a:pt x="1029" y="36"/>
                      </a:lnTo>
                      <a:lnTo>
                        <a:pt x="1030" y="36"/>
                      </a:lnTo>
                      <a:lnTo>
                        <a:pt x="1031" y="37"/>
                      </a:lnTo>
                      <a:lnTo>
                        <a:pt x="1031" y="38"/>
                      </a:lnTo>
                      <a:lnTo>
                        <a:pt x="1031" y="39"/>
                      </a:lnTo>
                      <a:lnTo>
                        <a:pt x="1031" y="40"/>
                      </a:lnTo>
                      <a:lnTo>
                        <a:pt x="1031" y="41"/>
                      </a:lnTo>
                      <a:lnTo>
                        <a:pt x="1031" y="42"/>
                      </a:lnTo>
                      <a:lnTo>
                        <a:pt x="1031" y="43"/>
                      </a:lnTo>
                      <a:lnTo>
                        <a:pt x="1031" y="45"/>
                      </a:lnTo>
                      <a:lnTo>
                        <a:pt x="1032" y="45"/>
                      </a:lnTo>
                      <a:lnTo>
                        <a:pt x="1033" y="45"/>
                      </a:lnTo>
                      <a:lnTo>
                        <a:pt x="1033" y="45"/>
                      </a:lnTo>
                      <a:lnTo>
                        <a:pt x="1033" y="45"/>
                      </a:lnTo>
                      <a:lnTo>
                        <a:pt x="1034" y="45"/>
                      </a:lnTo>
                      <a:lnTo>
                        <a:pt x="1035" y="44"/>
                      </a:lnTo>
                      <a:lnTo>
                        <a:pt x="1035" y="43"/>
                      </a:lnTo>
                      <a:lnTo>
                        <a:pt x="1037" y="43"/>
                      </a:lnTo>
                      <a:lnTo>
                        <a:pt x="1037" y="42"/>
                      </a:lnTo>
                      <a:lnTo>
                        <a:pt x="1038" y="42"/>
                      </a:lnTo>
                      <a:lnTo>
                        <a:pt x="1039" y="42"/>
                      </a:lnTo>
                      <a:lnTo>
                        <a:pt x="1039" y="42"/>
                      </a:lnTo>
                      <a:lnTo>
                        <a:pt x="1040" y="42"/>
                      </a:lnTo>
                      <a:lnTo>
                        <a:pt x="1040" y="43"/>
                      </a:lnTo>
                      <a:lnTo>
                        <a:pt x="1040" y="43"/>
                      </a:lnTo>
                      <a:lnTo>
                        <a:pt x="1040" y="45"/>
                      </a:lnTo>
                      <a:lnTo>
                        <a:pt x="1039" y="45"/>
                      </a:lnTo>
                      <a:lnTo>
                        <a:pt x="1040" y="45"/>
                      </a:lnTo>
                      <a:lnTo>
                        <a:pt x="1040" y="46"/>
                      </a:lnTo>
                      <a:lnTo>
                        <a:pt x="1040" y="47"/>
                      </a:lnTo>
                      <a:lnTo>
                        <a:pt x="1041" y="47"/>
                      </a:lnTo>
                      <a:lnTo>
                        <a:pt x="1041" y="46"/>
                      </a:lnTo>
                      <a:lnTo>
                        <a:pt x="1042" y="46"/>
                      </a:lnTo>
                      <a:lnTo>
                        <a:pt x="1044" y="46"/>
                      </a:lnTo>
                      <a:lnTo>
                        <a:pt x="1045" y="45"/>
                      </a:lnTo>
                      <a:lnTo>
                        <a:pt x="1046" y="45"/>
                      </a:lnTo>
                      <a:lnTo>
                        <a:pt x="1046" y="45"/>
                      </a:lnTo>
                      <a:lnTo>
                        <a:pt x="1048" y="45"/>
                      </a:lnTo>
                      <a:lnTo>
                        <a:pt x="1048" y="45"/>
                      </a:lnTo>
                      <a:lnTo>
                        <a:pt x="1048" y="45"/>
                      </a:lnTo>
                      <a:lnTo>
                        <a:pt x="1049" y="46"/>
                      </a:lnTo>
                      <a:lnTo>
                        <a:pt x="1050" y="47"/>
                      </a:lnTo>
                      <a:lnTo>
                        <a:pt x="1050" y="47"/>
                      </a:lnTo>
                      <a:lnTo>
                        <a:pt x="1051" y="46"/>
                      </a:lnTo>
                      <a:lnTo>
                        <a:pt x="1052" y="46"/>
                      </a:lnTo>
                      <a:lnTo>
                        <a:pt x="1052" y="45"/>
                      </a:lnTo>
                      <a:lnTo>
                        <a:pt x="1052" y="45"/>
                      </a:lnTo>
                      <a:lnTo>
                        <a:pt x="1052" y="44"/>
                      </a:lnTo>
                      <a:lnTo>
                        <a:pt x="1052" y="43"/>
                      </a:lnTo>
                      <a:lnTo>
                        <a:pt x="1052" y="43"/>
                      </a:lnTo>
                      <a:lnTo>
                        <a:pt x="1051" y="42"/>
                      </a:lnTo>
                      <a:lnTo>
                        <a:pt x="1050" y="42"/>
                      </a:lnTo>
                      <a:lnTo>
                        <a:pt x="1050" y="41"/>
                      </a:lnTo>
                      <a:lnTo>
                        <a:pt x="1050" y="41"/>
                      </a:lnTo>
                      <a:lnTo>
                        <a:pt x="1049" y="41"/>
                      </a:lnTo>
                      <a:lnTo>
                        <a:pt x="1049" y="40"/>
                      </a:lnTo>
                      <a:lnTo>
                        <a:pt x="1048" y="39"/>
                      </a:lnTo>
                      <a:lnTo>
                        <a:pt x="1048" y="39"/>
                      </a:lnTo>
                      <a:lnTo>
                        <a:pt x="1048" y="38"/>
                      </a:lnTo>
                      <a:lnTo>
                        <a:pt x="1049" y="38"/>
                      </a:lnTo>
                      <a:lnTo>
                        <a:pt x="1050" y="38"/>
                      </a:lnTo>
                      <a:lnTo>
                        <a:pt x="1050" y="38"/>
                      </a:lnTo>
                      <a:lnTo>
                        <a:pt x="1051" y="37"/>
                      </a:lnTo>
                      <a:lnTo>
                        <a:pt x="1051" y="36"/>
                      </a:lnTo>
                      <a:lnTo>
                        <a:pt x="1052" y="36"/>
                      </a:lnTo>
                      <a:lnTo>
                        <a:pt x="1052" y="36"/>
                      </a:lnTo>
                      <a:lnTo>
                        <a:pt x="1052" y="36"/>
                      </a:lnTo>
                      <a:lnTo>
                        <a:pt x="1053" y="36"/>
                      </a:lnTo>
                      <a:lnTo>
                        <a:pt x="1054" y="36"/>
                      </a:lnTo>
                      <a:lnTo>
                        <a:pt x="1054" y="36"/>
                      </a:lnTo>
                      <a:lnTo>
                        <a:pt x="1055" y="36"/>
                      </a:lnTo>
                      <a:lnTo>
                        <a:pt x="1056" y="35"/>
                      </a:lnTo>
                      <a:lnTo>
                        <a:pt x="1056" y="34"/>
                      </a:lnTo>
                      <a:lnTo>
                        <a:pt x="1056" y="34"/>
                      </a:lnTo>
                      <a:lnTo>
                        <a:pt x="1056" y="33"/>
                      </a:lnTo>
                      <a:lnTo>
                        <a:pt x="1056" y="32"/>
                      </a:lnTo>
                      <a:lnTo>
                        <a:pt x="1056" y="31"/>
                      </a:lnTo>
                      <a:lnTo>
                        <a:pt x="1057" y="30"/>
                      </a:lnTo>
                      <a:lnTo>
                        <a:pt x="1058" y="30"/>
                      </a:lnTo>
                      <a:lnTo>
                        <a:pt x="1058" y="30"/>
                      </a:lnTo>
                      <a:lnTo>
                        <a:pt x="1058" y="31"/>
                      </a:lnTo>
                      <a:lnTo>
                        <a:pt x="1059" y="32"/>
                      </a:lnTo>
                      <a:lnTo>
                        <a:pt x="1060" y="32"/>
                      </a:lnTo>
                      <a:lnTo>
                        <a:pt x="1060" y="32"/>
                      </a:lnTo>
                      <a:lnTo>
                        <a:pt x="1061" y="32"/>
                      </a:lnTo>
                      <a:lnTo>
                        <a:pt x="1062" y="33"/>
                      </a:lnTo>
                      <a:lnTo>
                        <a:pt x="1063" y="33"/>
                      </a:lnTo>
                      <a:lnTo>
                        <a:pt x="1063" y="32"/>
                      </a:lnTo>
                      <a:lnTo>
                        <a:pt x="1064" y="32"/>
                      </a:lnTo>
                      <a:lnTo>
                        <a:pt x="1065" y="31"/>
                      </a:lnTo>
                      <a:lnTo>
                        <a:pt x="1065" y="31"/>
                      </a:lnTo>
                      <a:lnTo>
                        <a:pt x="1066" y="30"/>
                      </a:lnTo>
                      <a:lnTo>
                        <a:pt x="1066" y="30"/>
                      </a:lnTo>
                      <a:lnTo>
                        <a:pt x="1067" y="29"/>
                      </a:lnTo>
                      <a:lnTo>
                        <a:pt x="1066" y="28"/>
                      </a:lnTo>
                      <a:lnTo>
                        <a:pt x="1066" y="28"/>
                      </a:lnTo>
                      <a:lnTo>
                        <a:pt x="1065" y="27"/>
                      </a:lnTo>
                      <a:lnTo>
                        <a:pt x="1065" y="26"/>
                      </a:lnTo>
                      <a:lnTo>
                        <a:pt x="1065" y="26"/>
                      </a:lnTo>
                      <a:lnTo>
                        <a:pt x="1065" y="24"/>
                      </a:lnTo>
                      <a:lnTo>
                        <a:pt x="1065" y="24"/>
                      </a:lnTo>
                      <a:lnTo>
                        <a:pt x="1065" y="23"/>
                      </a:lnTo>
                      <a:lnTo>
                        <a:pt x="1065" y="22"/>
                      </a:lnTo>
                      <a:lnTo>
                        <a:pt x="1065" y="21"/>
                      </a:lnTo>
                      <a:lnTo>
                        <a:pt x="1065" y="20"/>
                      </a:lnTo>
                      <a:lnTo>
                        <a:pt x="1065" y="20"/>
                      </a:lnTo>
                      <a:lnTo>
                        <a:pt x="1065" y="19"/>
                      </a:lnTo>
                      <a:lnTo>
                        <a:pt x="1065" y="17"/>
                      </a:lnTo>
                      <a:lnTo>
                        <a:pt x="1065" y="16"/>
                      </a:lnTo>
                      <a:lnTo>
                        <a:pt x="1066" y="16"/>
                      </a:lnTo>
                      <a:lnTo>
                        <a:pt x="1067" y="16"/>
                      </a:lnTo>
                      <a:lnTo>
                        <a:pt x="1069" y="16"/>
                      </a:lnTo>
                      <a:lnTo>
                        <a:pt x="1069" y="16"/>
                      </a:lnTo>
                      <a:lnTo>
                        <a:pt x="1071" y="16"/>
                      </a:lnTo>
                      <a:lnTo>
                        <a:pt x="1071" y="15"/>
                      </a:lnTo>
                      <a:lnTo>
                        <a:pt x="1071" y="15"/>
                      </a:lnTo>
                      <a:lnTo>
                        <a:pt x="1071" y="15"/>
                      </a:lnTo>
                      <a:lnTo>
                        <a:pt x="1070" y="14"/>
                      </a:lnTo>
                      <a:lnTo>
                        <a:pt x="1069" y="13"/>
                      </a:lnTo>
                      <a:lnTo>
                        <a:pt x="1069" y="13"/>
                      </a:lnTo>
                      <a:lnTo>
                        <a:pt x="1069" y="12"/>
                      </a:lnTo>
                      <a:lnTo>
                        <a:pt x="1069" y="11"/>
                      </a:lnTo>
                      <a:lnTo>
                        <a:pt x="1069" y="11"/>
                      </a:lnTo>
                      <a:lnTo>
                        <a:pt x="1070" y="10"/>
                      </a:lnTo>
                      <a:lnTo>
                        <a:pt x="1071" y="10"/>
                      </a:lnTo>
                      <a:lnTo>
                        <a:pt x="1071" y="11"/>
                      </a:lnTo>
                      <a:lnTo>
                        <a:pt x="1071" y="11"/>
                      </a:lnTo>
                      <a:lnTo>
                        <a:pt x="1071" y="12"/>
                      </a:lnTo>
                      <a:lnTo>
                        <a:pt x="1071" y="12"/>
                      </a:lnTo>
                      <a:lnTo>
                        <a:pt x="1072" y="12"/>
                      </a:lnTo>
                      <a:lnTo>
                        <a:pt x="1073" y="12"/>
                      </a:lnTo>
                      <a:lnTo>
                        <a:pt x="1074" y="12"/>
                      </a:lnTo>
                      <a:lnTo>
                        <a:pt x="1075" y="11"/>
                      </a:lnTo>
                      <a:lnTo>
                        <a:pt x="1076" y="11"/>
                      </a:lnTo>
                      <a:lnTo>
                        <a:pt x="1077" y="10"/>
                      </a:lnTo>
                      <a:lnTo>
                        <a:pt x="1078" y="9"/>
                      </a:lnTo>
                      <a:lnTo>
                        <a:pt x="1079" y="9"/>
                      </a:lnTo>
                      <a:lnTo>
                        <a:pt x="1080" y="8"/>
                      </a:lnTo>
                      <a:lnTo>
                        <a:pt x="1081" y="7"/>
                      </a:lnTo>
                      <a:lnTo>
                        <a:pt x="1082" y="7"/>
                      </a:lnTo>
                      <a:lnTo>
                        <a:pt x="1082" y="7"/>
                      </a:lnTo>
                      <a:lnTo>
                        <a:pt x="1082" y="7"/>
                      </a:lnTo>
                      <a:lnTo>
                        <a:pt x="1082" y="6"/>
                      </a:lnTo>
                      <a:lnTo>
                        <a:pt x="1083" y="5"/>
                      </a:lnTo>
                      <a:lnTo>
                        <a:pt x="1083" y="5"/>
                      </a:lnTo>
                      <a:lnTo>
                        <a:pt x="1083" y="4"/>
                      </a:lnTo>
                      <a:lnTo>
                        <a:pt x="1082" y="3"/>
                      </a:lnTo>
                      <a:lnTo>
                        <a:pt x="1082" y="3"/>
                      </a:lnTo>
                      <a:lnTo>
                        <a:pt x="1082" y="3"/>
                      </a:lnTo>
                      <a:lnTo>
                        <a:pt x="1082" y="2"/>
                      </a:lnTo>
                      <a:lnTo>
                        <a:pt x="1082" y="1"/>
                      </a:lnTo>
                      <a:lnTo>
                        <a:pt x="1082" y="0"/>
                      </a:lnTo>
                      <a:lnTo>
                        <a:pt x="1082" y="1"/>
                      </a:lnTo>
                      <a:lnTo>
                        <a:pt x="1084" y="1"/>
                      </a:lnTo>
                      <a:lnTo>
                        <a:pt x="1086" y="2"/>
                      </a:lnTo>
                      <a:lnTo>
                        <a:pt x="1088" y="3"/>
                      </a:lnTo>
                      <a:lnTo>
                        <a:pt x="1090" y="4"/>
                      </a:lnTo>
                      <a:lnTo>
                        <a:pt x="1093" y="5"/>
                      </a:lnTo>
                      <a:lnTo>
                        <a:pt x="1095" y="6"/>
                      </a:lnTo>
                      <a:lnTo>
                        <a:pt x="1099" y="9"/>
                      </a:lnTo>
                      <a:lnTo>
                        <a:pt x="1102" y="11"/>
                      </a:ln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grpSp>
          <p:grpSp>
            <p:nvGrpSpPr>
              <p:cNvPr id="2291" name="Admin 1 lines">
                <a:extLst>
                  <a:ext uri="{FF2B5EF4-FFF2-40B4-BE49-F238E27FC236}">
                    <a16:creationId xmlns:a16="http://schemas.microsoft.com/office/drawing/2014/main" xmlns="" id="{E8FD7595-4F13-6C7A-BCA4-ADFA9B60C218}"/>
                  </a:ext>
                </a:extLst>
              </p:cNvPr>
              <p:cNvGrpSpPr>
                <a:grpSpLocks noChangeAspect="1"/>
              </p:cNvGrpSpPr>
              <p:nvPr/>
            </p:nvGrpSpPr>
            <p:grpSpPr bwMode="auto">
              <a:xfrm>
                <a:off x="3086099" y="1147764"/>
                <a:ext cx="4962524" cy="5581650"/>
                <a:chOff x="1944" y="723"/>
                <a:chExt cx="3126" cy="3516"/>
              </a:xfrm>
            </p:grpSpPr>
            <p:sp>
              <p:nvSpPr>
                <p:cNvPr id="696" name="Freeform 5">
                  <a:extLst>
                    <a:ext uri="{FF2B5EF4-FFF2-40B4-BE49-F238E27FC236}">
                      <a16:creationId xmlns:a16="http://schemas.microsoft.com/office/drawing/2014/main" xmlns="" id="{71490A68-3A16-2F87-BBC4-DF07A1021AC8}"/>
                    </a:ext>
                  </a:extLst>
                </p:cNvPr>
                <p:cNvSpPr>
                  <a:spLocks/>
                </p:cNvSpPr>
                <p:nvPr/>
              </p:nvSpPr>
              <p:spPr bwMode="auto">
                <a:xfrm>
                  <a:off x="3030" y="920"/>
                  <a:ext cx="587" cy="599"/>
                </a:xfrm>
                <a:custGeom>
                  <a:avLst/>
                  <a:gdLst>
                    <a:gd name="T0" fmla="*/ 2 w 587"/>
                    <a:gd name="T1" fmla="*/ 12 h 599"/>
                    <a:gd name="T2" fmla="*/ 2 w 587"/>
                    <a:gd name="T3" fmla="*/ 31 h 599"/>
                    <a:gd name="T4" fmla="*/ 5 w 587"/>
                    <a:gd name="T5" fmla="*/ 51 h 599"/>
                    <a:gd name="T6" fmla="*/ 19 w 587"/>
                    <a:gd name="T7" fmla="*/ 64 h 599"/>
                    <a:gd name="T8" fmla="*/ 18 w 587"/>
                    <a:gd name="T9" fmla="*/ 98 h 599"/>
                    <a:gd name="T10" fmla="*/ 41 w 587"/>
                    <a:gd name="T11" fmla="*/ 140 h 599"/>
                    <a:gd name="T12" fmla="*/ 38 w 587"/>
                    <a:gd name="T13" fmla="*/ 167 h 599"/>
                    <a:gd name="T14" fmla="*/ 19 w 587"/>
                    <a:gd name="T15" fmla="*/ 195 h 599"/>
                    <a:gd name="T16" fmla="*/ 28 w 587"/>
                    <a:gd name="T17" fmla="*/ 210 h 599"/>
                    <a:gd name="T18" fmla="*/ 36 w 587"/>
                    <a:gd name="T19" fmla="*/ 238 h 599"/>
                    <a:gd name="T20" fmla="*/ 31 w 587"/>
                    <a:gd name="T21" fmla="*/ 273 h 599"/>
                    <a:gd name="T22" fmla="*/ 59 w 587"/>
                    <a:gd name="T23" fmla="*/ 298 h 599"/>
                    <a:gd name="T24" fmla="*/ 56 w 587"/>
                    <a:gd name="T25" fmla="*/ 330 h 599"/>
                    <a:gd name="T26" fmla="*/ 69 w 587"/>
                    <a:gd name="T27" fmla="*/ 353 h 599"/>
                    <a:gd name="T28" fmla="*/ 85 w 587"/>
                    <a:gd name="T29" fmla="*/ 341 h 599"/>
                    <a:gd name="T30" fmla="*/ 97 w 587"/>
                    <a:gd name="T31" fmla="*/ 379 h 599"/>
                    <a:gd name="T32" fmla="*/ 109 w 587"/>
                    <a:gd name="T33" fmla="*/ 400 h 599"/>
                    <a:gd name="T34" fmla="*/ 105 w 587"/>
                    <a:gd name="T35" fmla="*/ 417 h 599"/>
                    <a:gd name="T36" fmla="*/ 122 w 587"/>
                    <a:gd name="T37" fmla="*/ 423 h 599"/>
                    <a:gd name="T38" fmla="*/ 135 w 587"/>
                    <a:gd name="T39" fmla="*/ 426 h 599"/>
                    <a:gd name="T40" fmla="*/ 160 w 587"/>
                    <a:gd name="T41" fmla="*/ 425 h 599"/>
                    <a:gd name="T42" fmla="*/ 156 w 587"/>
                    <a:gd name="T43" fmla="*/ 442 h 599"/>
                    <a:gd name="T44" fmla="*/ 170 w 587"/>
                    <a:gd name="T45" fmla="*/ 440 h 599"/>
                    <a:gd name="T46" fmla="*/ 181 w 587"/>
                    <a:gd name="T47" fmla="*/ 459 h 599"/>
                    <a:gd name="T48" fmla="*/ 192 w 587"/>
                    <a:gd name="T49" fmla="*/ 442 h 599"/>
                    <a:gd name="T50" fmla="*/ 197 w 587"/>
                    <a:gd name="T51" fmla="*/ 468 h 599"/>
                    <a:gd name="T52" fmla="*/ 229 w 587"/>
                    <a:gd name="T53" fmla="*/ 478 h 599"/>
                    <a:gd name="T54" fmla="*/ 247 w 587"/>
                    <a:gd name="T55" fmla="*/ 488 h 599"/>
                    <a:gd name="T56" fmla="*/ 248 w 587"/>
                    <a:gd name="T57" fmla="*/ 515 h 599"/>
                    <a:gd name="T58" fmla="*/ 269 w 587"/>
                    <a:gd name="T59" fmla="*/ 535 h 599"/>
                    <a:gd name="T60" fmla="*/ 300 w 587"/>
                    <a:gd name="T61" fmla="*/ 539 h 599"/>
                    <a:gd name="T62" fmla="*/ 305 w 587"/>
                    <a:gd name="T63" fmla="*/ 548 h 599"/>
                    <a:gd name="T64" fmla="*/ 312 w 587"/>
                    <a:gd name="T65" fmla="*/ 540 h 599"/>
                    <a:gd name="T66" fmla="*/ 321 w 587"/>
                    <a:gd name="T67" fmla="*/ 540 h 599"/>
                    <a:gd name="T68" fmla="*/ 329 w 587"/>
                    <a:gd name="T69" fmla="*/ 541 h 599"/>
                    <a:gd name="T70" fmla="*/ 331 w 587"/>
                    <a:gd name="T71" fmla="*/ 551 h 599"/>
                    <a:gd name="T72" fmla="*/ 342 w 587"/>
                    <a:gd name="T73" fmla="*/ 544 h 599"/>
                    <a:gd name="T74" fmla="*/ 349 w 587"/>
                    <a:gd name="T75" fmla="*/ 547 h 599"/>
                    <a:gd name="T76" fmla="*/ 357 w 587"/>
                    <a:gd name="T77" fmla="*/ 549 h 599"/>
                    <a:gd name="T78" fmla="*/ 368 w 587"/>
                    <a:gd name="T79" fmla="*/ 554 h 599"/>
                    <a:gd name="T80" fmla="*/ 377 w 587"/>
                    <a:gd name="T81" fmla="*/ 549 h 599"/>
                    <a:gd name="T82" fmla="*/ 395 w 587"/>
                    <a:gd name="T83" fmla="*/ 552 h 599"/>
                    <a:gd name="T84" fmla="*/ 402 w 587"/>
                    <a:gd name="T85" fmla="*/ 545 h 599"/>
                    <a:gd name="T86" fmla="*/ 404 w 587"/>
                    <a:gd name="T87" fmla="*/ 536 h 599"/>
                    <a:gd name="T88" fmla="*/ 421 w 587"/>
                    <a:gd name="T89" fmla="*/ 539 h 599"/>
                    <a:gd name="T90" fmla="*/ 429 w 587"/>
                    <a:gd name="T91" fmla="*/ 534 h 599"/>
                    <a:gd name="T92" fmla="*/ 435 w 587"/>
                    <a:gd name="T93" fmla="*/ 533 h 599"/>
                    <a:gd name="T94" fmla="*/ 459 w 587"/>
                    <a:gd name="T95" fmla="*/ 537 h 599"/>
                    <a:gd name="T96" fmla="*/ 477 w 587"/>
                    <a:gd name="T97" fmla="*/ 545 h 599"/>
                    <a:gd name="T98" fmla="*/ 492 w 587"/>
                    <a:gd name="T99" fmla="*/ 550 h 599"/>
                    <a:gd name="T100" fmla="*/ 498 w 587"/>
                    <a:gd name="T101" fmla="*/ 560 h 599"/>
                    <a:gd name="T102" fmla="*/ 505 w 587"/>
                    <a:gd name="T103" fmla="*/ 566 h 599"/>
                    <a:gd name="T104" fmla="*/ 522 w 587"/>
                    <a:gd name="T105" fmla="*/ 566 h 599"/>
                    <a:gd name="T106" fmla="*/ 523 w 587"/>
                    <a:gd name="T107" fmla="*/ 575 h 599"/>
                    <a:gd name="T108" fmla="*/ 530 w 587"/>
                    <a:gd name="T109" fmla="*/ 579 h 599"/>
                    <a:gd name="T110" fmla="*/ 540 w 587"/>
                    <a:gd name="T111" fmla="*/ 591 h 599"/>
                    <a:gd name="T112" fmla="*/ 555 w 587"/>
                    <a:gd name="T113" fmla="*/ 596 h 599"/>
                    <a:gd name="T114" fmla="*/ 570 w 587"/>
                    <a:gd name="T115" fmla="*/ 598 h 599"/>
                    <a:gd name="T116" fmla="*/ 573 w 587"/>
                    <a:gd name="T117" fmla="*/ 592 h 599"/>
                    <a:gd name="T118" fmla="*/ 587 w 587"/>
                    <a:gd name="T119" fmla="*/ 587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7" h="599">
                      <a:moveTo>
                        <a:pt x="13" y="0"/>
                      </a:moveTo>
                      <a:lnTo>
                        <a:pt x="12" y="1"/>
                      </a:lnTo>
                      <a:lnTo>
                        <a:pt x="12" y="2"/>
                      </a:lnTo>
                      <a:lnTo>
                        <a:pt x="12" y="4"/>
                      </a:lnTo>
                      <a:lnTo>
                        <a:pt x="12" y="4"/>
                      </a:lnTo>
                      <a:lnTo>
                        <a:pt x="12" y="6"/>
                      </a:lnTo>
                      <a:lnTo>
                        <a:pt x="11" y="6"/>
                      </a:lnTo>
                      <a:lnTo>
                        <a:pt x="10" y="7"/>
                      </a:lnTo>
                      <a:lnTo>
                        <a:pt x="10" y="8"/>
                      </a:lnTo>
                      <a:lnTo>
                        <a:pt x="8" y="9"/>
                      </a:lnTo>
                      <a:lnTo>
                        <a:pt x="8" y="10"/>
                      </a:lnTo>
                      <a:lnTo>
                        <a:pt x="8" y="12"/>
                      </a:lnTo>
                      <a:lnTo>
                        <a:pt x="6" y="13"/>
                      </a:lnTo>
                      <a:lnTo>
                        <a:pt x="6" y="13"/>
                      </a:lnTo>
                      <a:lnTo>
                        <a:pt x="4" y="13"/>
                      </a:lnTo>
                      <a:lnTo>
                        <a:pt x="3" y="12"/>
                      </a:lnTo>
                      <a:lnTo>
                        <a:pt x="2" y="12"/>
                      </a:lnTo>
                      <a:lnTo>
                        <a:pt x="1" y="13"/>
                      </a:lnTo>
                      <a:lnTo>
                        <a:pt x="1" y="14"/>
                      </a:lnTo>
                      <a:lnTo>
                        <a:pt x="0" y="15"/>
                      </a:lnTo>
                      <a:lnTo>
                        <a:pt x="0" y="16"/>
                      </a:lnTo>
                      <a:lnTo>
                        <a:pt x="0" y="17"/>
                      </a:lnTo>
                      <a:lnTo>
                        <a:pt x="0" y="18"/>
                      </a:lnTo>
                      <a:lnTo>
                        <a:pt x="0" y="19"/>
                      </a:lnTo>
                      <a:lnTo>
                        <a:pt x="1" y="21"/>
                      </a:lnTo>
                      <a:lnTo>
                        <a:pt x="3" y="22"/>
                      </a:lnTo>
                      <a:lnTo>
                        <a:pt x="4" y="23"/>
                      </a:lnTo>
                      <a:lnTo>
                        <a:pt x="4" y="24"/>
                      </a:lnTo>
                      <a:lnTo>
                        <a:pt x="5" y="25"/>
                      </a:lnTo>
                      <a:lnTo>
                        <a:pt x="4" y="26"/>
                      </a:lnTo>
                      <a:lnTo>
                        <a:pt x="4" y="27"/>
                      </a:lnTo>
                      <a:lnTo>
                        <a:pt x="4" y="28"/>
                      </a:lnTo>
                      <a:lnTo>
                        <a:pt x="2" y="29"/>
                      </a:lnTo>
                      <a:lnTo>
                        <a:pt x="2" y="31"/>
                      </a:lnTo>
                      <a:lnTo>
                        <a:pt x="2" y="32"/>
                      </a:lnTo>
                      <a:lnTo>
                        <a:pt x="3" y="33"/>
                      </a:lnTo>
                      <a:lnTo>
                        <a:pt x="4" y="35"/>
                      </a:lnTo>
                      <a:lnTo>
                        <a:pt x="6" y="35"/>
                      </a:lnTo>
                      <a:lnTo>
                        <a:pt x="6" y="37"/>
                      </a:lnTo>
                      <a:lnTo>
                        <a:pt x="6" y="38"/>
                      </a:lnTo>
                      <a:lnTo>
                        <a:pt x="7" y="40"/>
                      </a:lnTo>
                      <a:lnTo>
                        <a:pt x="8" y="42"/>
                      </a:lnTo>
                      <a:lnTo>
                        <a:pt x="8" y="43"/>
                      </a:lnTo>
                      <a:lnTo>
                        <a:pt x="9" y="44"/>
                      </a:lnTo>
                      <a:lnTo>
                        <a:pt x="8" y="45"/>
                      </a:lnTo>
                      <a:lnTo>
                        <a:pt x="8" y="46"/>
                      </a:lnTo>
                      <a:lnTo>
                        <a:pt x="7" y="47"/>
                      </a:lnTo>
                      <a:lnTo>
                        <a:pt x="6" y="48"/>
                      </a:lnTo>
                      <a:lnTo>
                        <a:pt x="6" y="48"/>
                      </a:lnTo>
                      <a:lnTo>
                        <a:pt x="5" y="50"/>
                      </a:lnTo>
                      <a:lnTo>
                        <a:pt x="5" y="51"/>
                      </a:lnTo>
                      <a:lnTo>
                        <a:pt x="5" y="52"/>
                      </a:lnTo>
                      <a:lnTo>
                        <a:pt x="6" y="54"/>
                      </a:lnTo>
                      <a:lnTo>
                        <a:pt x="6" y="54"/>
                      </a:lnTo>
                      <a:lnTo>
                        <a:pt x="6" y="55"/>
                      </a:lnTo>
                      <a:lnTo>
                        <a:pt x="7" y="56"/>
                      </a:lnTo>
                      <a:lnTo>
                        <a:pt x="6" y="57"/>
                      </a:lnTo>
                      <a:lnTo>
                        <a:pt x="6" y="58"/>
                      </a:lnTo>
                      <a:lnTo>
                        <a:pt x="6" y="59"/>
                      </a:lnTo>
                      <a:lnTo>
                        <a:pt x="6" y="60"/>
                      </a:lnTo>
                      <a:lnTo>
                        <a:pt x="7" y="61"/>
                      </a:lnTo>
                      <a:lnTo>
                        <a:pt x="8" y="61"/>
                      </a:lnTo>
                      <a:lnTo>
                        <a:pt x="10" y="61"/>
                      </a:lnTo>
                      <a:lnTo>
                        <a:pt x="12" y="61"/>
                      </a:lnTo>
                      <a:lnTo>
                        <a:pt x="13" y="61"/>
                      </a:lnTo>
                      <a:lnTo>
                        <a:pt x="15" y="61"/>
                      </a:lnTo>
                      <a:lnTo>
                        <a:pt x="17" y="63"/>
                      </a:lnTo>
                      <a:lnTo>
                        <a:pt x="19" y="64"/>
                      </a:lnTo>
                      <a:lnTo>
                        <a:pt x="20" y="65"/>
                      </a:lnTo>
                      <a:lnTo>
                        <a:pt x="21" y="67"/>
                      </a:lnTo>
                      <a:lnTo>
                        <a:pt x="22" y="71"/>
                      </a:lnTo>
                      <a:lnTo>
                        <a:pt x="22" y="73"/>
                      </a:lnTo>
                      <a:lnTo>
                        <a:pt x="23" y="76"/>
                      </a:lnTo>
                      <a:lnTo>
                        <a:pt x="23" y="81"/>
                      </a:lnTo>
                      <a:lnTo>
                        <a:pt x="21" y="84"/>
                      </a:lnTo>
                      <a:lnTo>
                        <a:pt x="21" y="86"/>
                      </a:lnTo>
                      <a:lnTo>
                        <a:pt x="22" y="89"/>
                      </a:lnTo>
                      <a:lnTo>
                        <a:pt x="23" y="91"/>
                      </a:lnTo>
                      <a:lnTo>
                        <a:pt x="23" y="93"/>
                      </a:lnTo>
                      <a:lnTo>
                        <a:pt x="23" y="94"/>
                      </a:lnTo>
                      <a:lnTo>
                        <a:pt x="22" y="95"/>
                      </a:lnTo>
                      <a:lnTo>
                        <a:pt x="22" y="96"/>
                      </a:lnTo>
                      <a:lnTo>
                        <a:pt x="21" y="96"/>
                      </a:lnTo>
                      <a:lnTo>
                        <a:pt x="19" y="97"/>
                      </a:lnTo>
                      <a:lnTo>
                        <a:pt x="18" y="98"/>
                      </a:lnTo>
                      <a:lnTo>
                        <a:pt x="18" y="100"/>
                      </a:lnTo>
                      <a:lnTo>
                        <a:pt x="19" y="101"/>
                      </a:lnTo>
                      <a:lnTo>
                        <a:pt x="21" y="101"/>
                      </a:lnTo>
                      <a:lnTo>
                        <a:pt x="22" y="103"/>
                      </a:lnTo>
                      <a:lnTo>
                        <a:pt x="27" y="107"/>
                      </a:lnTo>
                      <a:lnTo>
                        <a:pt x="30" y="109"/>
                      </a:lnTo>
                      <a:lnTo>
                        <a:pt x="32" y="111"/>
                      </a:lnTo>
                      <a:lnTo>
                        <a:pt x="35" y="114"/>
                      </a:lnTo>
                      <a:lnTo>
                        <a:pt x="38" y="117"/>
                      </a:lnTo>
                      <a:lnTo>
                        <a:pt x="40" y="119"/>
                      </a:lnTo>
                      <a:lnTo>
                        <a:pt x="41" y="122"/>
                      </a:lnTo>
                      <a:lnTo>
                        <a:pt x="42" y="125"/>
                      </a:lnTo>
                      <a:lnTo>
                        <a:pt x="43" y="128"/>
                      </a:lnTo>
                      <a:lnTo>
                        <a:pt x="43" y="132"/>
                      </a:lnTo>
                      <a:lnTo>
                        <a:pt x="43" y="134"/>
                      </a:lnTo>
                      <a:lnTo>
                        <a:pt x="42" y="138"/>
                      </a:lnTo>
                      <a:lnTo>
                        <a:pt x="41" y="140"/>
                      </a:lnTo>
                      <a:lnTo>
                        <a:pt x="42" y="143"/>
                      </a:lnTo>
                      <a:lnTo>
                        <a:pt x="43" y="145"/>
                      </a:lnTo>
                      <a:lnTo>
                        <a:pt x="45" y="147"/>
                      </a:lnTo>
                      <a:lnTo>
                        <a:pt x="47" y="149"/>
                      </a:lnTo>
                      <a:lnTo>
                        <a:pt x="48" y="150"/>
                      </a:lnTo>
                      <a:lnTo>
                        <a:pt x="48" y="151"/>
                      </a:lnTo>
                      <a:lnTo>
                        <a:pt x="47" y="152"/>
                      </a:lnTo>
                      <a:lnTo>
                        <a:pt x="46" y="153"/>
                      </a:lnTo>
                      <a:lnTo>
                        <a:pt x="43" y="154"/>
                      </a:lnTo>
                      <a:lnTo>
                        <a:pt x="41" y="156"/>
                      </a:lnTo>
                      <a:lnTo>
                        <a:pt x="38" y="158"/>
                      </a:lnTo>
                      <a:lnTo>
                        <a:pt x="36" y="161"/>
                      </a:lnTo>
                      <a:lnTo>
                        <a:pt x="35" y="162"/>
                      </a:lnTo>
                      <a:lnTo>
                        <a:pt x="34" y="164"/>
                      </a:lnTo>
                      <a:lnTo>
                        <a:pt x="34" y="164"/>
                      </a:lnTo>
                      <a:lnTo>
                        <a:pt x="35" y="165"/>
                      </a:lnTo>
                      <a:lnTo>
                        <a:pt x="38" y="167"/>
                      </a:lnTo>
                      <a:lnTo>
                        <a:pt x="39" y="170"/>
                      </a:lnTo>
                      <a:lnTo>
                        <a:pt x="40" y="172"/>
                      </a:lnTo>
                      <a:lnTo>
                        <a:pt x="40" y="174"/>
                      </a:lnTo>
                      <a:lnTo>
                        <a:pt x="40" y="177"/>
                      </a:lnTo>
                      <a:lnTo>
                        <a:pt x="39" y="179"/>
                      </a:lnTo>
                      <a:lnTo>
                        <a:pt x="38" y="179"/>
                      </a:lnTo>
                      <a:lnTo>
                        <a:pt x="36" y="181"/>
                      </a:lnTo>
                      <a:lnTo>
                        <a:pt x="34" y="181"/>
                      </a:lnTo>
                      <a:lnTo>
                        <a:pt x="30" y="181"/>
                      </a:lnTo>
                      <a:lnTo>
                        <a:pt x="27" y="183"/>
                      </a:lnTo>
                      <a:lnTo>
                        <a:pt x="25" y="185"/>
                      </a:lnTo>
                      <a:lnTo>
                        <a:pt x="21" y="187"/>
                      </a:lnTo>
                      <a:lnTo>
                        <a:pt x="20" y="189"/>
                      </a:lnTo>
                      <a:lnTo>
                        <a:pt x="19" y="191"/>
                      </a:lnTo>
                      <a:lnTo>
                        <a:pt x="19" y="193"/>
                      </a:lnTo>
                      <a:lnTo>
                        <a:pt x="19" y="194"/>
                      </a:lnTo>
                      <a:lnTo>
                        <a:pt x="19" y="195"/>
                      </a:lnTo>
                      <a:lnTo>
                        <a:pt x="20" y="198"/>
                      </a:lnTo>
                      <a:lnTo>
                        <a:pt x="20" y="199"/>
                      </a:lnTo>
                      <a:lnTo>
                        <a:pt x="20" y="200"/>
                      </a:lnTo>
                      <a:lnTo>
                        <a:pt x="21" y="202"/>
                      </a:lnTo>
                      <a:lnTo>
                        <a:pt x="21" y="204"/>
                      </a:lnTo>
                      <a:lnTo>
                        <a:pt x="22" y="204"/>
                      </a:lnTo>
                      <a:lnTo>
                        <a:pt x="23" y="204"/>
                      </a:lnTo>
                      <a:lnTo>
                        <a:pt x="25" y="204"/>
                      </a:lnTo>
                      <a:lnTo>
                        <a:pt x="27" y="203"/>
                      </a:lnTo>
                      <a:lnTo>
                        <a:pt x="28" y="203"/>
                      </a:lnTo>
                      <a:lnTo>
                        <a:pt x="30" y="204"/>
                      </a:lnTo>
                      <a:lnTo>
                        <a:pt x="31" y="204"/>
                      </a:lnTo>
                      <a:lnTo>
                        <a:pt x="31" y="206"/>
                      </a:lnTo>
                      <a:lnTo>
                        <a:pt x="31" y="208"/>
                      </a:lnTo>
                      <a:lnTo>
                        <a:pt x="31" y="208"/>
                      </a:lnTo>
                      <a:lnTo>
                        <a:pt x="29" y="210"/>
                      </a:lnTo>
                      <a:lnTo>
                        <a:pt x="28" y="210"/>
                      </a:lnTo>
                      <a:lnTo>
                        <a:pt x="25" y="210"/>
                      </a:lnTo>
                      <a:lnTo>
                        <a:pt x="22" y="210"/>
                      </a:lnTo>
                      <a:lnTo>
                        <a:pt x="21" y="211"/>
                      </a:lnTo>
                      <a:lnTo>
                        <a:pt x="19" y="212"/>
                      </a:lnTo>
                      <a:lnTo>
                        <a:pt x="19" y="214"/>
                      </a:lnTo>
                      <a:lnTo>
                        <a:pt x="19" y="217"/>
                      </a:lnTo>
                      <a:lnTo>
                        <a:pt x="19" y="220"/>
                      </a:lnTo>
                      <a:lnTo>
                        <a:pt x="19" y="224"/>
                      </a:lnTo>
                      <a:lnTo>
                        <a:pt x="21" y="227"/>
                      </a:lnTo>
                      <a:lnTo>
                        <a:pt x="22" y="231"/>
                      </a:lnTo>
                      <a:lnTo>
                        <a:pt x="23" y="235"/>
                      </a:lnTo>
                      <a:lnTo>
                        <a:pt x="24" y="237"/>
                      </a:lnTo>
                      <a:lnTo>
                        <a:pt x="25" y="238"/>
                      </a:lnTo>
                      <a:lnTo>
                        <a:pt x="28" y="238"/>
                      </a:lnTo>
                      <a:lnTo>
                        <a:pt x="31" y="238"/>
                      </a:lnTo>
                      <a:lnTo>
                        <a:pt x="34" y="238"/>
                      </a:lnTo>
                      <a:lnTo>
                        <a:pt x="36" y="238"/>
                      </a:lnTo>
                      <a:lnTo>
                        <a:pt x="37" y="238"/>
                      </a:lnTo>
                      <a:lnTo>
                        <a:pt x="38" y="240"/>
                      </a:lnTo>
                      <a:lnTo>
                        <a:pt x="38" y="241"/>
                      </a:lnTo>
                      <a:lnTo>
                        <a:pt x="37" y="242"/>
                      </a:lnTo>
                      <a:lnTo>
                        <a:pt x="36" y="244"/>
                      </a:lnTo>
                      <a:lnTo>
                        <a:pt x="34" y="244"/>
                      </a:lnTo>
                      <a:lnTo>
                        <a:pt x="32" y="244"/>
                      </a:lnTo>
                      <a:lnTo>
                        <a:pt x="30" y="243"/>
                      </a:lnTo>
                      <a:lnTo>
                        <a:pt x="29" y="243"/>
                      </a:lnTo>
                      <a:lnTo>
                        <a:pt x="27" y="243"/>
                      </a:lnTo>
                      <a:lnTo>
                        <a:pt x="27" y="244"/>
                      </a:lnTo>
                      <a:lnTo>
                        <a:pt x="26" y="247"/>
                      </a:lnTo>
                      <a:lnTo>
                        <a:pt x="27" y="250"/>
                      </a:lnTo>
                      <a:lnTo>
                        <a:pt x="28" y="254"/>
                      </a:lnTo>
                      <a:lnTo>
                        <a:pt x="29" y="261"/>
                      </a:lnTo>
                      <a:lnTo>
                        <a:pt x="29" y="268"/>
                      </a:lnTo>
                      <a:lnTo>
                        <a:pt x="31" y="273"/>
                      </a:lnTo>
                      <a:lnTo>
                        <a:pt x="32" y="279"/>
                      </a:lnTo>
                      <a:lnTo>
                        <a:pt x="33" y="282"/>
                      </a:lnTo>
                      <a:lnTo>
                        <a:pt x="33" y="284"/>
                      </a:lnTo>
                      <a:lnTo>
                        <a:pt x="34" y="286"/>
                      </a:lnTo>
                      <a:lnTo>
                        <a:pt x="34" y="287"/>
                      </a:lnTo>
                      <a:lnTo>
                        <a:pt x="36" y="288"/>
                      </a:lnTo>
                      <a:lnTo>
                        <a:pt x="39" y="288"/>
                      </a:lnTo>
                      <a:lnTo>
                        <a:pt x="43" y="289"/>
                      </a:lnTo>
                      <a:lnTo>
                        <a:pt x="46" y="290"/>
                      </a:lnTo>
                      <a:lnTo>
                        <a:pt x="49" y="290"/>
                      </a:lnTo>
                      <a:lnTo>
                        <a:pt x="53" y="290"/>
                      </a:lnTo>
                      <a:lnTo>
                        <a:pt x="55" y="291"/>
                      </a:lnTo>
                      <a:lnTo>
                        <a:pt x="57" y="292"/>
                      </a:lnTo>
                      <a:lnTo>
                        <a:pt x="59" y="294"/>
                      </a:lnTo>
                      <a:lnTo>
                        <a:pt x="59" y="296"/>
                      </a:lnTo>
                      <a:lnTo>
                        <a:pt x="59" y="297"/>
                      </a:lnTo>
                      <a:lnTo>
                        <a:pt x="59" y="298"/>
                      </a:lnTo>
                      <a:lnTo>
                        <a:pt x="58" y="299"/>
                      </a:lnTo>
                      <a:lnTo>
                        <a:pt x="56" y="300"/>
                      </a:lnTo>
                      <a:lnTo>
                        <a:pt x="55" y="301"/>
                      </a:lnTo>
                      <a:lnTo>
                        <a:pt x="54" y="303"/>
                      </a:lnTo>
                      <a:lnTo>
                        <a:pt x="53" y="305"/>
                      </a:lnTo>
                      <a:lnTo>
                        <a:pt x="54" y="307"/>
                      </a:lnTo>
                      <a:lnTo>
                        <a:pt x="55" y="309"/>
                      </a:lnTo>
                      <a:lnTo>
                        <a:pt x="54" y="310"/>
                      </a:lnTo>
                      <a:lnTo>
                        <a:pt x="54" y="312"/>
                      </a:lnTo>
                      <a:lnTo>
                        <a:pt x="54" y="315"/>
                      </a:lnTo>
                      <a:lnTo>
                        <a:pt x="53" y="316"/>
                      </a:lnTo>
                      <a:lnTo>
                        <a:pt x="54" y="318"/>
                      </a:lnTo>
                      <a:lnTo>
                        <a:pt x="55" y="319"/>
                      </a:lnTo>
                      <a:lnTo>
                        <a:pt x="55" y="320"/>
                      </a:lnTo>
                      <a:lnTo>
                        <a:pt x="57" y="323"/>
                      </a:lnTo>
                      <a:lnTo>
                        <a:pt x="57" y="326"/>
                      </a:lnTo>
                      <a:lnTo>
                        <a:pt x="56" y="330"/>
                      </a:lnTo>
                      <a:lnTo>
                        <a:pt x="53" y="334"/>
                      </a:lnTo>
                      <a:lnTo>
                        <a:pt x="51" y="336"/>
                      </a:lnTo>
                      <a:lnTo>
                        <a:pt x="49" y="338"/>
                      </a:lnTo>
                      <a:lnTo>
                        <a:pt x="48" y="339"/>
                      </a:lnTo>
                      <a:lnTo>
                        <a:pt x="46" y="339"/>
                      </a:lnTo>
                      <a:lnTo>
                        <a:pt x="46" y="341"/>
                      </a:lnTo>
                      <a:lnTo>
                        <a:pt x="46" y="342"/>
                      </a:lnTo>
                      <a:lnTo>
                        <a:pt x="47" y="343"/>
                      </a:lnTo>
                      <a:lnTo>
                        <a:pt x="50" y="346"/>
                      </a:lnTo>
                      <a:lnTo>
                        <a:pt x="55" y="349"/>
                      </a:lnTo>
                      <a:lnTo>
                        <a:pt x="58" y="351"/>
                      </a:lnTo>
                      <a:lnTo>
                        <a:pt x="61" y="353"/>
                      </a:lnTo>
                      <a:lnTo>
                        <a:pt x="65" y="353"/>
                      </a:lnTo>
                      <a:lnTo>
                        <a:pt x="66" y="354"/>
                      </a:lnTo>
                      <a:lnTo>
                        <a:pt x="67" y="354"/>
                      </a:lnTo>
                      <a:lnTo>
                        <a:pt x="69" y="353"/>
                      </a:lnTo>
                      <a:lnTo>
                        <a:pt x="69" y="353"/>
                      </a:lnTo>
                      <a:lnTo>
                        <a:pt x="69" y="352"/>
                      </a:lnTo>
                      <a:lnTo>
                        <a:pt x="68" y="351"/>
                      </a:lnTo>
                      <a:lnTo>
                        <a:pt x="66" y="350"/>
                      </a:lnTo>
                      <a:lnTo>
                        <a:pt x="65" y="349"/>
                      </a:lnTo>
                      <a:lnTo>
                        <a:pt x="64" y="348"/>
                      </a:lnTo>
                      <a:lnTo>
                        <a:pt x="64" y="347"/>
                      </a:lnTo>
                      <a:lnTo>
                        <a:pt x="65" y="346"/>
                      </a:lnTo>
                      <a:lnTo>
                        <a:pt x="66" y="345"/>
                      </a:lnTo>
                      <a:lnTo>
                        <a:pt x="69" y="345"/>
                      </a:lnTo>
                      <a:lnTo>
                        <a:pt x="72" y="345"/>
                      </a:lnTo>
                      <a:lnTo>
                        <a:pt x="74" y="345"/>
                      </a:lnTo>
                      <a:lnTo>
                        <a:pt x="76" y="345"/>
                      </a:lnTo>
                      <a:lnTo>
                        <a:pt x="78" y="345"/>
                      </a:lnTo>
                      <a:lnTo>
                        <a:pt x="80" y="345"/>
                      </a:lnTo>
                      <a:lnTo>
                        <a:pt x="82" y="345"/>
                      </a:lnTo>
                      <a:lnTo>
                        <a:pt x="84" y="343"/>
                      </a:lnTo>
                      <a:lnTo>
                        <a:pt x="85" y="341"/>
                      </a:lnTo>
                      <a:lnTo>
                        <a:pt x="88" y="341"/>
                      </a:lnTo>
                      <a:lnTo>
                        <a:pt x="89" y="341"/>
                      </a:lnTo>
                      <a:lnTo>
                        <a:pt x="91" y="341"/>
                      </a:lnTo>
                      <a:lnTo>
                        <a:pt x="92" y="342"/>
                      </a:lnTo>
                      <a:lnTo>
                        <a:pt x="93" y="343"/>
                      </a:lnTo>
                      <a:lnTo>
                        <a:pt x="93" y="345"/>
                      </a:lnTo>
                      <a:lnTo>
                        <a:pt x="93" y="347"/>
                      </a:lnTo>
                      <a:lnTo>
                        <a:pt x="93" y="350"/>
                      </a:lnTo>
                      <a:lnTo>
                        <a:pt x="95" y="353"/>
                      </a:lnTo>
                      <a:lnTo>
                        <a:pt x="97" y="356"/>
                      </a:lnTo>
                      <a:lnTo>
                        <a:pt x="98" y="359"/>
                      </a:lnTo>
                      <a:lnTo>
                        <a:pt x="99" y="362"/>
                      </a:lnTo>
                      <a:lnTo>
                        <a:pt x="99" y="365"/>
                      </a:lnTo>
                      <a:lnTo>
                        <a:pt x="99" y="370"/>
                      </a:lnTo>
                      <a:lnTo>
                        <a:pt x="98" y="373"/>
                      </a:lnTo>
                      <a:lnTo>
                        <a:pt x="97" y="377"/>
                      </a:lnTo>
                      <a:lnTo>
                        <a:pt x="97" y="379"/>
                      </a:lnTo>
                      <a:lnTo>
                        <a:pt x="95" y="381"/>
                      </a:lnTo>
                      <a:lnTo>
                        <a:pt x="95" y="383"/>
                      </a:lnTo>
                      <a:lnTo>
                        <a:pt x="97" y="385"/>
                      </a:lnTo>
                      <a:lnTo>
                        <a:pt x="98" y="387"/>
                      </a:lnTo>
                      <a:lnTo>
                        <a:pt x="100" y="388"/>
                      </a:lnTo>
                      <a:lnTo>
                        <a:pt x="102" y="389"/>
                      </a:lnTo>
                      <a:lnTo>
                        <a:pt x="104" y="389"/>
                      </a:lnTo>
                      <a:lnTo>
                        <a:pt x="106" y="389"/>
                      </a:lnTo>
                      <a:lnTo>
                        <a:pt x="108" y="389"/>
                      </a:lnTo>
                      <a:lnTo>
                        <a:pt x="110" y="390"/>
                      </a:lnTo>
                      <a:lnTo>
                        <a:pt x="110" y="391"/>
                      </a:lnTo>
                      <a:lnTo>
                        <a:pt x="110" y="393"/>
                      </a:lnTo>
                      <a:lnTo>
                        <a:pt x="110" y="394"/>
                      </a:lnTo>
                      <a:lnTo>
                        <a:pt x="110" y="396"/>
                      </a:lnTo>
                      <a:lnTo>
                        <a:pt x="110" y="398"/>
                      </a:lnTo>
                      <a:lnTo>
                        <a:pt x="110" y="400"/>
                      </a:lnTo>
                      <a:lnTo>
                        <a:pt x="109" y="400"/>
                      </a:lnTo>
                      <a:lnTo>
                        <a:pt x="108" y="402"/>
                      </a:lnTo>
                      <a:lnTo>
                        <a:pt x="108" y="403"/>
                      </a:lnTo>
                      <a:lnTo>
                        <a:pt x="107" y="404"/>
                      </a:lnTo>
                      <a:lnTo>
                        <a:pt x="105" y="406"/>
                      </a:lnTo>
                      <a:lnTo>
                        <a:pt x="104" y="408"/>
                      </a:lnTo>
                      <a:lnTo>
                        <a:pt x="103" y="409"/>
                      </a:lnTo>
                      <a:lnTo>
                        <a:pt x="104" y="410"/>
                      </a:lnTo>
                      <a:lnTo>
                        <a:pt x="105" y="410"/>
                      </a:lnTo>
                      <a:lnTo>
                        <a:pt x="107" y="410"/>
                      </a:lnTo>
                      <a:lnTo>
                        <a:pt x="107" y="410"/>
                      </a:lnTo>
                      <a:lnTo>
                        <a:pt x="107" y="411"/>
                      </a:lnTo>
                      <a:lnTo>
                        <a:pt x="107" y="412"/>
                      </a:lnTo>
                      <a:lnTo>
                        <a:pt x="107" y="412"/>
                      </a:lnTo>
                      <a:lnTo>
                        <a:pt x="106" y="414"/>
                      </a:lnTo>
                      <a:lnTo>
                        <a:pt x="105" y="415"/>
                      </a:lnTo>
                      <a:lnTo>
                        <a:pt x="105" y="415"/>
                      </a:lnTo>
                      <a:lnTo>
                        <a:pt x="105" y="417"/>
                      </a:lnTo>
                      <a:lnTo>
                        <a:pt x="105" y="417"/>
                      </a:lnTo>
                      <a:lnTo>
                        <a:pt x="107" y="418"/>
                      </a:lnTo>
                      <a:lnTo>
                        <a:pt x="108" y="419"/>
                      </a:lnTo>
                      <a:lnTo>
                        <a:pt x="110" y="419"/>
                      </a:lnTo>
                      <a:lnTo>
                        <a:pt x="111" y="417"/>
                      </a:lnTo>
                      <a:lnTo>
                        <a:pt x="112" y="417"/>
                      </a:lnTo>
                      <a:lnTo>
                        <a:pt x="113" y="417"/>
                      </a:lnTo>
                      <a:lnTo>
                        <a:pt x="114" y="417"/>
                      </a:lnTo>
                      <a:lnTo>
                        <a:pt x="115" y="418"/>
                      </a:lnTo>
                      <a:lnTo>
                        <a:pt x="116" y="419"/>
                      </a:lnTo>
                      <a:lnTo>
                        <a:pt x="116" y="419"/>
                      </a:lnTo>
                      <a:lnTo>
                        <a:pt x="117" y="421"/>
                      </a:lnTo>
                      <a:lnTo>
                        <a:pt x="118" y="421"/>
                      </a:lnTo>
                      <a:lnTo>
                        <a:pt x="118" y="423"/>
                      </a:lnTo>
                      <a:lnTo>
                        <a:pt x="120" y="423"/>
                      </a:lnTo>
                      <a:lnTo>
                        <a:pt x="120" y="423"/>
                      </a:lnTo>
                      <a:lnTo>
                        <a:pt x="122" y="423"/>
                      </a:lnTo>
                      <a:lnTo>
                        <a:pt x="122" y="423"/>
                      </a:lnTo>
                      <a:lnTo>
                        <a:pt x="123" y="421"/>
                      </a:lnTo>
                      <a:lnTo>
                        <a:pt x="123" y="420"/>
                      </a:lnTo>
                      <a:lnTo>
                        <a:pt x="124" y="419"/>
                      </a:lnTo>
                      <a:lnTo>
                        <a:pt x="124" y="418"/>
                      </a:lnTo>
                      <a:lnTo>
                        <a:pt x="126" y="417"/>
                      </a:lnTo>
                      <a:lnTo>
                        <a:pt x="127" y="417"/>
                      </a:lnTo>
                      <a:lnTo>
                        <a:pt x="128" y="417"/>
                      </a:lnTo>
                      <a:lnTo>
                        <a:pt x="129" y="417"/>
                      </a:lnTo>
                      <a:lnTo>
                        <a:pt x="129" y="418"/>
                      </a:lnTo>
                      <a:lnTo>
                        <a:pt x="131" y="419"/>
                      </a:lnTo>
                      <a:lnTo>
                        <a:pt x="131" y="421"/>
                      </a:lnTo>
                      <a:lnTo>
                        <a:pt x="132" y="422"/>
                      </a:lnTo>
                      <a:lnTo>
                        <a:pt x="133" y="423"/>
                      </a:lnTo>
                      <a:lnTo>
                        <a:pt x="133" y="425"/>
                      </a:lnTo>
                      <a:lnTo>
                        <a:pt x="135" y="425"/>
                      </a:lnTo>
                      <a:lnTo>
                        <a:pt x="135" y="426"/>
                      </a:lnTo>
                      <a:lnTo>
                        <a:pt x="137" y="426"/>
                      </a:lnTo>
                      <a:lnTo>
                        <a:pt x="139" y="425"/>
                      </a:lnTo>
                      <a:lnTo>
                        <a:pt x="141" y="423"/>
                      </a:lnTo>
                      <a:lnTo>
                        <a:pt x="143" y="423"/>
                      </a:lnTo>
                      <a:lnTo>
                        <a:pt x="145" y="422"/>
                      </a:lnTo>
                      <a:lnTo>
                        <a:pt x="146" y="422"/>
                      </a:lnTo>
                      <a:lnTo>
                        <a:pt x="148" y="421"/>
                      </a:lnTo>
                      <a:lnTo>
                        <a:pt x="150" y="421"/>
                      </a:lnTo>
                      <a:lnTo>
                        <a:pt x="152" y="421"/>
                      </a:lnTo>
                      <a:lnTo>
                        <a:pt x="152" y="421"/>
                      </a:lnTo>
                      <a:lnTo>
                        <a:pt x="154" y="421"/>
                      </a:lnTo>
                      <a:lnTo>
                        <a:pt x="155" y="421"/>
                      </a:lnTo>
                      <a:lnTo>
                        <a:pt x="156" y="421"/>
                      </a:lnTo>
                      <a:lnTo>
                        <a:pt x="158" y="421"/>
                      </a:lnTo>
                      <a:lnTo>
                        <a:pt x="159" y="423"/>
                      </a:lnTo>
                      <a:lnTo>
                        <a:pt x="160" y="423"/>
                      </a:lnTo>
                      <a:lnTo>
                        <a:pt x="160" y="425"/>
                      </a:lnTo>
                      <a:lnTo>
                        <a:pt x="161" y="427"/>
                      </a:lnTo>
                      <a:lnTo>
                        <a:pt x="162" y="427"/>
                      </a:lnTo>
                      <a:lnTo>
                        <a:pt x="163" y="429"/>
                      </a:lnTo>
                      <a:lnTo>
                        <a:pt x="164" y="431"/>
                      </a:lnTo>
                      <a:lnTo>
                        <a:pt x="165" y="432"/>
                      </a:lnTo>
                      <a:lnTo>
                        <a:pt x="165" y="434"/>
                      </a:lnTo>
                      <a:lnTo>
                        <a:pt x="164" y="436"/>
                      </a:lnTo>
                      <a:lnTo>
                        <a:pt x="163" y="437"/>
                      </a:lnTo>
                      <a:lnTo>
                        <a:pt x="162" y="438"/>
                      </a:lnTo>
                      <a:lnTo>
                        <a:pt x="162" y="438"/>
                      </a:lnTo>
                      <a:lnTo>
                        <a:pt x="161" y="438"/>
                      </a:lnTo>
                      <a:lnTo>
                        <a:pt x="160" y="438"/>
                      </a:lnTo>
                      <a:lnTo>
                        <a:pt x="159" y="439"/>
                      </a:lnTo>
                      <a:lnTo>
                        <a:pt x="158" y="440"/>
                      </a:lnTo>
                      <a:lnTo>
                        <a:pt x="158" y="440"/>
                      </a:lnTo>
                      <a:lnTo>
                        <a:pt x="157" y="442"/>
                      </a:lnTo>
                      <a:lnTo>
                        <a:pt x="156" y="442"/>
                      </a:lnTo>
                      <a:lnTo>
                        <a:pt x="156" y="444"/>
                      </a:lnTo>
                      <a:lnTo>
                        <a:pt x="156" y="445"/>
                      </a:lnTo>
                      <a:lnTo>
                        <a:pt x="156" y="446"/>
                      </a:lnTo>
                      <a:lnTo>
                        <a:pt x="156" y="447"/>
                      </a:lnTo>
                      <a:lnTo>
                        <a:pt x="157" y="448"/>
                      </a:lnTo>
                      <a:lnTo>
                        <a:pt x="158" y="449"/>
                      </a:lnTo>
                      <a:lnTo>
                        <a:pt x="158" y="450"/>
                      </a:lnTo>
                      <a:lnTo>
                        <a:pt x="160" y="450"/>
                      </a:lnTo>
                      <a:lnTo>
                        <a:pt x="160" y="450"/>
                      </a:lnTo>
                      <a:lnTo>
                        <a:pt x="162" y="450"/>
                      </a:lnTo>
                      <a:lnTo>
                        <a:pt x="162" y="448"/>
                      </a:lnTo>
                      <a:lnTo>
                        <a:pt x="163" y="446"/>
                      </a:lnTo>
                      <a:lnTo>
                        <a:pt x="164" y="444"/>
                      </a:lnTo>
                      <a:lnTo>
                        <a:pt x="165" y="442"/>
                      </a:lnTo>
                      <a:lnTo>
                        <a:pt x="167" y="441"/>
                      </a:lnTo>
                      <a:lnTo>
                        <a:pt x="168" y="440"/>
                      </a:lnTo>
                      <a:lnTo>
                        <a:pt x="170" y="440"/>
                      </a:lnTo>
                      <a:lnTo>
                        <a:pt x="172" y="441"/>
                      </a:lnTo>
                      <a:lnTo>
                        <a:pt x="173" y="442"/>
                      </a:lnTo>
                      <a:lnTo>
                        <a:pt x="175" y="443"/>
                      </a:lnTo>
                      <a:lnTo>
                        <a:pt x="176" y="444"/>
                      </a:lnTo>
                      <a:lnTo>
                        <a:pt x="177" y="445"/>
                      </a:lnTo>
                      <a:lnTo>
                        <a:pt x="177" y="446"/>
                      </a:lnTo>
                      <a:lnTo>
                        <a:pt x="178" y="448"/>
                      </a:lnTo>
                      <a:lnTo>
                        <a:pt x="177" y="450"/>
                      </a:lnTo>
                      <a:lnTo>
                        <a:pt x="176" y="452"/>
                      </a:lnTo>
                      <a:lnTo>
                        <a:pt x="175" y="453"/>
                      </a:lnTo>
                      <a:lnTo>
                        <a:pt x="175" y="455"/>
                      </a:lnTo>
                      <a:lnTo>
                        <a:pt x="175" y="455"/>
                      </a:lnTo>
                      <a:lnTo>
                        <a:pt x="175" y="457"/>
                      </a:lnTo>
                      <a:lnTo>
                        <a:pt x="177" y="459"/>
                      </a:lnTo>
                      <a:lnTo>
                        <a:pt x="178" y="459"/>
                      </a:lnTo>
                      <a:lnTo>
                        <a:pt x="179" y="460"/>
                      </a:lnTo>
                      <a:lnTo>
                        <a:pt x="181" y="459"/>
                      </a:lnTo>
                      <a:lnTo>
                        <a:pt x="182" y="457"/>
                      </a:lnTo>
                      <a:lnTo>
                        <a:pt x="183" y="455"/>
                      </a:lnTo>
                      <a:lnTo>
                        <a:pt x="184" y="452"/>
                      </a:lnTo>
                      <a:lnTo>
                        <a:pt x="184" y="450"/>
                      </a:lnTo>
                      <a:lnTo>
                        <a:pt x="184" y="449"/>
                      </a:lnTo>
                      <a:lnTo>
                        <a:pt x="184" y="448"/>
                      </a:lnTo>
                      <a:lnTo>
                        <a:pt x="184" y="446"/>
                      </a:lnTo>
                      <a:lnTo>
                        <a:pt x="184" y="445"/>
                      </a:lnTo>
                      <a:lnTo>
                        <a:pt x="184" y="444"/>
                      </a:lnTo>
                      <a:lnTo>
                        <a:pt x="185" y="443"/>
                      </a:lnTo>
                      <a:lnTo>
                        <a:pt x="186" y="442"/>
                      </a:lnTo>
                      <a:lnTo>
                        <a:pt x="187" y="442"/>
                      </a:lnTo>
                      <a:lnTo>
                        <a:pt x="188" y="441"/>
                      </a:lnTo>
                      <a:lnTo>
                        <a:pt x="189" y="440"/>
                      </a:lnTo>
                      <a:lnTo>
                        <a:pt x="190" y="440"/>
                      </a:lnTo>
                      <a:lnTo>
                        <a:pt x="191" y="441"/>
                      </a:lnTo>
                      <a:lnTo>
                        <a:pt x="192" y="442"/>
                      </a:lnTo>
                      <a:lnTo>
                        <a:pt x="193" y="442"/>
                      </a:lnTo>
                      <a:lnTo>
                        <a:pt x="194" y="444"/>
                      </a:lnTo>
                      <a:lnTo>
                        <a:pt x="194" y="444"/>
                      </a:lnTo>
                      <a:lnTo>
                        <a:pt x="193" y="446"/>
                      </a:lnTo>
                      <a:lnTo>
                        <a:pt x="192" y="447"/>
                      </a:lnTo>
                      <a:lnTo>
                        <a:pt x="191" y="448"/>
                      </a:lnTo>
                      <a:lnTo>
                        <a:pt x="190" y="450"/>
                      </a:lnTo>
                      <a:lnTo>
                        <a:pt x="190" y="451"/>
                      </a:lnTo>
                      <a:lnTo>
                        <a:pt x="189" y="453"/>
                      </a:lnTo>
                      <a:lnTo>
                        <a:pt x="189" y="455"/>
                      </a:lnTo>
                      <a:lnTo>
                        <a:pt x="189" y="457"/>
                      </a:lnTo>
                      <a:lnTo>
                        <a:pt x="189" y="460"/>
                      </a:lnTo>
                      <a:lnTo>
                        <a:pt x="190" y="462"/>
                      </a:lnTo>
                      <a:lnTo>
                        <a:pt x="191" y="464"/>
                      </a:lnTo>
                      <a:lnTo>
                        <a:pt x="193" y="466"/>
                      </a:lnTo>
                      <a:lnTo>
                        <a:pt x="195" y="467"/>
                      </a:lnTo>
                      <a:lnTo>
                        <a:pt x="197" y="468"/>
                      </a:lnTo>
                      <a:lnTo>
                        <a:pt x="200" y="468"/>
                      </a:lnTo>
                      <a:lnTo>
                        <a:pt x="203" y="469"/>
                      </a:lnTo>
                      <a:lnTo>
                        <a:pt x="205" y="469"/>
                      </a:lnTo>
                      <a:lnTo>
                        <a:pt x="207" y="471"/>
                      </a:lnTo>
                      <a:lnTo>
                        <a:pt x="209" y="471"/>
                      </a:lnTo>
                      <a:lnTo>
                        <a:pt x="212" y="473"/>
                      </a:lnTo>
                      <a:lnTo>
                        <a:pt x="213" y="474"/>
                      </a:lnTo>
                      <a:lnTo>
                        <a:pt x="215" y="475"/>
                      </a:lnTo>
                      <a:lnTo>
                        <a:pt x="217" y="476"/>
                      </a:lnTo>
                      <a:lnTo>
                        <a:pt x="220" y="475"/>
                      </a:lnTo>
                      <a:lnTo>
                        <a:pt x="222" y="474"/>
                      </a:lnTo>
                      <a:lnTo>
                        <a:pt x="224" y="474"/>
                      </a:lnTo>
                      <a:lnTo>
                        <a:pt x="225" y="474"/>
                      </a:lnTo>
                      <a:lnTo>
                        <a:pt x="226" y="474"/>
                      </a:lnTo>
                      <a:lnTo>
                        <a:pt x="228" y="476"/>
                      </a:lnTo>
                      <a:lnTo>
                        <a:pt x="228" y="477"/>
                      </a:lnTo>
                      <a:lnTo>
                        <a:pt x="229" y="478"/>
                      </a:lnTo>
                      <a:lnTo>
                        <a:pt x="230" y="480"/>
                      </a:lnTo>
                      <a:lnTo>
                        <a:pt x="230" y="480"/>
                      </a:lnTo>
                      <a:lnTo>
                        <a:pt x="231" y="481"/>
                      </a:lnTo>
                      <a:lnTo>
                        <a:pt x="232" y="481"/>
                      </a:lnTo>
                      <a:lnTo>
                        <a:pt x="233" y="481"/>
                      </a:lnTo>
                      <a:lnTo>
                        <a:pt x="235" y="480"/>
                      </a:lnTo>
                      <a:lnTo>
                        <a:pt x="236" y="479"/>
                      </a:lnTo>
                      <a:lnTo>
                        <a:pt x="238" y="478"/>
                      </a:lnTo>
                      <a:lnTo>
                        <a:pt x="239" y="477"/>
                      </a:lnTo>
                      <a:lnTo>
                        <a:pt x="241" y="477"/>
                      </a:lnTo>
                      <a:lnTo>
                        <a:pt x="242" y="477"/>
                      </a:lnTo>
                      <a:lnTo>
                        <a:pt x="243" y="478"/>
                      </a:lnTo>
                      <a:lnTo>
                        <a:pt x="244" y="480"/>
                      </a:lnTo>
                      <a:lnTo>
                        <a:pt x="245" y="482"/>
                      </a:lnTo>
                      <a:lnTo>
                        <a:pt x="245" y="484"/>
                      </a:lnTo>
                      <a:lnTo>
                        <a:pt x="246" y="486"/>
                      </a:lnTo>
                      <a:lnTo>
                        <a:pt x="247" y="488"/>
                      </a:lnTo>
                      <a:lnTo>
                        <a:pt x="247" y="491"/>
                      </a:lnTo>
                      <a:lnTo>
                        <a:pt x="247" y="494"/>
                      </a:lnTo>
                      <a:lnTo>
                        <a:pt x="247" y="497"/>
                      </a:lnTo>
                      <a:lnTo>
                        <a:pt x="247" y="498"/>
                      </a:lnTo>
                      <a:lnTo>
                        <a:pt x="247" y="499"/>
                      </a:lnTo>
                      <a:lnTo>
                        <a:pt x="247" y="501"/>
                      </a:lnTo>
                      <a:lnTo>
                        <a:pt x="246" y="503"/>
                      </a:lnTo>
                      <a:lnTo>
                        <a:pt x="245" y="504"/>
                      </a:lnTo>
                      <a:lnTo>
                        <a:pt x="244" y="506"/>
                      </a:lnTo>
                      <a:lnTo>
                        <a:pt x="243" y="507"/>
                      </a:lnTo>
                      <a:lnTo>
                        <a:pt x="242" y="508"/>
                      </a:lnTo>
                      <a:lnTo>
                        <a:pt x="242" y="510"/>
                      </a:lnTo>
                      <a:lnTo>
                        <a:pt x="243" y="511"/>
                      </a:lnTo>
                      <a:lnTo>
                        <a:pt x="243" y="513"/>
                      </a:lnTo>
                      <a:lnTo>
                        <a:pt x="245" y="514"/>
                      </a:lnTo>
                      <a:lnTo>
                        <a:pt x="246" y="514"/>
                      </a:lnTo>
                      <a:lnTo>
                        <a:pt x="248" y="515"/>
                      </a:lnTo>
                      <a:lnTo>
                        <a:pt x="249" y="516"/>
                      </a:lnTo>
                      <a:lnTo>
                        <a:pt x="251" y="517"/>
                      </a:lnTo>
                      <a:lnTo>
                        <a:pt x="252" y="518"/>
                      </a:lnTo>
                      <a:lnTo>
                        <a:pt x="254" y="518"/>
                      </a:lnTo>
                      <a:lnTo>
                        <a:pt x="255" y="519"/>
                      </a:lnTo>
                      <a:lnTo>
                        <a:pt x="256" y="520"/>
                      </a:lnTo>
                      <a:lnTo>
                        <a:pt x="257" y="522"/>
                      </a:lnTo>
                      <a:lnTo>
                        <a:pt x="259" y="524"/>
                      </a:lnTo>
                      <a:lnTo>
                        <a:pt x="260" y="525"/>
                      </a:lnTo>
                      <a:lnTo>
                        <a:pt x="260" y="526"/>
                      </a:lnTo>
                      <a:lnTo>
                        <a:pt x="262" y="527"/>
                      </a:lnTo>
                      <a:lnTo>
                        <a:pt x="263" y="528"/>
                      </a:lnTo>
                      <a:lnTo>
                        <a:pt x="264" y="530"/>
                      </a:lnTo>
                      <a:lnTo>
                        <a:pt x="265" y="531"/>
                      </a:lnTo>
                      <a:lnTo>
                        <a:pt x="266" y="533"/>
                      </a:lnTo>
                      <a:lnTo>
                        <a:pt x="268" y="533"/>
                      </a:lnTo>
                      <a:lnTo>
                        <a:pt x="269" y="535"/>
                      </a:lnTo>
                      <a:lnTo>
                        <a:pt x="270" y="536"/>
                      </a:lnTo>
                      <a:lnTo>
                        <a:pt x="272" y="536"/>
                      </a:lnTo>
                      <a:lnTo>
                        <a:pt x="274" y="536"/>
                      </a:lnTo>
                      <a:lnTo>
                        <a:pt x="276" y="537"/>
                      </a:lnTo>
                      <a:lnTo>
                        <a:pt x="278" y="537"/>
                      </a:lnTo>
                      <a:lnTo>
                        <a:pt x="279" y="538"/>
                      </a:lnTo>
                      <a:lnTo>
                        <a:pt x="280" y="539"/>
                      </a:lnTo>
                      <a:lnTo>
                        <a:pt x="281" y="539"/>
                      </a:lnTo>
                      <a:lnTo>
                        <a:pt x="281" y="539"/>
                      </a:lnTo>
                      <a:lnTo>
                        <a:pt x="287" y="538"/>
                      </a:lnTo>
                      <a:lnTo>
                        <a:pt x="289" y="538"/>
                      </a:lnTo>
                      <a:lnTo>
                        <a:pt x="291" y="538"/>
                      </a:lnTo>
                      <a:lnTo>
                        <a:pt x="293" y="538"/>
                      </a:lnTo>
                      <a:lnTo>
                        <a:pt x="295" y="538"/>
                      </a:lnTo>
                      <a:lnTo>
                        <a:pt x="298" y="538"/>
                      </a:lnTo>
                      <a:lnTo>
                        <a:pt x="300" y="539"/>
                      </a:lnTo>
                      <a:lnTo>
                        <a:pt x="300" y="539"/>
                      </a:lnTo>
                      <a:lnTo>
                        <a:pt x="300" y="540"/>
                      </a:lnTo>
                      <a:lnTo>
                        <a:pt x="300" y="542"/>
                      </a:lnTo>
                      <a:lnTo>
                        <a:pt x="300" y="544"/>
                      </a:lnTo>
                      <a:lnTo>
                        <a:pt x="298" y="545"/>
                      </a:lnTo>
                      <a:lnTo>
                        <a:pt x="298" y="547"/>
                      </a:lnTo>
                      <a:lnTo>
                        <a:pt x="298" y="547"/>
                      </a:lnTo>
                      <a:lnTo>
                        <a:pt x="298" y="549"/>
                      </a:lnTo>
                      <a:lnTo>
                        <a:pt x="299" y="549"/>
                      </a:lnTo>
                      <a:lnTo>
                        <a:pt x="300" y="550"/>
                      </a:lnTo>
                      <a:lnTo>
                        <a:pt x="301" y="550"/>
                      </a:lnTo>
                      <a:lnTo>
                        <a:pt x="302" y="550"/>
                      </a:lnTo>
                      <a:lnTo>
                        <a:pt x="302" y="550"/>
                      </a:lnTo>
                      <a:lnTo>
                        <a:pt x="304" y="549"/>
                      </a:lnTo>
                      <a:lnTo>
                        <a:pt x="304" y="549"/>
                      </a:lnTo>
                      <a:lnTo>
                        <a:pt x="304" y="549"/>
                      </a:lnTo>
                      <a:lnTo>
                        <a:pt x="304" y="548"/>
                      </a:lnTo>
                      <a:lnTo>
                        <a:pt x="305" y="548"/>
                      </a:lnTo>
                      <a:lnTo>
                        <a:pt x="305" y="547"/>
                      </a:lnTo>
                      <a:lnTo>
                        <a:pt x="306" y="547"/>
                      </a:lnTo>
                      <a:lnTo>
                        <a:pt x="306" y="547"/>
                      </a:lnTo>
                      <a:lnTo>
                        <a:pt x="306" y="546"/>
                      </a:lnTo>
                      <a:lnTo>
                        <a:pt x="307" y="545"/>
                      </a:lnTo>
                      <a:lnTo>
                        <a:pt x="308" y="545"/>
                      </a:lnTo>
                      <a:lnTo>
                        <a:pt x="308" y="544"/>
                      </a:lnTo>
                      <a:lnTo>
                        <a:pt x="309" y="544"/>
                      </a:lnTo>
                      <a:lnTo>
                        <a:pt x="310" y="544"/>
                      </a:lnTo>
                      <a:lnTo>
                        <a:pt x="310" y="543"/>
                      </a:lnTo>
                      <a:lnTo>
                        <a:pt x="310" y="543"/>
                      </a:lnTo>
                      <a:lnTo>
                        <a:pt x="311" y="543"/>
                      </a:lnTo>
                      <a:lnTo>
                        <a:pt x="311" y="543"/>
                      </a:lnTo>
                      <a:lnTo>
                        <a:pt x="312" y="543"/>
                      </a:lnTo>
                      <a:lnTo>
                        <a:pt x="312" y="542"/>
                      </a:lnTo>
                      <a:lnTo>
                        <a:pt x="312" y="541"/>
                      </a:lnTo>
                      <a:lnTo>
                        <a:pt x="312" y="540"/>
                      </a:lnTo>
                      <a:lnTo>
                        <a:pt x="314" y="539"/>
                      </a:lnTo>
                      <a:lnTo>
                        <a:pt x="314" y="538"/>
                      </a:lnTo>
                      <a:lnTo>
                        <a:pt x="314" y="538"/>
                      </a:lnTo>
                      <a:lnTo>
                        <a:pt x="315" y="537"/>
                      </a:lnTo>
                      <a:lnTo>
                        <a:pt x="316" y="537"/>
                      </a:lnTo>
                      <a:lnTo>
                        <a:pt x="317" y="537"/>
                      </a:lnTo>
                      <a:lnTo>
                        <a:pt x="317" y="538"/>
                      </a:lnTo>
                      <a:lnTo>
                        <a:pt x="317" y="538"/>
                      </a:lnTo>
                      <a:lnTo>
                        <a:pt x="317" y="539"/>
                      </a:lnTo>
                      <a:lnTo>
                        <a:pt x="318" y="539"/>
                      </a:lnTo>
                      <a:lnTo>
                        <a:pt x="318" y="539"/>
                      </a:lnTo>
                      <a:lnTo>
                        <a:pt x="319" y="539"/>
                      </a:lnTo>
                      <a:lnTo>
                        <a:pt x="319" y="539"/>
                      </a:lnTo>
                      <a:lnTo>
                        <a:pt x="320" y="539"/>
                      </a:lnTo>
                      <a:lnTo>
                        <a:pt x="321" y="539"/>
                      </a:lnTo>
                      <a:lnTo>
                        <a:pt x="321" y="539"/>
                      </a:lnTo>
                      <a:lnTo>
                        <a:pt x="321" y="540"/>
                      </a:lnTo>
                      <a:lnTo>
                        <a:pt x="322" y="540"/>
                      </a:lnTo>
                      <a:lnTo>
                        <a:pt x="322" y="541"/>
                      </a:lnTo>
                      <a:lnTo>
                        <a:pt x="323" y="541"/>
                      </a:lnTo>
                      <a:lnTo>
                        <a:pt x="323" y="541"/>
                      </a:lnTo>
                      <a:lnTo>
                        <a:pt x="323" y="541"/>
                      </a:lnTo>
                      <a:lnTo>
                        <a:pt x="323" y="542"/>
                      </a:lnTo>
                      <a:lnTo>
                        <a:pt x="324" y="542"/>
                      </a:lnTo>
                      <a:lnTo>
                        <a:pt x="325" y="543"/>
                      </a:lnTo>
                      <a:lnTo>
                        <a:pt x="325" y="543"/>
                      </a:lnTo>
                      <a:lnTo>
                        <a:pt x="326" y="543"/>
                      </a:lnTo>
                      <a:lnTo>
                        <a:pt x="326" y="542"/>
                      </a:lnTo>
                      <a:lnTo>
                        <a:pt x="327" y="542"/>
                      </a:lnTo>
                      <a:lnTo>
                        <a:pt x="327" y="541"/>
                      </a:lnTo>
                      <a:lnTo>
                        <a:pt x="327" y="541"/>
                      </a:lnTo>
                      <a:lnTo>
                        <a:pt x="327" y="541"/>
                      </a:lnTo>
                      <a:lnTo>
                        <a:pt x="328" y="541"/>
                      </a:lnTo>
                      <a:lnTo>
                        <a:pt x="329" y="541"/>
                      </a:lnTo>
                      <a:lnTo>
                        <a:pt x="329" y="541"/>
                      </a:lnTo>
                      <a:lnTo>
                        <a:pt x="330" y="541"/>
                      </a:lnTo>
                      <a:lnTo>
                        <a:pt x="331" y="541"/>
                      </a:lnTo>
                      <a:lnTo>
                        <a:pt x="331" y="541"/>
                      </a:lnTo>
                      <a:lnTo>
                        <a:pt x="331" y="543"/>
                      </a:lnTo>
                      <a:lnTo>
                        <a:pt x="331" y="544"/>
                      </a:lnTo>
                      <a:lnTo>
                        <a:pt x="331" y="545"/>
                      </a:lnTo>
                      <a:lnTo>
                        <a:pt x="331" y="545"/>
                      </a:lnTo>
                      <a:lnTo>
                        <a:pt x="331" y="546"/>
                      </a:lnTo>
                      <a:lnTo>
                        <a:pt x="331" y="547"/>
                      </a:lnTo>
                      <a:lnTo>
                        <a:pt x="331" y="547"/>
                      </a:lnTo>
                      <a:lnTo>
                        <a:pt x="331" y="547"/>
                      </a:lnTo>
                      <a:lnTo>
                        <a:pt x="331" y="548"/>
                      </a:lnTo>
                      <a:lnTo>
                        <a:pt x="331" y="549"/>
                      </a:lnTo>
                      <a:lnTo>
                        <a:pt x="331" y="549"/>
                      </a:lnTo>
                      <a:lnTo>
                        <a:pt x="331" y="550"/>
                      </a:lnTo>
                      <a:lnTo>
                        <a:pt x="331" y="551"/>
                      </a:lnTo>
                      <a:lnTo>
                        <a:pt x="331" y="553"/>
                      </a:lnTo>
                      <a:lnTo>
                        <a:pt x="333" y="553"/>
                      </a:lnTo>
                      <a:lnTo>
                        <a:pt x="333" y="553"/>
                      </a:lnTo>
                      <a:lnTo>
                        <a:pt x="335" y="553"/>
                      </a:lnTo>
                      <a:lnTo>
                        <a:pt x="336" y="552"/>
                      </a:lnTo>
                      <a:lnTo>
                        <a:pt x="338" y="551"/>
                      </a:lnTo>
                      <a:lnTo>
                        <a:pt x="339" y="550"/>
                      </a:lnTo>
                      <a:lnTo>
                        <a:pt x="339" y="549"/>
                      </a:lnTo>
                      <a:lnTo>
                        <a:pt x="339" y="548"/>
                      </a:lnTo>
                      <a:lnTo>
                        <a:pt x="338" y="547"/>
                      </a:lnTo>
                      <a:lnTo>
                        <a:pt x="338" y="547"/>
                      </a:lnTo>
                      <a:lnTo>
                        <a:pt x="338" y="546"/>
                      </a:lnTo>
                      <a:lnTo>
                        <a:pt x="338" y="545"/>
                      </a:lnTo>
                      <a:lnTo>
                        <a:pt x="338" y="545"/>
                      </a:lnTo>
                      <a:lnTo>
                        <a:pt x="339" y="544"/>
                      </a:lnTo>
                      <a:lnTo>
                        <a:pt x="340" y="543"/>
                      </a:lnTo>
                      <a:lnTo>
                        <a:pt x="342" y="544"/>
                      </a:lnTo>
                      <a:lnTo>
                        <a:pt x="342" y="544"/>
                      </a:lnTo>
                      <a:lnTo>
                        <a:pt x="343" y="545"/>
                      </a:lnTo>
                      <a:lnTo>
                        <a:pt x="344" y="545"/>
                      </a:lnTo>
                      <a:lnTo>
                        <a:pt x="344" y="546"/>
                      </a:lnTo>
                      <a:lnTo>
                        <a:pt x="344" y="547"/>
                      </a:lnTo>
                      <a:lnTo>
                        <a:pt x="344" y="549"/>
                      </a:lnTo>
                      <a:lnTo>
                        <a:pt x="344" y="549"/>
                      </a:lnTo>
                      <a:lnTo>
                        <a:pt x="344" y="550"/>
                      </a:lnTo>
                      <a:lnTo>
                        <a:pt x="344" y="551"/>
                      </a:lnTo>
                      <a:lnTo>
                        <a:pt x="344" y="551"/>
                      </a:lnTo>
                      <a:lnTo>
                        <a:pt x="345" y="551"/>
                      </a:lnTo>
                      <a:lnTo>
                        <a:pt x="346" y="550"/>
                      </a:lnTo>
                      <a:lnTo>
                        <a:pt x="346" y="549"/>
                      </a:lnTo>
                      <a:lnTo>
                        <a:pt x="347" y="549"/>
                      </a:lnTo>
                      <a:lnTo>
                        <a:pt x="348" y="548"/>
                      </a:lnTo>
                      <a:lnTo>
                        <a:pt x="349" y="548"/>
                      </a:lnTo>
                      <a:lnTo>
                        <a:pt x="349" y="547"/>
                      </a:lnTo>
                      <a:lnTo>
                        <a:pt x="350" y="547"/>
                      </a:lnTo>
                      <a:lnTo>
                        <a:pt x="350" y="547"/>
                      </a:lnTo>
                      <a:lnTo>
                        <a:pt x="350" y="546"/>
                      </a:lnTo>
                      <a:lnTo>
                        <a:pt x="350" y="545"/>
                      </a:lnTo>
                      <a:lnTo>
                        <a:pt x="351" y="545"/>
                      </a:lnTo>
                      <a:lnTo>
                        <a:pt x="352" y="545"/>
                      </a:lnTo>
                      <a:lnTo>
                        <a:pt x="352" y="546"/>
                      </a:lnTo>
                      <a:lnTo>
                        <a:pt x="353" y="546"/>
                      </a:lnTo>
                      <a:lnTo>
                        <a:pt x="353" y="547"/>
                      </a:lnTo>
                      <a:lnTo>
                        <a:pt x="353" y="547"/>
                      </a:lnTo>
                      <a:lnTo>
                        <a:pt x="353" y="548"/>
                      </a:lnTo>
                      <a:lnTo>
                        <a:pt x="354" y="549"/>
                      </a:lnTo>
                      <a:lnTo>
                        <a:pt x="355" y="549"/>
                      </a:lnTo>
                      <a:lnTo>
                        <a:pt x="355" y="549"/>
                      </a:lnTo>
                      <a:lnTo>
                        <a:pt x="356" y="549"/>
                      </a:lnTo>
                      <a:lnTo>
                        <a:pt x="357" y="549"/>
                      </a:lnTo>
                      <a:lnTo>
                        <a:pt x="357" y="549"/>
                      </a:lnTo>
                      <a:lnTo>
                        <a:pt x="357" y="548"/>
                      </a:lnTo>
                      <a:lnTo>
                        <a:pt x="358" y="547"/>
                      </a:lnTo>
                      <a:lnTo>
                        <a:pt x="359" y="547"/>
                      </a:lnTo>
                      <a:lnTo>
                        <a:pt x="359" y="547"/>
                      </a:lnTo>
                      <a:lnTo>
                        <a:pt x="361" y="547"/>
                      </a:lnTo>
                      <a:lnTo>
                        <a:pt x="361" y="547"/>
                      </a:lnTo>
                      <a:lnTo>
                        <a:pt x="361" y="548"/>
                      </a:lnTo>
                      <a:lnTo>
                        <a:pt x="362" y="549"/>
                      </a:lnTo>
                      <a:lnTo>
                        <a:pt x="363" y="549"/>
                      </a:lnTo>
                      <a:lnTo>
                        <a:pt x="363" y="549"/>
                      </a:lnTo>
                      <a:lnTo>
                        <a:pt x="363" y="551"/>
                      </a:lnTo>
                      <a:lnTo>
                        <a:pt x="364" y="551"/>
                      </a:lnTo>
                      <a:lnTo>
                        <a:pt x="365" y="552"/>
                      </a:lnTo>
                      <a:lnTo>
                        <a:pt x="365" y="553"/>
                      </a:lnTo>
                      <a:lnTo>
                        <a:pt x="366" y="554"/>
                      </a:lnTo>
                      <a:lnTo>
                        <a:pt x="367" y="554"/>
                      </a:lnTo>
                      <a:lnTo>
                        <a:pt x="368" y="554"/>
                      </a:lnTo>
                      <a:lnTo>
                        <a:pt x="369" y="553"/>
                      </a:lnTo>
                      <a:lnTo>
                        <a:pt x="369" y="552"/>
                      </a:lnTo>
                      <a:lnTo>
                        <a:pt x="371" y="552"/>
                      </a:lnTo>
                      <a:lnTo>
                        <a:pt x="371" y="552"/>
                      </a:lnTo>
                      <a:lnTo>
                        <a:pt x="372" y="552"/>
                      </a:lnTo>
                      <a:lnTo>
                        <a:pt x="372" y="553"/>
                      </a:lnTo>
                      <a:lnTo>
                        <a:pt x="373" y="554"/>
                      </a:lnTo>
                      <a:lnTo>
                        <a:pt x="374" y="554"/>
                      </a:lnTo>
                      <a:lnTo>
                        <a:pt x="374" y="554"/>
                      </a:lnTo>
                      <a:lnTo>
                        <a:pt x="375" y="553"/>
                      </a:lnTo>
                      <a:lnTo>
                        <a:pt x="375" y="552"/>
                      </a:lnTo>
                      <a:lnTo>
                        <a:pt x="375" y="551"/>
                      </a:lnTo>
                      <a:lnTo>
                        <a:pt x="375" y="551"/>
                      </a:lnTo>
                      <a:lnTo>
                        <a:pt x="376" y="551"/>
                      </a:lnTo>
                      <a:lnTo>
                        <a:pt x="376" y="550"/>
                      </a:lnTo>
                      <a:lnTo>
                        <a:pt x="376" y="549"/>
                      </a:lnTo>
                      <a:lnTo>
                        <a:pt x="377" y="549"/>
                      </a:lnTo>
                      <a:lnTo>
                        <a:pt x="378" y="549"/>
                      </a:lnTo>
                      <a:lnTo>
                        <a:pt x="378" y="550"/>
                      </a:lnTo>
                      <a:lnTo>
                        <a:pt x="379" y="551"/>
                      </a:lnTo>
                      <a:lnTo>
                        <a:pt x="380" y="552"/>
                      </a:lnTo>
                      <a:lnTo>
                        <a:pt x="381" y="553"/>
                      </a:lnTo>
                      <a:lnTo>
                        <a:pt x="382" y="554"/>
                      </a:lnTo>
                      <a:lnTo>
                        <a:pt x="384" y="556"/>
                      </a:lnTo>
                      <a:lnTo>
                        <a:pt x="386" y="557"/>
                      </a:lnTo>
                      <a:lnTo>
                        <a:pt x="387" y="558"/>
                      </a:lnTo>
                      <a:lnTo>
                        <a:pt x="388" y="558"/>
                      </a:lnTo>
                      <a:lnTo>
                        <a:pt x="391" y="557"/>
                      </a:lnTo>
                      <a:lnTo>
                        <a:pt x="391" y="556"/>
                      </a:lnTo>
                      <a:lnTo>
                        <a:pt x="393" y="555"/>
                      </a:lnTo>
                      <a:lnTo>
                        <a:pt x="393" y="554"/>
                      </a:lnTo>
                      <a:lnTo>
                        <a:pt x="394" y="554"/>
                      </a:lnTo>
                      <a:lnTo>
                        <a:pt x="395" y="553"/>
                      </a:lnTo>
                      <a:lnTo>
                        <a:pt x="395" y="552"/>
                      </a:lnTo>
                      <a:lnTo>
                        <a:pt x="396" y="552"/>
                      </a:lnTo>
                      <a:lnTo>
                        <a:pt x="397" y="551"/>
                      </a:lnTo>
                      <a:lnTo>
                        <a:pt x="398" y="551"/>
                      </a:lnTo>
                      <a:lnTo>
                        <a:pt x="399" y="551"/>
                      </a:lnTo>
                      <a:lnTo>
                        <a:pt x="400" y="551"/>
                      </a:lnTo>
                      <a:lnTo>
                        <a:pt x="401" y="551"/>
                      </a:lnTo>
                      <a:lnTo>
                        <a:pt x="401" y="551"/>
                      </a:lnTo>
                      <a:lnTo>
                        <a:pt x="401" y="551"/>
                      </a:lnTo>
                      <a:lnTo>
                        <a:pt x="401" y="550"/>
                      </a:lnTo>
                      <a:lnTo>
                        <a:pt x="402" y="550"/>
                      </a:lnTo>
                      <a:lnTo>
                        <a:pt x="403" y="549"/>
                      </a:lnTo>
                      <a:lnTo>
                        <a:pt x="403" y="549"/>
                      </a:lnTo>
                      <a:lnTo>
                        <a:pt x="403" y="548"/>
                      </a:lnTo>
                      <a:lnTo>
                        <a:pt x="403" y="547"/>
                      </a:lnTo>
                      <a:lnTo>
                        <a:pt x="403" y="547"/>
                      </a:lnTo>
                      <a:lnTo>
                        <a:pt x="403" y="546"/>
                      </a:lnTo>
                      <a:lnTo>
                        <a:pt x="402" y="545"/>
                      </a:lnTo>
                      <a:lnTo>
                        <a:pt x="402" y="545"/>
                      </a:lnTo>
                      <a:lnTo>
                        <a:pt x="402" y="544"/>
                      </a:lnTo>
                      <a:lnTo>
                        <a:pt x="402" y="543"/>
                      </a:lnTo>
                      <a:lnTo>
                        <a:pt x="402" y="543"/>
                      </a:lnTo>
                      <a:lnTo>
                        <a:pt x="403" y="543"/>
                      </a:lnTo>
                      <a:lnTo>
                        <a:pt x="403" y="542"/>
                      </a:lnTo>
                      <a:lnTo>
                        <a:pt x="403" y="542"/>
                      </a:lnTo>
                      <a:lnTo>
                        <a:pt x="403" y="541"/>
                      </a:lnTo>
                      <a:lnTo>
                        <a:pt x="404" y="541"/>
                      </a:lnTo>
                      <a:lnTo>
                        <a:pt x="404" y="540"/>
                      </a:lnTo>
                      <a:lnTo>
                        <a:pt x="404" y="539"/>
                      </a:lnTo>
                      <a:lnTo>
                        <a:pt x="405" y="539"/>
                      </a:lnTo>
                      <a:lnTo>
                        <a:pt x="405" y="538"/>
                      </a:lnTo>
                      <a:lnTo>
                        <a:pt x="404" y="538"/>
                      </a:lnTo>
                      <a:lnTo>
                        <a:pt x="404" y="537"/>
                      </a:lnTo>
                      <a:lnTo>
                        <a:pt x="404" y="537"/>
                      </a:lnTo>
                      <a:lnTo>
                        <a:pt x="404" y="536"/>
                      </a:lnTo>
                      <a:lnTo>
                        <a:pt x="405" y="536"/>
                      </a:lnTo>
                      <a:lnTo>
                        <a:pt x="405" y="535"/>
                      </a:lnTo>
                      <a:lnTo>
                        <a:pt x="405" y="535"/>
                      </a:lnTo>
                      <a:lnTo>
                        <a:pt x="405" y="535"/>
                      </a:lnTo>
                      <a:lnTo>
                        <a:pt x="406" y="535"/>
                      </a:lnTo>
                      <a:lnTo>
                        <a:pt x="407" y="535"/>
                      </a:lnTo>
                      <a:lnTo>
                        <a:pt x="407" y="535"/>
                      </a:lnTo>
                      <a:lnTo>
                        <a:pt x="408" y="535"/>
                      </a:lnTo>
                      <a:lnTo>
                        <a:pt x="408" y="535"/>
                      </a:lnTo>
                      <a:lnTo>
                        <a:pt x="409" y="535"/>
                      </a:lnTo>
                      <a:lnTo>
                        <a:pt x="410" y="536"/>
                      </a:lnTo>
                      <a:lnTo>
                        <a:pt x="410" y="537"/>
                      </a:lnTo>
                      <a:lnTo>
                        <a:pt x="410" y="537"/>
                      </a:lnTo>
                      <a:lnTo>
                        <a:pt x="411" y="537"/>
                      </a:lnTo>
                      <a:lnTo>
                        <a:pt x="413" y="538"/>
                      </a:lnTo>
                      <a:lnTo>
                        <a:pt x="419" y="540"/>
                      </a:lnTo>
                      <a:lnTo>
                        <a:pt x="421" y="539"/>
                      </a:lnTo>
                      <a:lnTo>
                        <a:pt x="421" y="538"/>
                      </a:lnTo>
                      <a:lnTo>
                        <a:pt x="422" y="538"/>
                      </a:lnTo>
                      <a:lnTo>
                        <a:pt x="422" y="537"/>
                      </a:lnTo>
                      <a:lnTo>
                        <a:pt x="422" y="537"/>
                      </a:lnTo>
                      <a:lnTo>
                        <a:pt x="422" y="536"/>
                      </a:lnTo>
                      <a:lnTo>
                        <a:pt x="423" y="536"/>
                      </a:lnTo>
                      <a:lnTo>
                        <a:pt x="423" y="535"/>
                      </a:lnTo>
                      <a:lnTo>
                        <a:pt x="424" y="535"/>
                      </a:lnTo>
                      <a:lnTo>
                        <a:pt x="424" y="535"/>
                      </a:lnTo>
                      <a:lnTo>
                        <a:pt x="425" y="535"/>
                      </a:lnTo>
                      <a:lnTo>
                        <a:pt x="426" y="535"/>
                      </a:lnTo>
                      <a:lnTo>
                        <a:pt x="426" y="535"/>
                      </a:lnTo>
                      <a:lnTo>
                        <a:pt x="427" y="535"/>
                      </a:lnTo>
                      <a:lnTo>
                        <a:pt x="428" y="535"/>
                      </a:lnTo>
                      <a:lnTo>
                        <a:pt x="428" y="535"/>
                      </a:lnTo>
                      <a:lnTo>
                        <a:pt x="429" y="535"/>
                      </a:lnTo>
                      <a:lnTo>
                        <a:pt x="429" y="534"/>
                      </a:lnTo>
                      <a:lnTo>
                        <a:pt x="429" y="534"/>
                      </a:lnTo>
                      <a:lnTo>
                        <a:pt x="429" y="533"/>
                      </a:lnTo>
                      <a:lnTo>
                        <a:pt x="429" y="533"/>
                      </a:lnTo>
                      <a:lnTo>
                        <a:pt x="430" y="533"/>
                      </a:lnTo>
                      <a:lnTo>
                        <a:pt x="430" y="532"/>
                      </a:lnTo>
                      <a:lnTo>
                        <a:pt x="430" y="531"/>
                      </a:lnTo>
                      <a:lnTo>
                        <a:pt x="431" y="531"/>
                      </a:lnTo>
                      <a:lnTo>
                        <a:pt x="431" y="530"/>
                      </a:lnTo>
                      <a:lnTo>
                        <a:pt x="431" y="530"/>
                      </a:lnTo>
                      <a:lnTo>
                        <a:pt x="432" y="530"/>
                      </a:lnTo>
                      <a:lnTo>
                        <a:pt x="433" y="530"/>
                      </a:lnTo>
                      <a:lnTo>
                        <a:pt x="433" y="531"/>
                      </a:lnTo>
                      <a:lnTo>
                        <a:pt x="433" y="531"/>
                      </a:lnTo>
                      <a:lnTo>
                        <a:pt x="433" y="532"/>
                      </a:lnTo>
                      <a:lnTo>
                        <a:pt x="434" y="532"/>
                      </a:lnTo>
                      <a:lnTo>
                        <a:pt x="435" y="532"/>
                      </a:lnTo>
                      <a:lnTo>
                        <a:pt x="435" y="533"/>
                      </a:lnTo>
                      <a:lnTo>
                        <a:pt x="435" y="533"/>
                      </a:lnTo>
                      <a:lnTo>
                        <a:pt x="435" y="533"/>
                      </a:lnTo>
                      <a:lnTo>
                        <a:pt x="436" y="533"/>
                      </a:lnTo>
                      <a:lnTo>
                        <a:pt x="437" y="533"/>
                      </a:lnTo>
                      <a:lnTo>
                        <a:pt x="437" y="534"/>
                      </a:lnTo>
                      <a:lnTo>
                        <a:pt x="437" y="534"/>
                      </a:lnTo>
                      <a:lnTo>
                        <a:pt x="441" y="533"/>
                      </a:lnTo>
                      <a:lnTo>
                        <a:pt x="443" y="533"/>
                      </a:lnTo>
                      <a:lnTo>
                        <a:pt x="445" y="533"/>
                      </a:lnTo>
                      <a:lnTo>
                        <a:pt x="448" y="533"/>
                      </a:lnTo>
                      <a:lnTo>
                        <a:pt x="449" y="534"/>
                      </a:lnTo>
                      <a:lnTo>
                        <a:pt x="451" y="535"/>
                      </a:lnTo>
                      <a:lnTo>
                        <a:pt x="453" y="535"/>
                      </a:lnTo>
                      <a:lnTo>
                        <a:pt x="455" y="535"/>
                      </a:lnTo>
                      <a:lnTo>
                        <a:pt x="457" y="536"/>
                      </a:lnTo>
                      <a:lnTo>
                        <a:pt x="458" y="537"/>
                      </a:lnTo>
                      <a:lnTo>
                        <a:pt x="459" y="537"/>
                      </a:lnTo>
                      <a:lnTo>
                        <a:pt x="460" y="539"/>
                      </a:lnTo>
                      <a:lnTo>
                        <a:pt x="461" y="539"/>
                      </a:lnTo>
                      <a:lnTo>
                        <a:pt x="463" y="539"/>
                      </a:lnTo>
                      <a:lnTo>
                        <a:pt x="464" y="539"/>
                      </a:lnTo>
                      <a:lnTo>
                        <a:pt x="466" y="539"/>
                      </a:lnTo>
                      <a:lnTo>
                        <a:pt x="468" y="540"/>
                      </a:lnTo>
                      <a:lnTo>
                        <a:pt x="469" y="541"/>
                      </a:lnTo>
                      <a:lnTo>
                        <a:pt x="471" y="541"/>
                      </a:lnTo>
                      <a:lnTo>
                        <a:pt x="471" y="541"/>
                      </a:lnTo>
                      <a:lnTo>
                        <a:pt x="472" y="541"/>
                      </a:lnTo>
                      <a:lnTo>
                        <a:pt x="473" y="541"/>
                      </a:lnTo>
                      <a:lnTo>
                        <a:pt x="474" y="542"/>
                      </a:lnTo>
                      <a:lnTo>
                        <a:pt x="475" y="542"/>
                      </a:lnTo>
                      <a:lnTo>
                        <a:pt x="475" y="543"/>
                      </a:lnTo>
                      <a:lnTo>
                        <a:pt x="475" y="544"/>
                      </a:lnTo>
                      <a:lnTo>
                        <a:pt x="476" y="545"/>
                      </a:lnTo>
                      <a:lnTo>
                        <a:pt x="477" y="545"/>
                      </a:lnTo>
                      <a:lnTo>
                        <a:pt x="478" y="545"/>
                      </a:lnTo>
                      <a:lnTo>
                        <a:pt x="479" y="546"/>
                      </a:lnTo>
                      <a:lnTo>
                        <a:pt x="481" y="546"/>
                      </a:lnTo>
                      <a:lnTo>
                        <a:pt x="482" y="547"/>
                      </a:lnTo>
                      <a:lnTo>
                        <a:pt x="483" y="547"/>
                      </a:lnTo>
                      <a:lnTo>
                        <a:pt x="485" y="548"/>
                      </a:lnTo>
                      <a:lnTo>
                        <a:pt x="485" y="549"/>
                      </a:lnTo>
                      <a:lnTo>
                        <a:pt x="486" y="549"/>
                      </a:lnTo>
                      <a:lnTo>
                        <a:pt x="486" y="549"/>
                      </a:lnTo>
                      <a:lnTo>
                        <a:pt x="487" y="549"/>
                      </a:lnTo>
                      <a:lnTo>
                        <a:pt x="488" y="549"/>
                      </a:lnTo>
                      <a:lnTo>
                        <a:pt x="488" y="549"/>
                      </a:lnTo>
                      <a:lnTo>
                        <a:pt x="489" y="549"/>
                      </a:lnTo>
                      <a:lnTo>
                        <a:pt x="490" y="549"/>
                      </a:lnTo>
                      <a:lnTo>
                        <a:pt x="490" y="550"/>
                      </a:lnTo>
                      <a:lnTo>
                        <a:pt x="491" y="550"/>
                      </a:lnTo>
                      <a:lnTo>
                        <a:pt x="492" y="550"/>
                      </a:lnTo>
                      <a:lnTo>
                        <a:pt x="492" y="551"/>
                      </a:lnTo>
                      <a:lnTo>
                        <a:pt x="493" y="551"/>
                      </a:lnTo>
                      <a:lnTo>
                        <a:pt x="494" y="552"/>
                      </a:lnTo>
                      <a:lnTo>
                        <a:pt x="494" y="553"/>
                      </a:lnTo>
                      <a:lnTo>
                        <a:pt x="494" y="554"/>
                      </a:lnTo>
                      <a:lnTo>
                        <a:pt x="495" y="554"/>
                      </a:lnTo>
                      <a:lnTo>
                        <a:pt x="495" y="555"/>
                      </a:lnTo>
                      <a:lnTo>
                        <a:pt x="496" y="555"/>
                      </a:lnTo>
                      <a:lnTo>
                        <a:pt x="496" y="556"/>
                      </a:lnTo>
                      <a:lnTo>
                        <a:pt x="496" y="557"/>
                      </a:lnTo>
                      <a:lnTo>
                        <a:pt x="496" y="558"/>
                      </a:lnTo>
                      <a:lnTo>
                        <a:pt x="497" y="558"/>
                      </a:lnTo>
                      <a:lnTo>
                        <a:pt x="497" y="558"/>
                      </a:lnTo>
                      <a:lnTo>
                        <a:pt x="497" y="559"/>
                      </a:lnTo>
                      <a:lnTo>
                        <a:pt x="498" y="559"/>
                      </a:lnTo>
                      <a:lnTo>
                        <a:pt x="498" y="560"/>
                      </a:lnTo>
                      <a:lnTo>
                        <a:pt x="498" y="560"/>
                      </a:lnTo>
                      <a:lnTo>
                        <a:pt x="498" y="560"/>
                      </a:lnTo>
                      <a:lnTo>
                        <a:pt x="499" y="560"/>
                      </a:lnTo>
                      <a:lnTo>
                        <a:pt x="499" y="561"/>
                      </a:lnTo>
                      <a:lnTo>
                        <a:pt x="500" y="562"/>
                      </a:lnTo>
                      <a:lnTo>
                        <a:pt x="500" y="562"/>
                      </a:lnTo>
                      <a:lnTo>
                        <a:pt x="501" y="562"/>
                      </a:lnTo>
                      <a:lnTo>
                        <a:pt x="501" y="563"/>
                      </a:lnTo>
                      <a:lnTo>
                        <a:pt x="502" y="563"/>
                      </a:lnTo>
                      <a:lnTo>
                        <a:pt x="502" y="564"/>
                      </a:lnTo>
                      <a:lnTo>
                        <a:pt x="502" y="564"/>
                      </a:lnTo>
                      <a:lnTo>
                        <a:pt x="502" y="564"/>
                      </a:lnTo>
                      <a:lnTo>
                        <a:pt x="503" y="564"/>
                      </a:lnTo>
                      <a:lnTo>
                        <a:pt x="503" y="565"/>
                      </a:lnTo>
                      <a:lnTo>
                        <a:pt x="504" y="565"/>
                      </a:lnTo>
                      <a:lnTo>
                        <a:pt x="504" y="566"/>
                      </a:lnTo>
                      <a:lnTo>
                        <a:pt x="505" y="566"/>
                      </a:lnTo>
                      <a:lnTo>
                        <a:pt x="505" y="566"/>
                      </a:lnTo>
                      <a:lnTo>
                        <a:pt x="505" y="566"/>
                      </a:lnTo>
                      <a:lnTo>
                        <a:pt x="507" y="566"/>
                      </a:lnTo>
                      <a:lnTo>
                        <a:pt x="508" y="566"/>
                      </a:lnTo>
                      <a:lnTo>
                        <a:pt x="509" y="566"/>
                      </a:lnTo>
                      <a:lnTo>
                        <a:pt x="509" y="566"/>
                      </a:lnTo>
                      <a:lnTo>
                        <a:pt x="510" y="566"/>
                      </a:lnTo>
                      <a:lnTo>
                        <a:pt x="511" y="566"/>
                      </a:lnTo>
                      <a:lnTo>
                        <a:pt x="511" y="565"/>
                      </a:lnTo>
                      <a:lnTo>
                        <a:pt x="512" y="565"/>
                      </a:lnTo>
                      <a:lnTo>
                        <a:pt x="513" y="565"/>
                      </a:lnTo>
                      <a:lnTo>
                        <a:pt x="513" y="565"/>
                      </a:lnTo>
                      <a:lnTo>
                        <a:pt x="515" y="565"/>
                      </a:lnTo>
                      <a:lnTo>
                        <a:pt x="518" y="565"/>
                      </a:lnTo>
                      <a:lnTo>
                        <a:pt x="520" y="566"/>
                      </a:lnTo>
                      <a:lnTo>
                        <a:pt x="521" y="566"/>
                      </a:lnTo>
                      <a:lnTo>
                        <a:pt x="521" y="566"/>
                      </a:lnTo>
                      <a:lnTo>
                        <a:pt x="522" y="566"/>
                      </a:lnTo>
                      <a:lnTo>
                        <a:pt x="523" y="566"/>
                      </a:lnTo>
                      <a:lnTo>
                        <a:pt x="523" y="567"/>
                      </a:lnTo>
                      <a:lnTo>
                        <a:pt x="522" y="568"/>
                      </a:lnTo>
                      <a:lnTo>
                        <a:pt x="522" y="569"/>
                      </a:lnTo>
                      <a:lnTo>
                        <a:pt x="522" y="570"/>
                      </a:lnTo>
                      <a:lnTo>
                        <a:pt x="522" y="570"/>
                      </a:lnTo>
                      <a:lnTo>
                        <a:pt x="522" y="571"/>
                      </a:lnTo>
                      <a:lnTo>
                        <a:pt x="523" y="571"/>
                      </a:lnTo>
                      <a:lnTo>
                        <a:pt x="523" y="572"/>
                      </a:lnTo>
                      <a:lnTo>
                        <a:pt x="524" y="573"/>
                      </a:lnTo>
                      <a:lnTo>
                        <a:pt x="524" y="573"/>
                      </a:lnTo>
                      <a:lnTo>
                        <a:pt x="525" y="573"/>
                      </a:lnTo>
                      <a:lnTo>
                        <a:pt x="525" y="574"/>
                      </a:lnTo>
                      <a:lnTo>
                        <a:pt x="525" y="575"/>
                      </a:lnTo>
                      <a:lnTo>
                        <a:pt x="524" y="575"/>
                      </a:lnTo>
                      <a:lnTo>
                        <a:pt x="524" y="575"/>
                      </a:lnTo>
                      <a:lnTo>
                        <a:pt x="523" y="575"/>
                      </a:lnTo>
                      <a:lnTo>
                        <a:pt x="522" y="575"/>
                      </a:lnTo>
                      <a:lnTo>
                        <a:pt x="522" y="575"/>
                      </a:lnTo>
                      <a:lnTo>
                        <a:pt x="521" y="575"/>
                      </a:lnTo>
                      <a:lnTo>
                        <a:pt x="521" y="576"/>
                      </a:lnTo>
                      <a:lnTo>
                        <a:pt x="521" y="577"/>
                      </a:lnTo>
                      <a:lnTo>
                        <a:pt x="521" y="577"/>
                      </a:lnTo>
                      <a:lnTo>
                        <a:pt x="522" y="577"/>
                      </a:lnTo>
                      <a:lnTo>
                        <a:pt x="523" y="577"/>
                      </a:lnTo>
                      <a:lnTo>
                        <a:pt x="524" y="577"/>
                      </a:lnTo>
                      <a:lnTo>
                        <a:pt x="524" y="577"/>
                      </a:lnTo>
                      <a:lnTo>
                        <a:pt x="525" y="577"/>
                      </a:lnTo>
                      <a:lnTo>
                        <a:pt x="526" y="577"/>
                      </a:lnTo>
                      <a:lnTo>
                        <a:pt x="527" y="577"/>
                      </a:lnTo>
                      <a:lnTo>
                        <a:pt x="528" y="577"/>
                      </a:lnTo>
                      <a:lnTo>
                        <a:pt x="528" y="577"/>
                      </a:lnTo>
                      <a:lnTo>
                        <a:pt x="530" y="579"/>
                      </a:lnTo>
                      <a:lnTo>
                        <a:pt x="530" y="579"/>
                      </a:lnTo>
                      <a:lnTo>
                        <a:pt x="530" y="579"/>
                      </a:lnTo>
                      <a:lnTo>
                        <a:pt x="530" y="581"/>
                      </a:lnTo>
                      <a:lnTo>
                        <a:pt x="531" y="581"/>
                      </a:lnTo>
                      <a:lnTo>
                        <a:pt x="531" y="583"/>
                      </a:lnTo>
                      <a:lnTo>
                        <a:pt x="531" y="583"/>
                      </a:lnTo>
                      <a:lnTo>
                        <a:pt x="532" y="585"/>
                      </a:lnTo>
                      <a:lnTo>
                        <a:pt x="532" y="585"/>
                      </a:lnTo>
                      <a:lnTo>
                        <a:pt x="533" y="586"/>
                      </a:lnTo>
                      <a:lnTo>
                        <a:pt x="534" y="587"/>
                      </a:lnTo>
                      <a:lnTo>
                        <a:pt x="534" y="588"/>
                      </a:lnTo>
                      <a:lnTo>
                        <a:pt x="535" y="588"/>
                      </a:lnTo>
                      <a:lnTo>
                        <a:pt x="536" y="589"/>
                      </a:lnTo>
                      <a:lnTo>
                        <a:pt x="536" y="589"/>
                      </a:lnTo>
                      <a:lnTo>
                        <a:pt x="537" y="589"/>
                      </a:lnTo>
                      <a:lnTo>
                        <a:pt x="538" y="589"/>
                      </a:lnTo>
                      <a:lnTo>
                        <a:pt x="538" y="591"/>
                      </a:lnTo>
                      <a:lnTo>
                        <a:pt x="540" y="591"/>
                      </a:lnTo>
                      <a:lnTo>
                        <a:pt x="541" y="591"/>
                      </a:lnTo>
                      <a:lnTo>
                        <a:pt x="542" y="591"/>
                      </a:lnTo>
                      <a:lnTo>
                        <a:pt x="543" y="591"/>
                      </a:lnTo>
                      <a:lnTo>
                        <a:pt x="543" y="590"/>
                      </a:lnTo>
                      <a:lnTo>
                        <a:pt x="544" y="590"/>
                      </a:lnTo>
                      <a:lnTo>
                        <a:pt x="545" y="590"/>
                      </a:lnTo>
                      <a:lnTo>
                        <a:pt x="545" y="591"/>
                      </a:lnTo>
                      <a:lnTo>
                        <a:pt x="546" y="591"/>
                      </a:lnTo>
                      <a:lnTo>
                        <a:pt x="547" y="591"/>
                      </a:lnTo>
                      <a:lnTo>
                        <a:pt x="547" y="592"/>
                      </a:lnTo>
                      <a:lnTo>
                        <a:pt x="549" y="593"/>
                      </a:lnTo>
                      <a:lnTo>
                        <a:pt x="551" y="594"/>
                      </a:lnTo>
                      <a:lnTo>
                        <a:pt x="551" y="594"/>
                      </a:lnTo>
                      <a:lnTo>
                        <a:pt x="552" y="595"/>
                      </a:lnTo>
                      <a:lnTo>
                        <a:pt x="553" y="595"/>
                      </a:lnTo>
                      <a:lnTo>
                        <a:pt x="553" y="595"/>
                      </a:lnTo>
                      <a:lnTo>
                        <a:pt x="555" y="596"/>
                      </a:lnTo>
                      <a:lnTo>
                        <a:pt x="557" y="596"/>
                      </a:lnTo>
                      <a:lnTo>
                        <a:pt x="557" y="596"/>
                      </a:lnTo>
                      <a:lnTo>
                        <a:pt x="559" y="597"/>
                      </a:lnTo>
                      <a:lnTo>
                        <a:pt x="559" y="597"/>
                      </a:lnTo>
                      <a:lnTo>
                        <a:pt x="561" y="598"/>
                      </a:lnTo>
                      <a:lnTo>
                        <a:pt x="562" y="598"/>
                      </a:lnTo>
                      <a:lnTo>
                        <a:pt x="562" y="598"/>
                      </a:lnTo>
                      <a:lnTo>
                        <a:pt x="563" y="598"/>
                      </a:lnTo>
                      <a:lnTo>
                        <a:pt x="564" y="598"/>
                      </a:lnTo>
                      <a:lnTo>
                        <a:pt x="564" y="598"/>
                      </a:lnTo>
                      <a:lnTo>
                        <a:pt x="565" y="598"/>
                      </a:lnTo>
                      <a:lnTo>
                        <a:pt x="566" y="598"/>
                      </a:lnTo>
                      <a:lnTo>
                        <a:pt x="567" y="598"/>
                      </a:lnTo>
                      <a:lnTo>
                        <a:pt x="568" y="598"/>
                      </a:lnTo>
                      <a:lnTo>
                        <a:pt x="568" y="598"/>
                      </a:lnTo>
                      <a:lnTo>
                        <a:pt x="570" y="598"/>
                      </a:lnTo>
                      <a:lnTo>
                        <a:pt x="570" y="598"/>
                      </a:lnTo>
                      <a:lnTo>
                        <a:pt x="572" y="599"/>
                      </a:lnTo>
                      <a:lnTo>
                        <a:pt x="573" y="599"/>
                      </a:lnTo>
                      <a:lnTo>
                        <a:pt x="574" y="599"/>
                      </a:lnTo>
                      <a:lnTo>
                        <a:pt x="575" y="598"/>
                      </a:lnTo>
                      <a:lnTo>
                        <a:pt x="575" y="598"/>
                      </a:lnTo>
                      <a:lnTo>
                        <a:pt x="576" y="598"/>
                      </a:lnTo>
                      <a:lnTo>
                        <a:pt x="576" y="597"/>
                      </a:lnTo>
                      <a:lnTo>
                        <a:pt x="575" y="596"/>
                      </a:lnTo>
                      <a:lnTo>
                        <a:pt x="574" y="596"/>
                      </a:lnTo>
                      <a:lnTo>
                        <a:pt x="574" y="595"/>
                      </a:lnTo>
                      <a:lnTo>
                        <a:pt x="574" y="594"/>
                      </a:lnTo>
                      <a:lnTo>
                        <a:pt x="574" y="594"/>
                      </a:lnTo>
                      <a:lnTo>
                        <a:pt x="573" y="594"/>
                      </a:lnTo>
                      <a:lnTo>
                        <a:pt x="572" y="593"/>
                      </a:lnTo>
                      <a:lnTo>
                        <a:pt x="572" y="592"/>
                      </a:lnTo>
                      <a:lnTo>
                        <a:pt x="572" y="592"/>
                      </a:lnTo>
                      <a:lnTo>
                        <a:pt x="573" y="592"/>
                      </a:lnTo>
                      <a:lnTo>
                        <a:pt x="574" y="592"/>
                      </a:lnTo>
                      <a:lnTo>
                        <a:pt x="574" y="592"/>
                      </a:lnTo>
                      <a:lnTo>
                        <a:pt x="574" y="592"/>
                      </a:lnTo>
                      <a:lnTo>
                        <a:pt x="576" y="592"/>
                      </a:lnTo>
                      <a:lnTo>
                        <a:pt x="576" y="592"/>
                      </a:lnTo>
                      <a:lnTo>
                        <a:pt x="577" y="592"/>
                      </a:lnTo>
                      <a:lnTo>
                        <a:pt x="578" y="592"/>
                      </a:lnTo>
                      <a:lnTo>
                        <a:pt x="578" y="591"/>
                      </a:lnTo>
                      <a:lnTo>
                        <a:pt x="579" y="590"/>
                      </a:lnTo>
                      <a:lnTo>
                        <a:pt x="580" y="590"/>
                      </a:lnTo>
                      <a:lnTo>
                        <a:pt x="581" y="589"/>
                      </a:lnTo>
                      <a:lnTo>
                        <a:pt x="581" y="589"/>
                      </a:lnTo>
                      <a:lnTo>
                        <a:pt x="585" y="590"/>
                      </a:lnTo>
                      <a:lnTo>
                        <a:pt x="585" y="589"/>
                      </a:lnTo>
                      <a:lnTo>
                        <a:pt x="586" y="589"/>
                      </a:lnTo>
                      <a:lnTo>
                        <a:pt x="587" y="588"/>
                      </a:lnTo>
                      <a:lnTo>
                        <a:pt x="587" y="587"/>
                      </a:lnTo>
                      <a:lnTo>
                        <a:pt x="587" y="587"/>
                      </a:lnTo>
                      <a:lnTo>
                        <a:pt x="587" y="586"/>
                      </a:lnTo>
                      <a:lnTo>
                        <a:pt x="586" y="585"/>
                      </a:lnTo>
                      <a:lnTo>
                        <a:pt x="585" y="58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697" name="Freeform 6">
                  <a:extLst>
                    <a:ext uri="{FF2B5EF4-FFF2-40B4-BE49-F238E27FC236}">
                      <a16:creationId xmlns:a16="http://schemas.microsoft.com/office/drawing/2014/main" xmlns="" id="{A22A0239-C374-7BC7-9565-6FF5997C2196}"/>
                    </a:ext>
                  </a:extLst>
                </p:cNvPr>
                <p:cNvSpPr>
                  <a:spLocks/>
                </p:cNvSpPr>
                <p:nvPr/>
              </p:nvSpPr>
              <p:spPr bwMode="auto">
                <a:xfrm>
                  <a:off x="3615" y="1499"/>
                  <a:ext cx="395" cy="246"/>
                </a:xfrm>
                <a:custGeom>
                  <a:avLst/>
                  <a:gdLst>
                    <a:gd name="T0" fmla="*/ 6 w 395"/>
                    <a:gd name="T1" fmla="*/ 7 h 246"/>
                    <a:gd name="T2" fmla="*/ 9 w 395"/>
                    <a:gd name="T3" fmla="*/ 0 h 246"/>
                    <a:gd name="T4" fmla="*/ 15 w 395"/>
                    <a:gd name="T5" fmla="*/ 6 h 246"/>
                    <a:gd name="T6" fmla="*/ 20 w 395"/>
                    <a:gd name="T7" fmla="*/ 11 h 246"/>
                    <a:gd name="T8" fmla="*/ 27 w 395"/>
                    <a:gd name="T9" fmla="*/ 15 h 246"/>
                    <a:gd name="T10" fmla="*/ 31 w 395"/>
                    <a:gd name="T11" fmla="*/ 19 h 246"/>
                    <a:gd name="T12" fmla="*/ 29 w 395"/>
                    <a:gd name="T13" fmla="*/ 26 h 246"/>
                    <a:gd name="T14" fmla="*/ 38 w 395"/>
                    <a:gd name="T15" fmla="*/ 31 h 246"/>
                    <a:gd name="T16" fmla="*/ 42 w 395"/>
                    <a:gd name="T17" fmla="*/ 42 h 246"/>
                    <a:gd name="T18" fmla="*/ 46 w 395"/>
                    <a:gd name="T19" fmla="*/ 50 h 246"/>
                    <a:gd name="T20" fmla="*/ 51 w 395"/>
                    <a:gd name="T21" fmla="*/ 60 h 246"/>
                    <a:gd name="T22" fmla="*/ 57 w 395"/>
                    <a:gd name="T23" fmla="*/ 65 h 246"/>
                    <a:gd name="T24" fmla="*/ 65 w 395"/>
                    <a:gd name="T25" fmla="*/ 64 h 246"/>
                    <a:gd name="T26" fmla="*/ 74 w 395"/>
                    <a:gd name="T27" fmla="*/ 63 h 246"/>
                    <a:gd name="T28" fmla="*/ 81 w 395"/>
                    <a:gd name="T29" fmla="*/ 72 h 246"/>
                    <a:gd name="T30" fmla="*/ 87 w 395"/>
                    <a:gd name="T31" fmla="*/ 80 h 246"/>
                    <a:gd name="T32" fmla="*/ 91 w 395"/>
                    <a:gd name="T33" fmla="*/ 88 h 246"/>
                    <a:gd name="T34" fmla="*/ 101 w 395"/>
                    <a:gd name="T35" fmla="*/ 86 h 246"/>
                    <a:gd name="T36" fmla="*/ 102 w 395"/>
                    <a:gd name="T37" fmla="*/ 96 h 246"/>
                    <a:gd name="T38" fmla="*/ 109 w 395"/>
                    <a:gd name="T39" fmla="*/ 104 h 246"/>
                    <a:gd name="T40" fmla="*/ 118 w 395"/>
                    <a:gd name="T41" fmla="*/ 102 h 246"/>
                    <a:gd name="T42" fmla="*/ 122 w 395"/>
                    <a:gd name="T43" fmla="*/ 102 h 246"/>
                    <a:gd name="T44" fmla="*/ 131 w 395"/>
                    <a:gd name="T45" fmla="*/ 99 h 246"/>
                    <a:gd name="T46" fmla="*/ 141 w 395"/>
                    <a:gd name="T47" fmla="*/ 93 h 246"/>
                    <a:gd name="T48" fmla="*/ 146 w 395"/>
                    <a:gd name="T49" fmla="*/ 99 h 246"/>
                    <a:gd name="T50" fmla="*/ 150 w 395"/>
                    <a:gd name="T51" fmla="*/ 106 h 246"/>
                    <a:gd name="T52" fmla="*/ 151 w 395"/>
                    <a:gd name="T53" fmla="*/ 109 h 246"/>
                    <a:gd name="T54" fmla="*/ 160 w 395"/>
                    <a:gd name="T55" fmla="*/ 116 h 246"/>
                    <a:gd name="T56" fmla="*/ 171 w 395"/>
                    <a:gd name="T57" fmla="*/ 122 h 246"/>
                    <a:gd name="T58" fmla="*/ 180 w 395"/>
                    <a:gd name="T59" fmla="*/ 124 h 246"/>
                    <a:gd name="T60" fmla="*/ 188 w 395"/>
                    <a:gd name="T61" fmla="*/ 122 h 246"/>
                    <a:gd name="T62" fmla="*/ 198 w 395"/>
                    <a:gd name="T63" fmla="*/ 124 h 246"/>
                    <a:gd name="T64" fmla="*/ 207 w 395"/>
                    <a:gd name="T65" fmla="*/ 132 h 246"/>
                    <a:gd name="T66" fmla="*/ 214 w 395"/>
                    <a:gd name="T67" fmla="*/ 139 h 246"/>
                    <a:gd name="T68" fmla="*/ 222 w 395"/>
                    <a:gd name="T69" fmla="*/ 141 h 246"/>
                    <a:gd name="T70" fmla="*/ 228 w 395"/>
                    <a:gd name="T71" fmla="*/ 140 h 246"/>
                    <a:gd name="T72" fmla="*/ 235 w 395"/>
                    <a:gd name="T73" fmla="*/ 139 h 246"/>
                    <a:gd name="T74" fmla="*/ 240 w 395"/>
                    <a:gd name="T75" fmla="*/ 141 h 246"/>
                    <a:gd name="T76" fmla="*/ 247 w 395"/>
                    <a:gd name="T77" fmla="*/ 139 h 246"/>
                    <a:gd name="T78" fmla="*/ 253 w 395"/>
                    <a:gd name="T79" fmla="*/ 132 h 246"/>
                    <a:gd name="T80" fmla="*/ 262 w 395"/>
                    <a:gd name="T81" fmla="*/ 142 h 246"/>
                    <a:gd name="T82" fmla="*/ 268 w 395"/>
                    <a:gd name="T83" fmla="*/ 134 h 246"/>
                    <a:gd name="T84" fmla="*/ 271 w 395"/>
                    <a:gd name="T85" fmla="*/ 145 h 246"/>
                    <a:gd name="T86" fmla="*/ 280 w 395"/>
                    <a:gd name="T87" fmla="*/ 149 h 246"/>
                    <a:gd name="T88" fmla="*/ 282 w 395"/>
                    <a:gd name="T89" fmla="*/ 168 h 246"/>
                    <a:gd name="T90" fmla="*/ 287 w 395"/>
                    <a:gd name="T91" fmla="*/ 177 h 246"/>
                    <a:gd name="T92" fmla="*/ 293 w 395"/>
                    <a:gd name="T93" fmla="*/ 179 h 246"/>
                    <a:gd name="T94" fmla="*/ 298 w 395"/>
                    <a:gd name="T95" fmla="*/ 186 h 246"/>
                    <a:gd name="T96" fmla="*/ 306 w 395"/>
                    <a:gd name="T97" fmla="*/ 193 h 246"/>
                    <a:gd name="T98" fmla="*/ 311 w 395"/>
                    <a:gd name="T99" fmla="*/ 200 h 246"/>
                    <a:gd name="T100" fmla="*/ 317 w 395"/>
                    <a:gd name="T101" fmla="*/ 204 h 246"/>
                    <a:gd name="T102" fmla="*/ 323 w 395"/>
                    <a:gd name="T103" fmla="*/ 212 h 246"/>
                    <a:gd name="T104" fmla="*/ 332 w 395"/>
                    <a:gd name="T105" fmla="*/ 217 h 246"/>
                    <a:gd name="T106" fmla="*/ 341 w 395"/>
                    <a:gd name="T107" fmla="*/ 227 h 246"/>
                    <a:gd name="T108" fmla="*/ 349 w 395"/>
                    <a:gd name="T109" fmla="*/ 244 h 246"/>
                    <a:gd name="T110" fmla="*/ 359 w 395"/>
                    <a:gd name="T111" fmla="*/ 242 h 246"/>
                    <a:gd name="T112" fmla="*/ 371 w 395"/>
                    <a:gd name="T113" fmla="*/ 242 h 246"/>
                    <a:gd name="T114" fmla="*/ 377 w 395"/>
                    <a:gd name="T115" fmla="*/ 242 h 246"/>
                    <a:gd name="T116" fmla="*/ 387 w 395"/>
                    <a:gd name="T117" fmla="*/ 239 h 246"/>
                    <a:gd name="T118" fmla="*/ 392 w 395"/>
                    <a:gd name="T119" fmla="*/ 23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5" h="246">
                      <a:moveTo>
                        <a:pt x="0" y="6"/>
                      </a:moveTo>
                      <a:lnTo>
                        <a:pt x="0" y="5"/>
                      </a:lnTo>
                      <a:lnTo>
                        <a:pt x="0" y="4"/>
                      </a:lnTo>
                      <a:lnTo>
                        <a:pt x="0" y="4"/>
                      </a:lnTo>
                      <a:lnTo>
                        <a:pt x="0" y="4"/>
                      </a:lnTo>
                      <a:lnTo>
                        <a:pt x="0" y="3"/>
                      </a:lnTo>
                      <a:lnTo>
                        <a:pt x="1" y="2"/>
                      </a:lnTo>
                      <a:lnTo>
                        <a:pt x="2" y="2"/>
                      </a:lnTo>
                      <a:lnTo>
                        <a:pt x="2" y="3"/>
                      </a:lnTo>
                      <a:lnTo>
                        <a:pt x="3" y="3"/>
                      </a:lnTo>
                      <a:lnTo>
                        <a:pt x="4" y="3"/>
                      </a:lnTo>
                      <a:lnTo>
                        <a:pt x="4" y="4"/>
                      </a:lnTo>
                      <a:lnTo>
                        <a:pt x="4" y="4"/>
                      </a:lnTo>
                      <a:lnTo>
                        <a:pt x="4" y="5"/>
                      </a:lnTo>
                      <a:lnTo>
                        <a:pt x="5" y="6"/>
                      </a:lnTo>
                      <a:lnTo>
                        <a:pt x="5" y="6"/>
                      </a:lnTo>
                      <a:lnTo>
                        <a:pt x="6" y="7"/>
                      </a:lnTo>
                      <a:lnTo>
                        <a:pt x="6" y="7"/>
                      </a:lnTo>
                      <a:lnTo>
                        <a:pt x="6" y="8"/>
                      </a:lnTo>
                      <a:lnTo>
                        <a:pt x="7" y="8"/>
                      </a:lnTo>
                      <a:lnTo>
                        <a:pt x="8" y="8"/>
                      </a:lnTo>
                      <a:lnTo>
                        <a:pt x="8" y="7"/>
                      </a:lnTo>
                      <a:lnTo>
                        <a:pt x="9" y="6"/>
                      </a:lnTo>
                      <a:lnTo>
                        <a:pt x="9" y="6"/>
                      </a:lnTo>
                      <a:lnTo>
                        <a:pt x="8" y="6"/>
                      </a:lnTo>
                      <a:lnTo>
                        <a:pt x="8" y="5"/>
                      </a:lnTo>
                      <a:lnTo>
                        <a:pt x="8" y="4"/>
                      </a:lnTo>
                      <a:lnTo>
                        <a:pt x="8" y="4"/>
                      </a:lnTo>
                      <a:lnTo>
                        <a:pt x="8" y="3"/>
                      </a:lnTo>
                      <a:lnTo>
                        <a:pt x="7" y="2"/>
                      </a:lnTo>
                      <a:lnTo>
                        <a:pt x="8" y="2"/>
                      </a:lnTo>
                      <a:lnTo>
                        <a:pt x="8" y="1"/>
                      </a:lnTo>
                      <a:lnTo>
                        <a:pt x="8" y="0"/>
                      </a:lnTo>
                      <a:lnTo>
                        <a:pt x="9" y="0"/>
                      </a:lnTo>
                      <a:lnTo>
                        <a:pt x="9" y="0"/>
                      </a:lnTo>
                      <a:lnTo>
                        <a:pt x="10" y="0"/>
                      </a:lnTo>
                      <a:lnTo>
                        <a:pt x="10" y="0"/>
                      </a:lnTo>
                      <a:lnTo>
                        <a:pt x="10" y="0"/>
                      </a:lnTo>
                      <a:lnTo>
                        <a:pt x="11" y="1"/>
                      </a:lnTo>
                      <a:lnTo>
                        <a:pt x="11" y="2"/>
                      </a:lnTo>
                      <a:lnTo>
                        <a:pt x="11" y="2"/>
                      </a:lnTo>
                      <a:lnTo>
                        <a:pt x="11" y="3"/>
                      </a:lnTo>
                      <a:lnTo>
                        <a:pt x="11" y="4"/>
                      </a:lnTo>
                      <a:lnTo>
                        <a:pt x="11" y="5"/>
                      </a:lnTo>
                      <a:lnTo>
                        <a:pt x="12" y="5"/>
                      </a:lnTo>
                      <a:lnTo>
                        <a:pt x="12" y="6"/>
                      </a:lnTo>
                      <a:lnTo>
                        <a:pt x="12" y="6"/>
                      </a:lnTo>
                      <a:lnTo>
                        <a:pt x="12" y="6"/>
                      </a:lnTo>
                      <a:lnTo>
                        <a:pt x="13" y="6"/>
                      </a:lnTo>
                      <a:lnTo>
                        <a:pt x="14" y="6"/>
                      </a:lnTo>
                      <a:lnTo>
                        <a:pt x="15" y="6"/>
                      </a:lnTo>
                      <a:lnTo>
                        <a:pt x="15" y="6"/>
                      </a:lnTo>
                      <a:lnTo>
                        <a:pt x="15" y="7"/>
                      </a:lnTo>
                      <a:lnTo>
                        <a:pt x="15" y="8"/>
                      </a:lnTo>
                      <a:lnTo>
                        <a:pt x="15" y="8"/>
                      </a:lnTo>
                      <a:lnTo>
                        <a:pt x="15" y="8"/>
                      </a:lnTo>
                      <a:lnTo>
                        <a:pt x="15" y="8"/>
                      </a:lnTo>
                      <a:lnTo>
                        <a:pt x="16" y="9"/>
                      </a:lnTo>
                      <a:lnTo>
                        <a:pt x="17" y="9"/>
                      </a:lnTo>
                      <a:lnTo>
                        <a:pt x="17" y="8"/>
                      </a:lnTo>
                      <a:lnTo>
                        <a:pt x="17" y="8"/>
                      </a:lnTo>
                      <a:lnTo>
                        <a:pt x="18" y="8"/>
                      </a:lnTo>
                      <a:lnTo>
                        <a:pt x="19" y="8"/>
                      </a:lnTo>
                      <a:lnTo>
                        <a:pt x="19" y="9"/>
                      </a:lnTo>
                      <a:lnTo>
                        <a:pt x="19" y="10"/>
                      </a:lnTo>
                      <a:lnTo>
                        <a:pt x="19" y="10"/>
                      </a:lnTo>
                      <a:lnTo>
                        <a:pt x="19" y="10"/>
                      </a:lnTo>
                      <a:lnTo>
                        <a:pt x="20" y="11"/>
                      </a:lnTo>
                      <a:lnTo>
                        <a:pt x="21" y="11"/>
                      </a:lnTo>
                      <a:lnTo>
                        <a:pt x="21" y="12"/>
                      </a:lnTo>
                      <a:lnTo>
                        <a:pt x="21" y="12"/>
                      </a:lnTo>
                      <a:lnTo>
                        <a:pt x="22" y="12"/>
                      </a:lnTo>
                      <a:lnTo>
                        <a:pt x="23" y="12"/>
                      </a:lnTo>
                      <a:lnTo>
                        <a:pt x="23" y="11"/>
                      </a:lnTo>
                      <a:lnTo>
                        <a:pt x="24" y="11"/>
                      </a:lnTo>
                      <a:lnTo>
                        <a:pt x="25" y="10"/>
                      </a:lnTo>
                      <a:lnTo>
                        <a:pt x="25" y="11"/>
                      </a:lnTo>
                      <a:lnTo>
                        <a:pt x="25" y="11"/>
                      </a:lnTo>
                      <a:lnTo>
                        <a:pt x="26" y="11"/>
                      </a:lnTo>
                      <a:lnTo>
                        <a:pt x="27" y="12"/>
                      </a:lnTo>
                      <a:lnTo>
                        <a:pt x="27" y="13"/>
                      </a:lnTo>
                      <a:lnTo>
                        <a:pt x="27" y="13"/>
                      </a:lnTo>
                      <a:lnTo>
                        <a:pt x="27" y="13"/>
                      </a:lnTo>
                      <a:lnTo>
                        <a:pt x="27" y="14"/>
                      </a:lnTo>
                      <a:lnTo>
                        <a:pt x="27" y="15"/>
                      </a:lnTo>
                      <a:lnTo>
                        <a:pt x="27" y="15"/>
                      </a:lnTo>
                      <a:lnTo>
                        <a:pt x="26" y="16"/>
                      </a:lnTo>
                      <a:lnTo>
                        <a:pt x="26" y="17"/>
                      </a:lnTo>
                      <a:lnTo>
                        <a:pt x="25" y="17"/>
                      </a:lnTo>
                      <a:lnTo>
                        <a:pt x="25" y="17"/>
                      </a:lnTo>
                      <a:lnTo>
                        <a:pt x="25" y="18"/>
                      </a:lnTo>
                      <a:lnTo>
                        <a:pt x="26" y="18"/>
                      </a:lnTo>
                      <a:lnTo>
                        <a:pt x="27" y="19"/>
                      </a:lnTo>
                      <a:lnTo>
                        <a:pt x="27" y="19"/>
                      </a:lnTo>
                      <a:lnTo>
                        <a:pt x="28" y="19"/>
                      </a:lnTo>
                      <a:lnTo>
                        <a:pt x="29" y="19"/>
                      </a:lnTo>
                      <a:lnTo>
                        <a:pt x="29" y="19"/>
                      </a:lnTo>
                      <a:lnTo>
                        <a:pt x="30" y="19"/>
                      </a:lnTo>
                      <a:lnTo>
                        <a:pt x="30" y="19"/>
                      </a:lnTo>
                      <a:lnTo>
                        <a:pt x="31" y="19"/>
                      </a:lnTo>
                      <a:lnTo>
                        <a:pt x="31" y="19"/>
                      </a:lnTo>
                      <a:lnTo>
                        <a:pt x="31" y="19"/>
                      </a:lnTo>
                      <a:lnTo>
                        <a:pt x="32" y="19"/>
                      </a:lnTo>
                      <a:lnTo>
                        <a:pt x="33" y="18"/>
                      </a:lnTo>
                      <a:lnTo>
                        <a:pt x="34" y="18"/>
                      </a:lnTo>
                      <a:lnTo>
                        <a:pt x="34" y="19"/>
                      </a:lnTo>
                      <a:lnTo>
                        <a:pt x="35" y="19"/>
                      </a:lnTo>
                      <a:lnTo>
                        <a:pt x="35" y="19"/>
                      </a:lnTo>
                      <a:lnTo>
                        <a:pt x="35" y="20"/>
                      </a:lnTo>
                      <a:lnTo>
                        <a:pt x="35" y="21"/>
                      </a:lnTo>
                      <a:lnTo>
                        <a:pt x="35" y="21"/>
                      </a:lnTo>
                      <a:lnTo>
                        <a:pt x="34" y="21"/>
                      </a:lnTo>
                      <a:lnTo>
                        <a:pt x="34" y="22"/>
                      </a:lnTo>
                      <a:lnTo>
                        <a:pt x="31" y="23"/>
                      </a:lnTo>
                      <a:lnTo>
                        <a:pt x="30" y="24"/>
                      </a:lnTo>
                      <a:lnTo>
                        <a:pt x="30" y="25"/>
                      </a:lnTo>
                      <a:lnTo>
                        <a:pt x="29" y="25"/>
                      </a:lnTo>
                      <a:lnTo>
                        <a:pt x="29" y="25"/>
                      </a:lnTo>
                      <a:lnTo>
                        <a:pt x="29" y="26"/>
                      </a:lnTo>
                      <a:lnTo>
                        <a:pt x="29" y="27"/>
                      </a:lnTo>
                      <a:lnTo>
                        <a:pt x="29" y="27"/>
                      </a:lnTo>
                      <a:lnTo>
                        <a:pt x="29" y="28"/>
                      </a:lnTo>
                      <a:lnTo>
                        <a:pt x="30" y="28"/>
                      </a:lnTo>
                      <a:lnTo>
                        <a:pt x="30" y="29"/>
                      </a:lnTo>
                      <a:lnTo>
                        <a:pt x="30" y="29"/>
                      </a:lnTo>
                      <a:lnTo>
                        <a:pt x="31" y="30"/>
                      </a:lnTo>
                      <a:lnTo>
                        <a:pt x="31" y="31"/>
                      </a:lnTo>
                      <a:lnTo>
                        <a:pt x="32" y="31"/>
                      </a:lnTo>
                      <a:lnTo>
                        <a:pt x="33" y="31"/>
                      </a:lnTo>
                      <a:lnTo>
                        <a:pt x="34" y="31"/>
                      </a:lnTo>
                      <a:lnTo>
                        <a:pt x="34" y="31"/>
                      </a:lnTo>
                      <a:lnTo>
                        <a:pt x="35" y="30"/>
                      </a:lnTo>
                      <a:lnTo>
                        <a:pt x="36" y="30"/>
                      </a:lnTo>
                      <a:lnTo>
                        <a:pt x="36" y="30"/>
                      </a:lnTo>
                      <a:lnTo>
                        <a:pt x="37" y="31"/>
                      </a:lnTo>
                      <a:lnTo>
                        <a:pt x="38" y="31"/>
                      </a:lnTo>
                      <a:lnTo>
                        <a:pt x="38" y="31"/>
                      </a:lnTo>
                      <a:lnTo>
                        <a:pt x="38" y="31"/>
                      </a:lnTo>
                      <a:lnTo>
                        <a:pt x="38" y="32"/>
                      </a:lnTo>
                      <a:lnTo>
                        <a:pt x="39" y="33"/>
                      </a:lnTo>
                      <a:lnTo>
                        <a:pt x="39" y="34"/>
                      </a:lnTo>
                      <a:lnTo>
                        <a:pt x="40" y="34"/>
                      </a:lnTo>
                      <a:lnTo>
                        <a:pt x="40" y="35"/>
                      </a:lnTo>
                      <a:lnTo>
                        <a:pt x="40" y="36"/>
                      </a:lnTo>
                      <a:lnTo>
                        <a:pt x="40" y="36"/>
                      </a:lnTo>
                      <a:lnTo>
                        <a:pt x="40" y="37"/>
                      </a:lnTo>
                      <a:lnTo>
                        <a:pt x="41" y="38"/>
                      </a:lnTo>
                      <a:lnTo>
                        <a:pt x="41" y="38"/>
                      </a:lnTo>
                      <a:lnTo>
                        <a:pt x="41" y="39"/>
                      </a:lnTo>
                      <a:lnTo>
                        <a:pt x="41" y="40"/>
                      </a:lnTo>
                      <a:lnTo>
                        <a:pt x="41" y="40"/>
                      </a:lnTo>
                      <a:lnTo>
                        <a:pt x="42" y="41"/>
                      </a:lnTo>
                      <a:lnTo>
                        <a:pt x="42" y="42"/>
                      </a:lnTo>
                      <a:lnTo>
                        <a:pt x="42" y="42"/>
                      </a:lnTo>
                      <a:lnTo>
                        <a:pt x="42" y="43"/>
                      </a:lnTo>
                      <a:lnTo>
                        <a:pt x="42" y="44"/>
                      </a:lnTo>
                      <a:lnTo>
                        <a:pt x="42" y="44"/>
                      </a:lnTo>
                      <a:lnTo>
                        <a:pt x="43" y="44"/>
                      </a:lnTo>
                      <a:lnTo>
                        <a:pt x="44" y="44"/>
                      </a:lnTo>
                      <a:lnTo>
                        <a:pt x="44" y="44"/>
                      </a:lnTo>
                      <a:lnTo>
                        <a:pt x="44" y="45"/>
                      </a:lnTo>
                      <a:lnTo>
                        <a:pt x="44" y="46"/>
                      </a:lnTo>
                      <a:lnTo>
                        <a:pt x="45" y="46"/>
                      </a:lnTo>
                      <a:lnTo>
                        <a:pt x="46" y="46"/>
                      </a:lnTo>
                      <a:lnTo>
                        <a:pt x="46" y="47"/>
                      </a:lnTo>
                      <a:lnTo>
                        <a:pt x="46" y="48"/>
                      </a:lnTo>
                      <a:lnTo>
                        <a:pt x="46" y="48"/>
                      </a:lnTo>
                      <a:lnTo>
                        <a:pt x="45" y="50"/>
                      </a:lnTo>
                      <a:lnTo>
                        <a:pt x="45" y="50"/>
                      </a:lnTo>
                      <a:lnTo>
                        <a:pt x="46" y="50"/>
                      </a:lnTo>
                      <a:lnTo>
                        <a:pt x="46" y="51"/>
                      </a:lnTo>
                      <a:lnTo>
                        <a:pt x="47" y="51"/>
                      </a:lnTo>
                      <a:lnTo>
                        <a:pt x="48" y="51"/>
                      </a:lnTo>
                      <a:lnTo>
                        <a:pt x="48" y="51"/>
                      </a:lnTo>
                      <a:lnTo>
                        <a:pt x="48" y="52"/>
                      </a:lnTo>
                      <a:lnTo>
                        <a:pt x="49" y="53"/>
                      </a:lnTo>
                      <a:lnTo>
                        <a:pt x="48" y="53"/>
                      </a:lnTo>
                      <a:lnTo>
                        <a:pt x="48" y="54"/>
                      </a:lnTo>
                      <a:lnTo>
                        <a:pt x="48" y="55"/>
                      </a:lnTo>
                      <a:lnTo>
                        <a:pt x="47" y="55"/>
                      </a:lnTo>
                      <a:lnTo>
                        <a:pt x="48" y="57"/>
                      </a:lnTo>
                      <a:lnTo>
                        <a:pt x="48" y="57"/>
                      </a:lnTo>
                      <a:lnTo>
                        <a:pt x="48" y="58"/>
                      </a:lnTo>
                      <a:lnTo>
                        <a:pt x="48" y="59"/>
                      </a:lnTo>
                      <a:lnTo>
                        <a:pt x="49" y="59"/>
                      </a:lnTo>
                      <a:lnTo>
                        <a:pt x="50" y="60"/>
                      </a:lnTo>
                      <a:lnTo>
                        <a:pt x="51" y="60"/>
                      </a:lnTo>
                      <a:lnTo>
                        <a:pt x="51" y="60"/>
                      </a:lnTo>
                      <a:lnTo>
                        <a:pt x="51" y="61"/>
                      </a:lnTo>
                      <a:lnTo>
                        <a:pt x="52" y="60"/>
                      </a:lnTo>
                      <a:lnTo>
                        <a:pt x="53" y="60"/>
                      </a:lnTo>
                      <a:lnTo>
                        <a:pt x="53" y="60"/>
                      </a:lnTo>
                      <a:lnTo>
                        <a:pt x="53" y="59"/>
                      </a:lnTo>
                      <a:lnTo>
                        <a:pt x="54" y="59"/>
                      </a:lnTo>
                      <a:lnTo>
                        <a:pt x="55" y="59"/>
                      </a:lnTo>
                      <a:lnTo>
                        <a:pt x="55" y="60"/>
                      </a:lnTo>
                      <a:lnTo>
                        <a:pt x="55" y="61"/>
                      </a:lnTo>
                      <a:lnTo>
                        <a:pt x="55" y="61"/>
                      </a:lnTo>
                      <a:lnTo>
                        <a:pt x="55" y="62"/>
                      </a:lnTo>
                      <a:lnTo>
                        <a:pt x="55" y="63"/>
                      </a:lnTo>
                      <a:lnTo>
                        <a:pt x="55" y="63"/>
                      </a:lnTo>
                      <a:lnTo>
                        <a:pt x="56" y="63"/>
                      </a:lnTo>
                      <a:lnTo>
                        <a:pt x="56" y="64"/>
                      </a:lnTo>
                      <a:lnTo>
                        <a:pt x="57" y="65"/>
                      </a:lnTo>
                      <a:lnTo>
                        <a:pt x="57" y="65"/>
                      </a:lnTo>
                      <a:lnTo>
                        <a:pt x="58" y="65"/>
                      </a:lnTo>
                      <a:lnTo>
                        <a:pt x="59" y="65"/>
                      </a:lnTo>
                      <a:lnTo>
                        <a:pt x="59" y="63"/>
                      </a:lnTo>
                      <a:lnTo>
                        <a:pt x="60" y="62"/>
                      </a:lnTo>
                      <a:lnTo>
                        <a:pt x="61" y="61"/>
                      </a:lnTo>
                      <a:lnTo>
                        <a:pt x="61" y="61"/>
                      </a:lnTo>
                      <a:lnTo>
                        <a:pt x="62" y="61"/>
                      </a:lnTo>
                      <a:lnTo>
                        <a:pt x="63" y="61"/>
                      </a:lnTo>
                      <a:lnTo>
                        <a:pt x="63" y="62"/>
                      </a:lnTo>
                      <a:lnTo>
                        <a:pt x="63" y="62"/>
                      </a:lnTo>
                      <a:lnTo>
                        <a:pt x="63" y="63"/>
                      </a:lnTo>
                      <a:lnTo>
                        <a:pt x="64" y="64"/>
                      </a:lnTo>
                      <a:lnTo>
                        <a:pt x="64" y="65"/>
                      </a:lnTo>
                      <a:lnTo>
                        <a:pt x="65" y="65"/>
                      </a:lnTo>
                      <a:lnTo>
                        <a:pt x="65" y="65"/>
                      </a:lnTo>
                      <a:lnTo>
                        <a:pt x="65" y="64"/>
                      </a:lnTo>
                      <a:lnTo>
                        <a:pt x="66" y="63"/>
                      </a:lnTo>
                      <a:lnTo>
                        <a:pt x="66" y="62"/>
                      </a:lnTo>
                      <a:lnTo>
                        <a:pt x="66" y="61"/>
                      </a:lnTo>
                      <a:lnTo>
                        <a:pt x="67" y="61"/>
                      </a:lnTo>
                      <a:lnTo>
                        <a:pt x="67" y="60"/>
                      </a:lnTo>
                      <a:lnTo>
                        <a:pt x="68" y="60"/>
                      </a:lnTo>
                      <a:lnTo>
                        <a:pt x="69" y="60"/>
                      </a:lnTo>
                      <a:lnTo>
                        <a:pt x="70" y="60"/>
                      </a:lnTo>
                      <a:lnTo>
                        <a:pt x="70" y="60"/>
                      </a:lnTo>
                      <a:lnTo>
                        <a:pt x="71" y="60"/>
                      </a:lnTo>
                      <a:lnTo>
                        <a:pt x="72" y="60"/>
                      </a:lnTo>
                      <a:lnTo>
                        <a:pt x="72" y="61"/>
                      </a:lnTo>
                      <a:lnTo>
                        <a:pt x="73" y="61"/>
                      </a:lnTo>
                      <a:lnTo>
                        <a:pt x="73" y="61"/>
                      </a:lnTo>
                      <a:lnTo>
                        <a:pt x="74" y="62"/>
                      </a:lnTo>
                      <a:lnTo>
                        <a:pt x="74" y="63"/>
                      </a:lnTo>
                      <a:lnTo>
                        <a:pt x="74" y="63"/>
                      </a:lnTo>
                      <a:lnTo>
                        <a:pt x="75" y="63"/>
                      </a:lnTo>
                      <a:lnTo>
                        <a:pt x="76" y="63"/>
                      </a:lnTo>
                      <a:lnTo>
                        <a:pt x="76" y="63"/>
                      </a:lnTo>
                      <a:lnTo>
                        <a:pt x="77" y="63"/>
                      </a:lnTo>
                      <a:lnTo>
                        <a:pt x="78" y="64"/>
                      </a:lnTo>
                      <a:lnTo>
                        <a:pt x="78" y="64"/>
                      </a:lnTo>
                      <a:lnTo>
                        <a:pt x="79" y="65"/>
                      </a:lnTo>
                      <a:lnTo>
                        <a:pt x="79" y="65"/>
                      </a:lnTo>
                      <a:lnTo>
                        <a:pt x="79" y="66"/>
                      </a:lnTo>
                      <a:lnTo>
                        <a:pt x="79" y="67"/>
                      </a:lnTo>
                      <a:lnTo>
                        <a:pt x="78" y="68"/>
                      </a:lnTo>
                      <a:lnTo>
                        <a:pt x="78" y="69"/>
                      </a:lnTo>
                      <a:lnTo>
                        <a:pt x="79" y="69"/>
                      </a:lnTo>
                      <a:lnTo>
                        <a:pt x="79" y="70"/>
                      </a:lnTo>
                      <a:lnTo>
                        <a:pt x="80" y="71"/>
                      </a:lnTo>
                      <a:lnTo>
                        <a:pt x="80" y="71"/>
                      </a:lnTo>
                      <a:lnTo>
                        <a:pt x="81" y="72"/>
                      </a:lnTo>
                      <a:lnTo>
                        <a:pt x="82" y="72"/>
                      </a:lnTo>
                      <a:lnTo>
                        <a:pt x="82" y="73"/>
                      </a:lnTo>
                      <a:lnTo>
                        <a:pt x="82" y="74"/>
                      </a:lnTo>
                      <a:lnTo>
                        <a:pt x="83" y="74"/>
                      </a:lnTo>
                      <a:lnTo>
                        <a:pt x="83" y="75"/>
                      </a:lnTo>
                      <a:lnTo>
                        <a:pt x="83" y="76"/>
                      </a:lnTo>
                      <a:lnTo>
                        <a:pt x="83" y="76"/>
                      </a:lnTo>
                      <a:lnTo>
                        <a:pt x="84" y="77"/>
                      </a:lnTo>
                      <a:lnTo>
                        <a:pt x="84" y="78"/>
                      </a:lnTo>
                      <a:lnTo>
                        <a:pt x="84" y="78"/>
                      </a:lnTo>
                      <a:lnTo>
                        <a:pt x="85" y="79"/>
                      </a:lnTo>
                      <a:lnTo>
                        <a:pt x="85" y="78"/>
                      </a:lnTo>
                      <a:lnTo>
                        <a:pt x="86" y="78"/>
                      </a:lnTo>
                      <a:lnTo>
                        <a:pt x="86" y="78"/>
                      </a:lnTo>
                      <a:lnTo>
                        <a:pt x="86" y="79"/>
                      </a:lnTo>
                      <a:lnTo>
                        <a:pt x="87" y="79"/>
                      </a:lnTo>
                      <a:lnTo>
                        <a:pt x="87" y="80"/>
                      </a:lnTo>
                      <a:lnTo>
                        <a:pt x="88" y="80"/>
                      </a:lnTo>
                      <a:lnTo>
                        <a:pt x="89" y="80"/>
                      </a:lnTo>
                      <a:lnTo>
                        <a:pt x="89" y="81"/>
                      </a:lnTo>
                      <a:lnTo>
                        <a:pt x="89" y="81"/>
                      </a:lnTo>
                      <a:lnTo>
                        <a:pt x="90" y="81"/>
                      </a:lnTo>
                      <a:lnTo>
                        <a:pt x="91" y="81"/>
                      </a:lnTo>
                      <a:lnTo>
                        <a:pt x="91" y="82"/>
                      </a:lnTo>
                      <a:lnTo>
                        <a:pt x="92" y="82"/>
                      </a:lnTo>
                      <a:lnTo>
                        <a:pt x="92" y="83"/>
                      </a:lnTo>
                      <a:lnTo>
                        <a:pt x="91" y="84"/>
                      </a:lnTo>
                      <a:lnTo>
                        <a:pt x="91" y="85"/>
                      </a:lnTo>
                      <a:lnTo>
                        <a:pt x="90" y="86"/>
                      </a:lnTo>
                      <a:lnTo>
                        <a:pt x="90" y="86"/>
                      </a:lnTo>
                      <a:lnTo>
                        <a:pt x="90" y="87"/>
                      </a:lnTo>
                      <a:lnTo>
                        <a:pt x="90" y="88"/>
                      </a:lnTo>
                      <a:lnTo>
                        <a:pt x="91" y="88"/>
                      </a:lnTo>
                      <a:lnTo>
                        <a:pt x="91" y="88"/>
                      </a:lnTo>
                      <a:lnTo>
                        <a:pt x="91" y="88"/>
                      </a:lnTo>
                      <a:lnTo>
                        <a:pt x="92" y="88"/>
                      </a:lnTo>
                      <a:lnTo>
                        <a:pt x="93" y="88"/>
                      </a:lnTo>
                      <a:lnTo>
                        <a:pt x="93" y="88"/>
                      </a:lnTo>
                      <a:lnTo>
                        <a:pt x="93" y="87"/>
                      </a:lnTo>
                      <a:lnTo>
                        <a:pt x="94" y="86"/>
                      </a:lnTo>
                      <a:lnTo>
                        <a:pt x="94" y="86"/>
                      </a:lnTo>
                      <a:lnTo>
                        <a:pt x="95" y="85"/>
                      </a:lnTo>
                      <a:lnTo>
                        <a:pt x="95" y="85"/>
                      </a:lnTo>
                      <a:lnTo>
                        <a:pt x="95" y="84"/>
                      </a:lnTo>
                      <a:lnTo>
                        <a:pt x="96" y="84"/>
                      </a:lnTo>
                      <a:lnTo>
                        <a:pt x="97" y="84"/>
                      </a:lnTo>
                      <a:lnTo>
                        <a:pt x="97" y="85"/>
                      </a:lnTo>
                      <a:lnTo>
                        <a:pt x="98" y="85"/>
                      </a:lnTo>
                      <a:lnTo>
                        <a:pt x="99" y="85"/>
                      </a:lnTo>
                      <a:lnTo>
                        <a:pt x="100" y="86"/>
                      </a:lnTo>
                      <a:lnTo>
                        <a:pt x="101" y="86"/>
                      </a:lnTo>
                      <a:lnTo>
                        <a:pt x="101" y="86"/>
                      </a:lnTo>
                      <a:lnTo>
                        <a:pt x="101" y="87"/>
                      </a:lnTo>
                      <a:lnTo>
                        <a:pt x="101" y="88"/>
                      </a:lnTo>
                      <a:lnTo>
                        <a:pt x="101" y="88"/>
                      </a:lnTo>
                      <a:lnTo>
                        <a:pt x="101" y="89"/>
                      </a:lnTo>
                      <a:lnTo>
                        <a:pt x="101" y="90"/>
                      </a:lnTo>
                      <a:lnTo>
                        <a:pt x="101" y="90"/>
                      </a:lnTo>
                      <a:lnTo>
                        <a:pt x="101" y="91"/>
                      </a:lnTo>
                      <a:lnTo>
                        <a:pt x="101" y="92"/>
                      </a:lnTo>
                      <a:lnTo>
                        <a:pt x="101" y="93"/>
                      </a:lnTo>
                      <a:lnTo>
                        <a:pt x="101" y="93"/>
                      </a:lnTo>
                      <a:lnTo>
                        <a:pt x="101" y="94"/>
                      </a:lnTo>
                      <a:lnTo>
                        <a:pt x="101" y="95"/>
                      </a:lnTo>
                      <a:lnTo>
                        <a:pt x="101" y="95"/>
                      </a:lnTo>
                      <a:lnTo>
                        <a:pt x="101" y="95"/>
                      </a:lnTo>
                      <a:lnTo>
                        <a:pt x="101" y="96"/>
                      </a:lnTo>
                      <a:lnTo>
                        <a:pt x="102" y="96"/>
                      </a:lnTo>
                      <a:lnTo>
                        <a:pt x="102" y="97"/>
                      </a:lnTo>
                      <a:lnTo>
                        <a:pt x="103" y="97"/>
                      </a:lnTo>
                      <a:lnTo>
                        <a:pt x="103" y="98"/>
                      </a:lnTo>
                      <a:lnTo>
                        <a:pt x="103" y="98"/>
                      </a:lnTo>
                      <a:lnTo>
                        <a:pt x="103" y="99"/>
                      </a:lnTo>
                      <a:lnTo>
                        <a:pt x="103" y="99"/>
                      </a:lnTo>
                      <a:lnTo>
                        <a:pt x="103" y="100"/>
                      </a:lnTo>
                      <a:lnTo>
                        <a:pt x="104" y="101"/>
                      </a:lnTo>
                      <a:lnTo>
                        <a:pt x="105" y="101"/>
                      </a:lnTo>
                      <a:lnTo>
                        <a:pt x="105" y="102"/>
                      </a:lnTo>
                      <a:lnTo>
                        <a:pt x="106" y="102"/>
                      </a:lnTo>
                      <a:lnTo>
                        <a:pt x="106" y="103"/>
                      </a:lnTo>
                      <a:lnTo>
                        <a:pt x="107" y="103"/>
                      </a:lnTo>
                      <a:lnTo>
                        <a:pt x="108" y="103"/>
                      </a:lnTo>
                      <a:lnTo>
                        <a:pt x="108" y="104"/>
                      </a:lnTo>
                      <a:lnTo>
                        <a:pt x="108" y="104"/>
                      </a:lnTo>
                      <a:lnTo>
                        <a:pt x="109" y="104"/>
                      </a:lnTo>
                      <a:lnTo>
                        <a:pt x="110" y="105"/>
                      </a:lnTo>
                      <a:lnTo>
                        <a:pt x="110" y="105"/>
                      </a:lnTo>
                      <a:lnTo>
                        <a:pt x="111" y="105"/>
                      </a:lnTo>
                      <a:lnTo>
                        <a:pt x="112" y="105"/>
                      </a:lnTo>
                      <a:lnTo>
                        <a:pt x="112" y="106"/>
                      </a:lnTo>
                      <a:lnTo>
                        <a:pt x="112" y="106"/>
                      </a:lnTo>
                      <a:lnTo>
                        <a:pt x="113" y="107"/>
                      </a:lnTo>
                      <a:lnTo>
                        <a:pt x="114" y="107"/>
                      </a:lnTo>
                      <a:lnTo>
                        <a:pt x="114" y="106"/>
                      </a:lnTo>
                      <a:lnTo>
                        <a:pt x="114" y="105"/>
                      </a:lnTo>
                      <a:lnTo>
                        <a:pt x="115" y="103"/>
                      </a:lnTo>
                      <a:lnTo>
                        <a:pt x="115" y="103"/>
                      </a:lnTo>
                      <a:lnTo>
                        <a:pt x="116" y="102"/>
                      </a:lnTo>
                      <a:lnTo>
                        <a:pt x="116" y="101"/>
                      </a:lnTo>
                      <a:lnTo>
                        <a:pt x="116" y="101"/>
                      </a:lnTo>
                      <a:lnTo>
                        <a:pt x="117" y="102"/>
                      </a:lnTo>
                      <a:lnTo>
                        <a:pt x="118" y="102"/>
                      </a:lnTo>
                      <a:lnTo>
                        <a:pt x="118" y="103"/>
                      </a:lnTo>
                      <a:lnTo>
                        <a:pt x="118" y="103"/>
                      </a:lnTo>
                      <a:lnTo>
                        <a:pt x="118" y="104"/>
                      </a:lnTo>
                      <a:lnTo>
                        <a:pt x="118" y="105"/>
                      </a:lnTo>
                      <a:lnTo>
                        <a:pt x="118" y="105"/>
                      </a:lnTo>
                      <a:lnTo>
                        <a:pt x="119" y="106"/>
                      </a:lnTo>
                      <a:lnTo>
                        <a:pt x="119" y="107"/>
                      </a:lnTo>
                      <a:lnTo>
                        <a:pt x="119" y="107"/>
                      </a:lnTo>
                      <a:lnTo>
                        <a:pt x="120" y="108"/>
                      </a:lnTo>
                      <a:lnTo>
                        <a:pt x="121" y="107"/>
                      </a:lnTo>
                      <a:lnTo>
                        <a:pt x="122" y="107"/>
                      </a:lnTo>
                      <a:lnTo>
                        <a:pt x="122" y="106"/>
                      </a:lnTo>
                      <a:lnTo>
                        <a:pt x="122" y="105"/>
                      </a:lnTo>
                      <a:lnTo>
                        <a:pt x="121" y="104"/>
                      </a:lnTo>
                      <a:lnTo>
                        <a:pt x="121" y="103"/>
                      </a:lnTo>
                      <a:lnTo>
                        <a:pt x="122" y="103"/>
                      </a:lnTo>
                      <a:lnTo>
                        <a:pt x="122" y="102"/>
                      </a:lnTo>
                      <a:lnTo>
                        <a:pt x="123" y="102"/>
                      </a:lnTo>
                      <a:lnTo>
                        <a:pt x="124" y="103"/>
                      </a:lnTo>
                      <a:lnTo>
                        <a:pt x="124" y="103"/>
                      </a:lnTo>
                      <a:lnTo>
                        <a:pt x="125" y="103"/>
                      </a:lnTo>
                      <a:lnTo>
                        <a:pt x="126" y="103"/>
                      </a:lnTo>
                      <a:lnTo>
                        <a:pt x="127" y="103"/>
                      </a:lnTo>
                      <a:lnTo>
                        <a:pt x="127" y="102"/>
                      </a:lnTo>
                      <a:lnTo>
                        <a:pt x="127" y="102"/>
                      </a:lnTo>
                      <a:lnTo>
                        <a:pt x="128" y="102"/>
                      </a:lnTo>
                      <a:lnTo>
                        <a:pt x="129" y="103"/>
                      </a:lnTo>
                      <a:lnTo>
                        <a:pt x="129" y="103"/>
                      </a:lnTo>
                      <a:lnTo>
                        <a:pt x="129" y="102"/>
                      </a:lnTo>
                      <a:lnTo>
                        <a:pt x="129" y="101"/>
                      </a:lnTo>
                      <a:lnTo>
                        <a:pt x="129" y="101"/>
                      </a:lnTo>
                      <a:lnTo>
                        <a:pt x="130" y="100"/>
                      </a:lnTo>
                      <a:lnTo>
                        <a:pt x="130" y="99"/>
                      </a:lnTo>
                      <a:lnTo>
                        <a:pt x="131" y="99"/>
                      </a:lnTo>
                      <a:lnTo>
                        <a:pt x="131" y="99"/>
                      </a:lnTo>
                      <a:lnTo>
                        <a:pt x="132" y="99"/>
                      </a:lnTo>
                      <a:lnTo>
                        <a:pt x="133" y="100"/>
                      </a:lnTo>
                      <a:lnTo>
                        <a:pt x="133" y="100"/>
                      </a:lnTo>
                      <a:lnTo>
                        <a:pt x="134" y="100"/>
                      </a:lnTo>
                      <a:lnTo>
                        <a:pt x="135" y="100"/>
                      </a:lnTo>
                      <a:lnTo>
                        <a:pt x="135" y="99"/>
                      </a:lnTo>
                      <a:lnTo>
                        <a:pt x="135" y="99"/>
                      </a:lnTo>
                      <a:lnTo>
                        <a:pt x="137" y="99"/>
                      </a:lnTo>
                      <a:lnTo>
                        <a:pt x="137" y="97"/>
                      </a:lnTo>
                      <a:lnTo>
                        <a:pt x="137" y="97"/>
                      </a:lnTo>
                      <a:lnTo>
                        <a:pt x="138" y="96"/>
                      </a:lnTo>
                      <a:lnTo>
                        <a:pt x="138" y="95"/>
                      </a:lnTo>
                      <a:lnTo>
                        <a:pt x="139" y="94"/>
                      </a:lnTo>
                      <a:lnTo>
                        <a:pt x="139" y="93"/>
                      </a:lnTo>
                      <a:lnTo>
                        <a:pt x="140" y="93"/>
                      </a:lnTo>
                      <a:lnTo>
                        <a:pt x="141" y="93"/>
                      </a:lnTo>
                      <a:lnTo>
                        <a:pt x="141" y="93"/>
                      </a:lnTo>
                      <a:lnTo>
                        <a:pt x="142" y="93"/>
                      </a:lnTo>
                      <a:lnTo>
                        <a:pt x="143" y="93"/>
                      </a:lnTo>
                      <a:lnTo>
                        <a:pt x="143" y="94"/>
                      </a:lnTo>
                      <a:lnTo>
                        <a:pt x="143" y="95"/>
                      </a:lnTo>
                      <a:lnTo>
                        <a:pt x="142" y="96"/>
                      </a:lnTo>
                      <a:lnTo>
                        <a:pt x="141" y="97"/>
                      </a:lnTo>
                      <a:lnTo>
                        <a:pt x="141" y="98"/>
                      </a:lnTo>
                      <a:lnTo>
                        <a:pt x="141" y="99"/>
                      </a:lnTo>
                      <a:lnTo>
                        <a:pt x="141" y="99"/>
                      </a:lnTo>
                      <a:lnTo>
                        <a:pt x="141" y="100"/>
                      </a:lnTo>
                      <a:lnTo>
                        <a:pt x="142" y="100"/>
                      </a:lnTo>
                      <a:lnTo>
                        <a:pt x="143" y="100"/>
                      </a:lnTo>
                      <a:lnTo>
                        <a:pt x="143" y="100"/>
                      </a:lnTo>
                      <a:lnTo>
                        <a:pt x="144" y="99"/>
                      </a:lnTo>
                      <a:lnTo>
                        <a:pt x="145" y="99"/>
                      </a:lnTo>
                      <a:lnTo>
                        <a:pt x="146" y="99"/>
                      </a:lnTo>
                      <a:lnTo>
                        <a:pt x="146" y="99"/>
                      </a:lnTo>
                      <a:lnTo>
                        <a:pt x="146" y="99"/>
                      </a:lnTo>
                      <a:lnTo>
                        <a:pt x="147" y="100"/>
                      </a:lnTo>
                      <a:lnTo>
                        <a:pt x="147" y="101"/>
                      </a:lnTo>
                      <a:lnTo>
                        <a:pt x="147" y="102"/>
                      </a:lnTo>
                      <a:lnTo>
                        <a:pt x="147" y="103"/>
                      </a:lnTo>
                      <a:lnTo>
                        <a:pt x="146" y="103"/>
                      </a:lnTo>
                      <a:lnTo>
                        <a:pt x="146" y="104"/>
                      </a:lnTo>
                      <a:lnTo>
                        <a:pt x="146" y="105"/>
                      </a:lnTo>
                      <a:lnTo>
                        <a:pt x="146" y="105"/>
                      </a:lnTo>
                      <a:lnTo>
                        <a:pt x="147" y="105"/>
                      </a:lnTo>
                      <a:lnTo>
                        <a:pt x="147" y="106"/>
                      </a:lnTo>
                      <a:lnTo>
                        <a:pt x="148" y="106"/>
                      </a:lnTo>
                      <a:lnTo>
                        <a:pt x="148" y="107"/>
                      </a:lnTo>
                      <a:lnTo>
                        <a:pt x="149" y="106"/>
                      </a:lnTo>
                      <a:lnTo>
                        <a:pt x="150" y="106"/>
                      </a:lnTo>
                      <a:lnTo>
                        <a:pt x="150" y="106"/>
                      </a:lnTo>
                      <a:lnTo>
                        <a:pt x="151" y="105"/>
                      </a:lnTo>
                      <a:lnTo>
                        <a:pt x="152" y="105"/>
                      </a:lnTo>
                      <a:lnTo>
                        <a:pt x="152" y="105"/>
                      </a:lnTo>
                      <a:lnTo>
                        <a:pt x="152" y="105"/>
                      </a:lnTo>
                      <a:lnTo>
                        <a:pt x="153" y="105"/>
                      </a:lnTo>
                      <a:lnTo>
                        <a:pt x="154" y="105"/>
                      </a:lnTo>
                      <a:lnTo>
                        <a:pt x="154" y="105"/>
                      </a:lnTo>
                      <a:lnTo>
                        <a:pt x="155" y="106"/>
                      </a:lnTo>
                      <a:lnTo>
                        <a:pt x="155" y="107"/>
                      </a:lnTo>
                      <a:lnTo>
                        <a:pt x="154" y="107"/>
                      </a:lnTo>
                      <a:lnTo>
                        <a:pt x="154" y="107"/>
                      </a:lnTo>
                      <a:lnTo>
                        <a:pt x="154" y="107"/>
                      </a:lnTo>
                      <a:lnTo>
                        <a:pt x="153" y="107"/>
                      </a:lnTo>
                      <a:lnTo>
                        <a:pt x="152" y="107"/>
                      </a:lnTo>
                      <a:lnTo>
                        <a:pt x="152" y="108"/>
                      </a:lnTo>
                      <a:lnTo>
                        <a:pt x="151" y="109"/>
                      </a:lnTo>
                      <a:lnTo>
                        <a:pt x="151" y="109"/>
                      </a:lnTo>
                      <a:lnTo>
                        <a:pt x="151" y="110"/>
                      </a:lnTo>
                      <a:lnTo>
                        <a:pt x="151" y="111"/>
                      </a:lnTo>
                      <a:lnTo>
                        <a:pt x="151" y="112"/>
                      </a:lnTo>
                      <a:lnTo>
                        <a:pt x="151" y="112"/>
                      </a:lnTo>
                      <a:lnTo>
                        <a:pt x="152" y="112"/>
                      </a:lnTo>
                      <a:lnTo>
                        <a:pt x="152" y="113"/>
                      </a:lnTo>
                      <a:lnTo>
                        <a:pt x="152" y="114"/>
                      </a:lnTo>
                      <a:lnTo>
                        <a:pt x="153" y="114"/>
                      </a:lnTo>
                      <a:lnTo>
                        <a:pt x="154" y="114"/>
                      </a:lnTo>
                      <a:lnTo>
                        <a:pt x="154" y="114"/>
                      </a:lnTo>
                      <a:lnTo>
                        <a:pt x="155" y="115"/>
                      </a:lnTo>
                      <a:lnTo>
                        <a:pt x="156" y="115"/>
                      </a:lnTo>
                      <a:lnTo>
                        <a:pt x="157" y="116"/>
                      </a:lnTo>
                      <a:lnTo>
                        <a:pt x="158" y="116"/>
                      </a:lnTo>
                      <a:lnTo>
                        <a:pt x="158" y="116"/>
                      </a:lnTo>
                      <a:lnTo>
                        <a:pt x="159" y="116"/>
                      </a:lnTo>
                      <a:lnTo>
                        <a:pt x="160" y="116"/>
                      </a:lnTo>
                      <a:lnTo>
                        <a:pt x="160" y="117"/>
                      </a:lnTo>
                      <a:lnTo>
                        <a:pt x="162" y="118"/>
                      </a:lnTo>
                      <a:lnTo>
                        <a:pt x="162" y="118"/>
                      </a:lnTo>
                      <a:lnTo>
                        <a:pt x="163" y="118"/>
                      </a:lnTo>
                      <a:lnTo>
                        <a:pt x="164" y="118"/>
                      </a:lnTo>
                      <a:lnTo>
                        <a:pt x="165" y="119"/>
                      </a:lnTo>
                      <a:lnTo>
                        <a:pt x="165" y="119"/>
                      </a:lnTo>
                      <a:lnTo>
                        <a:pt x="166" y="119"/>
                      </a:lnTo>
                      <a:lnTo>
                        <a:pt x="167" y="120"/>
                      </a:lnTo>
                      <a:lnTo>
                        <a:pt x="167" y="120"/>
                      </a:lnTo>
                      <a:lnTo>
                        <a:pt x="167" y="120"/>
                      </a:lnTo>
                      <a:lnTo>
                        <a:pt x="168" y="121"/>
                      </a:lnTo>
                      <a:lnTo>
                        <a:pt x="169" y="121"/>
                      </a:lnTo>
                      <a:lnTo>
                        <a:pt x="169" y="122"/>
                      </a:lnTo>
                      <a:lnTo>
                        <a:pt x="170" y="122"/>
                      </a:lnTo>
                      <a:lnTo>
                        <a:pt x="171" y="122"/>
                      </a:lnTo>
                      <a:lnTo>
                        <a:pt x="171" y="122"/>
                      </a:lnTo>
                      <a:lnTo>
                        <a:pt x="171" y="121"/>
                      </a:lnTo>
                      <a:lnTo>
                        <a:pt x="172" y="121"/>
                      </a:lnTo>
                      <a:lnTo>
                        <a:pt x="172" y="120"/>
                      </a:lnTo>
                      <a:lnTo>
                        <a:pt x="173" y="120"/>
                      </a:lnTo>
                      <a:lnTo>
                        <a:pt x="173" y="120"/>
                      </a:lnTo>
                      <a:lnTo>
                        <a:pt x="174" y="120"/>
                      </a:lnTo>
                      <a:lnTo>
                        <a:pt x="175" y="120"/>
                      </a:lnTo>
                      <a:lnTo>
                        <a:pt x="175" y="120"/>
                      </a:lnTo>
                      <a:lnTo>
                        <a:pt x="175" y="120"/>
                      </a:lnTo>
                      <a:lnTo>
                        <a:pt x="176" y="121"/>
                      </a:lnTo>
                      <a:lnTo>
                        <a:pt x="177" y="122"/>
                      </a:lnTo>
                      <a:lnTo>
                        <a:pt x="177" y="122"/>
                      </a:lnTo>
                      <a:lnTo>
                        <a:pt x="177" y="122"/>
                      </a:lnTo>
                      <a:lnTo>
                        <a:pt x="178" y="122"/>
                      </a:lnTo>
                      <a:lnTo>
                        <a:pt x="179" y="123"/>
                      </a:lnTo>
                      <a:lnTo>
                        <a:pt x="179" y="124"/>
                      </a:lnTo>
                      <a:lnTo>
                        <a:pt x="180" y="124"/>
                      </a:lnTo>
                      <a:lnTo>
                        <a:pt x="181" y="124"/>
                      </a:lnTo>
                      <a:lnTo>
                        <a:pt x="181" y="124"/>
                      </a:lnTo>
                      <a:lnTo>
                        <a:pt x="183" y="123"/>
                      </a:lnTo>
                      <a:lnTo>
                        <a:pt x="184" y="123"/>
                      </a:lnTo>
                      <a:lnTo>
                        <a:pt x="185" y="122"/>
                      </a:lnTo>
                      <a:lnTo>
                        <a:pt x="185" y="122"/>
                      </a:lnTo>
                      <a:lnTo>
                        <a:pt x="186" y="121"/>
                      </a:lnTo>
                      <a:lnTo>
                        <a:pt x="185" y="120"/>
                      </a:lnTo>
                      <a:lnTo>
                        <a:pt x="185" y="118"/>
                      </a:lnTo>
                      <a:lnTo>
                        <a:pt x="185" y="118"/>
                      </a:lnTo>
                      <a:lnTo>
                        <a:pt x="186" y="118"/>
                      </a:lnTo>
                      <a:lnTo>
                        <a:pt x="187" y="118"/>
                      </a:lnTo>
                      <a:lnTo>
                        <a:pt x="188" y="118"/>
                      </a:lnTo>
                      <a:lnTo>
                        <a:pt x="188" y="118"/>
                      </a:lnTo>
                      <a:lnTo>
                        <a:pt x="188" y="120"/>
                      </a:lnTo>
                      <a:lnTo>
                        <a:pt x="188" y="121"/>
                      </a:lnTo>
                      <a:lnTo>
                        <a:pt x="188" y="122"/>
                      </a:lnTo>
                      <a:lnTo>
                        <a:pt x="188" y="122"/>
                      </a:lnTo>
                      <a:lnTo>
                        <a:pt x="188" y="123"/>
                      </a:lnTo>
                      <a:lnTo>
                        <a:pt x="189" y="123"/>
                      </a:lnTo>
                      <a:lnTo>
                        <a:pt x="190" y="122"/>
                      </a:lnTo>
                      <a:lnTo>
                        <a:pt x="190" y="122"/>
                      </a:lnTo>
                      <a:lnTo>
                        <a:pt x="191" y="122"/>
                      </a:lnTo>
                      <a:lnTo>
                        <a:pt x="191" y="124"/>
                      </a:lnTo>
                      <a:lnTo>
                        <a:pt x="192" y="124"/>
                      </a:lnTo>
                      <a:lnTo>
                        <a:pt x="192" y="125"/>
                      </a:lnTo>
                      <a:lnTo>
                        <a:pt x="193" y="125"/>
                      </a:lnTo>
                      <a:lnTo>
                        <a:pt x="194" y="125"/>
                      </a:lnTo>
                      <a:lnTo>
                        <a:pt x="194" y="124"/>
                      </a:lnTo>
                      <a:lnTo>
                        <a:pt x="195" y="124"/>
                      </a:lnTo>
                      <a:lnTo>
                        <a:pt x="196" y="123"/>
                      </a:lnTo>
                      <a:lnTo>
                        <a:pt x="196" y="123"/>
                      </a:lnTo>
                      <a:lnTo>
                        <a:pt x="197" y="124"/>
                      </a:lnTo>
                      <a:lnTo>
                        <a:pt x="198" y="124"/>
                      </a:lnTo>
                      <a:lnTo>
                        <a:pt x="198" y="126"/>
                      </a:lnTo>
                      <a:lnTo>
                        <a:pt x="198" y="126"/>
                      </a:lnTo>
                      <a:lnTo>
                        <a:pt x="197" y="128"/>
                      </a:lnTo>
                      <a:lnTo>
                        <a:pt x="198" y="128"/>
                      </a:lnTo>
                      <a:lnTo>
                        <a:pt x="198" y="130"/>
                      </a:lnTo>
                      <a:lnTo>
                        <a:pt x="200" y="132"/>
                      </a:lnTo>
                      <a:lnTo>
                        <a:pt x="201" y="133"/>
                      </a:lnTo>
                      <a:lnTo>
                        <a:pt x="202" y="134"/>
                      </a:lnTo>
                      <a:lnTo>
                        <a:pt x="203" y="135"/>
                      </a:lnTo>
                      <a:lnTo>
                        <a:pt x="203" y="136"/>
                      </a:lnTo>
                      <a:lnTo>
                        <a:pt x="203" y="136"/>
                      </a:lnTo>
                      <a:lnTo>
                        <a:pt x="204" y="136"/>
                      </a:lnTo>
                      <a:lnTo>
                        <a:pt x="205" y="135"/>
                      </a:lnTo>
                      <a:lnTo>
                        <a:pt x="205" y="134"/>
                      </a:lnTo>
                      <a:lnTo>
                        <a:pt x="206" y="133"/>
                      </a:lnTo>
                      <a:lnTo>
                        <a:pt x="207" y="133"/>
                      </a:lnTo>
                      <a:lnTo>
                        <a:pt x="207" y="132"/>
                      </a:lnTo>
                      <a:lnTo>
                        <a:pt x="208" y="133"/>
                      </a:lnTo>
                      <a:lnTo>
                        <a:pt x="208" y="133"/>
                      </a:lnTo>
                      <a:lnTo>
                        <a:pt x="207" y="135"/>
                      </a:lnTo>
                      <a:lnTo>
                        <a:pt x="207" y="136"/>
                      </a:lnTo>
                      <a:lnTo>
                        <a:pt x="207" y="137"/>
                      </a:lnTo>
                      <a:lnTo>
                        <a:pt x="208" y="137"/>
                      </a:lnTo>
                      <a:lnTo>
                        <a:pt x="209" y="138"/>
                      </a:lnTo>
                      <a:lnTo>
                        <a:pt x="209" y="138"/>
                      </a:lnTo>
                      <a:lnTo>
                        <a:pt x="210" y="137"/>
                      </a:lnTo>
                      <a:lnTo>
                        <a:pt x="211" y="137"/>
                      </a:lnTo>
                      <a:lnTo>
                        <a:pt x="211" y="137"/>
                      </a:lnTo>
                      <a:lnTo>
                        <a:pt x="211" y="137"/>
                      </a:lnTo>
                      <a:lnTo>
                        <a:pt x="211" y="137"/>
                      </a:lnTo>
                      <a:lnTo>
                        <a:pt x="212" y="138"/>
                      </a:lnTo>
                      <a:lnTo>
                        <a:pt x="213" y="139"/>
                      </a:lnTo>
                      <a:lnTo>
                        <a:pt x="213" y="139"/>
                      </a:lnTo>
                      <a:lnTo>
                        <a:pt x="214" y="139"/>
                      </a:lnTo>
                      <a:lnTo>
                        <a:pt x="215" y="139"/>
                      </a:lnTo>
                      <a:lnTo>
                        <a:pt x="215" y="139"/>
                      </a:lnTo>
                      <a:lnTo>
                        <a:pt x="216" y="139"/>
                      </a:lnTo>
                      <a:lnTo>
                        <a:pt x="217" y="139"/>
                      </a:lnTo>
                      <a:lnTo>
                        <a:pt x="217" y="140"/>
                      </a:lnTo>
                      <a:lnTo>
                        <a:pt x="218" y="140"/>
                      </a:lnTo>
                      <a:lnTo>
                        <a:pt x="219" y="140"/>
                      </a:lnTo>
                      <a:lnTo>
                        <a:pt x="219" y="140"/>
                      </a:lnTo>
                      <a:lnTo>
                        <a:pt x="220" y="139"/>
                      </a:lnTo>
                      <a:lnTo>
                        <a:pt x="221" y="139"/>
                      </a:lnTo>
                      <a:lnTo>
                        <a:pt x="222" y="139"/>
                      </a:lnTo>
                      <a:lnTo>
                        <a:pt x="222" y="139"/>
                      </a:lnTo>
                      <a:lnTo>
                        <a:pt x="223" y="139"/>
                      </a:lnTo>
                      <a:lnTo>
                        <a:pt x="223" y="139"/>
                      </a:lnTo>
                      <a:lnTo>
                        <a:pt x="223" y="140"/>
                      </a:lnTo>
                      <a:lnTo>
                        <a:pt x="222" y="140"/>
                      </a:lnTo>
                      <a:lnTo>
                        <a:pt x="222" y="141"/>
                      </a:lnTo>
                      <a:lnTo>
                        <a:pt x="222" y="141"/>
                      </a:lnTo>
                      <a:lnTo>
                        <a:pt x="222" y="141"/>
                      </a:lnTo>
                      <a:lnTo>
                        <a:pt x="223" y="141"/>
                      </a:lnTo>
                      <a:lnTo>
                        <a:pt x="224" y="141"/>
                      </a:lnTo>
                      <a:lnTo>
                        <a:pt x="224" y="141"/>
                      </a:lnTo>
                      <a:lnTo>
                        <a:pt x="224" y="140"/>
                      </a:lnTo>
                      <a:lnTo>
                        <a:pt x="224" y="139"/>
                      </a:lnTo>
                      <a:lnTo>
                        <a:pt x="225" y="139"/>
                      </a:lnTo>
                      <a:lnTo>
                        <a:pt x="226" y="139"/>
                      </a:lnTo>
                      <a:lnTo>
                        <a:pt x="226" y="140"/>
                      </a:lnTo>
                      <a:lnTo>
                        <a:pt x="226" y="141"/>
                      </a:lnTo>
                      <a:lnTo>
                        <a:pt x="226" y="142"/>
                      </a:lnTo>
                      <a:lnTo>
                        <a:pt x="227" y="142"/>
                      </a:lnTo>
                      <a:lnTo>
                        <a:pt x="228" y="142"/>
                      </a:lnTo>
                      <a:lnTo>
                        <a:pt x="228" y="141"/>
                      </a:lnTo>
                      <a:lnTo>
                        <a:pt x="228" y="141"/>
                      </a:lnTo>
                      <a:lnTo>
                        <a:pt x="228" y="140"/>
                      </a:lnTo>
                      <a:lnTo>
                        <a:pt x="228" y="139"/>
                      </a:lnTo>
                      <a:lnTo>
                        <a:pt x="228" y="138"/>
                      </a:lnTo>
                      <a:lnTo>
                        <a:pt x="228" y="138"/>
                      </a:lnTo>
                      <a:lnTo>
                        <a:pt x="229" y="138"/>
                      </a:lnTo>
                      <a:lnTo>
                        <a:pt x="230" y="139"/>
                      </a:lnTo>
                      <a:lnTo>
                        <a:pt x="230" y="139"/>
                      </a:lnTo>
                      <a:lnTo>
                        <a:pt x="231" y="139"/>
                      </a:lnTo>
                      <a:lnTo>
                        <a:pt x="232" y="139"/>
                      </a:lnTo>
                      <a:lnTo>
                        <a:pt x="232" y="141"/>
                      </a:lnTo>
                      <a:lnTo>
                        <a:pt x="232" y="141"/>
                      </a:lnTo>
                      <a:lnTo>
                        <a:pt x="233" y="142"/>
                      </a:lnTo>
                      <a:lnTo>
                        <a:pt x="234" y="142"/>
                      </a:lnTo>
                      <a:lnTo>
                        <a:pt x="234" y="141"/>
                      </a:lnTo>
                      <a:lnTo>
                        <a:pt x="234" y="141"/>
                      </a:lnTo>
                      <a:lnTo>
                        <a:pt x="234" y="140"/>
                      </a:lnTo>
                      <a:lnTo>
                        <a:pt x="234" y="139"/>
                      </a:lnTo>
                      <a:lnTo>
                        <a:pt x="235" y="139"/>
                      </a:lnTo>
                      <a:lnTo>
                        <a:pt x="236" y="139"/>
                      </a:lnTo>
                      <a:lnTo>
                        <a:pt x="236" y="140"/>
                      </a:lnTo>
                      <a:lnTo>
                        <a:pt x="236" y="141"/>
                      </a:lnTo>
                      <a:lnTo>
                        <a:pt x="237" y="141"/>
                      </a:lnTo>
                      <a:lnTo>
                        <a:pt x="237" y="141"/>
                      </a:lnTo>
                      <a:lnTo>
                        <a:pt x="238" y="142"/>
                      </a:lnTo>
                      <a:lnTo>
                        <a:pt x="238" y="143"/>
                      </a:lnTo>
                      <a:lnTo>
                        <a:pt x="238" y="143"/>
                      </a:lnTo>
                      <a:lnTo>
                        <a:pt x="239" y="143"/>
                      </a:lnTo>
                      <a:lnTo>
                        <a:pt x="240" y="143"/>
                      </a:lnTo>
                      <a:lnTo>
                        <a:pt x="240" y="143"/>
                      </a:lnTo>
                      <a:lnTo>
                        <a:pt x="239" y="142"/>
                      </a:lnTo>
                      <a:lnTo>
                        <a:pt x="238" y="142"/>
                      </a:lnTo>
                      <a:lnTo>
                        <a:pt x="238" y="141"/>
                      </a:lnTo>
                      <a:lnTo>
                        <a:pt x="238" y="141"/>
                      </a:lnTo>
                      <a:lnTo>
                        <a:pt x="239" y="141"/>
                      </a:lnTo>
                      <a:lnTo>
                        <a:pt x="240" y="141"/>
                      </a:lnTo>
                      <a:lnTo>
                        <a:pt x="241" y="141"/>
                      </a:lnTo>
                      <a:lnTo>
                        <a:pt x="241" y="142"/>
                      </a:lnTo>
                      <a:lnTo>
                        <a:pt x="242" y="143"/>
                      </a:lnTo>
                      <a:lnTo>
                        <a:pt x="243" y="143"/>
                      </a:lnTo>
                      <a:lnTo>
                        <a:pt x="243" y="142"/>
                      </a:lnTo>
                      <a:lnTo>
                        <a:pt x="242" y="141"/>
                      </a:lnTo>
                      <a:lnTo>
                        <a:pt x="241" y="141"/>
                      </a:lnTo>
                      <a:lnTo>
                        <a:pt x="242" y="141"/>
                      </a:lnTo>
                      <a:lnTo>
                        <a:pt x="243" y="141"/>
                      </a:lnTo>
                      <a:lnTo>
                        <a:pt x="243" y="141"/>
                      </a:lnTo>
                      <a:lnTo>
                        <a:pt x="244" y="141"/>
                      </a:lnTo>
                      <a:lnTo>
                        <a:pt x="245" y="141"/>
                      </a:lnTo>
                      <a:lnTo>
                        <a:pt x="246" y="140"/>
                      </a:lnTo>
                      <a:lnTo>
                        <a:pt x="247" y="141"/>
                      </a:lnTo>
                      <a:lnTo>
                        <a:pt x="247" y="140"/>
                      </a:lnTo>
                      <a:lnTo>
                        <a:pt x="247" y="140"/>
                      </a:lnTo>
                      <a:lnTo>
                        <a:pt x="247" y="139"/>
                      </a:lnTo>
                      <a:lnTo>
                        <a:pt x="247" y="139"/>
                      </a:lnTo>
                      <a:lnTo>
                        <a:pt x="247" y="138"/>
                      </a:lnTo>
                      <a:lnTo>
                        <a:pt x="247" y="137"/>
                      </a:lnTo>
                      <a:lnTo>
                        <a:pt x="247" y="136"/>
                      </a:lnTo>
                      <a:lnTo>
                        <a:pt x="247" y="135"/>
                      </a:lnTo>
                      <a:lnTo>
                        <a:pt x="247" y="135"/>
                      </a:lnTo>
                      <a:lnTo>
                        <a:pt x="247" y="134"/>
                      </a:lnTo>
                      <a:lnTo>
                        <a:pt x="247" y="133"/>
                      </a:lnTo>
                      <a:lnTo>
                        <a:pt x="248" y="133"/>
                      </a:lnTo>
                      <a:lnTo>
                        <a:pt x="249" y="133"/>
                      </a:lnTo>
                      <a:lnTo>
                        <a:pt x="249" y="133"/>
                      </a:lnTo>
                      <a:lnTo>
                        <a:pt x="250" y="134"/>
                      </a:lnTo>
                      <a:lnTo>
                        <a:pt x="251" y="134"/>
                      </a:lnTo>
                      <a:lnTo>
                        <a:pt x="251" y="134"/>
                      </a:lnTo>
                      <a:lnTo>
                        <a:pt x="252" y="133"/>
                      </a:lnTo>
                      <a:lnTo>
                        <a:pt x="252" y="133"/>
                      </a:lnTo>
                      <a:lnTo>
                        <a:pt x="253" y="132"/>
                      </a:lnTo>
                      <a:lnTo>
                        <a:pt x="253" y="132"/>
                      </a:lnTo>
                      <a:lnTo>
                        <a:pt x="254" y="132"/>
                      </a:lnTo>
                      <a:lnTo>
                        <a:pt x="255" y="132"/>
                      </a:lnTo>
                      <a:lnTo>
                        <a:pt x="255" y="132"/>
                      </a:lnTo>
                      <a:lnTo>
                        <a:pt x="256" y="133"/>
                      </a:lnTo>
                      <a:lnTo>
                        <a:pt x="257" y="133"/>
                      </a:lnTo>
                      <a:lnTo>
                        <a:pt x="257" y="135"/>
                      </a:lnTo>
                      <a:lnTo>
                        <a:pt x="259" y="136"/>
                      </a:lnTo>
                      <a:lnTo>
                        <a:pt x="259" y="137"/>
                      </a:lnTo>
                      <a:lnTo>
                        <a:pt x="258" y="139"/>
                      </a:lnTo>
                      <a:lnTo>
                        <a:pt x="258" y="140"/>
                      </a:lnTo>
                      <a:lnTo>
                        <a:pt x="258" y="141"/>
                      </a:lnTo>
                      <a:lnTo>
                        <a:pt x="259" y="142"/>
                      </a:lnTo>
                      <a:lnTo>
                        <a:pt x="260" y="143"/>
                      </a:lnTo>
                      <a:lnTo>
                        <a:pt x="260" y="143"/>
                      </a:lnTo>
                      <a:lnTo>
                        <a:pt x="261" y="143"/>
                      </a:lnTo>
                      <a:lnTo>
                        <a:pt x="262" y="142"/>
                      </a:lnTo>
                      <a:lnTo>
                        <a:pt x="263" y="141"/>
                      </a:lnTo>
                      <a:lnTo>
                        <a:pt x="264" y="141"/>
                      </a:lnTo>
                      <a:lnTo>
                        <a:pt x="264" y="140"/>
                      </a:lnTo>
                      <a:lnTo>
                        <a:pt x="264" y="139"/>
                      </a:lnTo>
                      <a:lnTo>
                        <a:pt x="264" y="139"/>
                      </a:lnTo>
                      <a:lnTo>
                        <a:pt x="264" y="137"/>
                      </a:lnTo>
                      <a:lnTo>
                        <a:pt x="264" y="137"/>
                      </a:lnTo>
                      <a:lnTo>
                        <a:pt x="263" y="135"/>
                      </a:lnTo>
                      <a:lnTo>
                        <a:pt x="263" y="135"/>
                      </a:lnTo>
                      <a:lnTo>
                        <a:pt x="263" y="134"/>
                      </a:lnTo>
                      <a:lnTo>
                        <a:pt x="264" y="133"/>
                      </a:lnTo>
                      <a:lnTo>
                        <a:pt x="264" y="133"/>
                      </a:lnTo>
                      <a:lnTo>
                        <a:pt x="265" y="133"/>
                      </a:lnTo>
                      <a:lnTo>
                        <a:pt x="266" y="132"/>
                      </a:lnTo>
                      <a:lnTo>
                        <a:pt x="266" y="133"/>
                      </a:lnTo>
                      <a:lnTo>
                        <a:pt x="267" y="133"/>
                      </a:lnTo>
                      <a:lnTo>
                        <a:pt x="268" y="134"/>
                      </a:lnTo>
                      <a:lnTo>
                        <a:pt x="268" y="135"/>
                      </a:lnTo>
                      <a:lnTo>
                        <a:pt x="267" y="136"/>
                      </a:lnTo>
                      <a:lnTo>
                        <a:pt x="266" y="137"/>
                      </a:lnTo>
                      <a:lnTo>
                        <a:pt x="267" y="137"/>
                      </a:lnTo>
                      <a:lnTo>
                        <a:pt x="267" y="138"/>
                      </a:lnTo>
                      <a:lnTo>
                        <a:pt x="268" y="139"/>
                      </a:lnTo>
                      <a:lnTo>
                        <a:pt x="268" y="139"/>
                      </a:lnTo>
                      <a:lnTo>
                        <a:pt x="268" y="139"/>
                      </a:lnTo>
                      <a:lnTo>
                        <a:pt x="269" y="140"/>
                      </a:lnTo>
                      <a:lnTo>
                        <a:pt x="269" y="141"/>
                      </a:lnTo>
                      <a:lnTo>
                        <a:pt x="270" y="141"/>
                      </a:lnTo>
                      <a:lnTo>
                        <a:pt x="270" y="141"/>
                      </a:lnTo>
                      <a:lnTo>
                        <a:pt x="271" y="141"/>
                      </a:lnTo>
                      <a:lnTo>
                        <a:pt x="271" y="142"/>
                      </a:lnTo>
                      <a:lnTo>
                        <a:pt x="271" y="143"/>
                      </a:lnTo>
                      <a:lnTo>
                        <a:pt x="271" y="143"/>
                      </a:lnTo>
                      <a:lnTo>
                        <a:pt x="271" y="145"/>
                      </a:lnTo>
                      <a:lnTo>
                        <a:pt x="272" y="145"/>
                      </a:lnTo>
                      <a:lnTo>
                        <a:pt x="272" y="145"/>
                      </a:lnTo>
                      <a:lnTo>
                        <a:pt x="273" y="145"/>
                      </a:lnTo>
                      <a:lnTo>
                        <a:pt x="274" y="144"/>
                      </a:lnTo>
                      <a:lnTo>
                        <a:pt x="274" y="143"/>
                      </a:lnTo>
                      <a:lnTo>
                        <a:pt x="274" y="142"/>
                      </a:lnTo>
                      <a:lnTo>
                        <a:pt x="275" y="142"/>
                      </a:lnTo>
                      <a:lnTo>
                        <a:pt x="276" y="141"/>
                      </a:lnTo>
                      <a:lnTo>
                        <a:pt x="277" y="141"/>
                      </a:lnTo>
                      <a:lnTo>
                        <a:pt x="279" y="142"/>
                      </a:lnTo>
                      <a:lnTo>
                        <a:pt x="279" y="143"/>
                      </a:lnTo>
                      <a:lnTo>
                        <a:pt x="280" y="143"/>
                      </a:lnTo>
                      <a:lnTo>
                        <a:pt x="280" y="145"/>
                      </a:lnTo>
                      <a:lnTo>
                        <a:pt x="281" y="145"/>
                      </a:lnTo>
                      <a:lnTo>
                        <a:pt x="281" y="147"/>
                      </a:lnTo>
                      <a:lnTo>
                        <a:pt x="280" y="148"/>
                      </a:lnTo>
                      <a:lnTo>
                        <a:pt x="280" y="149"/>
                      </a:lnTo>
                      <a:lnTo>
                        <a:pt x="280" y="150"/>
                      </a:lnTo>
                      <a:lnTo>
                        <a:pt x="281" y="152"/>
                      </a:lnTo>
                      <a:lnTo>
                        <a:pt x="281" y="152"/>
                      </a:lnTo>
                      <a:lnTo>
                        <a:pt x="281" y="154"/>
                      </a:lnTo>
                      <a:lnTo>
                        <a:pt x="281" y="156"/>
                      </a:lnTo>
                      <a:lnTo>
                        <a:pt x="281" y="158"/>
                      </a:lnTo>
                      <a:lnTo>
                        <a:pt x="282" y="160"/>
                      </a:lnTo>
                      <a:lnTo>
                        <a:pt x="282" y="161"/>
                      </a:lnTo>
                      <a:lnTo>
                        <a:pt x="282" y="162"/>
                      </a:lnTo>
                      <a:lnTo>
                        <a:pt x="282" y="162"/>
                      </a:lnTo>
                      <a:lnTo>
                        <a:pt x="282" y="164"/>
                      </a:lnTo>
                      <a:lnTo>
                        <a:pt x="282" y="164"/>
                      </a:lnTo>
                      <a:lnTo>
                        <a:pt x="282" y="165"/>
                      </a:lnTo>
                      <a:lnTo>
                        <a:pt x="282" y="166"/>
                      </a:lnTo>
                      <a:lnTo>
                        <a:pt x="282" y="166"/>
                      </a:lnTo>
                      <a:lnTo>
                        <a:pt x="282" y="167"/>
                      </a:lnTo>
                      <a:lnTo>
                        <a:pt x="282" y="168"/>
                      </a:lnTo>
                      <a:lnTo>
                        <a:pt x="282" y="168"/>
                      </a:lnTo>
                      <a:lnTo>
                        <a:pt x="281" y="170"/>
                      </a:lnTo>
                      <a:lnTo>
                        <a:pt x="281" y="170"/>
                      </a:lnTo>
                      <a:lnTo>
                        <a:pt x="281" y="171"/>
                      </a:lnTo>
                      <a:lnTo>
                        <a:pt x="281" y="171"/>
                      </a:lnTo>
                      <a:lnTo>
                        <a:pt x="282" y="172"/>
                      </a:lnTo>
                      <a:lnTo>
                        <a:pt x="282" y="173"/>
                      </a:lnTo>
                      <a:lnTo>
                        <a:pt x="283" y="173"/>
                      </a:lnTo>
                      <a:lnTo>
                        <a:pt x="283" y="173"/>
                      </a:lnTo>
                      <a:lnTo>
                        <a:pt x="284" y="173"/>
                      </a:lnTo>
                      <a:lnTo>
                        <a:pt x="285" y="174"/>
                      </a:lnTo>
                      <a:lnTo>
                        <a:pt x="285" y="175"/>
                      </a:lnTo>
                      <a:lnTo>
                        <a:pt x="285" y="175"/>
                      </a:lnTo>
                      <a:lnTo>
                        <a:pt x="286" y="176"/>
                      </a:lnTo>
                      <a:lnTo>
                        <a:pt x="286" y="177"/>
                      </a:lnTo>
                      <a:lnTo>
                        <a:pt x="287" y="177"/>
                      </a:lnTo>
                      <a:lnTo>
                        <a:pt x="287" y="177"/>
                      </a:lnTo>
                      <a:lnTo>
                        <a:pt x="288" y="177"/>
                      </a:lnTo>
                      <a:lnTo>
                        <a:pt x="288" y="177"/>
                      </a:lnTo>
                      <a:lnTo>
                        <a:pt x="289" y="177"/>
                      </a:lnTo>
                      <a:lnTo>
                        <a:pt x="289" y="177"/>
                      </a:lnTo>
                      <a:lnTo>
                        <a:pt x="289" y="177"/>
                      </a:lnTo>
                      <a:lnTo>
                        <a:pt x="290" y="177"/>
                      </a:lnTo>
                      <a:lnTo>
                        <a:pt x="291" y="177"/>
                      </a:lnTo>
                      <a:lnTo>
                        <a:pt x="291" y="177"/>
                      </a:lnTo>
                      <a:lnTo>
                        <a:pt x="292" y="177"/>
                      </a:lnTo>
                      <a:lnTo>
                        <a:pt x="292" y="178"/>
                      </a:lnTo>
                      <a:lnTo>
                        <a:pt x="291" y="179"/>
                      </a:lnTo>
                      <a:lnTo>
                        <a:pt x="291" y="179"/>
                      </a:lnTo>
                      <a:lnTo>
                        <a:pt x="291" y="180"/>
                      </a:lnTo>
                      <a:lnTo>
                        <a:pt x="291" y="181"/>
                      </a:lnTo>
                      <a:lnTo>
                        <a:pt x="292" y="181"/>
                      </a:lnTo>
                      <a:lnTo>
                        <a:pt x="293" y="180"/>
                      </a:lnTo>
                      <a:lnTo>
                        <a:pt x="293" y="179"/>
                      </a:lnTo>
                      <a:lnTo>
                        <a:pt x="294" y="179"/>
                      </a:lnTo>
                      <a:lnTo>
                        <a:pt x="295" y="179"/>
                      </a:lnTo>
                      <a:lnTo>
                        <a:pt x="295" y="179"/>
                      </a:lnTo>
                      <a:lnTo>
                        <a:pt x="295" y="179"/>
                      </a:lnTo>
                      <a:lnTo>
                        <a:pt x="295" y="180"/>
                      </a:lnTo>
                      <a:lnTo>
                        <a:pt x="295" y="181"/>
                      </a:lnTo>
                      <a:lnTo>
                        <a:pt x="295" y="182"/>
                      </a:lnTo>
                      <a:lnTo>
                        <a:pt x="295" y="183"/>
                      </a:lnTo>
                      <a:lnTo>
                        <a:pt x="295" y="183"/>
                      </a:lnTo>
                      <a:lnTo>
                        <a:pt x="295" y="184"/>
                      </a:lnTo>
                      <a:lnTo>
                        <a:pt x="295" y="185"/>
                      </a:lnTo>
                      <a:lnTo>
                        <a:pt x="295" y="185"/>
                      </a:lnTo>
                      <a:lnTo>
                        <a:pt x="295" y="185"/>
                      </a:lnTo>
                      <a:lnTo>
                        <a:pt x="296" y="185"/>
                      </a:lnTo>
                      <a:lnTo>
                        <a:pt x="297" y="185"/>
                      </a:lnTo>
                      <a:lnTo>
                        <a:pt x="298" y="185"/>
                      </a:lnTo>
                      <a:lnTo>
                        <a:pt x="298" y="186"/>
                      </a:lnTo>
                      <a:lnTo>
                        <a:pt x="299" y="187"/>
                      </a:lnTo>
                      <a:lnTo>
                        <a:pt x="300" y="187"/>
                      </a:lnTo>
                      <a:lnTo>
                        <a:pt x="300" y="188"/>
                      </a:lnTo>
                      <a:lnTo>
                        <a:pt x="300" y="189"/>
                      </a:lnTo>
                      <a:lnTo>
                        <a:pt x="301" y="189"/>
                      </a:lnTo>
                      <a:lnTo>
                        <a:pt x="302" y="189"/>
                      </a:lnTo>
                      <a:lnTo>
                        <a:pt x="302" y="189"/>
                      </a:lnTo>
                      <a:lnTo>
                        <a:pt x="304" y="189"/>
                      </a:lnTo>
                      <a:lnTo>
                        <a:pt x="304" y="189"/>
                      </a:lnTo>
                      <a:lnTo>
                        <a:pt x="305" y="189"/>
                      </a:lnTo>
                      <a:lnTo>
                        <a:pt x="306" y="189"/>
                      </a:lnTo>
                      <a:lnTo>
                        <a:pt x="306" y="189"/>
                      </a:lnTo>
                      <a:lnTo>
                        <a:pt x="306" y="190"/>
                      </a:lnTo>
                      <a:lnTo>
                        <a:pt x="306" y="191"/>
                      </a:lnTo>
                      <a:lnTo>
                        <a:pt x="306" y="192"/>
                      </a:lnTo>
                      <a:lnTo>
                        <a:pt x="306" y="192"/>
                      </a:lnTo>
                      <a:lnTo>
                        <a:pt x="306" y="193"/>
                      </a:lnTo>
                      <a:lnTo>
                        <a:pt x="306" y="194"/>
                      </a:lnTo>
                      <a:lnTo>
                        <a:pt x="306" y="194"/>
                      </a:lnTo>
                      <a:lnTo>
                        <a:pt x="306" y="195"/>
                      </a:lnTo>
                      <a:lnTo>
                        <a:pt x="306" y="196"/>
                      </a:lnTo>
                      <a:lnTo>
                        <a:pt x="306" y="196"/>
                      </a:lnTo>
                      <a:lnTo>
                        <a:pt x="307" y="197"/>
                      </a:lnTo>
                      <a:lnTo>
                        <a:pt x="307" y="198"/>
                      </a:lnTo>
                      <a:lnTo>
                        <a:pt x="308" y="198"/>
                      </a:lnTo>
                      <a:lnTo>
                        <a:pt x="308" y="199"/>
                      </a:lnTo>
                      <a:lnTo>
                        <a:pt x="309" y="199"/>
                      </a:lnTo>
                      <a:lnTo>
                        <a:pt x="310" y="200"/>
                      </a:lnTo>
                      <a:lnTo>
                        <a:pt x="310" y="200"/>
                      </a:lnTo>
                      <a:lnTo>
                        <a:pt x="310" y="201"/>
                      </a:lnTo>
                      <a:lnTo>
                        <a:pt x="310" y="202"/>
                      </a:lnTo>
                      <a:lnTo>
                        <a:pt x="311" y="201"/>
                      </a:lnTo>
                      <a:lnTo>
                        <a:pt x="312" y="200"/>
                      </a:lnTo>
                      <a:lnTo>
                        <a:pt x="311" y="200"/>
                      </a:lnTo>
                      <a:lnTo>
                        <a:pt x="310" y="200"/>
                      </a:lnTo>
                      <a:lnTo>
                        <a:pt x="310" y="199"/>
                      </a:lnTo>
                      <a:lnTo>
                        <a:pt x="310" y="199"/>
                      </a:lnTo>
                      <a:lnTo>
                        <a:pt x="310" y="198"/>
                      </a:lnTo>
                      <a:lnTo>
                        <a:pt x="311" y="198"/>
                      </a:lnTo>
                      <a:lnTo>
                        <a:pt x="312" y="199"/>
                      </a:lnTo>
                      <a:lnTo>
                        <a:pt x="312" y="199"/>
                      </a:lnTo>
                      <a:lnTo>
                        <a:pt x="313" y="199"/>
                      </a:lnTo>
                      <a:lnTo>
                        <a:pt x="314" y="199"/>
                      </a:lnTo>
                      <a:lnTo>
                        <a:pt x="315" y="199"/>
                      </a:lnTo>
                      <a:lnTo>
                        <a:pt x="315" y="199"/>
                      </a:lnTo>
                      <a:lnTo>
                        <a:pt x="316" y="200"/>
                      </a:lnTo>
                      <a:lnTo>
                        <a:pt x="317" y="200"/>
                      </a:lnTo>
                      <a:lnTo>
                        <a:pt x="317" y="200"/>
                      </a:lnTo>
                      <a:lnTo>
                        <a:pt x="317" y="202"/>
                      </a:lnTo>
                      <a:lnTo>
                        <a:pt x="317" y="202"/>
                      </a:lnTo>
                      <a:lnTo>
                        <a:pt x="317" y="204"/>
                      </a:lnTo>
                      <a:lnTo>
                        <a:pt x="318" y="204"/>
                      </a:lnTo>
                      <a:lnTo>
                        <a:pt x="319" y="204"/>
                      </a:lnTo>
                      <a:lnTo>
                        <a:pt x="319" y="204"/>
                      </a:lnTo>
                      <a:lnTo>
                        <a:pt x="320" y="204"/>
                      </a:lnTo>
                      <a:lnTo>
                        <a:pt x="320" y="206"/>
                      </a:lnTo>
                      <a:lnTo>
                        <a:pt x="319" y="207"/>
                      </a:lnTo>
                      <a:lnTo>
                        <a:pt x="319" y="208"/>
                      </a:lnTo>
                      <a:lnTo>
                        <a:pt x="318" y="209"/>
                      </a:lnTo>
                      <a:lnTo>
                        <a:pt x="318" y="210"/>
                      </a:lnTo>
                      <a:lnTo>
                        <a:pt x="318" y="211"/>
                      </a:lnTo>
                      <a:lnTo>
                        <a:pt x="319" y="211"/>
                      </a:lnTo>
                      <a:lnTo>
                        <a:pt x="320" y="211"/>
                      </a:lnTo>
                      <a:lnTo>
                        <a:pt x="321" y="211"/>
                      </a:lnTo>
                      <a:lnTo>
                        <a:pt x="321" y="211"/>
                      </a:lnTo>
                      <a:lnTo>
                        <a:pt x="322" y="211"/>
                      </a:lnTo>
                      <a:lnTo>
                        <a:pt x="323" y="211"/>
                      </a:lnTo>
                      <a:lnTo>
                        <a:pt x="323" y="212"/>
                      </a:lnTo>
                      <a:lnTo>
                        <a:pt x="323" y="212"/>
                      </a:lnTo>
                      <a:lnTo>
                        <a:pt x="323" y="213"/>
                      </a:lnTo>
                      <a:lnTo>
                        <a:pt x="324" y="213"/>
                      </a:lnTo>
                      <a:lnTo>
                        <a:pt x="324" y="212"/>
                      </a:lnTo>
                      <a:lnTo>
                        <a:pt x="325" y="211"/>
                      </a:lnTo>
                      <a:lnTo>
                        <a:pt x="325" y="211"/>
                      </a:lnTo>
                      <a:lnTo>
                        <a:pt x="325" y="211"/>
                      </a:lnTo>
                      <a:lnTo>
                        <a:pt x="326" y="211"/>
                      </a:lnTo>
                      <a:lnTo>
                        <a:pt x="327" y="211"/>
                      </a:lnTo>
                      <a:lnTo>
                        <a:pt x="327" y="212"/>
                      </a:lnTo>
                      <a:lnTo>
                        <a:pt x="328" y="213"/>
                      </a:lnTo>
                      <a:lnTo>
                        <a:pt x="328" y="214"/>
                      </a:lnTo>
                      <a:lnTo>
                        <a:pt x="329" y="215"/>
                      </a:lnTo>
                      <a:lnTo>
                        <a:pt x="329" y="216"/>
                      </a:lnTo>
                      <a:lnTo>
                        <a:pt x="330" y="217"/>
                      </a:lnTo>
                      <a:lnTo>
                        <a:pt x="331" y="217"/>
                      </a:lnTo>
                      <a:lnTo>
                        <a:pt x="332" y="217"/>
                      </a:lnTo>
                      <a:lnTo>
                        <a:pt x="333" y="217"/>
                      </a:lnTo>
                      <a:lnTo>
                        <a:pt x="334" y="217"/>
                      </a:lnTo>
                      <a:lnTo>
                        <a:pt x="334" y="217"/>
                      </a:lnTo>
                      <a:lnTo>
                        <a:pt x="335" y="217"/>
                      </a:lnTo>
                      <a:lnTo>
                        <a:pt x="335" y="216"/>
                      </a:lnTo>
                      <a:lnTo>
                        <a:pt x="336" y="215"/>
                      </a:lnTo>
                      <a:lnTo>
                        <a:pt x="336" y="215"/>
                      </a:lnTo>
                      <a:lnTo>
                        <a:pt x="337" y="215"/>
                      </a:lnTo>
                      <a:lnTo>
                        <a:pt x="338" y="217"/>
                      </a:lnTo>
                      <a:lnTo>
                        <a:pt x="338" y="218"/>
                      </a:lnTo>
                      <a:lnTo>
                        <a:pt x="339" y="219"/>
                      </a:lnTo>
                      <a:lnTo>
                        <a:pt x="339" y="220"/>
                      </a:lnTo>
                      <a:lnTo>
                        <a:pt x="340" y="221"/>
                      </a:lnTo>
                      <a:lnTo>
                        <a:pt x="340" y="223"/>
                      </a:lnTo>
                      <a:lnTo>
                        <a:pt x="340" y="225"/>
                      </a:lnTo>
                      <a:lnTo>
                        <a:pt x="340" y="225"/>
                      </a:lnTo>
                      <a:lnTo>
                        <a:pt x="341" y="227"/>
                      </a:lnTo>
                      <a:lnTo>
                        <a:pt x="341" y="230"/>
                      </a:lnTo>
                      <a:lnTo>
                        <a:pt x="340" y="231"/>
                      </a:lnTo>
                      <a:lnTo>
                        <a:pt x="340" y="233"/>
                      </a:lnTo>
                      <a:lnTo>
                        <a:pt x="340" y="234"/>
                      </a:lnTo>
                      <a:lnTo>
                        <a:pt x="341" y="234"/>
                      </a:lnTo>
                      <a:lnTo>
                        <a:pt x="341" y="235"/>
                      </a:lnTo>
                      <a:lnTo>
                        <a:pt x="342" y="235"/>
                      </a:lnTo>
                      <a:lnTo>
                        <a:pt x="342" y="236"/>
                      </a:lnTo>
                      <a:lnTo>
                        <a:pt x="343" y="238"/>
                      </a:lnTo>
                      <a:lnTo>
                        <a:pt x="344" y="239"/>
                      </a:lnTo>
                      <a:lnTo>
                        <a:pt x="344" y="240"/>
                      </a:lnTo>
                      <a:lnTo>
                        <a:pt x="344" y="242"/>
                      </a:lnTo>
                      <a:lnTo>
                        <a:pt x="345" y="243"/>
                      </a:lnTo>
                      <a:lnTo>
                        <a:pt x="346" y="244"/>
                      </a:lnTo>
                      <a:lnTo>
                        <a:pt x="347" y="245"/>
                      </a:lnTo>
                      <a:lnTo>
                        <a:pt x="348" y="245"/>
                      </a:lnTo>
                      <a:lnTo>
                        <a:pt x="349" y="244"/>
                      </a:lnTo>
                      <a:lnTo>
                        <a:pt x="349" y="243"/>
                      </a:lnTo>
                      <a:lnTo>
                        <a:pt x="349" y="242"/>
                      </a:lnTo>
                      <a:lnTo>
                        <a:pt x="350" y="242"/>
                      </a:lnTo>
                      <a:lnTo>
                        <a:pt x="350" y="242"/>
                      </a:lnTo>
                      <a:lnTo>
                        <a:pt x="351" y="242"/>
                      </a:lnTo>
                      <a:lnTo>
                        <a:pt x="352" y="242"/>
                      </a:lnTo>
                      <a:lnTo>
                        <a:pt x="352" y="243"/>
                      </a:lnTo>
                      <a:lnTo>
                        <a:pt x="353" y="243"/>
                      </a:lnTo>
                      <a:lnTo>
                        <a:pt x="353" y="243"/>
                      </a:lnTo>
                      <a:lnTo>
                        <a:pt x="355" y="242"/>
                      </a:lnTo>
                      <a:lnTo>
                        <a:pt x="355" y="241"/>
                      </a:lnTo>
                      <a:lnTo>
                        <a:pt x="355" y="241"/>
                      </a:lnTo>
                      <a:lnTo>
                        <a:pt x="356" y="241"/>
                      </a:lnTo>
                      <a:lnTo>
                        <a:pt x="357" y="242"/>
                      </a:lnTo>
                      <a:lnTo>
                        <a:pt x="357" y="242"/>
                      </a:lnTo>
                      <a:lnTo>
                        <a:pt x="359" y="242"/>
                      </a:lnTo>
                      <a:lnTo>
                        <a:pt x="359" y="242"/>
                      </a:lnTo>
                      <a:lnTo>
                        <a:pt x="360" y="242"/>
                      </a:lnTo>
                      <a:lnTo>
                        <a:pt x="361" y="243"/>
                      </a:lnTo>
                      <a:lnTo>
                        <a:pt x="363" y="244"/>
                      </a:lnTo>
                      <a:lnTo>
                        <a:pt x="364" y="244"/>
                      </a:lnTo>
                      <a:lnTo>
                        <a:pt x="365" y="245"/>
                      </a:lnTo>
                      <a:lnTo>
                        <a:pt x="366" y="244"/>
                      </a:lnTo>
                      <a:lnTo>
                        <a:pt x="367" y="244"/>
                      </a:lnTo>
                      <a:lnTo>
                        <a:pt x="367" y="242"/>
                      </a:lnTo>
                      <a:lnTo>
                        <a:pt x="368" y="241"/>
                      </a:lnTo>
                      <a:lnTo>
                        <a:pt x="367" y="240"/>
                      </a:lnTo>
                      <a:lnTo>
                        <a:pt x="368" y="240"/>
                      </a:lnTo>
                      <a:lnTo>
                        <a:pt x="369" y="239"/>
                      </a:lnTo>
                      <a:lnTo>
                        <a:pt x="369" y="240"/>
                      </a:lnTo>
                      <a:lnTo>
                        <a:pt x="370" y="240"/>
                      </a:lnTo>
                      <a:lnTo>
                        <a:pt x="370" y="241"/>
                      </a:lnTo>
                      <a:lnTo>
                        <a:pt x="371" y="242"/>
                      </a:lnTo>
                      <a:lnTo>
                        <a:pt x="371" y="242"/>
                      </a:lnTo>
                      <a:lnTo>
                        <a:pt x="371" y="244"/>
                      </a:lnTo>
                      <a:lnTo>
                        <a:pt x="371" y="245"/>
                      </a:lnTo>
                      <a:lnTo>
                        <a:pt x="371" y="246"/>
                      </a:lnTo>
                      <a:lnTo>
                        <a:pt x="372" y="246"/>
                      </a:lnTo>
                      <a:lnTo>
                        <a:pt x="373" y="246"/>
                      </a:lnTo>
                      <a:lnTo>
                        <a:pt x="374" y="245"/>
                      </a:lnTo>
                      <a:lnTo>
                        <a:pt x="374" y="244"/>
                      </a:lnTo>
                      <a:lnTo>
                        <a:pt x="374" y="243"/>
                      </a:lnTo>
                      <a:lnTo>
                        <a:pt x="373" y="242"/>
                      </a:lnTo>
                      <a:lnTo>
                        <a:pt x="373" y="242"/>
                      </a:lnTo>
                      <a:lnTo>
                        <a:pt x="373" y="241"/>
                      </a:lnTo>
                      <a:lnTo>
                        <a:pt x="374" y="240"/>
                      </a:lnTo>
                      <a:lnTo>
                        <a:pt x="374" y="240"/>
                      </a:lnTo>
                      <a:lnTo>
                        <a:pt x="376" y="240"/>
                      </a:lnTo>
                      <a:lnTo>
                        <a:pt x="376" y="241"/>
                      </a:lnTo>
                      <a:lnTo>
                        <a:pt x="376" y="242"/>
                      </a:lnTo>
                      <a:lnTo>
                        <a:pt x="377" y="242"/>
                      </a:lnTo>
                      <a:lnTo>
                        <a:pt x="378" y="242"/>
                      </a:lnTo>
                      <a:lnTo>
                        <a:pt x="379" y="242"/>
                      </a:lnTo>
                      <a:lnTo>
                        <a:pt x="380" y="242"/>
                      </a:lnTo>
                      <a:lnTo>
                        <a:pt x="380" y="241"/>
                      </a:lnTo>
                      <a:lnTo>
                        <a:pt x="379" y="241"/>
                      </a:lnTo>
                      <a:lnTo>
                        <a:pt x="379" y="240"/>
                      </a:lnTo>
                      <a:lnTo>
                        <a:pt x="379" y="240"/>
                      </a:lnTo>
                      <a:lnTo>
                        <a:pt x="380" y="240"/>
                      </a:lnTo>
                      <a:lnTo>
                        <a:pt x="380" y="240"/>
                      </a:lnTo>
                      <a:lnTo>
                        <a:pt x="380" y="240"/>
                      </a:lnTo>
                      <a:lnTo>
                        <a:pt x="382" y="241"/>
                      </a:lnTo>
                      <a:lnTo>
                        <a:pt x="382" y="240"/>
                      </a:lnTo>
                      <a:lnTo>
                        <a:pt x="383" y="240"/>
                      </a:lnTo>
                      <a:lnTo>
                        <a:pt x="384" y="240"/>
                      </a:lnTo>
                      <a:lnTo>
                        <a:pt x="386" y="240"/>
                      </a:lnTo>
                      <a:lnTo>
                        <a:pt x="386" y="239"/>
                      </a:lnTo>
                      <a:lnTo>
                        <a:pt x="387" y="239"/>
                      </a:lnTo>
                      <a:lnTo>
                        <a:pt x="386" y="238"/>
                      </a:lnTo>
                      <a:lnTo>
                        <a:pt x="386" y="238"/>
                      </a:lnTo>
                      <a:lnTo>
                        <a:pt x="387" y="238"/>
                      </a:lnTo>
                      <a:lnTo>
                        <a:pt x="388" y="238"/>
                      </a:lnTo>
                      <a:lnTo>
                        <a:pt x="388" y="238"/>
                      </a:lnTo>
                      <a:lnTo>
                        <a:pt x="389" y="238"/>
                      </a:lnTo>
                      <a:lnTo>
                        <a:pt x="389" y="236"/>
                      </a:lnTo>
                      <a:lnTo>
                        <a:pt x="389" y="236"/>
                      </a:lnTo>
                      <a:lnTo>
                        <a:pt x="389" y="235"/>
                      </a:lnTo>
                      <a:lnTo>
                        <a:pt x="388" y="235"/>
                      </a:lnTo>
                      <a:lnTo>
                        <a:pt x="389" y="235"/>
                      </a:lnTo>
                      <a:lnTo>
                        <a:pt x="390" y="235"/>
                      </a:lnTo>
                      <a:lnTo>
                        <a:pt x="390" y="236"/>
                      </a:lnTo>
                      <a:lnTo>
                        <a:pt x="391" y="236"/>
                      </a:lnTo>
                      <a:lnTo>
                        <a:pt x="391" y="237"/>
                      </a:lnTo>
                      <a:lnTo>
                        <a:pt x="391" y="237"/>
                      </a:lnTo>
                      <a:lnTo>
                        <a:pt x="392" y="237"/>
                      </a:lnTo>
                      <a:lnTo>
                        <a:pt x="393" y="237"/>
                      </a:lnTo>
                      <a:lnTo>
                        <a:pt x="393" y="236"/>
                      </a:lnTo>
                      <a:lnTo>
                        <a:pt x="394" y="236"/>
                      </a:lnTo>
                      <a:lnTo>
                        <a:pt x="395" y="236"/>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196" name="Freeform 7">
                  <a:extLst>
                    <a:ext uri="{FF2B5EF4-FFF2-40B4-BE49-F238E27FC236}">
                      <a16:creationId xmlns:a16="http://schemas.microsoft.com/office/drawing/2014/main" xmlns="" id="{B43BC87D-2EB9-FFEC-21FD-873AD38E0F32}"/>
                    </a:ext>
                  </a:extLst>
                </p:cNvPr>
                <p:cNvSpPr>
                  <a:spLocks/>
                </p:cNvSpPr>
                <p:nvPr/>
              </p:nvSpPr>
              <p:spPr bwMode="auto">
                <a:xfrm>
                  <a:off x="3414" y="1731"/>
                  <a:ext cx="633" cy="586"/>
                </a:xfrm>
                <a:custGeom>
                  <a:avLst/>
                  <a:gdLst>
                    <a:gd name="T0" fmla="*/ 605 w 633"/>
                    <a:gd name="T1" fmla="*/ 5 h 586"/>
                    <a:gd name="T2" fmla="*/ 616 w 633"/>
                    <a:gd name="T3" fmla="*/ 4 h 586"/>
                    <a:gd name="T4" fmla="*/ 620 w 633"/>
                    <a:gd name="T5" fmla="*/ 4 h 586"/>
                    <a:gd name="T6" fmla="*/ 633 w 633"/>
                    <a:gd name="T7" fmla="*/ 11 h 586"/>
                    <a:gd name="T8" fmla="*/ 1 w 633"/>
                    <a:gd name="T9" fmla="*/ 330 h 586"/>
                    <a:gd name="T10" fmla="*/ 7 w 633"/>
                    <a:gd name="T11" fmla="*/ 335 h 586"/>
                    <a:gd name="T12" fmla="*/ 13 w 633"/>
                    <a:gd name="T13" fmla="*/ 340 h 586"/>
                    <a:gd name="T14" fmla="*/ 13 w 633"/>
                    <a:gd name="T15" fmla="*/ 349 h 586"/>
                    <a:gd name="T16" fmla="*/ 11 w 633"/>
                    <a:gd name="T17" fmla="*/ 359 h 586"/>
                    <a:gd name="T18" fmla="*/ 9 w 633"/>
                    <a:gd name="T19" fmla="*/ 366 h 586"/>
                    <a:gd name="T20" fmla="*/ 9 w 633"/>
                    <a:gd name="T21" fmla="*/ 375 h 586"/>
                    <a:gd name="T22" fmla="*/ 9 w 633"/>
                    <a:gd name="T23" fmla="*/ 381 h 586"/>
                    <a:gd name="T24" fmla="*/ 13 w 633"/>
                    <a:gd name="T25" fmla="*/ 387 h 586"/>
                    <a:gd name="T26" fmla="*/ 14 w 633"/>
                    <a:gd name="T27" fmla="*/ 395 h 586"/>
                    <a:gd name="T28" fmla="*/ 13 w 633"/>
                    <a:gd name="T29" fmla="*/ 402 h 586"/>
                    <a:gd name="T30" fmla="*/ 15 w 633"/>
                    <a:gd name="T31" fmla="*/ 407 h 586"/>
                    <a:gd name="T32" fmla="*/ 8 w 633"/>
                    <a:gd name="T33" fmla="*/ 415 h 586"/>
                    <a:gd name="T34" fmla="*/ 7 w 633"/>
                    <a:gd name="T35" fmla="*/ 419 h 586"/>
                    <a:gd name="T36" fmla="*/ 7 w 633"/>
                    <a:gd name="T37" fmla="*/ 426 h 586"/>
                    <a:gd name="T38" fmla="*/ 11 w 633"/>
                    <a:gd name="T39" fmla="*/ 432 h 586"/>
                    <a:gd name="T40" fmla="*/ 9 w 633"/>
                    <a:gd name="T41" fmla="*/ 442 h 586"/>
                    <a:gd name="T42" fmla="*/ 15 w 633"/>
                    <a:gd name="T43" fmla="*/ 442 h 586"/>
                    <a:gd name="T44" fmla="*/ 21 w 633"/>
                    <a:gd name="T45" fmla="*/ 444 h 586"/>
                    <a:gd name="T46" fmla="*/ 24 w 633"/>
                    <a:gd name="T47" fmla="*/ 450 h 586"/>
                    <a:gd name="T48" fmla="*/ 23 w 633"/>
                    <a:gd name="T49" fmla="*/ 455 h 586"/>
                    <a:gd name="T50" fmla="*/ 29 w 633"/>
                    <a:gd name="T51" fmla="*/ 458 h 586"/>
                    <a:gd name="T52" fmla="*/ 31 w 633"/>
                    <a:gd name="T53" fmla="*/ 463 h 586"/>
                    <a:gd name="T54" fmla="*/ 28 w 633"/>
                    <a:gd name="T55" fmla="*/ 468 h 586"/>
                    <a:gd name="T56" fmla="*/ 32 w 633"/>
                    <a:gd name="T57" fmla="*/ 470 h 586"/>
                    <a:gd name="T58" fmla="*/ 33 w 633"/>
                    <a:gd name="T59" fmla="*/ 478 h 586"/>
                    <a:gd name="T60" fmla="*/ 36 w 633"/>
                    <a:gd name="T61" fmla="*/ 486 h 586"/>
                    <a:gd name="T62" fmla="*/ 37 w 633"/>
                    <a:gd name="T63" fmla="*/ 489 h 586"/>
                    <a:gd name="T64" fmla="*/ 41 w 633"/>
                    <a:gd name="T65" fmla="*/ 495 h 586"/>
                    <a:gd name="T66" fmla="*/ 48 w 633"/>
                    <a:gd name="T67" fmla="*/ 499 h 586"/>
                    <a:gd name="T68" fmla="*/ 53 w 633"/>
                    <a:gd name="T69" fmla="*/ 505 h 586"/>
                    <a:gd name="T70" fmla="*/ 51 w 633"/>
                    <a:gd name="T71" fmla="*/ 506 h 586"/>
                    <a:gd name="T72" fmla="*/ 48 w 633"/>
                    <a:gd name="T73" fmla="*/ 512 h 586"/>
                    <a:gd name="T74" fmla="*/ 54 w 633"/>
                    <a:gd name="T75" fmla="*/ 515 h 586"/>
                    <a:gd name="T76" fmla="*/ 58 w 633"/>
                    <a:gd name="T77" fmla="*/ 520 h 586"/>
                    <a:gd name="T78" fmla="*/ 60 w 633"/>
                    <a:gd name="T79" fmla="*/ 520 h 586"/>
                    <a:gd name="T80" fmla="*/ 64 w 633"/>
                    <a:gd name="T81" fmla="*/ 522 h 586"/>
                    <a:gd name="T82" fmla="*/ 67 w 633"/>
                    <a:gd name="T83" fmla="*/ 522 h 586"/>
                    <a:gd name="T84" fmla="*/ 69 w 633"/>
                    <a:gd name="T85" fmla="*/ 528 h 586"/>
                    <a:gd name="T86" fmla="*/ 74 w 633"/>
                    <a:gd name="T87" fmla="*/ 528 h 586"/>
                    <a:gd name="T88" fmla="*/ 78 w 633"/>
                    <a:gd name="T89" fmla="*/ 536 h 586"/>
                    <a:gd name="T90" fmla="*/ 76 w 633"/>
                    <a:gd name="T91" fmla="*/ 540 h 586"/>
                    <a:gd name="T92" fmla="*/ 76 w 633"/>
                    <a:gd name="T93" fmla="*/ 548 h 586"/>
                    <a:gd name="T94" fmla="*/ 77 w 633"/>
                    <a:gd name="T95" fmla="*/ 551 h 586"/>
                    <a:gd name="T96" fmla="*/ 82 w 633"/>
                    <a:gd name="T97" fmla="*/ 553 h 586"/>
                    <a:gd name="T98" fmla="*/ 87 w 633"/>
                    <a:gd name="T99" fmla="*/ 556 h 586"/>
                    <a:gd name="T100" fmla="*/ 89 w 633"/>
                    <a:gd name="T101" fmla="*/ 561 h 586"/>
                    <a:gd name="T102" fmla="*/ 90 w 633"/>
                    <a:gd name="T103" fmla="*/ 566 h 586"/>
                    <a:gd name="T104" fmla="*/ 97 w 633"/>
                    <a:gd name="T105" fmla="*/ 567 h 586"/>
                    <a:gd name="T106" fmla="*/ 102 w 633"/>
                    <a:gd name="T107" fmla="*/ 567 h 586"/>
                    <a:gd name="T108" fmla="*/ 104 w 633"/>
                    <a:gd name="T109" fmla="*/ 574 h 586"/>
                    <a:gd name="T110" fmla="*/ 110 w 633"/>
                    <a:gd name="T111" fmla="*/ 573 h 586"/>
                    <a:gd name="T112" fmla="*/ 114 w 633"/>
                    <a:gd name="T113" fmla="*/ 575 h 586"/>
                    <a:gd name="T114" fmla="*/ 120 w 633"/>
                    <a:gd name="T115" fmla="*/ 574 h 586"/>
                    <a:gd name="T116" fmla="*/ 126 w 633"/>
                    <a:gd name="T117" fmla="*/ 581 h 586"/>
                    <a:gd name="T118" fmla="*/ 129 w 633"/>
                    <a:gd name="T119" fmla="*/ 585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 h="586">
                      <a:moveTo>
                        <a:pt x="596" y="4"/>
                      </a:moveTo>
                      <a:lnTo>
                        <a:pt x="597" y="4"/>
                      </a:lnTo>
                      <a:lnTo>
                        <a:pt x="598" y="5"/>
                      </a:lnTo>
                      <a:lnTo>
                        <a:pt x="598" y="6"/>
                      </a:lnTo>
                      <a:lnTo>
                        <a:pt x="599" y="7"/>
                      </a:lnTo>
                      <a:lnTo>
                        <a:pt x="600" y="7"/>
                      </a:lnTo>
                      <a:lnTo>
                        <a:pt x="601" y="7"/>
                      </a:lnTo>
                      <a:lnTo>
                        <a:pt x="602" y="8"/>
                      </a:lnTo>
                      <a:lnTo>
                        <a:pt x="602" y="8"/>
                      </a:lnTo>
                      <a:lnTo>
                        <a:pt x="602" y="8"/>
                      </a:lnTo>
                      <a:lnTo>
                        <a:pt x="603" y="7"/>
                      </a:lnTo>
                      <a:lnTo>
                        <a:pt x="602" y="6"/>
                      </a:lnTo>
                      <a:lnTo>
                        <a:pt x="602" y="6"/>
                      </a:lnTo>
                      <a:lnTo>
                        <a:pt x="602" y="5"/>
                      </a:lnTo>
                      <a:lnTo>
                        <a:pt x="604" y="5"/>
                      </a:lnTo>
                      <a:lnTo>
                        <a:pt x="604" y="5"/>
                      </a:lnTo>
                      <a:lnTo>
                        <a:pt x="605" y="5"/>
                      </a:lnTo>
                      <a:lnTo>
                        <a:pt x="606" y="6"/>
                      </a:lnTo>
                      <a:lnTo>
                        <a:pt x="607" y="7"/>
                      </a:lnTo>
                      <a:lnTo>
                        <a:pt x="608" y="8"/>
                      </a:lnTo>
                      <a:lnTo>
                        <a:pt x="608" y="7"/>
                      </a:lnTo>
                      <a:lnTo>
                        <a:pt x="609" y="6"/>
                      </a:lnTo>
                      <a:lnTo>
                        <a:pt x="609" y="6"/>
                      </a:lnTo>
                      <a:lnTo>
                        <a:pt x="610" y="5"/>
                      </a:lnTo>
                      <a:lnTo>
                        <a:pt x="611" y="6"/>
                      </a:lnTo>
                      <a:lnTo>
                        <a:pt x="611" y="6"/>
                      </a:lnTo>
                      <a:lnTo>
                        <a:pt x="612" y="6"/>
                      </a:lnTo>
                      <a:lnTo>
                        <a:pt x="613" y="6"/>
                      </a:lnTo>
                      <a:lnTo>
                        <a:pt x="613" y="5"/>
                      </a:lnTo>
                      <a:lnTo>
                        <a:pt x="613" y="4"/>
                      </a:lnTo>
                      <a:lnTo>
                        <a:pt x="614" y="4"/>
                      </a:lnTo>
                      <a:lnTo>
                        <a:pt x="615" y="4"/>
                      </a:lnTo>
                      <a:lnTo>
                        <a:pt x="615" y="4"/>
                      </a:lnTo>
                      <a:lnTo>
                        <a:pt x="616" y="4"/>
                      </a:lnTo>
                      <a:lnTo>
                        <a:pt x="617" y="4"/>
                      </a:lnTo>
                      <a:lnTo>
                        <a:pt x="618" y="4"/>
                      </a:lnTo>
                      <a:lnTo>
                        <a:pt x="619" y="3"/>
                      </a:lnTo>
                      <a:lnTo>
                        <a:pt x="619" y="2"/>
                      </a:lnTo>
                      <a:lnTo>
                        <a:pt x="619" y="2"/>
                      </a:lnTo>
                      <a:lnTo>
                        <a:pt x="619" y="1"/>
                      </a:lnTo>
                      <a:lnTo>
                        <a:pt x="619" y="0"/>
                      </a:lnTo>
                      <a:lnTo>
                        <a:pt x="619" y="0"/>
                      </a:lnTo>
                      <a:lnTo>
                        <a:pt x="620" y="0"/>
                      </a:lnTo>
                      <a:lnTo>
                        <a:pt x="621" y="0"/>
                      </a:lnTo>
                      <a:lnTo>
                        <a:pt x="621" y="1"/>
                      </a:lnTo>
                      <a:lnTo>
                        <a:pt x="621" y="2"/>
                      </a:lnTo>
                      <a:lnTo>
                        <a:pt x="621" y="2"/>
                      </a:lnTo>
                      <a:lnTo>
                        <a:pt x="621" y="3"/>
                      </a:lnTo>
                      <a:lnTo>
                        <a:pt x="621" y="3"/>
                      </a:lnTo>
                      <a:lnTo>
                        <a:pt x="621" y="4"/>
                      </a:lnTo>
                      <a:lnTo>
                        <a:pt x="620" y="4"/>
                      </a:lnTo>
                      <a:lnTo>
                        <a:pt x="620" y="6"/>
                      </a:lnTo>
                      <a:lnTo>
                        <a:pt x="621" y="6"/>
                      </a:lnTo>
                      <a:lnTo>
                        <a:pt x="621" y="8"/>
                      </a:lnTo>
                      <a:lnTo>
                        <a:pt x="623" y="8"/>
                      </a:lnTo>
                      <a:lnTo>
                        <a:pt x="624" y="9"/>
                      </a:lnTo>
                      <a:lnTo>
                        <a:pt x="625" y="8"/>
                      </a:lnTo>
                      <a:lnTo>
                        <a:pt x="626" y="8"/>
                      </a:lnTo>
                      <a:lnTo>
                        <a:pt x="627" y="8"/>
                      </a:lnTo>
                      <a:lnTo>
                        <a:pt x="627" y="8"/>
                      </a:lnTo>
                      <a:lnTo>
                        <a:pt x="627" y="9"/>
                      </a:lnTo>
                      <a:lnTo>
                        <a:pt x="628" y="10"/>
                      </a:lnTo>
                      <a:lnTo>
                        <a:pt x="630" y="10"/>
                      </a:lnTo>
                      <a:lnTo>
                        <a:pt x="630" y="10"/>
                      </a:lnTo>
                      <a:lnTo>
                        <a:pt x="631" y="9"/>
                      </a:lnTo>
                      <a:lnTo>
                        <a:pt x="632" y="9"/>
                      </a:lnTo>
                      <a:lnTo>
                        <a:pt x="632" y="10"/>
                      </a:lnTo>
                      <a:lnTo>
                        <a:pt x="633" y="11"/>
                      </a:lnTo>
                      <a:lnTo>
                        <a:pt x="475" y="72"/>
                      </a:lnTo>
                      <a:lnTo>
                        <a:pt x="328" y="128"/>
                      </a:lnTo>
                      <a:lnTo>
                        <a:pt x="230" y="166"/>
                      </a:lnTo>
                      <a:lnTo>
                        <a:pt x="229" y="166"/>
                      </a:lnTo>
                      <a:lnTo>
                        <a:pt x="228" y="166"/>
                      </a:lnTo>
                      <a:lnTo>
                        <a:pt x="110" y="212"/>
                      </a:lnTo>
                      <a:lnTo>
                        <a:pt x="107" y="213"/>
                      </a:lnTo>
                      <a:lnTo>
                        <a:pt x="42" y="283"/>
                      </a:lnTo>
                      <a:lnTo>
                        <a:pt x="1" y="328"/>
                      </a:lnTo>
                      <a:lnTo>
                        <a:pt x="1" y="328"/>
                      </a:lnTo>
                      <a:lnTo>
                        <a:pt x="1" y="329"/>
                      </a:lnTo>
                      <a:lnTo>
                        <a:pt x="0" y="329"/>
                      </a:lnTo>
                      <a:lnTo>
                        <a:pt x="0" y="330"/>
                      </a:lnTo>
                      <a:lnTo>
                        <a:pt x="0" y="330"/>
                      </a:lnTo>
                      <a:lnTo>
                        <a:pt x="0" y="330"/>
                      </a:lnTo>
                      <a:lnTo>
                        <a:pt x="0" y="330"/>
                      </a:lnTo>
                      <a:lnTo>
                        <a:pt x="1" y="330"/>
                      </a:lnTo>
                      <a:lnTo>
                        <a:pt x="2" y="330"/>
                      </a:lnTo>
                      <a:lnTo>
                        <a:pt x="2" y="330"/>
                      </a:lnTo>
                      <a:lnTo>
                        <a:pt x="2" y="331"/>
                      </a:lnTo>
                      <a:lnTo>
                        <a:pt x="3" y="331"/>
                      </a:lnTo>
                      <a:lnTo>
                        <a:pt x="2" y="331"/>
                      </a:lnTo>
                      <a:lnTo>
                        <a:pt x="2" y="332"/>
                      </a:lnTo>
                      <a:lnTo>
                        <a:pt x="2" y="332"/>
                      </a:lnTo>
                      <a:lnTo>
                        <a:pt x="3" y="332"/>
                      </a:lnTo>
                      <a:lnTo>
                        <a:pt x="3" y="333"/>
                      </a:lnTo>
                      <a:lnTo>
                        <a:pt x="4" y="333"/>
                      </a:lnTo>
                      <a:lnTo>
                        <a:pt x="4" y="334"/>
                      </a:lnTo>
                      <a:lnTo>
                        <a:pt x="4" y="334"/>
                      </a:lnTo>
                      <a:lnTo>
                        <a:pt x="4" y="335"/>
                      </a:lnTo>
                      <a:lnTo>
                        <a:pt x="4" y="335"/>
                      </a:lnTo>
                      <a:lnTo>
                        <a:pt x="5" y="335"/>
                      </a:lnTo>
                      <a:lnTo>
                        <a:pt x="6" y="335"/>
                      </a:lnTo>
                      <a:lnTo>
                        <a:pt x="7" y="335"/>
                      </a:lnTo>
                      <a:lnTo>
                        <a:pt x="7" y="335"/>
                      </a:lnTo>
                      <a:lnTo>
                        <a:pt x="8" y="335"/>
                      </a:lnTo>
                      <a:lnTo>
                        <a:pt x="9" y="335"/>
                      </a:lnTo>
                      <a:lnTo>
                        <a:pt x="9" y="335"/>
                      </a:lnTo>
                      <a:lnTo>
                        <a:pt x="9" y="336"/>
                      </a:lnTo>
                      <a:lnTo>
                        <a:pt x="9" y="337"/>
                      </a:lnTo>
                      <a:lnTo>
                        <a:pt x="10" y="337"/>
                      </a:lnTo>
                      <a:lnTo>
                        <a:pt x="10" y="337"/>
                      </a:lnTo>
                      <a:lnTo>
                        <a:pt x="11" y="337"/>
                      </a:lnTo>
                      <a:lnTo>
                        <a:pt x="11" y="337"/>
                      </a:lnTo>
                      <a:lnTo>
                        <a:pt x="12" y="337"/>
                      </a:lnTo>
                      <a:lnTo>
                        <a:pt x="12" y="338"/>
                      </a:lnTo>
                      <a:lnTo>
                        <a:pt x="13" y="338"/>
                      </a:lnTo>
                      <a:lnTo>
                        <a:pt x="13" y="339"/>
                      </a:lnTo>
                      <a:lnTo>
                        <a:pt x="13" y="339"/>
                      </a:lnTo>
                      <a:lnTo>
                        <a:pt x="13" y="339"/>
                      </a:lnTo>
                      <a:lnTo>
                        <a:pt x="13" y="340"/>
                      </a:lnTo>
                      <a:lnTo>
                        <a:pt x="13" y="341"/>
                      </a:lnTo>
                      <a:lnTo>
                        <a:pt x="13" y="341"/>
                      </a:lnTo>
                      <a:lnTo>
                        <a:pt x="13" y="342"/>
                      </a:lnTo>
                      <a:lnTo>
                        <a:pt x="13" y="343"/>
                      </a:lnTo>
                      <a:lnTo>
                        <a:pt x="13" y="343"/>
                      </a:lnTo>
                      <a:lnTo>
                        <a:pt x="13" y="344"/>
                      </a:lnTo>
                      <a:lnTo>
                        <a:pt x="12" y="345"/>
                      </a:lnTo>
                      <a:lnTo>
                        <a:pt x="12" y="345"/>
                      </a:lnTo>
                      <a:lnTo>
                        <a:pt x="12" y="346"/>
                      </a:lnTo>
                      <a:lnTo>
                        <a:pt x="13" y="346"/>
                      </a:lnTo>
                      <a:lnTo>
                        <a:pt x="13" y="347"/>
                      </a:lnTo>
                      <a:lnTo>
                        <a:pt x="13" y="347"/>
                      </a:lnTo>
                      <a:lnTo>
                        <a:pt x="13" y="347"/>
                      </a:lnTo>
                      <a:lnTo>
                        <a:pt x="13" y="347"/>
                      </a:lnTo>
                      <a:lnTo>
                        <a:pt x="13" y="348"/>
                      </a:lnTo>
                      <a:lnTo>
                        <a:pt x="13" y="349"/>
                      </a:lnTo>
                      <a:lnTo>
                        <a:pt x="13" y="349"/>
                      </a:lnTo>
                      <a:lnTo>
                        <a:pt x="13" y="350"/>
                      </a:lnTo>
                      <a:lnTo>
                        <a:pt x="12" y="351"/>
                      </a:lnTo>
                      <a:lnTo>
                        <a:pt x="12" y="351"/>
                      </a:lnTo>
                      <a:lnTo>
                        <a:pt x="12" y="352"/>
                      </a:lnTo>
                      <a:lnTo>
                        <a:pt x="12" y="353"/>
                      </a:lnTo>
                      <a:lnTo>
                        <a:pt x="11" y="353"/>
                      </a:lnTo>
                      <a:lnTo>
                        <a:pt x="11" y="354"/>
                      </a:lnTo>
                      <a:lnTo>
                        <a:pt x="11" y="354"/>
                      </a:lnTo>
                      <a:lnTo>
                        <a:pt x="11" y="354"/>
                      </a:lnTo>
                      <a:lnTo>
                        <a:pt x="11" y="355"/>
                      </a:lnTo>
                      <a:lnTo>
                        <a:pt x="11" y="356"/>
                      </a:lnTo>
                      <a:lnTo>
                        <a:pt x="10" y="356"/>
                      </a:lnTo>
                      <a:lnTo>
                        <a:pt x="10" y="357"/>
                      </a:lnTo>
                      <a:lnTo>
                        <a:pt x="11" y="357"/>
                      </a:lnTo>
                      <a:lnTo>
                        <a:pt x="11" y="358"/>
                      </a:lnTo>
                      <a:lnTo>
                        <a:pt x="11" y="358"/>
                      </a:lnTo>
                      <a:lnTo>
                        <a:pt x="11" y="359"/>
                      </a:lnTo>
                      <a:lnTo>
                        <a:pt x="10" y="360"/>
                      </a:lnTo>
                      <a:lnTo>
                        <a:pt x="10" y="360"/>
                      </a:lnTo>
                      <a:lnTo>
                        <a:pt x="9" y="360"/>
                      </a:lnTo>
                      <a:lnTo>
                        <a:pt x="9" y="361"/>
                      </a:lnTo>
                      <a:lnTo>
                        <a:pt x="9" y="362"/>
                      </a:lnTo>
                      <a:lnTo>
                        <a:pt x="9" y="362"/>
                      </a:lnTo>
                      <a:lnTo>
                        <a:pt x="9" y="363"/>
                      </a:lnTo>
                      <a:lnTo>
                        <a:pt x="9" y="364"/>
                      </a:lnTo>
                      <a:lnTo>
                        <a:pt x="9" y="364"/>
                      </a:lnTo>
                      <a:lnTo>
                        <a:pt x="9" y="364"/>
                      </a:lnTo>
                      <a:lnTo>
                        <a:pt x="9" y="364"/>
                      </a:lnTo>
                      <a:lnTo>
                        <a:pt x="9" y="365"/>
                      </a:lnTo>
                      <a:lnTo>
                        <a:pt x="9" y="365"/>
                      </a:lnTo>
                      <a:lnTo>
                        <a:pt x="9" y="366"/>
                      </a:lnTo>
                      <a:lnTo>
                        <a:pt x="9" y="366"/>
                      </a:lnTo>
                      <a:lnTo>
                        <a:pt x="9" y="366"/>
                      </a:lnTo>
                      <a:lnTo>
                        <a:pt x="9" y="366"/>
                      </a:lnTo>
                      <a:lnTo>
                        <a:pt x="9" y="367"/>
                      </a:lnTo>
                      <a:lnTo>
                        <a:pt x="9" y="368"/>
                      </a:lnTo>
                      <a:lnTo>
                        <a:pt x="9" y="368"/>
                      </a:lnTo>
                      <a:lnTo>
                        <a:pt x="9" y="368"/>
                      </a:lnTo>
                      <a:lnTo>
                        <a:pt x="9" y="369"/>
                      </a:lnTo>
                      <a:lnTo>
                        <a:pt x="10" y="370"/>
                      </a:lnTo>
                      <a:lnTo>
                        <a:pt x="10" y="370"/>
                      </a:lnTo>
                      <a:lnTo>
                        <a:pt x="10" y="371"/>
                      </a:lnTo>
                      <a:lnTo>
                        <a:pt x="10" y="372"/>
                      </a:lnTo>
                      <a:lnTo>
                        <a:pt x="11" y="372"/>
                      </a:lnTo>
                      <a:lnTo>
                        <a:pt x="10" y="372"/>
                      </a:lnTo>
                      <a:lnTo>
                        <a:pt x="10" y="372"/>
                      </a:lnTo>
                      <a:lnTo>
                        <a:pt x="9" y="372"/>
                      </a:lnTo>
                      <a:lnTo>
                        <a:pt x="9" y="373"/>
                      </a:lnTo>
                      <a:lnTo>
                        <a:pt x="9" y="374"/>
                      </a:lnTo>
                      <a:lnTo>
                        <a:pt x="9" y="374"/>
                      </a:lnTo>
                      <a:lnTo>
                        <a:pt x="9" y="375"/>
                      </a:lnTo>
                      <a:lnTo>
                        <a:pt x="9" y="375"/>
                      </a:lnTo>
                      <a:lnTo>
                        <a:pt x="10" y="375"/>
                      </a:lnTo>
                      <a:lnTo>
                        <a:pt x="10" y="376"/>
                      </a:lnTo>
                      <a:lnTo>
                        <a:pt x="10" y="377"/>
                      </a:lnTo>
                      <a:lnTo>
                        <a:pt x="9" y="377"/>
                      </a:lnTo>
                      <a:lnTo>
                        <a:pt x="9" y="377"/>
                      </a:lnTo>
                      <a:lnTo>
                        <a:pt x="10" y="377"/>
                      </a:lnTo>
                      <a:lnTo>
                        <a:pt x="10" y="377"/>
                      </a:lnTo>
                      <a:lnTo>
                        <a:pt x="11" y="377"/>
                      </a:lnTo>
                      <a:lnTo>
                        <a:pt x="11" y="377"/>
                      </a:lnTo>
                      <a:lnTo>
                        <a:pt x="11" y="378"/>
                      </a:lnTo>
                      <a:lnTo>
                        <a:pt x="11" y="379"/>
                      </a:lnTo>
                      <a:lnTo>
                        <a:pt x="10" y="379"/>
                      </a:lnTo>
                      <a:lnTo>
                        <a:pt x="10" y="379"/>
                      </a:lnTo>
                      <a:lnTo>
                        <a:pt x="10" y="380"/>
                      </a:lnTo>
                      <a:lnTo>
                        <a:pt x="9" y="380"/>
                      </a:lnTo>
                      <a:lnTo>
                        <a:pt x="9" y="381"/>
                      </a:lnTo>
                      <a:lnTo>
                        <a:pt x="10" y="381"/>
                      </a:lnTo>
                      <a:lnTo>
                        <a:pt x="10" y="381"/>
                      </a:lnTo>
                      <a:lnTo>
                        <a:pt x="11" y="382"/>
                      </a:lnTo>
                      <a:lnTo>
                        <a:pt x="11" y="382"/>
                      </a:lnTo>
                      <a:lnTo>
                        <a:pt x="11" y="381"/>
                      </a:lnTo>
                      <a:lnTo>
                        <a:pt x="11" y="382"/>
                      </a:lnTo>
                      <a:lnTo>
                        <a:pt x="12" y="382"/>
                      </a:lnTo>
                      <a:lnTo>
                        <a:pt x="12" y="383"/>
                      </a:lnTo>
                      <a:lnTo>
                        <a:pt x="11" y="383"/>
                      </a:lnTo>
                      <a:lnTo>
                        <a:pt x="12" y="383"/>
                      </a:lnTo>
                      <a:lnTo>
                        <a:pt x="12" y="384"/>
                      </a:lnTo>
                      <a:lnTo>
                        <a:pt x="12" y="385"/>
                      </a:lnTo>
                      <a:lnTo>
                        <a:pt x="12" y="385"/>
                      </a:lnTo>
                      <a:lnTo>
                        <a:pt x="13" y="385"/>
                      </a:lnTo>
                      <a:lnTo>
                        <a:pt x="13" y="386"/>
                      </a:lnTo>
                      <a:lnTo>
                        <a:pt x="13" y="386"/>
                      </a:lnTo>
                      <a:lnTo>
                        <a:pt x="13" y="387"/>
                      </a:lnTo>
                      <a:lnTo>
                        <a:pt x="13" y="387"/>
                      </a:lnTo>
                      <a:lnTo>
                        <a:pt x="12" y="387"/>
                      </a:lnTo>
                      <a:lnTo>
                        <a:pt x="12" y="387"/>
                      </a:lnTo>
                      <a:lnTo>
                        <a:pt x="12" y="388"/>
                      </a:lnTo>
                      <a:lnTo>
                        <a:pt x="13" y="388"/>
                      </a:lnTo>
                      <a:lnTo>
                        <a:pt x="13" y="388"/>
                      </a:lnTo>
                      <a:lnTo>
                        <a:pt x="13" y="389"/>
                      </a:lnTo>
                      <a:lnTo>
                        <a:pt x="13" y="389"/>
                      </a:lnTo>
                      <a:lnTo>
                        <a:pt x="14" y="389"/>
                      </a:lnTo>
                      <a:lnTo>
                        <a:pt x="14" y="390"/>
                      </a:lnTo>
                      <a:lnTo>
                        <a:pt x="15" y="391"/>
                      </a:lnTo>
                      <a:lnTo>
                        <a:pt x="15" y="391"/>
                      </a:lnTo>
                      <a:lnTo>
                        <a:pt x="15" y="392"/>
                      </a:lnTo>
                      <a:lnTo>
                        <a:pt x="14" y="393"/>
                      </a:lnTo>
                      <a:lnTo>
                        <a:pt x="14" y="394"/>
                      </a:lnTo>
                      <a:lnTo>
                        <a:pt x="14" y="394"/>
                      </a:lnTo>
                      <a:lnTo>
                        <a:pt x="14" y="395"/>
                      </a:lnTo>
                      <a:lnTo>
                        <a:pt x="14" y="396"/>
                      </a:lnTo>
                      <a:lnTo>
                        <a:pt x="15" y="396"/>
                      </a:lnTo>
                      <a:lnTo>
                        <a:pt x="15" y="396"/>
                      </a:lnTo>
                      <a:lnTo>
                        <a:pt x="15" y="396"/>
                      </a:lnTo>
                      <a:lnTo>
                        <a:pt x="15" y="396"/>
                      </a:lnTo>
                      <a:lnTo>
                        <a:pt x="15" y="397"/>
                      </a:lnTo>
                      <a:lnTo>
                        <a:pt x="15" y="398"/>
                      </a:lnTo>
                      <a:lnTo>
                        <a:pt x="15" y="398"/>
                      </a:lnTo>
                      <a:lnTo>
                        <a:pt x="15" y="399"/>
                      </a:lnTo>
                      <a:lnTo>
                        <a:pt x="15" y="400"/>
                      </a:lnTo>
                      <a:lnTo>
                        <a:pt x="14" y="400"/>
                      </a:lnTo>
                      <a:lnTo>
                        <a:pt x="14" y="400"/>
                      </a:lnTo>
                      <a:lnTo>
                        <a:pt x="13" y="400"/>
                      </a:lnTo>
                      <a:lnTo>
                        <a:pt x="13" y="400"/>
                      </a:lnTo>
                      <a:lnTo>
                        <a:pt x="13" y="401"/>
                      </a:lnTo>
                      <a:lnTo>
                        <a:pt x="13" y="402"/>
                      </a:lnTo>
                      <a:lnTo>
                        <a:pt x="13" y="402"/>
                      </a:lnTo>
                      <a:lnTo>
                        <a:pt x="12" y="402"/>
                      </a:lnTo>
                      <a:lnTo>
                        <a:pt x="11" y="402"/>
                      </a:lnTo>
                      <a:lnTo>
                        <a:pt x="11" y="402"/>
                      </a:lnTo>
                      <a:lnTo>
                        <a:pt x="11" y="403"/>
                      </a:lnTo>
                      <a:lnTo>
                        <a:pt x="10" y="403"/>
                      </a:lnTo>
                      <a:lnTo>
                        <a:pt x="10" y="404"/>
                      </a:lnTo>
                      <a:lnTo>
                        <a:pt x="11" y="404"/>
                      </a:lnTo>
                      <a:lnTo>
                        <a:pt x="11" y="404"/>
                      </a:lnTo>
                      <a:lnTo>
                        <a:pt x="11" y="405"/>
                      </a:lnTo>
                      <a:lnTo>
                        <a:pt x="12" y="405"/>
                      </a:lnTo>
                      <a:lnTo>
                        <a:pt x="12" y="406"/>
                      </a:lnTo>
                      <a:lnTo>
                        <a:pt x="13" y="406"/>
                      </a:lnTo>
                      <a:lnTo>
                        <a:pt x="13" y="406"/>
                      </a:lnTo>
                      <a:lnTo>
                        <a:pt x="13" y="406"/>
                      </a:lnTo>
                      <a:lnTo>
                        <a:pt x="14" y="406"/>
                      </a:lnTo>
                      <a:lnTo>
                        <a:pt x="15" y="406"/>
                      </a:lnTo>
                      <a:lnTo>
                        <a:pt x="15" y="407"/>
                      </a:lnTo>
                      <a:lnTo>
                        <a:pt x="15" y="407"/>
                      </a:lnTo>
                      <a:lnTo>
                        <a:pt x="15" y="408"/>
                      </a:lnTo>
                      <a:lnTo>
                        <a:pt x="16" y="408"/>
                      </a:lnTo>
                      <a:lnTo>
                        <a:pt x="16" y="408"/>
                      </a:lnTo>
                      <a:lnTo>
                        <a:pt x="15" y="408"/>
                      </a:lnTo>
                      <a:lnTo>
                        <a:pt x="15" y="409"/>
                      </a:lnTo>
                      <a:lnTo>
                        <a:pt x="14" y="409"/>
                      </a:lnTo>
                      <a:lnTo>
                        <a:pt x="13" y="410"/>
                      </a:lnTo>
                      <a:lnTo>
                        <a:pt x="13" y="410"/>
                      </a:lnTo>
                      <a:lnTo>
                        <a:pt x="12" y="410"/>
                      </a:lnTo>
                      <a:lnTo>
                        <a:pt x="12" y="411"/>
                      </a:lnTo>
                      <a:lnTo>
                        <a:pt x="11" y="412"/>
                      </a:lnTo>
                      <a:lnTo>
                        <a:pt x="11" y="412"/>
                      </a:lnTo>
                      <a:lnTo>
                        <a:pt x="11" y="413"/>
                      </a:lnTo>
                      <a:lnTo>
                        <a:pt x="10" y="413"/>
                      </a:lnTo>
                      <a:lnTo>
                        <a:pt x="9" y="414"/>
                      </a:lnTo>
                      <a:lnTo>
                        <a:pt x="8" y="415"/>
                      </a:lnTo>
                      <a:lnTo>
                        <a:pt x="7" y="415"/>
                      </a:lnTo>
                      <a:lnTo>
                        <a:pt x="7" y="415"/>
                      </a:lnTo>
                      <a:lnTo>
                        <a:pt x="7" y="415"/>
                      </a:lnTo>
                      <a:lnTo>
                        <a:pt x="6" y="415"/>
                      </a:lnTo>
                      <a:lnTo>
                        <a:pt x="5" y="415"/>
                      </a:lnTo>
                      <a:lnTo>
                        <a:pt x="5" y="416"/>
                      </a:lnTo>
                      <a:lnTo>
                        <a:pt x="4" y="416"/>
                      </a:lnTo>
                      <a:lnTo>
                        <a:pt x="4" y="417"/>
                      </a:lnTo>
                      <a:lnTo>
                        <a:pt x="4" y="417"/>
                      </a:lnTo>
                      <a:lnTo>
                        <a:pt x="4" y="418"/>
                      </a:lnTo>
                      <a:lnTo>
                        <a:pt x="5" y="418"/>
                      </a:lnTo>
                      <a:lnTo>
                        <a:pt x="5" y="417"/>
                      </a:lnTo>
                      <a:lnTo>
                        <a:pt x="6" y="417"/>
                      </a:lnTo>
                      <a:lnTo>
                        <a:pt x="6" y="418"/>
                      </a:lnTo>
                      <a:lnTo>
                        <a:pt x="6" y="419"/>
                      </a:lnTo>
                      <a:lnTo>
                        <a:pt x="7" y="419"/>
                      </a:lnTo>
                      <a:lnTo>
                        <a:pt x="7" y="419"/>
                      </a:lnTo>
                      <a:lnTo>
                        <a:pt x="7" y="420"/>
                      </a:lnTo>
                      <a:lnTo>
                        <a:pt x="7" y="421"/>
                      </a:lnTo>
                      <a:lnTo>
                        <a:pt x="7" y="421"/>
                      </a:lnTo>
                      <a:lnTo>
                        <a:pt x="6" y="421"/>
                      </a:lnTo>
                      <a:lnTo>
                        <a:pt x="6" y="421"/>
                      </a:lnTo>
                      <a:lnTo>
                        <a:pt x="6" y="422"/>
                      </a:lnTo>
                      <a:lnTo>
                        <a:pt x="7" y="421"/>
                      </a:lnTo>
                      <a:lnTo>
                        <a:pt x="7" y="422"/>
                      </a:lnTo>
                      <a:lnTo>
                        <a:pt x="7" y="422"/>
                      </a:lnTo>
                      <a:lnTo>
                        <a:pt x="7" y="423"/>
                      </a:lnTo>
                      <a:lnTo>
                        <a:pt x="8" y="423"/>
                      </a:lnTo>
                      <a:lnTo>
                        <a:pt x="8" y="423"/>
                      </a:lnTo>
                      <a:lnTo>
                        <a:pt x="9" y="423"/>
                      </a:lnTo>
                      <a:lnTo>
                        <a:pt x="9" y="424"/>
                      </a:lnTo>
                      <a:lnTo>
                        <a:pt x="8" y="425"/>
                      </a:lnTo>
                      <a:lnTo>
                        <a:pt x="8" y="425"/>
                      </a:lnTo>
                      <a:lnTo>
                        <a:pt x="7" y="426"/>
                      </a:lnTo>
                      <a:lnTo>
                        <a:pt x="8" y="426"/>
                      </a:lnTo>
                      <a:lnTo>
                        <a:pt x="8" y="427"/>
                      </a:lnTo>
                      <a:lnTo>
                        <a:pt x="9" y="427"/>
                      </a:lnTo>
                      <a:lnTo>
                        <a:pt x="9" y="426"/>
                      </a:lnTo>
                      <a:lnTo>
                        <a:pt x="9" y="426"/>
                      </a:lnTo>
                      <a:lnTo>
                        <a:pt x="9" y="427"/>
                      </a:lnTo>
                      <a:lnTo>
                        <a:pt x="9" y="427"/>
                      </a:lnTo>
                      <a:lnTo>
                        <a:pt x="9" y="428"/>
                      </a:lnTo>
                      <a:lnTo>
                        <a:pt x="10" y="428"/>
                      </a:lnTo>
                      <a:lnTo>
                        <a:pt x="10" y="429"/>
                      </a:lnTo>
                      <a:lnTo>
                        <a:pt x="10" y="429"/>
                      </a:lnTo>
                      <a:lnTo>
                        <a:pt x="9" y="429"/>
                      </a:lnTo>
                      <a:lnTo>
                        <a:pt x="9" y="430"/>
                      </a:lnTo>
                      <a:lnTo>
                        <a:pt x="9" y="431"/>
                      </a:lnTo>
                      <a:lnTo>
                        <a:pt x="10" y="431"/>
                      </a:lnTo>
                      <a:lnTo>
                        <a:pt x="10" y="431"/>
                      </a:lnTo>
                      <a:lnTo>
                        <a:pt x="11" y="432"/>
                      </a:lnTo>
                      <a:lnTo>
                        <a:pt x="11" y="433"/>
                      </a:lnTo>
                      <a:lnTo>
                        <a:pt x="10" y="434"/>
                      </a:lnTo>
                      <a:lnTo>
                        <a:pt x="9" y="434"/>
                      </a:lnTo>
                      <a:lnTo>
                        <a:pt x="10" y="435"/>
                      </a:lnTo>
                      <a:lnTo>
                        <a:pt x="11" y="436"/>
                      </a:lnTo>
                      <a:lnTo>
                        <a:pt x="10" y="436"/>
                      </a:lnTo>
                      <a:lnTo>
                        <a:pt x="10" y="437"/>
                      </a:lnTo>
                      <a:lnTo>
                        <a:pt x="11" y="437"/>
                      </a:lnTo>
                      <a:lnTo>
                        <a:pt x="11" y="438"/>
                      </a:lnTo>
                      <a:lnTo>
                        <a:pt x="11" y="438"/>
                      </a:lnTo>
                      <a:lnTo>
                        <a:pt x="11" y="439"/>
                      </a:lnTo>
                      <a:lnTo>
                        <a:pt x="11" y="439"/>
                      </a:lnTo>
                      <a:lnTo>
                        <a:pt x="11" y="440"/>
                      </a:lnTo>
                      <a:lnTo>
                        <a:pt x="11" y="440"/>
                      </a:lnTo>
                      <a:lnTo>
                        <a:pt x="10" y="441"/>
                      </a:lnTo>
                      <a:lnTo>
                        <a:pt x="9" y="441"/>
                      </a:lnTo>
                      <a:lnTo>
                        <a:pt x="9" y="442"/>
                      </a:lnTo>
                      <a:lnTo>
                        <a:pt x="10" y="442"/>
                      </a:lnTo>
                      <a:lnTo>
                        <a:pt x="11" y="442"/>
                      </a:lnTo>
                      <a:lnTo>
                        <a:pt x="11" y="442"/>
                      </a:lnTo>
                      <a:lnTo>
                        <a:pt x="11" y="442"/>
                      </a:lnTo>
                      <a:lnTo>
                        <a:pt x="11" y="443"/>
                      </a:lnTo>
                      <a:lnTo>
                        <a:pt x="11" y="444"/>
                      </a:lnTo>
                      <a:lnTo>
                        <a:pt x="12" y="444"/>
                      </a:lnTo>
                      <a:lnTo>
                        <a:pt x="12" y="444"/>
                      </a:lnTo>
                      <a:lnTo>
                        <a:pt x="12" y="444"/>
                      </a:lnTo>
                      <a:lnTo>
                        <a:pt x="13" y="444"/>
                      </a:lnTo>
                      <a:lnTo>
                        <a:pt x="13" y="443"/>
                      </a:lnTo>
                      <a:lnTo>
                        <a:pt x="13" y="443"/>
                      </a:lnTo>
                      <a:lnTo>
                        <a:pt x="14" y="443"/>
                      </a:lnTo>
                      <a:lnTo>
                        <a:pt x="14" y="442"/>
                      </a:lnTo>
                      <a:lnTo>
                        <a:pt x="15" y="442"/>
                      </a:lnTo>
                      <a:lnTo>
                        <a:pt x="15" y="442"/>
                      </a:lnTo>
                      <a:lnTo>
                        <a:pt x="15" y="442"/>
                      </a:lnTo>
                      <a:lnTo>
                        <a:pt x="16" y="442"/>
                      </a:lnTo>
                      <a:lnTo>
                        <a:pt x="16" y="442"/>
                      </a:lnTo>
                      <a:lnTo>
                        <a:pt x="17" y="442"/>
                      </a:lnTo>
                      <a:lnTo>
                        <a:pt x="17" y="443"/>
                      </a:lnTo>
                      <a:lnTo>
                        <a:pt x="17" y="444"/>
                      </a:lnTo>
                      <a:lnTo>
                        <a:pt x="17" y="444"/>
                      </a:lnTo>
                      <a:lnTo>
                        <a:pt x="17" y="443"/>
                      </a:lnTo>
                      <a:lnTo>
                        <a:pt x="18" y="443"/>
                      </a:lnTo>
                      <a:lnTo>
                        <a:pt x="18" y="442"/>
                      </a:lnTo>
                      <a:lnTo>
                        <a:pt x="19" y="442"/>
                      </a:lnTo>
                      <a:lnTo>
                        <a:pt x="19" y="443"/>
                      </a:lnTo>
                      <a:lnTo>
                        <a:pt x="19" y="444"/>
                      </a:lnTo>
                      <a:lnTo>
                        <a:pt x="19" y="444"/>
                      </a:lnTo>
                      <a:lnTo>
                        <a:pt x="20" y="444"/>
                      </a:lnTo>
                      <a:lnTo>
                        <a:pt x="20" y="443"/>
                      </a:lnTo>
                      <a:lnTo>
                        <a:pt x="20" y="444"/>
                      </a:lnTo>
                      <a:lnTo>
                        <a:pt x="21" y="444"/>
                      </a:lnTo>
                      <a:lnTo>
                        <a:pt x="20" y="444"/>
                      </a:lnTo>
                      <a:lnTo>
                        <a:pt x="21" y="445"/>
                      </a:lnTo>
                      <a:lnTo>
                        <a:pt x="21" y="446"/>
                      </a:lnTo>
                      <a:lnTo>
                        <a:pt x="21" y="446"/>
                      </a:lnTo>
                      <a:lnTo>
                        <a:pt x="22" y="446"/>
                      </a:lnTo>
                      <a:lnTo>
                        <a:pt x="22" y="445"/>
                      </a:lnTo>
                      <a:lnTo>
                        <a:pt x="23" y="446"/>
                      </a:lnTo>
                      <a:lnTo>
                        <a:pt x="23" y="446"/>
                      </a:lnTo>
                      <a:lnTo>
                        <a:pt x="23" y="447"/>
                      </a:lnTo>
                      <a:lnTo>
                        <a:pt x="23" y="447"/>
                      </a:lnTo>
                      <a:lnTo>
                        <a:pt x="23" y="448"/>
                      </a:lnTo>
                      <a:lnTo>
                        <a:pt x="24" y="448"/>
                      </a:lnTo>
                      <a:lnTo>
                        <a:pt x="24" y="448"/>
                      </a:lnTo>
                      <a:lnTo>
                        <a:pt x="24" y="449"/>
                      </a:lnTo>
                      <a:lnTo>
                        <a:pt x="23" y="449"/>
                      </a:lnTo>
                      <a:lnTo>
                        <a:pt x="23" y="450"/>
                      </a:lnTo>
                      <a:lnTo>
                        <a:pt x="24" y="450"/>
                      </a:lnTo>
                      <a:lnTo>
                        <a:pt x="25" y="450"/>
                      </a:lnTo>
                      <a:lnTo>
                        <a:pt x="25" y="450"/>
                      </a:lnTo>
                      <a:lnTo>
                        <a:pt x="25" y="451"/>
                      </a:lnTo>
                      <a:lnTo>
                        <a:pt x="25" y="452"/>
                      </a:lnTo>
                      <a:lnTo>
                        <a:pt x="24" y="452"/>
                      </a:lnTo>
                      <a:lnTo>
                        <a:pt x="23" y="451"/>
                      </a:lnTo>
                      <a:lnTo>
                        <a:pt x="23" y="451"/>
                      </a:lnTo>
                      <a:lnTo>
                        <a:pt x="23" y="452"/>
                      </a:lnTo>
                      <a:lnTo>
                        <a:pt x="23" y="453"/>
                      </a:lnTo>
                      <a:lnTo>
                        <a:pt x="23" y="453"/>
                      </a:lnTo>
                      <a:lnTo>
                        <a:pt x="22" y="453"/>
                      </a:lnTo>
                      <a:lnTo>
                        <a:pt x="22" y="454"/>
                      </a:lnTo>
                      <a:lnTo>
                        <a:pt x="22" y="455"/>
                      </a:lnTo>
                      <a:lnTo>
                        <a:pt x="21" y="455"/>
                      </a:lnTo>
                      <a:lnTo>
                        <a:pt x="22" y="455"/>
                      </a:lnTo>
                      <a:lnTo>
                        <a:pt x="22" y="455"/>
                      </a:lnTo>
                      <a:lnTo>
                        <a:pt x="23" y="455"/>
                      </a:lnTo>
                      <a:lnTo>
                        <a:pt x="23" y="455"/>
                      </a:lnTo>
                      <a:lnTo>
                        <a:pt x="23" y="454"/>
                      </a:lnTo>
                      <a:lnTo>
                        <a:pt x="23" y="454"/>
                      </a:lnTo>
                      <a:lnTo>
                        <a:pt x="24" y="454"/>
                      </a:lnTo>
                      <a:lnTo>
                        <a:pt x="24" y="455"/>
                      </a:lnTo>
                      <a:lnTo>
                        <a:pt x="24" y="455"/>
                      </a:lnTo>
                      <a:lnTo>
                        <a:pt x="25" y="455"/>
                      </a:lnTo>
                      <a:lnTo>
                        <a:pt x="25" y="456"/>
                      </a:lnTo>
                      <a:lnTo>
                        <a:pt x="25" y="457"/>
                      </a:lnTo>
                      <a:lnTo>
                        <a:pt x="25" y="457"/>
                      </a:lnTo>
                      <a:lnTo>
                        <a:pt x="26" y="457"/>
                      </a:lnTo>
                      <a:lnTo>
                        <a:pt x="26" y="457"/>
                      </a:lnTo>
                      <a:lnTo>
                        <a:pt x="27" y="457"/>
                      </a:lnTo>
                      <a:lnTo>
                        <a:pt x="28" y="457"/>
                      </a:lnTo>
                      <a:lnTo>
                        <a:pt x="28" y="458"/>
                      </a:lnTo>
                      <a:lnTo>
                        <a:pt x="28" y="458"/>
                      </a:lnTo>
                      <a:lnTo>
                        <a:pt x="29" y="458"/>
                      </a:lnTo>
                      <a:lnTo>
                        <a:pt x="29" y="459"/>
                      </a:lnTo>
                      <a:lnTo>
                        <a:pt x="30" y="459"/>
                      </a:lnTo>
                      <a:lnTo>
                        <a:pt x="30" y="459"/>
                      </a:lnTo>
                      <a:lnTo>
                        <a:pt x="31" y="459"/>
                      </a:lnTo>
                      <a:lnTo>
                        <a:pt x="31" y="459"/>
                      </a:lnTo>
                      <a:lnTo>
                        <a:pt x="32" y="459"/>
                      </a:lnTo>
                      <a:lnTo>
                        <a:pt x="31" y="459"/>
                      </a:lnTo>
                      <a:lnTo>
                        <a:pt x="31" y="460"/>
                      </a:lnTo>
                      <a:lnTo>
                        <a:pt x="30" y="460"/>
                      </a:lnTo>
                      <a:lnTo>
                        <a:pt x="30" y="461"/>
                      </a:lnTo>
                      <a:lnTo>
                        <a:pt x="30" y="461"/>
                      </a:lnTo>
                      <a:lnTo>
                        <a:pt x="30" y="461"/>
                      </a:lnTo>
                      <a:lnTo>
                        <a:pt x="29" y="461"/>
                      </a:lnTo>
                      <a:lnTo>
                        <a:pt x="30" y="461"/>
                      </a:lnTo>
                      <a:lnTo>
                        <a:pt x="30" y="462"/>
                      </a:lnTo>
                      <a:lnTo>
                        <a:pt x="30" y="463"/>
                      </a:lnTo>
                      <a:lnTo>
                        <a:pt x="31" y="463"/>
                      </a:lnTo>
                      <a:lnTo>
                        <a:pt x="31" y="463"/>
                      </a:lnTo>
                      <a:lnTo>
                        <a:pt x="31" y="464"/>
                      </a:lnTo>
                      <a:lnTo>
                        <a:pt x="30" y="464"/>
                      </a:lnTo>
                      <a:lnTo>
                        <a:pt x="30" y="465"/>
                      </a:lnTo>
                      <a:lnTo>
                        <a:pt x="30" y="465"/>
                      </a:lnTo>
                      <a:lnTo>
                        <a:pt x="30" y="465"/>
                      </a:lnTo>
                      <a:lnTo>
                        <a:pt x="30" y="466"/>
                      </a:lnTo>
                      <a:lnTo>
                        <a:pt x="30" y="466"/>
                      </a:lnTo>
                      <a:lnTo>
                        <a:pt x="30" y="467"/>
                      </a:lnTo>
                      <a:lnTo>
                        <a:pt x="30" y="467"/>
                      </a:lnTo>
                      <a:lnTo>
                        <a:pt x="30" y="467"/>
                      </a:lnTo>
                      <a:lnTo>
                        <a:pt x="30" y="467"/>
                      </a:lnTo>
                      <a:lnTo>
                        <a:pt x="29" y="467"/>
                      </a:lnTo>
                      <a:lnTo>
                        <a:pt x="29" y="467"/>
                      </a:lnTo>
                      <a:lnTo>
                        <a:pt x="28" y="467"/>
                      </a:lnTo>
                      <a:lnTo>
                        <a:pt x="29" y="468"/>
                      </a:lnTo>
                      <a:lnTo>
                        <a:pt x="28" y="468"/>
                      </a:lnTo>
                      <a:lnTo>
                        <a:pt x="28" y="469"/>
                      </a:lnTo>
                      <a:lnTo>
                        <a:pt x="28" y="469"/>
                      </a:lnTo>
                      <a:lnTo>
                        <a:pt x="29" y="469"/>
                      </a:lnTo>
                      <a:lnTo>
                        <a:pt x="29" y="469"/>
                      </a:lnTo>
                      <a:lnTo>
                        <a:pt x="30" y="469"/>
                      </a:lnTo>
                      <a:lnTo>
                        <a:pt x="30" y="468"/>
                      </a:lnTo>
                      <a:lnTo>
                        <a:pt x="30" y="469"/>
                      </a:lnTo>
                      <a:lnTo>
                        <a:pt x="31" y="469"/>
                      </a:lnTo>
                      <a:lnTo>
                        <a:pt x="31" y="469"/>
                      </a:lnTo>
                      <a:lnTo>
                        <a:pt x="31" y="470"/>
                      </a:lnTo>
                      <a:lnTo>
                        <a:pt x="30" y="470"/>
                      </a:lnTo>
                      <a:lnTo>
                        <a:pt x="30" y="471"/>
                      </a:lnTo>
                      <a:lnTo>
                        <a:pt x="30" y="472"/>
                      </a:lnTo>
                      <a:lnTo>
                        <a:pt x="31" y="472"/>
                      </a:lnTo>
                      <a:lnTo>
                        <a:pt x="31" y="471"/>
                      </a:lnTo>
                      <a:lnTo>
                        <a:pt x="32" y="471"/>
                      </a:lnTo>
                      <a:lnTo>
                        <a:pt x="32" y="470"/>
                      </a:lnTo>
                      <a:lnTo>
                        <a:pt x="32" y="470"/>
                      </a:lnTo>
                      <a:lnTo>
                        <a:pt x="33" y="470"/>
                      </a:lnTo>
                      <a:lnTo>
                        <a:pt x="33" y="471"/>
                      </a:lnTo>
                      <a:lnTo>
                        <a:pt x="32" y="472"/>
                      </a:lnTo>
                      <a:lnTo>
                        <a:pt x="32" y="472"/>
                      </a:lnTo>
                      <a:lnTo>
                        <a:pt x="32" y="473"/>
                      </a:lnTo>
                      <a:lnTo>
                        <a:pt x="33" y="473"/>
                      </a:lnTo>
                      <a:lnTo>
                        <a:pt x="33" y="474"/>
                      </a:lnTo>
                      <a:lnTo>
                        <a:pt x="33" y="474"/>
                      </a:lnTo>
                      <a:lnTo>
                        <a:pt x="32" y="474"/>
                      </a:lnTo>
                      <a:lnTo>
                        <a:pt x="32" y="475"/>
                      </a:lnTo>
                      <a:lnTo>
                        <a:pt x="32" y="476"/>
                      </a:lnTo>
                      <a:lnTo>
                        <a:pt x="33" y="476"/>
                      </a:lnTo>
                      <a:lnTo>
                        <a:pt x="33" y="476"/>
                      </a:lnTo>
                      <a:lnTo>
                        <a:pt x="33" y="477"/>
                      </a:lnTo>
                      <a:lnTo>
                        <a:pt x="33" y="478"/>
                      </a:lnTo>
                      <a:lnTo>
                        <a:pt x="33" y="478"/>
                      </a:lnTo>
                      <a:lnTo>
                        <a:pt x="32" y="478"/>
                      </a:lnTo>
                      <a:lnTo>
                        <a:pt x="32" y="479"/>
                      </a:lnTo>
                      <a:lnTo>
                        <a:pt x="32" y="480"/>
                      </a:lnTo>
                      <a:lnTo>
                        <a:pt x="32" y="480"/>
                      </a:lnTo>
                      <a:lnTo>
                        <a:pt x="33" y="480"/>
                      </a:lnTo>
                      <a:lnTo>
                        <a:pt x="33" y="481"/>
                      </a:lnTo>
                      <a:lnTo>
                        <a:pt x="34" y="481"/>
                      </a:lnTo>
                      <a:lnTo>
                        <a:pt x="34" y="482"/>
                      </a:lnTo>
                      <a:lnTo>
                        <a:pt x="34" y="482"/>
                      </a:lnTo>
                      <a:lnTo>
                        <a:pt x="34" y="482"/>
                      </a:lnTo>
                      <a:lnTo>
                        <a:pt x="35" y="482"/>
                      </a:lnTo>
                      <a:lnTo>
                        <a:pt x="35" y="483"/>
                      </a:lnTo>
                      <a:lnTo>
                        <a:pt x="36" y="483"/>
                      </a:lnTo>
                      <a:lnTo>
                        <a:pt x="36" y="484"/>
                      </a:lnTo>
                      <a:lnTo>
                        <a:pt x="36" y="484"/>
                      </a:lnTo>
                      <a:lnTo>
                        <a:pt x="36" y="485"/>
                      </a:lnTo>
                      <a:lnTo>
                        <a:pt x="36" y="486"/>
                      </a:lnTo>
                      <a:lnTo>
                        <a:pt x="36" y="486"/>
                      </a:lnTo>
                      <a:lnTo>
                        <a:pt x="36" y="485"/>
                      </a:lnTo>
                      <a:lnTo>
                        <a:pt x="37" y="485"/>
                      </a:lnTo>
                      <a:lnTo>
                        <a:pt x="38" y="485"/>
                      </a:lnTo>
                      <a:lnTo>
                        <a:pt x="38" y="485"/>
                      </a:lnTo>
                      <a:lnTo>
                        <a:pt x="38" y="486"/>
                      </a:lnTo>
                      <a:lnTo>
                        <a:pt x="38" y="486"/>
                      </a:lnTo>
                      <a:lnTo>
                        <a:pt x="38" y="486"/>
                      </a:lnTo>
                      <a:lnTo>
                        <a:pt x="37" y="486"/>
                      </a:lnTo>
                      <a:lnTo>
                        <a:pt x="37" y="487"/>
                      </a:lnTo>
                      <a:lnTo>
                        <a:pt x="37" y="488"/>
                      </a:lnTo>
                      <a:lnTo>
                        <a:pt x="38" y="488"/>
                      </a:lnTo>
                      <a:lnTo>
                        <a:pt x="38" y="488"/>
                      </a:lnTo>
                      <a:lnTo>
                        <a:pt x="38" y="488"/>
                      </a:lnTo>
                      <a:lnTo>
                        <a:pt x="38" y="489"/>
                      </a:lnTo>
                      <a:lnTo>
                        <a:pt x="38" y="489"/>
                      </a:lnTo>
                      <a:lnTo>
                        <a:pt x="37" y="489"/>
                      </a:lnTo>
                      <a:lnTo>
                        <a:pt x="37" y="490"/>
                      </a:lnTo>
                      <a:lnTo>
                        <a:pt x="38" y="490"/>
                      </a:lnTo>
                      <a:lnTo>
                        <a:pt x="38" y="491"/>
                      </a:lnTo>
                      <a:lnTo>
                        <a:pt x="38" y="492"/>
                      </a:lnTo>
                      <a:lnTo>
                        <a:pt x="38" y="493"/>
                      </a:lnTo>
                      <a:lnTo>
                        <a:pt x="39" y="493"/>
                      </a:lnTo>
                      <a:lnTo>
                        <a:pt x="40" y="493"/>
                      </a:lnTo>
                      <a:lnTo>
                        <a:pt x="40" y="493"/>
                      </a:lnTo>
                      <a:lnTo>
                        <a:pt x="41" y="493"/>
                      </a:lnTo>
                      <a:lnTo>
                        <a:pt x="42" y="493"/>
                      </a:lnTo>
                      <a:lnTo>
                        <a:pt x="42" y="493"/>
                      </a:lnTo>
                      <a:lnTo>
                        <a:pt x="42" y="493"/>
                      </a:lnTo>
                      <a:lnTo>
                        <a:pt x="42" y="493"/>
                      </a:lnTo>
                      <a:lnTo>
                        <a:pt x="41" y="494"/>
                      </a:lnTo>
                      <a:lnTo>
                        <a:pt x="40" y="494"/>
                      </a:lnTo>
                      <a:lnTo>
                        <a:pt x="40" y="495"/>
                      </a:lnTo>
                      <a:lnTo>
                        <a:pt x="41" y="495"/>
                      </a:lnTo>
                      <a:lnTo>
                        <a:pt x="42" y="495"/>
                      </a:lnTo>
                      <a:lnTo>
                        <a:pt x="42" y="495"/>
                      </a:lnTo>
                      <a:lnTo>
                        <a:pt x="42" y="496"/>
                      </a:lnTo>
                      <a:lnTo>
                        <a:pt x="43" y="496"/>
                      </a:lnTo>
                      <a:lnTo>
                        <a:pt x="44" y="496"/>
                      </a:lnTo>
                      <a:lnTo>
                        <a:pt x="45" y="496"/>
                      </a:lnTo>
                      <a:lnTo>
                        <a:pt x="45" y="497"/>
                      </a:lnTo>
                      <a:lnTo>
                        <a:pt x="45" y="497"/>
                      </a:lnTo>
                      <a:lnTo>
                        <a:pt x="46" y="497"/>
                      </a:lnTo>
                      <a:lnTo>
                        <a:pt x="47" y="497"/>
                      </a:lnTo>
                      <a:lnTo>
                        <a:pt x="47" y="497"/>
                      </a:lnTo>
                      <a:lnTo>
                        <a:pt x="47" y="497"/>
                      </a:lnTo>
                      <a:lnTo>
                        <a:pt x="47" y="498"/>
                      </a:lnTo>
                      <a:lnTo>
                        <a:pt x="47" y="499"/>
                      </a:lnTo>
                      <a:lnTo>
                        <a:pt x="47" y="499"/>
                      </a:lnTo>
                      <a:lnTo>
                        <a:pt x="47" y="499"/>
                      </a:lnTo>
                      <a:lnTo>
                        <a:pt x="48" y="499"/>
                      </a:lnTo>
                      <a:lnTo>
                        <a:pt x="49" y="500"/>
                      </a:lnTo>
                      <a:lnTo>
                        <a:pt x="49" y="500"/>
                      </a:lnTo>
                      <a:lnTo>
                        <a:pt x="49" y="501"/>
                      </a:lnTo>
                      <a:lnTo>
                        <a:pt x="49" y="501"/>
                      </a:lnTo>
                      <a:lnTo>
                        <a:pt x="49" y="501"/>
                      </a:lnTo>
                      <a:lnTo>
                        <a:pt x="49" y="501"/>
                      </a:lnTo>
                      <a:lnTo>
                        <a:pt x="50" y="501"/>
                      </a:lnTo>
                      <a:lnTo>
                        <a:pt x="51" y="501"/>
                      </a:lnTo>
                      <a:lnTo>
                        <a:pt x="51" y="502"/>
                      </a:lnTo>
                      <a:lnTo>
                        <a:pt x="51" y="503"/>
                      </a:lnTo>
                      <a:lnTo>
                        <a:pt x="51" y="502"/>
                      </a:lnTo>
                      <a:lnTo>
                        <a:pt x="52" y="502"/>
                      </a:lnTo>
                      <a:lnTo>
                        <a:pt x="52" y="503"/>
                      </a:lnTo>
                      <a:lnTo>
                        <a:pt x="53" y="503"/>
                      </a:lnTo>
                      <a:lnTo>
                        <a:pt x="53" y="503"/>
                      </a:lnTo>
                      <a:lnTo>
                        <a:pt x="53" y="504"/>
                      </a:lnTo>
                      <a:lnTo>
                        <a:pt x="53" y="505"/>
                      </a:lnTo>
                      <a:lnTo>
                        <a:pt x="53" y="505"/>
                      </a:lnTo>
                      <a:lnTo>
                        <a:pt x="53" y="505"/>
                      </a:lnTo>
                      <a:lnTo>
                        <a:pt x="53" y="505"/>
                      </a:lnTo>
                      <a:lnTo>
                        <a:pt x="53" y="505"/>
                      </a:lnTo>
                      <a:lnTo>
                        <a:pt x="53" y="506"/>
                      </a:lnTo>
                      <a:lnTo>
                        <a:pt x="53" y="506"/>
                      </a:lnTo>
                      <a:lnTo>
                        <a:pt x="53" y="505"/>
                      </a:lnTo>
                      <a:lnTo>
                        <a:pt x="52" y="505"/>
                      </a:lnTo>
                      <a:lnTo>
                        <a:pt x="51" y="505"/>
                      </a:lnTo>
                      <a:lnTo>
                        <a:pt x="51" y="505"/>
                      </a:lnTo>
                      <a:lnTo>
                        <a:pt x="50" y="505"/>
                      </a:lnTo>
                      <a:lnTo>
                        <a:pt x="49" y="506"/>
                      </a:lnTo>
                      <a:lnTo>
                        <a:pt x="49" y="507"/>
                      </a:lnTo>
                      <a:lnTo>
                        <a:pt x="50" y="507"/>
                      </a:lnTo>
                      <a:lnTo>
                        <a:pt x="50" y="506"/>
                      </a:lnTo>
                      <a:lnTo>
                        <a:pt x="51" y="506"/>
                      </a:lnTo>
                      <a:lnTo>
                        <a:pt x="51" y="506"/>
                      </a:lnTo>
                      <a:lnTo>
                        <a:pt x="52" y="506"/>
                      </a:lnTo>
                      <a:lnTo>
                        <a:pt x="52" y="507"/>
                      </a:lnTo>
                      <a:lnTo>
                        <a:pt x="51" y="507"/>
                      </a:lnTo>
                      <a:lnTo>
                        <a:pt x="51" y="507"/>
                      </a:lnTo>
                      <a:lnTo>
                        <a:pt x="51" y="507"/>
                      </a:lnTo>
                      <a:lnTo>
                        <a:pt x="50" y="508"/>
                      </a:lnTo>
                      <a:lnTo>
                        <a:pt x="49" y="508"/>
                      </a:lnTo>
                      <a:lnTo>
                        <a:pt x="49" y="509"/>
                      </a:lnTo>
                      <a:lnTo>
                        <a:pt x="49" y="509"/>
                      </a:lnTo>
                      <a:lnTo>
                        <a:pt x="49" y="509"/>
                      </a:lnTo>
                      <a:lnTo>
                        <a:pt x="49" y="510"/>
                      </a:lnTo>
                      <a:lnTo>
                        <a:pt x="48" y="510"/>
                      </a:lnTo>
                      <a:lnTo>
                        <a:pt x="47" y="510"/>
                      </a:lnTo>
                      <a:lnTo>
                        <a:pt x="47" y="511"/>
                      </a:lnTo>
                      <a:lnTo>
                        <a:pt x="48" y="511"/>
                      </a:lnTo>
                      <a:lnTo>
                        <a:pt x="48" y="512"/>
                      </a:lnTo>
                      <a:lnTo>
                        <a:pt x="48" y="512"/>
                      </a:lnTo>
                      <a:lnTo>
                        <a:pt x="49" y="512"/>
                      </a:lnTo>
                      <a:lnTo>
                        <a:pt x="49" y="513"/>
                      </a:lnTo>
                      <a:lnTo>
                        <a:pt x="49" y="513"/>
                      </a:lnTo>
                      <a:lnTo>
                        <a:pt x="49" y="514"/>
                      </a:lnTo>
                      <a:lnTo>
                        <a:pt x="49" y="514"/>
                      </a:lnTo>
                      <a:lnTo>
                        <a:pt x="50" y="514"/>
                      </a:lnTo>
                      <a:lnTo>
                        <a:pt x="50" y="515"/>
                      </a:lnTo>
                      <a:lnTo>
                        <a:pt x="51" y="515"/>
                      </a:lnTo>
                      <a:lnTo>
                        <a:pt x="51" y="516"/>
                      </a:lnTo>
                      <a:lnTo>
                        <a:pt x="51" y="516"/>
                      </a:lnTo>
                      <a:lnTo>
                        <a:pt x="51" y="515"/>
                      </a:lnTo>
                      <a:lnTo>
                        <a:pt x="51" y="515"/>
                      </a:lnTo>
                      <a:lnTo>
                        <a:pt x="51" y="515"/>
                      </a:lnTo>
                      <a:lnTo>
                        <a:pt x="52" y="515"/>
                      </a:lnTo>
                      <a:lnTo>
                        <a:pt x="53" y="515"/>
                      </a:lnTo>
                      <a:lnTo>
                        <a:pt x="53" y="515"/>
                      </a:lnTo>
                      <a:lnTo>
                        <a:pt x="54" y="515"/>
                      </a:lnTo>
                      <a:lnTo>
                        <a:pt x="54" y="516"/>
                      </a:lnTo>
                      <a:lnTo>
                        <a:pt x="55" y="516"/>
                      </a:lnTo>
                      <a:lnTo>
                        <a:pt x="55" y="515"/>
                      </a:lnTo>
                      <a:lnTo>
                        <a:pt x="55" y="515"/>
                      </a:lnTo>
                      <a:lnTo>
                        <a:pt x="56" y="516"/>
                      </a:lnTo>
                      <a:lnTo>
                        <a:pt x="56" y="516"/>
                      </a:lnTo>
                      <a:lnTo>
                        <a:pt x="56" y="517"/>
                      </a:lnTo>
                      <a:lnTo>
                        <a:pt x="55" y="517"/>
                      </a:lnTo>
                      <a:lnTo>
                        <a:pt x="55" y="518"/>
                      </a:lnTo>
                      <a:lnTo>
                        <a:pt x="55" y="518"/>
                      </a:lnTo>
                      <a:lnTo>
                        <a:pt x="55" y="519"/>
                      </a:lnTo>
                      <a:lnTo>
                        <a:pt x="56" y="519"/>
                      </a:lnTo>
                      <a:lnTo>
                        <a:pt x="56" y="518"/>
                      </a:lnTo>
                      <a:lnTo>
                        <a:pt x="57" y="518"/>
                      </a:lnTo>
                      <a:lnTo>
                        <a:pt x="57" y="519"/>
                      </a:lnTo>
                      <a:lnTo>
                        <a:pt x="57" y="519"/>
                      </a:lnTo>
                      <a:lnTo>
                        <a:pt x="58" y="520"/>
                      </a:lnTo>
                      <a:lnTo>
                        <a:pt x="58" y="520"/>
                      </a:lnTo>
                      <a:lnTo>
                        <a:pt x="59" y="520"/>
                      </a:lnTo>
                      <a:lnTo>
                        <a:pt x="59" y="521"/>
                      </a:lnTo>
                      <a:lnTo>
                        <a:pt x="59" y="522"/>
                      </a:lnTo>
                      <a:lnTo>
                        <a:pt x="59" y="522"/>
                      </a:lnTo>
                      <a:lnTo>
                        <a:pt x="59" y="523"/>
                      </a:lnTo>
                      <a:lnTo>
                        <a:pt x="59" y="524"/>
                      </a:lnTo>
                      <a:lnTo>
                        <a:pt x="59" y="524"/>
                      </a:lnTo>
                      <a:lnTo>
                        <a:pt x="59" y="524"/>
                      </a:lnTo>
                      <a:lnTo>
                        <a:pt x="59" y="524"/>
                      </a:lnTo>
                      <a:lnTo>
                        <a:pt x="60" y="524"/>
                      </a:lnTo>
                      <a:lnTo>
                        <a:pt x="60" y="523"/>
                      </a:lnTo>
                      <a:lnTo>
                        <a:pt x="59" y="522"/>
                      </a:lnTo>
                      <a:lnTo>
                        <a:pt x="60" y="522"/>
                      </a:lnTo>
                      <a:lnTo>
                        <a:pt x="60" y="522"/>
                      </a:lnTo>
                      <a:lnTo>
                        <a:pt x="60" y="521"/>
                      </a:lnTo>
                      <a:lnTo>
                        <a:pt x="60" y="520"/>
                      </a:lnTo>
                      <a:lnTo>
                        <a:pt x="61" y="520"/>
                      </a:lnTo>
                      <a:lnTo>
                        <a:pt x="61" y="520"/>
                      </a:lnTo>
                      <a:lnTo>
                        <a:pt x="61" y="520"/>
                      </a:lnTo>
                      <a:lnTo>
                        <a:pt x="61" y="520"/>
                      </a:lnTo>
                      <a:lnTo>
                        <a:pt x="61" y="521"/>
                      </a:lnTo>
                      <a:lnTo>
                        <a:pt x="61" y="521"/>
                      </a:lnTo>
                      <a:lnTo>
                        <a:pt x="61" y="522"/>
                      </a:lnTo>
                      <a:lnTo>
                        <a:pt x="61" y="522"/>
                      </a:lnTo>
                      <a:lnTo>
                        <a:pt x="61" y="522"/>
                      </a:lnTo>
                      <a:lnTo>
                        <a:pt x="62" y="522"/>
                      </a:lnTo>
                      <a:lnTo>
                        <a:pt x="62" y="523"/>
                      </a:lnTo>
                      <a:lnTo>
                        <a:pt x="63" y="523"/>
                      </a:lnTo>
                      <a:lnTo>
                        <a:pt x="64" y="523"/>
                      </a:lnTo>
                      <a:lnTo>
                        <a:pt x="64" y="523"/>
                      </a:lnTo>
                      <a:lnTo>
                        <a:pt x="64" y="523"/>
                      </a:lnTo>
                      <a:lnTo>
                        <a:pt x="64" y="522"/>
                      </a:lnTo>
                      <a:lnTo>
                        <a:pt x="64" y="522"/>
                      </a:lnTo>
                      <a:lnTo>
                        <a:pt x="63" y="522"/>
                      </a:lnTo>
                      <a:lnTo>
                        <a:pt x="64" y="522"/>
                      </a:lnTo>
                      <a:lnTo>
                        <a:pt x="64" y="521"/>
                      </a:lnTo>
                      <a:lnTo>
                        <a:pt x="64" y="520"/>
                      </a:lnTo>
                      <a:lnTo>
                        <a:pt x="63" y="520"/>
                      </a:lnTo>
                      <a:lnTo>
                        <a:pt x="63" y="520"/>
                      </a:lnTo>
                      <a:lnTo>
                        <a:pt x="64" y="520"/>
                      </a:lnTo>
                      <a:lnTo>
                        <a:pt x="64" y="520"/>
                      </a:lnTo>
                      <a:lnTo>
                        <a:pt x="64" y="519"/>
                      </a:lnTo>
                      <a:lnTo>
                        <a:pt x="65" y="519"/>
                      </a:lnTo>
                      <a:lnTo>
                        <a:pt x="65" y="520"/>
                      </a:lnTo>
                      <a:lnTo>
                        <a:pt x="65" y="520"/>
                      </a:lnTo>
                      <a:lnTo>
                        <a:pt x="66" y="520"/>
                      </a:lnTo>
                      <a:lnTo>
                        <a:pt x="66" y="521"/>
                      </a:lnTo>
                      <a:lnTo>
                        <a:pt x="66" y="521"/>
                      </a:lnTo>
                      <a:lnTo>
                        <a:pt x="67" y="521"/>
                      </a:lnTo>
                      <a:lnTo>
                        <a:pt x="67" y="522"/>
                      </a:lnTo>
                      <a:lnTo>
                        <a:pt x="66" y="522"/>
                      </a:lnTo>
                      <a:lnTo>
                        <a:pt x="66" y="522"/>
                      </a:lnTo>
                      <a:lnTo>
                        <a:pt x="66" y="522"/>
                      </a:lnTo>
                      <a:lnTo>
                        <a:pt x="66" y="522"/>
                      </a:lnTo>
                      <a:lnTo>
                        <a:pt x="67" y="522"/>
                      </a:lnTo>
                      <a:lnTo>
                        <a:pt x="67" y="523"/>
                      </a:lnTo>
                      <a:lnTo>
                        <a:pt x="68" y="523"/>
                      </a:lnTo>
                      <a:lnTo>
                        <a:pt x="68" y="524"/>
                      </a:lnTo>
                      <a:lnTo>
                        <a:pt x="68" y="524"/>
                      </a:lnTo>
                      <a:lnTo>
                        <a:pt x="68" y="525"/>
                      </a:lnTo>
                      <a:lnTo>
                        <a:pt x="68" y="525"/>
                      </a:lnTo>
                      <a:lnTo>
                        <a:pt x="68" y="526"/>
                      </a:lnTo>
                      <a:lnTo>
                        <a:pt x="69" y="526"/>
                      </a:lnTo>
                      <a:lnTo>
                        <a:pt x="69" y="526"/>
                      </a:lnTo>
                      <a:lnTo>
                        <a:pt x="69" y="527"/>
                      </a:lnTo>
                      <a:lnTo>
                        <a:pt x="69" y="528"/>
                      </a:lnTo>
                      <a:lnTo>
                        <a:pt x="69" y="528"/>
                      </a:lnTo>
                      <a:lnTo>
                        <a:pt x="70" y="528"/>
                      </a:lnTo>
                      <a:lnTo>
                        <a:pt x="70" y="528"/>
                      </a:lnTo>
                      <a:lnTo>
                        <a:pt x="71" y="528"/>
                      </a:lnTo>
                      <a:lnTo>
                        <a:pt x="71" y="528"/>
                      </a:lnTo>
                      <a:lnTo>
                        <a:pt x="72" y="528"/>
                      </a:lnTo>
                      <a:lnTo>
                        <a:pt x="72" y="527"/>
                      </a:lnTo>
                      <a:lnTo>
                        <a:pt x="72" y="527"/>
                      </a:lnTo>
                      <a:lnTo>
                        <a:pt x="73" y="527"/>
                      </a:lnTo>
                      <a:lnTo>
                        <a:pt x="73" y="528"/>
                      </a:lnTo>
                      <a:lnTo>
                        <a:pt x="73" y="528"/>
                      </a:lnTo>
                      <a:lnTo>
                        <a:pt x="73" y="529"/>
                      </a:lnTo>
                      <a:lnTo>
                        <a:pt x="73" y="530"/>
                      </a:lnTo>
                      <a:lnTo>
                        <a:pt x="74" y="530"/>
                      </a:lnTo>
                      <a:lnTo>
                        <a:pt x="74" y="530"/>
                      </a:lnTo>
                      <a:lnTo>
                        <a:pt x="74" y="529"/>
                      </a:lnTo>
                      <a:lnTo>
                        <a:pt x="74" y="528"/>
                      </a:lnTo>
                      <a:lnTo>
                        <a:pt x="74" y="528"/>
                      </a:lnTo>
                      <a:lnTo>
                        <a:pt x="75" y="529"/>
                      </a:lnTo>
                      <a:lnTo>
                        <a:pt x="76" y="529"/>
                      </a:lnTo>
                      <a:lnTo>
                        <a:pt x="76" y="530"/>
                      </a:lnTo>
                      <a:lnTo>
                        <a:pt x="77" y="530"/>
                      </a:lnTo>
                      <a:lnTo>
                        <a:pt x="78" y="531"/>
                      </a:lnTo>
                      <a:lnTo>
                        <a:pt x="77" y="532"/>
                      </a:lnTo>
                      <a:lnTo>
                        <a:pt x="76" y="532"/>
                      </a:lnTo>
                      <a:lnTo>
                        <a:pt x="76" y="533"/>
                      </a:lnTo>
                      <a:lnTo>
                        <a:pt x="76" y="533"/>
                      </a:lnTo>
                      <a:lnTo>
                        <a:pt x="75" y="533"/>
                      </a:lnTo>
                      <a:lnTo>
                        <a:pt x="75" y="534"/>
                      </a:lnTo>
                      <a:lnTo>
                        <a:pt x="76" y="535"/>
                      </a:lnTo>
                      <a:lnTo>
                        <a:pt x="76" y="535"/>
                      </a:lnTo>
                      <a:lnTo>
                        <a:pt x="77" y="535"/>
                      </a:lnTo>
                      <a:lnTo>
                        <a:pt x="77" y="535"/>
                      </a:lnTo>
                      <a:lnTo>
                        <a:pt x="78" y="535"/>
                      </a:lnTo>
                      <a:lnTo>
                        <a:pt x="78" y="536"/>
                      </a:lnTo>
                      <a:lnTo>
                        <a:pt x="77" y="536"/>
                      </a:lnTo>
                      <a:lnTo>
                        <a:pt x="76" y="537"/>
                      </a:lnTo>
                      <a:lnTo>
                        <a:pt x="76" y="537"/>
                      </a:lnTo>
                      <a:lnTo>
                        <a:pt x="75" y="537"/>
                      </a:lnTo>
                      <a:lnTo>
                        <a:pt x="75" y="537"/>
                      </a:lnTo>
                      <a:lnTo>
                        <a:pt x="75" y="538"/>
                      </a:lnTo>
                      <a:lnTo>
                        <a:pt x="76" y="538"/>
                      </a:lnTo>
                      <a:lnTo>
                        <a:pt x="76" y="539"/>
                      </a:lnTo>
                      <a:lnTo>
                        <a:pt x="76" y="539"/>
                      </a:lnTo>
                      <a:lnTo>
                        <a:pt x="76" y="539"/>
                      </a:lnTo>
                      <a:lnTo>
                        <a:pt x="77" y="539"/>
                      </a:lnTo>
                      <a:lnTo>
                        <a:pt x="77" y="540"/>
                      </a:lnTo>
                      <a:lnTo>
                        <a:pt x="77" y="541"/>
                      </a:lnTo>
                      <a:lnTo>
                        <a:pt x="77" y="541"/>
                      </a:lnTo>
                      <a:lnTo>
                        <a:pt x="77" y="541"/>
                      </a:lnTo>
                      <a:lnTo>
                        <a:pt x="76" y="541"/>
                      </a:lnTo>
                      <a:lnTo>
                        <a:pt x="76" y="540"/>
                      </a:lnTo>
                      <a:lnTo>
                        <a:pt x="76" y="540"/>
                      </a:lnTo>
                      <a:lnTo>
                        <a:pt x="75" y="540"/>
                      </a:lnTo>
                      <a:lnTo>
                        <a:pt x="75" y="541"/>
                      </a:lnTo>
                      <a:lnTo>
                        <a:pt x="75" y="541"/>
                      </a:lnTo>
                      <a:lnTo>
                        <a:pt x="75" y="542"/>
                      </a:lnTo>
                      <a:lnTo>
                        <a:pt x="75" y="543"/>
                      </a:lnTo>
                      <a:lnTo>
                        <a:pt x="75" y="543"/>
                      </a:lnTo>
                      <a:lnTo>
                        <a:pt x="75" y="544"/>
                      </a:lnTo>
                      <a:lnTo>
                        <a:pt x="74" y="544"/>
                      </a:lnTo>
                      <a:lnTo>
                        <a:pt x="74" y="545"/>
                      </a:lnTo>
                      <a:lnTo>
                        <a:pt x="74" y="545"/>
                      </a:lnTo>
                      <a:lnTo>
                        <a:pt x="74" y="546"/>
                      </a:lnTo>
                      <a:lnTo>
                        <a:pt x="75" y="546"/>
                      </a:lnTo>
                      <a:lnTo>
                        <a:pt x="75" y="547"/>
                      </a:lnTo>
                      <a:lnTo>
                        <a:pt x="75" y="547"/>
                      </a:lnTo>
                      <a:lnTo>
                        <a:pt x="76" y="547"/>
                      </a:lnTo>
                      <a:lnTo>
                        <a:pt x="76" y="548"/>
                      </a:lnTo>
                      <a:lnTo>
                        <a:pt x="76" y="548"/>
                      </a:lnTo>
                      <a:lnTo>
                        <a:pt x="76" y="549"/>
                      </a:lnTo>
                      <a:lnTo>
                        <a:pt x="76" y="549"/>
                      </a:lnTo>
                      <a:lnTo>
                        <a:pt x="75" y="549"/>
                      </a:lnTo>
                      <a:lnTo>
                        <a:pt x="75" y="549"/>
                      </a:lnTo>
                      <a:lnTo>
                        <a:pt x="74" y="550"/>
                      </a:lnTo>
                      <a:lnTo>
                        <a:pt x="74" y="551"/>
                      </a:lnTo>
                      <a:lnTo>
                        <a:pt x="74" y="552"/>
                      </a:lnTo>
                      <a:lnTo>
                        <a:pt x="74" y="552"/>
                      </a:lnTo>
                      <a:lnTo>
                        <a:pt x="74" y="553"/>
                      </a:lnTo>
                      <a:lnTo>
                        <a:pt x="75" y="553"/>
                      </a:lnTo>
                      <a:lnTo>
                        <a:pt x="75" y="552"/>
                      </a:lnTo>
                      <a:lnTo>
                        <a:pt x="75" y="552"/>
                      </a:lnTo>
                      <a:lnTo>
                        <a:pt x="75" y="551"/>
                      </a:lnTo>
                      <a:lnTo>
                        <a:pt x="76" y="551"/>
                      </a:lnTo>
                      <a:lnTo>
                        <a:pt x="76" y="551"/>
                      </a:lnTo>
                      <a:lnTo>
                        <a:pt x="77" y="551"/>
                      </a:lnTo>
                      <a:lnTo>
                        <a:pt x="77" y="552"/>
                      </a:lnTo>
                      <a:lnTo>
                        <a:pt x="78" y="552"/>
                      </a:lnTo>
                      <a:lnTo>
                        <a:pt x="78" y="552"/>
                      </a:lnTo>
                      <a:lnTo>
                        <a:pt x="78" y="553"/>
                      </a:lnTo>
                      <a:lnTo>
                        <a:pt x="78" y="553"/>
                      </a:lnTo>
                      <a:lnTo>
                        <a:pt x="78" y="552"/>
                      </a:lnTo>
                      <a:lnTo>
                        <a:pt x="78" y="552"/>
                      </a:lnTo>
                      <a:lnTo>
                        <a:pt x="79" y="552"/>
                      </a:lnTo>
                      <a:lnTo>
                        <a:pt x="79" y="551"/>
                      </a:lnTo>
                      <a:lnTo>
                        <a:pt x="79" y="550"/>
                      </a:lnTo>
                      <a:lnTo>
                        <a:pt x="80" y="550"/>
                      </a:lnTo>
                      <a:lnTo>
                        <a:pt x="80" y="551"/>
                      </a:lnTo>
                      <a:lnTo>
                        <a:pt x="80" y="552"/>
                      </a:lnTo>
                      <a:lnTo>
                        <a:pt x="80" y="552"/>
                      </a:lnTo>
                      <a:lnTo>
                        <a:pt x="80" y="553"/>
                      </a:lnTo>
                      <a:lnTo>
                        <a:pt x="81" y="553"/>
                      </a:lnTo>
                      <a:lnTo>
                        <a:pt x="82" y="553"/>
                      </a:lnTo>
                      <a:lnTo>
                        <a:pt x="82" y="552"/>
                      </a:lnTo>
                      <a:lnTo>
                        <a:pt x="83" y="552"/>
                      </a:lnTo>
                      <a:lnTo>
                        <a:pt x="83" y="552"/>
                      </a:lnTo>
                      <a:lnTo>
                        <a:pt x="83" y="552"/>
                      </a:lnTo>
                      <a:lnTo>
                        <a:pt x="83" y="552"/>
                      </a:lnTo>
                      <a:lnTo>
                        <a:pt x="84" y="552"/>
                      </a:lnTo>
                      <a:lnTo>
                        <a:pt x="85" y="553"/>
                      </a:lnTo>
                      <a:lnTo>
                        <a:pt x="85" y="554"/>
                      </a:lnTo>
                      <a:lnTo>
                        <a:pt x="84" y="554"/>
                      </a:lnTo>
                      <a:lnTo>
                        <a:pt x="83" y="554"/>
                      </a:lnTo>
                      <a:lnTo>
                        <a:pt x="84" y="554"/>
                      </a:lnTo>
                      <a:lnTo>
                        <a:pt x="85" y="554"/>
                      </a:lnTo>
                      <a:lnTo>
                        <a:pt x="85" y="555"/>
                      </a:lnTo>
                      <a:lnTo>
                        <a:pt x="85" y="555"/>
                      </a:lnTo>
                      <a:lnTo>
                        <a:pt x="86" y="556"/>
                      </a:lnTo>
                      <a:lnTo>
                        <a:pt x="87" y="556"/>
                      </a:lnTo>
                      <a:lnTo>
                        <a:pt x="87" y="556"/>
                      </a:lnTo>
                      <a:lnTo>
                        <a:pt x="87" y="556"/>
                      </a:lnTo>
                      <a:lnTo>
                        <a:pt x="87" y="557"/>
                      </a:lnTo>
                      <a:lnTo>
                        <a:pt x="86" y="557"/>
                      </a:lnTo>
                      <a:lnTo>
                        <a:pt x="86" y="558"/>
                      </a:lnTo>
                      <a:lnTo>
                        <a:pt x="87" y="558"/>
                      </a:lnTo>
                      <a:lnTo>
                        <a:pt x="87" y="558"/>
                      </a:lnTo>
                      <a:lnTo>
                        <a:pt x="87" y="559"/>
                      </a:lnTo>
                      <a:lnTo>
                        <a:pt x="86" y="559"/>
                      </a:lnTo>
                      <a:lnTo>
                        <a:pt x="86" y="560"/>
                      </a:lnTo>
                      <a:lnTo>
                        <a:pt x="86" y="560"/>
                      </a:lnTo>
                      <a:lnTo>
                        <a:pt x="87" y="560"/>
                      </a:lnTo>
                      <a:lnTo>
                        <a:pt x="87" y="560"/>
                      </a:lnTo>
                      <a:lnTo>
                        <a:pt x="88" y="560"/>
                      </a:lnTo>
                      <a:lnTo>
                        <a:pt x="88" y="560"/>
                      </a:lnTo>
                      <a:lnTo>
                        <a:pt x="89" y="560"/>
                      </a:lnTo>
                      <a:lnTo>
                        <a:pt x="89" y="560"/>
                      </a:lnTo>
                      <a:lnTo>
                        <a:pt x="89" y="561"/>
                      </a:lnTo>
                      <a:lnTo>
                        <a:pt x="89" y="562"/>
                      </a:lnTo>
                      <a:lnTo>
                        <a:pt x="89" y="562"/>
                      </a:lnTo>
                      <a:lnTo>
                        <a:pt x="90" y="562"/>
                      </a:lnTo>
                      <a:lnTo>
                        <a:pt x="90" y="563"/>
                      </a:lnTo>
                      <a:lnTo>
                        <a:pt x="89" y="563"/>
                      </a:lnTo>
                      <a:lnTo>
                        <a:pt x="89" y="563"/>
                      </a:lnTo>
                      <a:lnTo>
                        <a:pt x="88" y="563"/>
                      </a:lnTo>
                      <a:lnTo>
                        <a:pt x="87" y="564"/>
                      </a:lnTo>
                      <a:lnTo>
                        <a:pt x="87" y="564"/>
                      </a:lnTo>
                      <a:lnTo>
                        <a:pt x="88" y="564"/>
                      </a:lnTo>
                      <a:lnTo>
                        <a:pt x="88" y="565"/>
                      </a:lnTo>
                      <a:lnTo>
                        <a:pt x="88" y="564"/>
                      </a:lnTo>
                      <a:lnTo>
                        <a:pt x="89" y="564"/>
                      </a:lnTo>
                      <a:lnTo>
                        <a:pt x="89" y="564"/>
                      </a:lnTo>
                      <a:lnTo>
                        <a:pt x="90" y="564"/>
                      </a:lnTo>
                      <a:lnTo>
                        <a:pt x="90" y="565"/>
                      </a:lnTo>
                      <a:lnTo>
                        <a:pt x="90" y="566"/>
                      </a:lnTo>
                      <a:lnTo>
                        <a:pt x="90" y="566"/>
                      </a:lnTo>
                      <a:lnTo>
                        <a:pt x="91" y="566"/>
                      </a:lnTo>
                      <a:lnTo>
                        <a:pt x="91" y="567"/>
                      </a:lnTo>
                      <a:lnTo>
                        <a:pt x="91" y="567"/>
                      </a:lnTo>
                      <a:lnTo>
                        <a:pt x="92" y="568"/>
                      </a:lnTo>
                      <a:lnTo>
                        <a:pt x="93" y="568"/>
                      </a:lnTo>
                      <a:lnTo>
                        <a:pt x="93" y="567"/>
                      </a:lnTo>
                      <a:lnTo>
                        <a:pt x="93" y="566"/>
                      </a:lnTo>
                      <a:lnTo>
                        <a:pt x="93" y="566"/>
                      </a:lnTo>
                      <a:lnTo>
                        <a:pt x="93" y="566"/>
                      </a:lnTo>
                      <a:lnTo>
                        <a:pt x="94" y="566"/>
                      </a:lnTo>
                      <a:lnTo>
                        <a:pt x="95" y="566"/>
                      </a:lnTo>
                      <a:lnTo>
                        <a:pt x="95" y="566"/>
                      </a:lnTo>
                      <a:lnTo>
                        <a:pt x="95" y="567"/>
                      </a:lnTo>
                      <a:lnTo>
                        <a:pt x="96" y="567"/>
                      </a:lnTo>
                      <a:lnTo>
                        <a:pt x="97" y="567"/>
                      </a:lnTo>
                      <a:lnTo>
                        <a:pt x="97" y="567"/>
                      </a:lnTo>
                      <a:lnTo>
                        <a:pt x="98" y="568"/>
                      </a:lnTo>
                      <a:lnTo>
                        <a:pt x="99" y="568"/>
                      </a:lnTo>
                      <a:lnTo>
                        <a:pt x="99" y="567"/>
                      </a:lnTo>
                      <a:lnTo>
                        <a:pt x="99" y="566"/>
                      </a:lnTo>
                      <a:lnTo>
                        <a:pt x="98" y="566"/>
                      </a:lnTo>
                      <a:lnTo>
                        <a:pt x="98" y="566"/>
                      </a:lnTo>
                      <a:lnTo>
                        <a:pt x="98" y="565"/>
                      </a:lnTo>
                      <a:lnTo>
                        <a:pt x="99" y="565"/>
                      </a:lnTo>
                      <a:lnTo>
                        <a:pt x="99" y="566"/>
                      </a:lnTo>
                      <a:lnTo>
                        <a:pt x="99" y="566"/>
                      </a:lnTo>
                      <a:lnTo>
                        <a:pt x="100" y="566"/>
                      </a:lnTo>
                      <a:lnTo>
                        <a:pt x="101" y="566"/>
                      </a:lnTo>
                      <a:lnTo>
                        <a:pt x="102" y="566"/>
                      </a:lnTo>
                      <a:lnTo>
                        <a:pt x="102" y="566"/>
                      </a:lnTo>
                      <a:lnTo>
                        <a:pt x="103" y="566"/>
                      </a:lnTo>
                      <a:lnTo>
                        <a:pt x="103" y="567"/>
                      </a:lnTo>
                      <a:lnTo>
                        <a:pt x="102" y="567"/>
                      </a:lnTo>
                      <a:lnTo>
                        <a:pt x="102" y="567"/>
                      </a:lnTo>
                      <a:lnTo>
                        <a:pt x="102" y="568"/>
                      </a:lnTo>
                      <a:lnTo>
                        <a:pt x="102" y="568"/>
                      </a:lnTo>
                      <a:lnTo>
                        <a:pt x="102" y="568"/>
                      </a:lnTo>
                      <a:lnTo>
                        <a:pt x="102" y="569"/>
                      </a:lnTo>
                      <a:lnTo>
                        <a:pt x="102" y="570"/>
                      </a:lnTo>
                      <a:lnTo>
                        <a:pt x="102" y="571"/>
                      </a:lnTo>
                      <a:lnTo>
                        <a:pt x="103" y="571"/>
                      </a:lnTo>
                      <a:lnTo>
                        <a:pt x="104" y="571"/>
                      </a:lnTo>
                      <a:lnTo>
                        <a:pt x="104" y="571"/>
                      </a:lnTo>
                      <a:lnTo>
                        <a:pt x="104" y="571"/>
                      </a:lnTo>
                      <a:lnTo>
                        <a:pt x="105" y="571"/>
                      </a:lnTo>
                      <a:lnTo>
                        <a:pt x="105" y="572"/>
                      </a:lnTo>
                      <a:lnTo>
                        <a:pt x="105" y="573"/>
                      </a:lnTo>
                      <a:lnTo>
                        <a:pt x="104" y="573"/>
                      </a:lnTo>
                      <a:lnTo>
                        <a:pt x="104" y="573"/>
                      </a:lnTo>
                      <a:lnTo>
                        <a:pt x="104" y="574"/>
                      </a:lnTo>
                      <a:lnTo>
                        <a:pt x="104" y="575"/>
                      </a:lnTo>
                      <a:lnTo>
                        <a:pt x="105" y="575"/>
                      </a:lnTo>
                      <a:lnTo>
                        <a:pt x="105" y="575"/>
                      </a:lnTo>
                      <a:lnTo>
                        <a:pt x="106" y="575"/>
                      </a:lnTo>
                      <a:lnTo>
                        <a:pt x="106" y="575"/>
                      </a:lnTo>
                      <a:lnTo>
                        <a:pt x="107" y="575"/>
                      </a:lnTo>
                      <a:lnTo>
                        <a:pt x="107" y="575"/>
                      </a:lnTo>
                      <a:lnTo>
                        <a:pt x="106" y="575"/>
                      </a:lnTo>
                      <a:lnTo>
                        <a:pt x="106" y="574"/>
                      </a:lnTo>
                      <a:lnTo>
                        <a:pt x="107" y="574"/>
                      </a:lnTo>
                      <a:lnTo>
                        <a:pt x="107" y="573"/>
                      </a:lnTo>
                      <a:lnTo>
                        <a:pt x="108" y="573"/>
                      </a:lnTo>
                      <a:lnTo>
                        <a:pt x="108" y="573"/>
                      </a:lnTo>
                      <a:lnTo>
                        <a:pt x="109" y="573"/>
                      </a:lnTo>
                      <a:lnTo>
                        <a:pt x="110" y="573"/>
                      </a:lnTo>
                      <a:lnTo>
                        <a:pt x="110" y="573"/>
                      </a:lnTo>
                      <a:lnTo>
                        <a:pt x="110" y="573"/>
                      </a:lnTo>
                      <a:lnTo>
                        <a:pt x="110" y="572"/>
                      </a:lnTo>
                      <a:lnTo>
                        <a:pt x="111" y="571"/>
                      </a:lnTo>
                      <a:lnTo>
                        <a:pt x="112" y="571"/>
                      </a:lnTo>
                      <a:lnTo>
                        <a:pt x="112" y="572"/>
                      </a:lnTo>
                      <a:lnTo>
                        <a:pt x="112" y="572"/>
                      </a:lnTo>
                      <a:lnTo>
                        <a:pt x="112" y="571"/>
                      </a:lnTo>
                      <a:lnTo>
                        <a:pt x="113" y="572"/>
                      </a:lnTo>
                      <a:lnTo>
                        <a:pt x="113" y="573"/>
                      </a:lnTo>
                      <a:lnTo>
                        <a:pt x="114" y="573"/>
                      </a:lnTo>
                      <a:lnTo>
                        <a:pt x="114" y="573"/>
                      </a:lnTo>
                      <a:lnTo>
                        <a:pt x="114" y="574"/>
                      </a:lnTo>
                      <a:lnTo>
                        <a:pt x="114" y="575"/>
                      </a:lnTo>
                      <a:lnTo>
                        <a:pt x="114" y="575"/>
                      </a:lnTo>
                      <a:lnTo>
                        <a:pt x="114" y="575"/>
                      </a:lnTo>
                      <a:lnTo>
                        <a:pt x="114" y="575"/>
                      </a:lnTo>
                      <a:lnTo>
                        <a:pt x="114" y="575"/>
                      </a:lnTo>
                      <a:lnTo>
                        <a:pt x="114" y="575"/>
                      </a:lnTo>
                      <a:lnTo>
                        <a:pt x="115" y="575"/>
                      </a:lnTo>
                      <a:lnTo>
                        <a:pt x="115" y="574"/>
                      </a:lnTo>
                      <a:lnTo>
                        <a:pt x="116" y="574"/>
                      </a:lnTo>
                      <a:lnTo>
                        <a:pt x="116" y="573"/>
                      </a:lnTo>
                      <a:lnTo>
                        <a:pt x="116" y="573"/>
                      </a:lnTo>
                      <a:lnTo>
                        <a:pt x="117" y="573"/>
                      </a:lnTo>
                      <a:lnTo>
                        <a:pt x="117" y="573"/>
                      </a:lnTo>
                      <a:lnTo>
                        <a:pt x="117" y="572"/>
                      </a:lnTo>
                      <a:lnTo>
                        <a:pt x="118" y="573"/>
                      </a:lnTo>
                      <a:lnTo>
                        <a:pt x="118" y="573"/>
                      </a:lnTo>
                      <a:lnTo>
                        <a:pt x="118" y="574"/>
                      </a:lnTo>
                      <a:lnTo>
                        <a:pt x="118" y="575"/>
                      </a:lnTo>
                      <a:lnTo>
                        <a:pt x="118" y="574"/>
                      </a:lnTo>
                      <a:lnTo>
                        <a:pt x="118" y="574"/>
                      </a:lnTo>
                      <a:lnTo>
                        <a:pt x="118" y="575"/>
                      </a:lnTo>
                      <a:lnTo>
                        <a:pt x="119" y="575"/>
                      </a:lnTo>
                      <a:lnTo>
                        <a:pt x="120" y="574"/>
                      </a:lnTo>
                      <a:lnTo>
                        <a:pt x="120" y="575"/>
                      </a:lnTo>
                      <a:lnTo>
                        <a:pt x="121" y="575"/>
                      </a:lnTo>
                      <a:lnTo>
                        <a:pt x="121" y="575"/>
                      </a:lnTo>
                      <a:lnTo>
                        <a:pt x="121" y="576"/>
                      </a:lnTo>
                      <a:lnTo>
                        <a:pt x="121" y="577"/>
                      </a:lnTo>
                      <a:lnTo>
                        <a:pt x="121" y="577"/>
                      </a:lnTo>
                      <a:lnTo>
                        <a:pt x="121" y="578"/>
                      </a:lnTo>
                      <a:lnTo>
                        <a:pt x="121" y="579"/>
                      </a:lnTo>
                      <a:lnTo>
                        <a:pt x="122" y="579"/>
                      </a:lnTo>
                      <a:lnTo>
                        <a:pt x="123" y="579"/>
                      </a:lnTo>
                      <a:lnTo>
                        <a:pt x="123" y="579"/>
                      </a:lnTo>
                      <a:lnTo>
                        <a:pt x="123" y="580"/>
                      </a:lnTo>
                      <a:lnTo>
                        <a:pt x="124" y="580"/>
                      </a:lnTo>
                      <a:lnTo>
                        <a:pt x="124" y="581"/>
                      </a:lnTo>
                      <a:lnTo>
                        <a:pt x="125" y="581"/>
                      </a:lnTo>
                      <a:lnTo>
                        <a:pt x="125" y="581"/>
                      </a:lnTo>
                      <a:lnTo>
                        <a:pt x="126" y="581"/>
                      </a:lnTo>
                      <a:lnTo>
                        <a:pt x="126" y="581"/>
                      </a:lnTo>
                      <a:lnTo>
                        <a:pt x="125" y="581"/>
                      </a:lnTo>
                      <a:lnTo>
                        <a:pt x="125" y="582"/>
                      </a:lnTo>
                      <a:lnTo>
                        <a:pt x="125" y="583"/>
                      </a:lnTo>
                      <a:lnTo>
                        <a:pt x="125" y="583"/>
                      </a:lnTo>
                      <a:lnTo>
                        <a:pt x="126" y="583"/>
                      </a:lnTo>
                      <a:lnTo>
                        <a:pt x="127" y="583"/>
                      </a:lnTo>
                      <a:lnTo>
                        <a:pt x="127" y="584"/>
                      </a:lnTo>
                      <a:lnTo>
                        <a:pt x="126" y="584"/>
                      </a:lnTo>
                      <a:lnTo>
                        <a:pt x="126" y="585"/>
                      </a:lnTo>
                      <a:lnTo>
                        <a:pt x="126" y="585"/>
                      </a:lnTo>
                      <a:lnTo>
                        <a:pt x="126" y="586"/>
                      </a:lnTo>
                      <a:lnTo>
                        <a:pt x="127" y="586"/>
                      </a:lnTo>
                      <a:lnTo>
                        <a:pt x="127" y="585"/>
                      </a:lnTo>
                      <a:lnTo>
                        <a:pt x="128" y="585"/>
                      </a:lnTo>
                      <a:lnTo>
                        <a:pt x="128" y="585"/>
                      </a:lnTo>
                      <a:lnTo>
                        <a:pt x="129" y="585"/>
                      </a:lnTo>
                      <a:lnTo>
                        <a:pt x="129" y="584"/>
                      </a:lnTo>
                      <a:lnTo>
                        <a:pt x="129" y="585"/>
                      </a:lnTo>
                      <a:lnTo>
                        <a:pt x="129" y="585"/>
                      </a:lnTo>
                      <a:lnTo>
                        <a:pt x="129" y="58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197" name="Freeform 8">
                  <a:extLst>
                    <a:ext uri="{FF2B5EF4-FFF2-40B4-BE49-F238E27FC236}">
                      <a16:creationId xmlns:a16="http://schemas.microsoft.com/office/drawing/2014/main" xmlns="" id="{A08C7E6B-BCDF-C89F-DAC3-BC13EC5A9F91}"/>
                    </a:ext>
                  </a:extLst>
                </p:cNvPr>
                <p:cNvSpPr>
                  <a:spLocks/>
                </p:cNvSpPr>
                <p:nvPr/>
              </p:nvSpPr>
              <p:spPr bwMode="auto">
                <a:xfrm>
                  <a:off x="2529" y="2137"/>
                  <a:ext cx="1039" cy="392"/>
                </a:xfrm>
                <a:custGeom>
                  <a:avLst/>
                  <a:gdLst>
                    <a:gd name="T0" fmla="*/ 1016 w 1039"/>
                    <a:gd name="T1" fmla="*/ 183 h 392"/>
                    <a:gd name="T2" fmla="*/ 1018 w 1039"/>
                    <a:gd name="T3" fmla="*/ 186 h 392"/>
                    <a:gd name="T4" fmla="*/ 1025 w 1039"/>
                    <a:gd name="T5" fmla="*/ 188 h 392"/>
                    <a:gd name="T6" fmla="*/ 1026 w 1039"/>
                    <a:gd name="T7" fmla="*/ 193 h 392"/>
                    <a:gd name="T8" fmla="*/ 1025 w 1039"/>
                    <a:gd name="T9" fmla="*/ 196 h 392"/>
                    <a:gd name="T10" fmla="*/ 1025 w 1039"/>
                    <a:gd name="T11" fmla="*/ 200 h 392"/>
                    <a:gd name="T12" fmla="*/ 1025 w 1039"/>
                    <a:gd name="T13" fmla="*/ 205 h 392"/>
                    <a:gd name="T14" fmla="*/ 1026 w 1039"/>
                    <a:gd name="T15" fmla="*/ 209 h 392"/>
                    <a:gd name="T16" fmla="*/ 1027 w 1039"/>
                    <a:gd name="T17" fmla="*/ 213 h 392"/>
                    <a:gd name="T18" fmla="*/ 1031 w 1039"/>
                    <a:gd name="T19" fmla="*/ 219 h 392"/>
                    <a:gd name="T20" fmla="*/ 1033 w 1039"/>
                    <a:gd name="T21" fmla="*/ 217 h 392"/>
                    <a:gd name="T22" fmla="*/ 1037 w 1039"/>
                    <a:gd name="T23" fmla="*/ 219 h 392"/>
                    <a:gd name="T24" fmla="*/ 1039 w 1039"/>
                    <a:gd name="T25" fmla="*/ 226 h 392"/>
                    <a:gd name="T26" fmla="*/ 564 w 1039"/>
                    <a:gd name="T27" fmla="*/ 358 h 392"/>
                    <a:gd name="T28" fmla="*/ 281 w 1039"/>
                    <a:gd name="T29" fmla="*/ 295 h 392"/>
                    <a:gd name="T30" fmla="*/ 273 w 1039"/>
                    <a:gd name="T31" fmla="*/ 289 h 392"/>
                    <a:gd name="T32" fmla="*/ 203 w 1039"/>
                    <a:gd name="T33" fmla="*/ 243 h 392"/>
                    <a:gd name="T34" fmla="*/ 161 w 1039"/>
                    <a:gd name="T35" fmla="*/ 217 h 392"/>
                    <a:gd name="T36" fmla="*/ 148 w 1039"/>
                    <a:gd name="T37" fmla="*/ 191 h 392"/>
                    <a:gd name="T38" fmla="*/ 136 w 1039"/>
                    <a:gd name="T39" fmla="*/ 164 h 392"/>
                    <a:gd name="T40" fmla="*/ 133 w 1039"/>
                    <a:gd name="T41" fmla="*/ 156 h 392"/>
                    <a:gd name="T42" fmla="*/ 127 w 1039"/>
                    <a:gd name="T43" fmla="*/ 152 h 392"/>
                    <a:gd name="T44" fmla="*/ 125 w 1039"/>
                    <a:gd name="T45" fmla="*/ 145 h 392"/>
                    <a:gd name="T46" fmla="*/ 121 w 1039"/>
                    <a:gd name="T47" fmla="*/ 140 h 392"/>
                    <a:gd name="T48" fmla="*/ 116 w 1039"/>
                    <a:gd name="T49" fmla="*/ 135 h 392"/>
                    <a:gd name="T50" fmla="*/ 111 w 1039"/>
                    <a:gd name="T51" fmla="*/ 131 h 392"/>
                    <a:gd name="T52" fmla="*/ 105 w 1039"/>
                    <a:gd name="T53" fmla="*/ 127 h 392"/>
                    <a:gd name="T54" fmla="*/ 100 w 1039"/>
                    <a:gd name="T55" fmla="*/ 123 h 392"/>
                    <a:gd name="T56" fmla="*/ 96 w 1039"/>
                    <a:gd name="T57" fmla="*/ 120 h 392"/>
                    <a:gd name="T58" fmla="*/ 91 w 1039"/>
                    <a:gd name="T59" fmla="*/ 116 h 392"/>
                    <a:gd name="T60" fmla="*/ 85 w 1039"/>
                    <a:gd name="T61" fmla="*/ 111 h 392"/>
                    <a:gd name="T62" fmla="*/ 82 w 1039"/>
                    <a:gd name="T63" fmla="*/ 109 h 392"/>
                    <a:gd name="T64" fmla="*/ 79 w 1039"/>
                    <a:gd name="T65" fmla="*/ 106 h 392"/>
                    <a:gd name="T66" fmla="*/ 83 w 1039"/>
                    <a:gd name="T67" fmla="*/ 99 h 392"/>
                    <a:gd name="T68" fmla="*/ 87 w 1039"/>
                    <a:gd name="T69" fmla="*/ 92 h 392"/>
                    <a:gd name="T70" fmla="*/ 87 w 1039"/>
                    <a:gd name="T71" fmla="*/ 83 h 392"/>
                    <a:gd name="T72" fmla="*/ 81 w 1039"/>
                    <a:gd name="T73" fmla="*/ 80 h 392"/>
                    <a:gd name="T74" fmla="*/ 74 w 1039"/>
                    <a:gd name="T75" fmla="*/ 76 h 392"/>
                    <a:gd name="T76" fmla="*/ 74 w 1039"/>
                    <a:gd name="T77" fmla="*/ 70 h 392"/>
                    <a:gd name="T78" fmla="*/ 74 w 1039"/>
                    <a:gd name="T79" fmla="*/ 65 h 392"/>
                    <a:gd name="T80" fmla="*/ 70 w 1039"/>
                    <a:gd name="T81" fmla="*/ 58 h 392"/>
                    <a:gd name="T82" fmla="*/ 67 w 1039"/>
                    <a:gd name="T83" fmla="*/ 53 h 392"/>
                    <a:gd name="T84" fmla="*/ 65 w 1039"/>
                    <a:gd name="T85" fmla="*/ 49 h 392"/>
                    <a:gd name="T86" fmla="*/ 62 w 1039"/>
                    <a:gd name="T87" fmla="*/ 44 h 392"/>
                    <a:gd name="T88" fmla="*/ 57 w 1039"/>
                    <a:gd name="T89" fmla="*/ 42 h 392"/>
                    <a:gd name="T90" fmla="*/ 56 w 1039"/>
                    <a:gd name="T91" fmla="*/ 38 h 392"/>
                    <a:gd name="T92" fmla="*/ 52 w 1039"/>
                    <a:gd name="T93" fmla="*/ 34 h 392"/>
                    <a:gd name="T94" fmla="*/ 47 w 1039"/>
                    <a:gd name="T95" fmla="*/ 33 h 392"/>
                    <a:gd name="T96" fmla="*/ 45 w 1039"/>
                    <a:gd name="T97" fmla="*/ 28 h 392"/>
                    <a:gd name="T98" fmla="*/ 47 w 1039"/>
                    <a:gd name="T99" fmla="*/ 24 h 392"/>
                    <a:gd name="T100" fmla="*/ 46 w 1039"/>
                    <a:gd name="T101" fmla="*/ 19 h 392"/>
                    <a:gd name="T102" fmla="*/ 42 w 1039"/>
                    <a:gd name="T103" fmla="*/ 18 h 392"/>
                    <a:gd name="T104" fmla="*/ 35 w 1039"/>
                    <a:gd name="T105" fmla="*/ 13 h 392"/>
                    <a:gd name="T106" fmla="*/ 32 w 1039"/>
                    <a:gd name="T107" fmla="*/ 11 h 392"/>
                    <a:gd name="T108" fmla="*/ 27 w 1039"/>
                    <a:gd name="T109" fmla="*/ 14 h 392"/>
                    <a:gd name="T110" fmla="*/ 21 w 1039"/>
                    <a:gd name="T111" fmla="*/ 14 h 392"/>
                    <a:gd name="T112" fmla="*/ 15 w 1039"/>
                    <a:gd name="T113" fmla="*/ 9 h 392"/>
                    <a:gd name="T114" fmla="*/ 10 w 1039"/>
                    <a:gd name="T115" fmla="*/ 8 h 392"/>
                    <a:gd name="T116" fmla="*/ 4 w 1039"/>
                    <a:gd name="T117" fmla="*/ 4 h 392"/>
                    <a:gd name="T118" fmla="*/ 0 w 1039"/>
                    <a:gd name="T119" fmla="*/ 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9" h="392">
                      <a:moveTo>
                        <a:pt x="1014" y="179"/>
                      </a:moveTo>
                      <a:lnTo>
                        <a:pt x="1015" y="179"/>
                      </a:lnTo>
                      <a:lnTo>
                        <a:pt x="1015" y="180"/>
                      </a:lnTo>
                      <a:lnTo>
                        <a:pt x="1016" y="180"/>
                      </a:lnTo>
                      <a:lnTo>
                        <a:pt x="1016" y="181"/>
                      </a:lnTo>
                      <a:lnTo>
                        <a:pt x="1016" y="181"/>
                      </a:lnTo>
                      <a:lnTo>
                        <a:pt x="1015" y="181"/>
                      </a:lnTo>
                      <a:lnTo>
                        <a:pt x="1014" y="182"/>
                      </a:lnTo>
                      <a:lnTo>
                        <a:pt x="1014" y="182"/>
                      </a:lnTo>
                      <a:lnTo>
                        <a:pt x="1013" y="183"/>
                      </a:lnTo>
                      <a:lnTo>
                        <a:pt x="1014" y="183"/>
                      </a:lnTo>
                      <a:lnTo>
                        <a:pt x="1014" y="183"/>
                      </a:lnTo>
                      <a:lnTo>
                        <a:pt x="1014" y="183"/>
                      </a:lnTo>
                      <a:lnTo>
                        <a:pt x="1015" y="183"/>
                      </a:lnTo>
                      <a:lnTo>
                        <a:pt x="1015" y="182"/>
                      </a:lnTo>
                      <a:lnTo>
                        <a:pt x="1015" y="183"/>
                      </a:lnTo>
                      <a:lnTo>
                        <a:pt x="1016" y="183"/>
                      </a:lnTo>
                      <a:lnTo>
                        <a:pt x="1016" y="183"/>
                      </a:lnTo>
                      <a:lnTo>
                        <a:pt x="1016" y="184"/>
                      </a:lnTo>
                      <a:lnTo>
                        <a:pt x="1016" y="184"/>
                      </a:lnTo>
                      <a:lnTo>
                        <a:pt x="1016" y="185"/>
                      </a:lnTo>
                      <a:lnTo>
                        <a:pt x="1016" y="185"/>
                      </a:lnTo>
                      <a:lnTo>
                        <a:pt x="1016" y="185"/>
                      </a:lnTo>
                      <a:lnTo>
                        <a:pt x="1016" y="186"/>
                      </a:lnTo>
                      <a:lnTo>
                        <a:pt x="1016" y="186"/>
                      </a:lnTo>
                      <a:lnTo>
                        <a:pt x="1016" y="187"/>
                      </a:lnTo>
                      <a:lnTo>
                        <a:pt x="1016" y="188"/>
                      </a:lnTo>
                      <a:lnTo>
                        <a:pt x="1017" y="188"/>
                      </a:lnTo>
                      <a:lnTo>
                        <a:pt x="1017" y="187"/>
                      </a:lnTo>
                      <a:lnTo>
                        <a:pt x="1017" y="186"/>
                      </a:lnTo>
                      <a:lnTo>
                        <a:pt x="1018" y="186"/>
                      </a:lnTo>
                      <a:lnTo>
                        <a:pt x="1018" y="186"/>
                      </a:lnTo>
                      <a:lnTo>
                        <a:pt x="1018" y="186"/>
                      </a:lnTo>
                      <a:lnTo>
                        <a:pt x="1018" y="186"/>
                      </a:lnTo>
                      <a:lnTo>
                        <a:pt x="1019" y="186"/>
                      </a:lnTo>
                      <a:lnTo>
                        <a:pt x="1019" y="187"/>
                      </a:lnTo>
                      <a:lnTo>
                        <a:pt x="1020" y="187"/>
                      </a:lnTo>
                      <a:lnTo>
                        <a:pt x="1020" y="187"/>
                      </a:lnTo>
                      <a:lnTo>
                        <a:pt x="1020" y="188"/>
                      </a:lnTo>
                      <a:lnTo>
                        <a:pt x="1020" y="188"/>
                      </a:lnTo>
                      <a:lnTo>
                        <a:pt x="1020" y="189"/>
                      </a:lnTo>
                      <a:lnTo>
                        <a:pt x="1020" y="189"/>
                      </a:lnTo>
                      <a:lnTo>
                        <a:pt x="1021" y="189"/>
                      </a:lnTo>
                      <a:lnTo>
                        <a:pt x="1022" y="189"/>
                      </a:lnTo>
                      <a:lnTo>
                        <a:pt x="1022" y="189"/>
                      </a:lnTo>
                      <a:lnTo>
                        <a:pt x="1023" y="189"/>
                      </a:lnTo>
                      <a:lnTo>
                        <a:pt x="1023" y="188"/>
                      </a:lnTo>
                      <a:lnTo>
                        <a:pt x="1023" y="188"/>
                      </a:lnTo>
                      <a:lnTo>
                        <a:pt x="1024" y="188"/>
                      </a:lnTo>
                      <a:lnTo>
                        <a:pt x="1024" y="188"/>
                      </a:lnTo>
                      <a:lnTo>
                        <a:pt x="1025" y="188"/>
                      </a:lnTo>
                      <a:lnTo>
                        <a:pt x="1025" y="189"/>
                      </a:lnTo>
                      <a:lnTo>
                        <a:pt x="1025" y="189"/>
                      </a:lnTo>
                      <a:lnTo>
                        <a:pt x="1026" y="190"/>
                      </a:lnTo>
                      <a:lnTo>
                        <a:pt x="1025" y="190"/>
                      </a:lnTo>
                      <a:lnTo>
                        <a:pt x="1025" y="190"/>
                      </a:lnTo>
                      <a:lnTo>
                        <a:pt x="1025" y="190"/>
                      </a:lnTo>
                      <a:lnTo>
                        <a:pt x="1024" y="191"/>
                      </a:lnTo>
                      <a:lnTo>
                        <a:pt x="1025" y="191"/>
                      </a:lnTo>
                      <a:lnTo>
                        <a:pt x="1025" y="191"/>
                      </a:lnTo>
                      <a:lnTo>
                        <a:pt x="1026" y="191"/>
                      </a:lnTo>
                      <a:lnTo>
                        <a:pt x="1027" y="191"/>
                      </a:lnTo>
                      <a:lnTo>
                        <a:pt x="1027" y="191"/>
                      </a:lnTo>
                      <a:lnTo>
                        <a:pt x="1027" y="192"/>
                      </a:lnTo>
                      <a:lnTo>
                        <a:pt x="1027" y="192"/>
                      </a:lnTo>
                      <a:lnTo>
                        <a:pt x="1027" y="192"/>
                      </a:lnTo>
                      <a:lnTo>
                        <a:pt x="1026" y="192"/>
                      </a:lnTo>
                      <a:lnTo>
                        <a:pt x="1026" y="193"/>
                      </a:lnTo>
                      <a:lnTo>
                        <a:pt x="1025" y="193"/>
                      </a:lnTo>
                      <a:lnTo>
                        <a:pt x="1025" y="193"/>
                      </a:lnTo>
                      <a:lnTo>
                        <a:pt x="1024" y="194"/>
                      </a:lnTo>
                      <a:lnTo>
                        <a:pt x="1024" y="194"/>
                      </a:lnTo>
                      <a:lnTo>
                        <a:pt x="1024" y="195"/>
                      </a:lnTo>
                      <a:lnTo>
                        <a:pt x="1025" y="195"/>
                      </a:lnTo>
                      <a:lnTo>
                        <a:pt x="1025" y="194"/>
                      </a:lnTo>
                      <a:lnTo>
                        <a:pt x="1025" y="194"/>
                      </a:lnTo>
                      <a:lnTo>
                        <a:pt x="1026" y="194"/>
                      </a:lnTo>
                      <a:lnTo>
                        <a:pt x="1026" y="194"/>
                      </a:lnTo>
                      <a:lnTo>
                        <a:pt x="1027" y="194"/>
                      </a:lnTo>
                      <a:lnTo>
                        <a:pt x="1027" y="194"/>
                      </a:lnTo>
                      <a:lnTo>
                        <a:pt x="1027" y="194"/>
                      </a:lnTo>
                      <a:lnTo>
                        <a:pt x="1027" y="195"/>
                      </a:lnTo>
                      <a:lnTo>
                        <a:pt x="1026" y="195"/>
                      </a:lnTo>
                      <a:lnTo>
                        <a:pt x="1025" y="195"/>
                      </a:lnTo>
                      <a:lnTo>
                        <a:pt x="1025" y="196"/>
                      </a:lnTo>
                      <a:lnTo>
                        <a:pt x="1025" y="196"/>
                      </a:lnTo>
                      <a:lnTo>
                        <a:pt x="1025" y="197"/>
                      </a:lnTo>
                      <a:lnTo>
                        <a:pt x="1025" y="197"/>
                      </a:lnTo>
                      <a:lnTo>
                        <a:pt x="1025" y="198"/>
                      </a:lnTo>
                      <a:lnTo>
                        <a:pt x="1026" y="198"/>
                      </a:lnTo>
                      <a:lnTo>
                        <a:pt x="1026" y="198"/>
                      </a:lnTo>
                      <a:lnTo>
                        <a:pt x="1025" y="198"/>
                      </a:lnTo>
                      <a:lnTo>
                        <a:pt x="1025" y="199"/>
                      </a:lnTo>
                      <a:lnTo>
                        <a:pt x="1025" y="198"/>
                      </a:lnTo>
                      <a:lnTo>
                        <a:pt x="1024" y="198"/>
                      </a:lnTo>
                      <a:lnTo>
                        <a:pt x="1023" y="198"/>
                      </a:lnTo>
                      <a:lnTo>
                        <a:pt x="1023" y="199"/>
                      </a:lnTo>
                      <a:lnTo>
                        <a:pt x="1024" y="199"/>
                      </a:lnTo>
                      <a:lnTo>
                        <a:pt x="1024" y="200"/>
                      </a:lnTo>
                      <a:lnTo>
                        <a:pt x="1025" y="200"/>
                      </a:lnTo>
                      <a:lnTo>
                        <a:pt x="1025" y="199"/>
                      </a:lnTo>
                      <a:lnTo>
                        <a:pt x="1025" y="200"/>
                      </a:lnTo>
                      <a:lnTo>
                        <a:pt x="1025" y="200"/>
                      </a:lnTo>
                      <a:lnTo>
                        <a:pt x="1025" y="200"/>
                      </a:lnTo>
                      <a:lnTo>
                        <a:pt x="1026" y="200"/>
                      </a:lnTo>
                      <a:lnTo>
                        <a:pt x="1026" y="201"/>
                      </a:lnTo>
                      <a:lnTo>
                        <a:pt x="1027" y="201"/>
                      </a:lnTo>
                      <a:lnTo>
                        <a:pt x="1027" y="202"/>
                      </a:lnTo>
                      <a:lnTo>
                        <a:pt x="1027" y="202"/>
                      </a:lnTo>
                      <a:lnTo>
                        <a:pt x="1027" y="202"/>
                      </a:lnTo>
                      <a:lnTo>
                        <a:pt x="1026" y="202"/>
                      </a:lnTo>
                      <a:lnTo>
                        <a:pt x="1025" y="202"/>
                      </a:lnTo>
                      <a:lnTo>
                        <a:pt x="1025" y="201"/>
                      </a:lnTo>
                      <a:lnTo>
                        <a:pt x="1025" y="201"/>
                      </a:lnTo>
                      <a:lnTo>
                        <a:pt x="1025" y="202"/>
                      </a:lnTo>
                      <a:lnTo>
                        <a:pt x="1025" y="202"/>
                      </a:lnTo>
                      <a:lnTo>
                        <a:pt x="1025" y="203"/>
                      </a:lnTo>
                      <a:lnTo>
                        <a:pt x="1025" y="204"/>
                      </a:lnTo>
                      <a:lnTo>
                        <a:pt x="1025" y="205"/>
                      </a:lnTo>
                      <a:lnTo>
                        <a:pt x="1025" y="205"/>
                      </a:lnTo>
                      <a:lnTo>
                        <a:pt x="1025" y="205"/>
                      </a:lnTo>
                      <a:lnTo>
                        <a:pt x="1025" y="206"/>
                      </a:lnTo>
                      <a:lnTo>
                        <a:pt x="1026" y="206"/>
                      </a:lnTo>
                      <a:lnTo>
                        <a:pt x="1027" y="206"/>
                      </a:lnTo>
                      <a:lnTo>
                        <a:pt x="1027" y="207"/>
                      </a:lnTo>
                      <a:lnTo>
                        <a:pt x="1026" y="207"/>
                      </a:lnTo>
                      <a:lnTo>
                        <a:pt x="1025" y="207"/>
                      </a:lnTo>
                      <a:lnTo>
                        <a:pt x="1025" y="207"/>
                      </a:lnTo>
                      <a:lnTo>
                        <a:pt x="1024" y="207"/>
                      </a:lnTo>
                      <a:lnTo>
                        <a:pt x="1024" y="207"/>
                      </a:lnTo>
                      <a:lnTo>
                        <a:pt x="1024" y="208"/>
                      </a:lnTo>
                      <a:lnTo>
                        <a:pt x="1025" y="209"/>
                      </a:lnTo>
                      <a:lnTo>
                        <a:pt x="1025" y="209"/>
                      </a:lnTo>
                      <a:lnTo>
                        <a:pt x="1025" y="209"/>
                      </a:lnTo>
                      <a:lnTo>
                        <a:pt x="1025" y="209"/>
                      </a:lnTo>
                      <a:lnTo>
                        <a:pt x="1026" y="209"/>
                      </a:lnTo>
                      <a:lnTo>
                        <a:pt x="1026" y="210"/>
                      </a:lnTo>
                      <a:lnTo>
                        <a:pt x="1025" y="210"/>
                      </a:lnTo>
                      <a:lnTo>
                        <a:pt x="1025" y="210"/>
                      </a:lnTo>
                      <a:lnTo>
                        <a:pt x="1024" y="210"/>
                      </a:lnTo>
                      <a:lnTo>
                        <a:pt x="1023" y="210"/>
                      </a:lnTo>
                      <a:lnTo>
                        <a:pt x="1023" y="211"/>
                      </a:lnTo>
                      <a:lnTo>
                        <a:pt x="1023" y="211"/>
                      </a:lnTo>
                      <a:lnTo>
                        <a:pt x="1024" y="211"/>
                      </a:lnTo>
                      <a:lnTo>
                        <a:pt x="1024" y="212"/>
                      </a:lnTo>
                      <a:lnTo>
                        <a:pt x="1025" y="212"/>
                      </a:lnTo>
                      <a:lnTo>
                        <a:pt x="1025" y="212"/>
                      </a:lnTo>
                      <a:lnTo>
                        <a:pt x="1025" y="211"/>
                      </a:lnTo>
                      <a:lnTo>
                        <a:pt x="1026" y="211"/>
                      </a:lnTo>
                      <a:lnTo>
                        <a:pt x="1027" y="211"/>
                      </a:lnTo>
                      <a:lnTo>
                        <a:pt x="1027" y="211"/>
                      </a:lnTo>
                      <a:lnTo>
                        <a:pt x="1027" y="212"/>
                      </a:lnTo>
                      <a:lnTo>
                        <a:pt x="1027" y="213"/>
                      </a:lnTo>
                      <a:lnTo>
                        <a:pt x="1027" y="213"/>
                      </a:lnTo>
                      <a:lnTo>
                        <a:pt x="1027" y="213"/>
                      </a:lnTo>
                      <a:lnTo>
                        <a:pt x="1028" y="213"/>
                      </a:lnTo>
                      <a:lnTo>
                        <a:pt x="1028" y="214"/>
                      </a:lnTo>
                      <a:lnTo>
                        <a:pt x="1029" y="214"/>
                      </a:lnTo>
                      <a:lnTo>
                        <a:pt x="1029" y="215"/>
                      </a:lnTo>
                      <a:lnTo>
                        <a:pt x="1029" y="215"/>
                      </a:lnTo>
                      <a:lnTo>
                        <a:pt x="1028" y="215"/>
                      </a:lnTo>
                      <a:lnTo>
                        <a:pt x="1028" y="215"/>
                      </a:lnTo>
                      <a:lnTo>
                        <a:pt x="1027" y="215"/>
                      </a:lnTo>
                      <a:lnTo>
                        <a:pt x="1027" y="216"/>
                      </a:lnTo>
                      <a:lnTo>
                        <a:pt x="1027" y="217"/>
                      </a:lnTo>
                      <a:lnTo>
                        <a:pt x="1028" y="217"/>
                      </a:lnTo>
                      <a:lnTo>
                        <a:pt x="1029" y="217"/>
                      </a:lnTo>
                      <a:lnTo>
                        <a:pt x="1029" y="217"/>
                      </a:lnTo>
                      <a:lnTo>
                        <a:pt x="1030" y="218"/>
                      </a:lnTo>
                      <a:lnTo>
                        <a:pt x="1031" y="219"/>
                      </a:lnTo>
                      <a:lnTo>
                        <a:pt x="1031" y="218"/>
                      </a:lnTo>
                      <a:lnTo>
                        <a:pt x="1031" y="217"/>
                      </a:lnTo>
                      <a:lnTo>
                        <a:pt x="1031" y="217"/>
                      </a:lnTo>
                      <a:lnTo>
                        <a:pt x="1031" y="217"/>
                      </a:lnTo>
                      <a:lnTo>
                        <a:pt x="1031" y="216"/>
                      </a:lnTo>
                      <a:lnTo>
                        <a:pt x="1032" y="216"/>
                      </a:lnTo>
                      <a:lnTo>
                        <a:pt x="1032" y="215"/>
                      </a:lnTo>
                      <a:lnTo>
                        <a:pt x="1033" y="215"/>
                      </a:lnTo>
                      <a:lnTo>
                        <a:pt x="1033" y="216"/>
                      </a:lnTo>
                      <a:lnTo>
                        <a:pt x="1033" y="216"/>
                      </a:lnTo>
                      <a:lnTo>
                        <a:pt x="1034" y="216"/>
                      </a:lnTo>
                      <a:lnTo>
                        <a:pt x="1034" y="217"/>
                      </a:lnTo>
                      <a:lnTo>
                        <a:pt x="1035" y="217"/>
                      </a:lnTo>
                      <a:lnTo>
                        <a:pt x="1035" y="217"/>
                      </a:lnTo>
                      <a:lnTo>
                        <a:pt x="1035" y="218"/>
                      </a:lnTo>
                      <a:lnTo>
                        <a:pt x="1034" y="217"/>
                      </a:lnTo>
                      <a:lnTo>
                        <a:pt x="1033" y="217"/>
                      </a:lnTo>
                      <a:lnTo>
                        <a:pt x="1033" y="217"/>
                      </a:lnTo>
                      <a:lnTo>
                        <a:pt x="1033" y="218"/>
                      </a:lnTo>
                      <a:lnTo>
                        <a:pt x="1032" y="218"/>
                      </a:lnTo>
                      <a:lnTo>
                        <a:pt x="1032" y="219"/>
                      </a:lnTo>
                      <a:lnTo>
                        <a:pt x="1032" y="219"/>
                      </a:lnTo>
                      <a:lnTo>
                        <a:pt x="1032" y="220"/>
                      </a:lnTo>
                      <a:lnTo>
                        <a:pt x="1033" y="219"/>
                      </a:lnTo>
                      <a:lnTo>
                        <a:pt x="1033" y="219"/>
                      </a:lnTo>
                      <a:lnTo>
                        <a:pt x="1034" y="219"/>
                      </a:lnTo>
                      <a:lnTo>
                        <a:pt x="1035" y="219"/>
                      </a:lnTo>
                      <a:lnTo>
                        <a:pt x="1035" y="219"/>
                      </a:lnTo>
                      <a:lnTo>
                        <a:pt x="1036" y="219"/>
                      </a:lnTo>
                      <a:lnTo>
                        <a:pt x="1037" y="219"/>
                      </a:lnTo>
                      <a:lnTo>
                        <a:pt x="1037" y="219"/>
                      </a:lnTo>
                      <a:lnTo>
                        <a:pt x="1037" y="219"/>
                      </a:lnTo>
                      <a:lnTo>
                        <a:pt x="1037" y="220"/>
                      </a:lnTo>
                      <a:lnTo>
                        <a:pt x="1037" y="219"/>
                      </a:lnTo>
                      <a:lnTo>
                        <a:pt x="1038" y="219"/>
                      </a:lnTo>
                      <a:lnTo>
                        <a:pt x="1038" y="220"/>
                      </a:lnTo>
                      <a:lnTo>
                        <a:pt x="1038" y="221"/>
                      </a:lnTo>
                      <a:lnTo>
                        <a:pt x="1037" y="221"/>
                      </a:lnTo>
                      <a:lnTo>
                        <a:pt x="1037" y="221"/>
                      </a:lnTo>
                      <a:lnTo>
                        <a:pt x="1038" y="221"/>
                      </a:lnTo>
                      <a:lnTo>
                        <a:pt x="1039" y="221"/>
                      </a:lnTo>
                      <a:lnTo>
                        <a:pt x="1039" y="222"/>
                      </a:lnTo>
                      <a:lnTo>
                        <a:pt x="1038" y="222"/>
                      </a:lnTo>
                      <a:lnTo>
                        <a:pt x="1038" y="223"/>
                      </a:lnTo>
                      <a:lnTo>
                        <a:pt x="1037" y="223"/>
                      </a:lnTo>
                      <a:lnTo>
                        <a:pt x="1037" y="224"/>
                      </a:lnTo>
                      <a:lnTo>
                        <a:pt x="1037" y="224"/>
                      </a:lnTo>
                      <a:lnTo>
                        <a:pt x="1037" y="225"/>
                      </a:lnTo>
                      <a:lnTo>
                        <a:pt x="1038" y="225"/>
                      </a:lnTo>
                      <a:lnTo>
                        <a:pt x="1039" y="226"/>
                      </a:lnTo>
                      <a:lnTo>
                        <a:pt x="1039" y="226"/>
                      </a:lnTo>
                      <a:lnTo>
                        <a:pt x="1039" y="226"/>
                      </a:lnTo>
                      <a:lnTo>
                        <a:pt x="1039" y="227"/>
                      </a:lnTo>
                      <a:lnTo>
                        <a:pt x="756" y="213"/>
                      </a:lnTo>
                      <a:lnTo>
                        <a:pt x="695" y="207"/>
                      </a:lnTo>
                      <a:lnTo>
                        <a:pt x="694" y="207"/>
                      </a:lnTo>
                      <a:lnTo>
                        <a:pt x="674" y="207"/>
                      </a:lnTo>
                      <a:lnTo>
                        <a:pt x="666" y="207"/>
                      </a:lnTo>
                      <a:lnTo>
                        <a:pt x="635" y="207"/>
                      </a:lnTo>
                      <a:lnTo>
                        <a:pt x="624" y="213"/>
                      </a:lnTo>
                      <a:lnTo>
                        <a:pt x="619" y="217"/>
                      </a:lnTo>
                      <a:lnTo>
                        <a:pt x="614" y="222"/>
                      </a:lnTo>
                      <a:lnTo>
                        <a:pt x="606" y="235"/>
                      </a:lnTo>
                      <a:lnTo>
                        <a:pt x="604" y="242"/>
                      </a:lnTo>
                      <a:lnTo>
                        <a:pt x="602" y="261"/>
                      </a:lnTo>
                      <a:lnTo>
                        <a:pt x="596" y="310"/>
                      </a:lnTo>
                      <a:lnTo>
                        <a:pt x="589" y="323"/>
                      </a:lnTo>
                      <a:lnTo>
                        <a:pt x="564" y="358"/>
                      </a:lnTo>
                      <a:lnTo>
                        <a:pt x="536" y="367"/>
                      </a:lnTo>
                      <a:lnTo>
                        <a:pt x="474" y="383"/>
                      </a:lnTo>
                      <a:lnTo>
                        <a:pt x="474" y="384"/>
                      </a:lnTo>
                      <a:lnTo>
                        <a:pt x="413" y="392"/>
                      </a:lnTo>
                      <a:lnTo>
                        <a:pt x="406" y="392"/>
                      </a:lnTo>
                      <a:lnTo>
                        <a:pt x="393" y="390"/>
                      </a:lnTo>
                      <a:lnTo>
                        <a:pt x="378" y="386"/>
                      </a:lnTo>
                      <a:lnTo>
                        <a:pt x="368" y="382"/>
                      </a:lnTo>
                      <a:lnTo>
                        <a:pt x="356" y="373"/>
                      </a:lnTo>
                      <a:lnTo>
                        <a:pt x="342" y="368"/>
                      </a:lnTo>
                      <a:lnTo>
                        <a:pt x="327" y="360"/>
                      </a:lnTo>
                      <a:lnTo>
                        <a:pt x="311" y="339"/>
                      </a:lnTo>
                      <a:lnTo>
                        <a:pt x="290" y="306"/>
                      </a:lnTo>
                      <a:lnTo>
                        <a:pt x="282" y="295"/>
                      </a:lnTo>
                      <a:lnTo>
                        <a:pt x="282" y="295"/>
                      </a:lnTo>
                      <a:lnTo>
                        <a:pt x="281" y="295"/>
                      </a:lnTo>
                      <a:lnTo>
                        <a:pt x="281" y="295"/>
                      </a:lnTo>
                      <a:lnTo>
                        <a:pt x="280" y="295"/>
                      </a:lnTo>
                      <a:lnTo>
                        <a:pt x="279" y="295"/>
                      </a:lnTo>
                      <a:lnTo>
                        <a:pt x="279" y="294"/>
                      </a:lnTo>
                      <a:lnTo>
                        <a:pt x="279" y="294"/>
                      </a:lnTo>
                      <a:lnTo>
                        <a:pt x="278" y="293"/>
                      </a:lnTo>
                      <a:lnTo>
                        <a:pt x="278" y="293"/>
                      </a:lnTo>
                      <a:lnTo>
                        <a:pt x="277" y="293"/>
                      </a:lnTo>
                      <a:lnTo>
                        <a:pt x="277" y="293"/>
                      </a:lnTo>
                      <a:lnTo>
                        <a:pt x="276" y="293"/>
                      </a:lnTo>
                      <a:lnTo>
                        <a:pt x="276" y="292"/>
                      </a:lnTo>
                      <a:lnTo>
                        <a:pt x="275" y="292"/>
                      </a:lnTo>
                      <a:lnTo>
                        <a:pt x="275" y="291"/>
                      </a:lnTo>
                      <a:lnTo>
                        <a:pt x="275" y="291"/>
                      </a:lnTo>
                      <a:lnTo>
                        <a:pt x="274" y="290"/>
                      </a:lnTo>
                      <a:lnTo>
                        <a:pt x="274" y="289"/>
                      </a:lnTo>
                      <a:lnTo>
                        <a:pt x="273" y="289"/>
                      </a:lnTo>
                      <a:lnTo>
                        <a:pt x="273" y="289"/>
                      </a:lnTo>
                      <a:lnTo>
                        <a:pt x="272" y="289"/>
                      </a:lnTo>
                      <a:lnTo>
                        <a:pt x="271" y="288"/>
                      </a:lnTo>
                      <a:lnTo>
                        <a:pt x="271" y="287"/>
                      </a:lnTo>
                      <a:lnTo>
                        <a:pt x="266" y="284"/>
                      </a:lnTo>
                      <a:lnTo>
                        <a:pt x="258" y="276"/>
                      </a:lnTo>
                      <a:lnTo>
                        <a:pt x="247" y="266"/>
                      </a:lnTo>
                      <a:lnTo>
                        <a:pt x="239" y="261"/>
                      </a:lnTo>
                      <a:lnTo>
                        <a:pt x="222" y="255"/>
                      </a:lnTo>
                      <a:lnTo>
                        <a:pt x="214" y="253"/>
                      </a:lnTo>
                      <a:lnTo>
                        <a:pt x="211" y="253"/>
                      </a:lnTo>
                      <a:lnTo>
                        <a:pt x="207" y="250"/>
                      </a:lnTo>
                      <a:lnTo>
                        <a:pt x="206" y="249"/>
                      </a:lnTo>
                      <a:lnTo>
                        <a:pt x="205" y="248"/>
                      </a:lnTo>
                      <a:lnTo>
                        <a:pt x="205" y="246"/>
                      </a:lnTo>
                      <a:lnTo>
                        <a:pt x="205" y="245"/>
                      </a:lnTo>
                      <a:lnTo>
                        <a:pt x="205" y="243"/>
                      </a:lnTo>
                      <a:lnTo>
                        <a:pt x="203" y="243"/>
                      </a:lnTo>
                      <a:lnTo>
                        <a:pt x="201" y="242"/>
                      </a:lnTo>
                      <a:lnTo>
                        <a:pt x="199" y="240"/>
                      </a:lnTo>
                      <a:lnTo>
                        <a:pt x="197" y="240"/>
                      </a:lnTo>
                      <a:lnTo>
                        <a:pt x="195" y="242"/>
                      </a:lnTo>
                      <a:lnTo>
                        <a:pt x="193" y="240"/>
                      </a:lnTo>
                      <a:lnTo>
                        <a:pt x="187" y="238"/>
                      </a:lnTo>
                      <a:lnTo>
                        <a:pt x="181" y="234"/>
                      </a:lnTo>
                      <a:lnTo>
                        <a:pt x="176" y="229"/>
                      </a:lnTo>
                      <a:lnTo>
                        <a:pt x="171" y="226"/>
                      </a:lnTo>
                      <a:lnTo>
                        <a:pt x="165" y="222"/>
                      </a:lnTo>
                      <a:lnTo>
                        <a:pt x="161" y="221"/>
                      </a:lnTo>
                      <a:lnTo>
                        <a:pt x="161" y="220"/>
                      </a:lnTo>
                      <a:lnTo>
                        <a:pt x="161" y="219"/>
                      </a:lnTo>
                      <a:lnTo>
                        <a:pt x="161" y="219"/>
                      </a:lnTo>
                      <a:lnTo>
                        <a:pt x="161" y="218"/>
                      </a:lnTo>
                      <a:lnTo>
                        <a:pt x="161" y="217"/>
                      </a:lnTo>
                      <a:lnTo>
                        <a:pt x="161" y="217"/>
                      </a:lnTo>
                      <a:lnTo>
                        <a:pt x="161" y="216"/>
                      </a:lnTo>
                      <a:lnTo>
                        <a:pt x="161" y="215"/>
                      </a:lnTo>
                      <a:lnTo>
                        <a:pt x="161" y="215"/>
                      </a:lnTo>
                      <a:lnTo>
                        <a:pt x="162" y="215"/>
                      </a:lnTo>
                      <a:lnTo>
                        <a:pt x="162" y="214"/>
                      </a:lnTo>
                      <a:lnTo>
                        <a:pt x="162" y="213"/>
                      </a:lnTo>
                      <a:lnTo>
                        <a:pt x="163" y="213"/>
                      </a:lnTo>
                      <a:lnTo>
                        <a:pt x="163" y="212"/>
                      </a:lnTo>
                      <a:lnTo>
                        <a:pt x="163" y="212"/>
                      </a:lnTo>
                      <a:lnTo>
                        <a:pt x="163" y="211"/>
                      </a:lnTo>
                      <a:lnTo>
                        <a:pt x="163" y="211"/>
                      </a:lnTo>
                      <a:lnTo>
                        <a:pt x="164" y="211"/>
                      </a:lnTo>
                      <a:lnTo>
                        <a:pt x="164" y="210"/>
                      </a:lnTo>
                      <a:lnTo>
                        <a:pt x="164" y="209"/>
                      </a:lnTo>
                      <a:lnTo>
                        <a:pt x="154" y="197"/>
                      </a:lnTo>
                      <a:lnTo>
                        <a:pt x="152" y="196"/>
                      </a:lnTo>
                      <a:lnTo>
                        <a:pt x="148" y="191"/>
                      </a:lnTo>
                      <a:lnTo>
                        <a:pt x="143" y="186"/>
                      </a:lnTo>
                      <a:lnTo>
                        <a:pt x="139" y="177"/>
                      </a:lnTo>
                      <a:lnTo>
                        <a:pt x="134" y="171"/>
                      </a:lnTo>
                      <a:lnTo>
                        <a:pt x="135" y="171"/>
                      </a:lnTo>
                      <a:lnTo>
                        <a:pt x="135" y="170"/>
                      </a:lnTo>
                      <a:lnTo>
                        <a:pt x="135" y="169"/>
                      </a:lnTo>
                      <a:lnTo>
                        <a:pt x="135" y="169"/>
                      </a:lnTo>
                      <a:lnTo>
                        <a:pt x="135" y="168"/>
                      </a:lnTo>
                      <a:lnTo>
                        <a:pt x="135" y="167"/>
                      </a:lnTo>
                      <a:lnTo>
                        <a:pt x="134" y="167"/>
                      </a:lnTo>
                      <a:lnTo>
                        <a:pt x="134" y="167"/>
                      </a:lnTo>
                      <a:lnTo>
                        <a:pt x="135" y="166"/>
                      </a:lnTo>
                      <a:lnTo>
                        <a:pt x="135" y="166"/>
                      </a:lnTo>
                      <a:lnTo>
                        <a:pt x="135" y="165"/>
                      </a:lnTo>
                      <a:lnTo>
                        <a:pt x="136" y="165"/>
                      </a:lnTo>
                      <a:lnTo>
                        <a:pt x="136" y="165"/>
                      </a:lnTo>
                      <a:lnTo>
                        <a:pt x="136" y="164"/>
                      </a:lnTo>
                      <a:lnTo>
                        <a:pt x="136" y="163"/>
                      </a:lnTo>
                      <a:lnTo>
                        <a:pt x="136" y="162"/>
                      </a:lnTo>
                      <a:lnTo>
                        <a:pt x="136" y="162"/>
                      </a:lnTo>
                      <a:lnTo>
                        <a:pt x="135" y="161"/>
                      </a:lnTo>
                      <a:lnTo>
                        <a:pt x="135" y="162"/>
                      </a:lnTo>
                      <a:lnTo>
                        <a:pt x="135" y="161"/>
                      </a:lnTo>
                      <a:lnTo>
                        <a:pt x="135" y="161"/>
                      </a:lnTo>
                      <a:lnTo>
                        <a:pt x="135" y="160"/>
                      </a:lnTo>
                      <a:lnTo>
                        <a:pt x="134" y="160"/>
                      </a:lnTo>
                      <a:lnTo>
                        <a:pt x="134" y="160"/>
                      </a:lnTo>
                      <a:lnTo>
                        <a:pt x="134" y="159"/>
                      </a:lnTo>
                      <a:lnTo>
                        <a:pt x="133" y="159"/>
                      </a:lnTo>
                      <a:lnTo>
                        <a:pt x="133" y="158"/>
                      </a:lnTo>
                      <a:lnTo>
                        <a:pt x="133" y="158"/>
                      </a:lnTo>
                      <a:lnTo>
                        <a:pt x="133" y="158"/>
                      </a:lnTo>
                      <a:lnTo>
                        <a:pt x="133" y="157"/>
                      </a:lnTo>
                      <a:lnTo>
                        <a:pt x="133" y="156"/>
                      </a:lnTo>
                      <a:lnTo>
                        <a:pt x="133" y="157"/>
                      </a:lnTo>
                      <a:lnTo>
                        <a:pt x="132" y="157"/>
                      </a:lnTo>
                      <a:lnTo>
                        <a:pt x="132" y="156"/>
                      </a:lnTo>
                      <a:lnTo>
                        <a:pt x="132" y="156"/>
                      </a:lnTo>
                      <a:lnTo>
                        <a:pt x="131" y="156"/>
                      </a:lnTo>
                      <a:lnTo>
                        <a:pt x="131" y="155"/>
                      </a:lnTo>
                      <a:lnTo>
                        <a:pt x="131" y="155"/>
                      </a:lnTo>
                      <a:lnTo>
                        <a:pt x="131" y="154"/>
                      </a:lnTo>
                      <a:lnTo>
                        <a:pt x="130" y="154"/>
                      </a:lnTo>
                      <a:lnTo>
                        <a:pt x="130" y="154"/>
                      </a:lnTo>
                      <a:lnTo>
                        <a:pt x="130" y="153"/>
                      </a:lnTo>
                      <a:lnTo>
                        <a:pt x="130" y="152"/>
                      </a:lnTo>
                      <a:lnTo>
                        <a:pt x="129" y="152"/>
                      </a:lnTo>
                      <a:lnTo>
                        <a:pt x="129" y="152"/>
                      </a:lnTo>
                      <a:lnTo>
                        <a:pt x="128" y="152"/>
                      </a:lnTo>
                      <a:lnTo>
                        <a:pt x="127" y="152"/>
                      </a:lnTo>
                      <a:lnTo>
                        <a:pt x="127" y="152"/>
                      </a:lnTo>
                      <a:lnTo>
                        <a:pt x="127" y="151"/>
                      </a:lnTo>
                      <a:lnTo>
                        <a:pt x="127" y="150"/>
                      </a:lnTo>
                      <a:lnTo>
                        <a:pt x="127" y="150"/>
                      </a:lnTo>
                      <a:lnTo>
                        <a:pt x="127" y="149"/>
                      </a:lnTo>
                      <a:lnTo>
                        <a:pt x="127" y="149"/>
                      </a:lnTo>
                      <a:lnTo>
                        <a:pt x="127" y="148"/>
                      </a:lnTo>
                      <a:lnTo>
                        <a:pt x="128" y="148"/>
                      </a:lnTo>
                      <a:lnTo>
                        <a:pt x="127" y="148"/>
                      </a:lnTo>
                      <a:lnTo>
                        <a:pt x="127" y="148"/>
                      </a:lnTo>
                      <a:lnTo>
                        <a:pt x="127" y="148"/>
                      </a:lnTo>
                      <a:lnTo>
                        <a:pt x="126" y="147"/>
                      </a:lnTo>
                      <a:lnTo>
                        <a:pt x="127" y="147"/>
                      </a:lnTo>
                      <a:lnTo>
                        <a:pt x="126" y="146"/>
                      </a:lnTo>
                      <a:lnTo>
                        <a:pt x="126" y="146"/>
                      </a:lnTo>
                      <a:lnTo>
                        <a:pt x="125" y="146"/>
                      </a:lnTo>
                      <a:lnTo>
                        <a:pt x="125" y="145"/>
                      </a:lnTo>
                      <a:lnTo>
                        <a:pt x="125" y="145"/>
                      </a:lnTo>
                      <a:lnTo>
                        <a:pt x="125" y="144"/>
                      </a:lnTo>
                      <a:lnTo>
                        <a:pt x="125" y="143"/>
                      </a:lnTo>
                      <a:lnTo>
                        <a:pt x="124" y="143"/>
                      </a:lnTo>
                      <a:lnTo>
                        <a:pt x="124" y="143"/>
                      </a:lnTo>
                      <a:lnTo>
                        <a:pt x="123" y="143"/>
                      </a:lnTo>
                      <a:lnTo>
                        <a:pt x="123" y="143"/>
                      </a:lnTo>
                      <a:lnTo>
                        <a:pt x="123" y="142"/>
                      </a:lnTo>
                      <a:lnTo>
                        <a:pt x="123" y="142"/>
                      </a:lnTo>
                      <a:lnTo>
                        <a:pt x="123" y="141"/>
                      </a:lnTo>
                      <a:lnTo>
                        <a:pt x="123" y="141"/>
                      </a:lnTo>
                      <a:lnTo>
                        <a:pt x="123" y="141"/>
                      </a:lnTo>
                      <a:lnTo>
                        <a:pt x="122" y="141"/>
                      </a:lnTo>
                      <a:lnTo>
                        <a:pt x="122" y="141"/>
                      </a:lnTo>
                      <a:lnTo>
                        <a:pt x="121" y="141"/>
                      </a:lnTo>
                      <a:lnTo>
                        <a:pt x="121" y="141"/>
                      </a:lnTo>
                      <a:lnTo>
                        <a:pt x="121" y="141"/>
                      </a:lnTo>
                      <a:lnTo>
                        <a:pt x="121" y="140"/>
                      </a:lnTo>
                      <a:lnTo>
                        <a:pt x="121" y="140"/>
                      </a:lnTo>
                      <a:lnTo>
                        <a:pt x="121" y="139"/>
                      </a:lnTo>
                      <a:lnTo>
                        <a:pt x="121" y="139"/>
                      </a:lnTo>
                      <a:lnTo>
                        <a:pt x="120" y="138"/>
                      </a:lnTo>
                      <a:lnTo>
                        <a:pt x="120" y="137"/>
                      </a:lnTo>
                      <a:lnTo>
                        <a:pt x="119" y="137"/>
                      </a:lnTo>
                      <a:lnTo>
                        <a:pt x="120" y="137"/>
                      </a:lnTo>
                      <a:lnTo>
                        <a:pt x="120" y="136"/>
                      </a:lnTo>
                      <a:lnTo>
                        <a:pt x="119" y="136"/>
                      </a:lnTo>
                      <a:lnTo>
                        <a:pt x="119" y="137"/>
                      </a:lnTo>
                      <a:lnTo>
                        <a:pt x="119" y="137"/>
                      </a:lnTo>
                      <a:lnTo>
                        <a:pt x="119" y="136"/>
                      </a:lnTo>
                      <a:lnTo>
                        <a:pt x="118" y="136"/>
                      </a:lnTo>
                      <a:lnTo>
                        <a:pt x="118" y="135"/>
                      </a:lnTo>
                      <a:lnTo>
                        <a:pt x="117" y="135"/>
                      </a:lnTo>
                      <a:lnTo>
                        <a:pt x="117" y="135"/>
                      </a:lnTo>
                      <a:lnTo>
                        <a:pt x="116" y="135"/>
                      </a:lnTo>
                      <a:lnTo>
                        <a:pt x="116" y="135"/>
                      </a:lnTo>
                      <a:lnTo>
                        <a:pt x="116" y="135"/>
                      </a:lnTo>
                      <a:lnTo>
                        <a:pt x="115" y="135"/>
                      </a:lnTo>
                      <a:lnTo>
                        <a:pt x="115" y="135"/>
                      </a:lnTo>
                      <a:lnTo>
                        <a:pt x="115" y="134"/>
                      </a:lnTo>
                      <a:lnTo>
                        <a:pt x="114" y="134"/>
                      </a:lnTo>
                      <a:lnTo>
                        <a:pt x="114" y="134"/>
                      </a:lnTo>
                      <a:lnTo>
                        <a:pt x="113" y="133"/>
                      </a:lnTo>
                      <a:lnTo>
                        <a:pt x="114" y="133"/>
                      </a:lnTo>
                      <a:lnTo>
                        <a:pt x="114" y="133"/>
                      </a:lnTo>
                      <a:lnTo>
                        <a:pt x="113" y="132"/>
                      </a:lnTo>
                      <a:lnTo>
                        <a:pt x="112" y="132"/>
                      </a:lnTo>
                      <a:lnTo>
                        <a:pt x="112" y="132"/>
                      </a:lnTo>
                      <a:lnTo>
                        <a:pt x="112" y="131"/>
                      </a:lnTo>
                      <a:lnTo>
                        <a:pt x="111" y="131"/>
                      </a:lnTo>
                      <a:lnTo>
                        <a:pt x="111" y="131"/>
                      </a:lnTo>
                      <a:lnTo>
                        <a:pt x="111" y="131"/>
                      </a:lnTo>
                      <a:lnTo>
                        <a:pt x="111" y="131"/>
                      </a:lnTo>
                      <a:lnTo>
                        <a:pt x="111" y="131"/>
                      </a:lnTo>
                      <a:lnTo>
                        <a:pt x="110" y="131"/>
                      </a:lnTo>
                      <a:lnTo>
                        <a:pt x="110" y="131"/>
                      </a:lnTo>
                      <a:lnTo>
                        <a:pt x="110" y="131"/>
                      </a:lnTo>
                      <a:lnTo>
                        <a:pt x="109" y="131"/>
                      </a:lnTo>
                      <a:lnTo>
                        <a:pt x="109" y="131"/>
                      </a:lnTo>
                      <a:lnTo>
                        <a:pt x="109" y="130"/>
                      </a:lnTo>
                      <a:lnTo>
                        <a:pt x="109" y="129"/>
                      </a:lnTo>
                      <a:lnTo>
                        <a:pt x="109" y="129"/>
                      </a:lnTo>
                      <a:lnTo>
                        <a:pt x="108" y="129"/>
                      </a:lnTo>
                      <a:lnTo>
                        <a:pt x="108" y="129"/>
                      </a:lnTo>
                      <a:lnTo>
                        <a:pt x="108" y="128"/>
                      </a:lnTo>
                      <a:lnTo>
                        <a:pt x="107" y="128"/>
                      </a:lnTo>
                      <a:lnTo>
                        <a:pt x="106" y="127"/>
                      </a:lnTo>
                      <a:lnTo>
                        <a:pt x="106" y="127"/>
                      </a:lnTo>
                      <a:lnTo>
                        <a:pt x="105" y="127"/>
                      </a:lnTo>
                      <a:lnTo>
                        <a:pt x="105" y="127"/>
                      </a:lnTo>
                      <a:lnTo>
                        <a:pt x="104" y="127"/>
                      </a:lnTo>
                      <a:lnTo>
                        <a:pt x="104" y="126"/>
                      </a:lnTo>
                      <a:lnTo>
                        <a:pt x="104" y="126"/>
                      </a:lnTo>
                      <a:lnTo>
                        <a:pt x="103" y="126"/>
                      </a:lnTo>
                      <a:lnTo>
                        <a:pt x="103" y="125"/>
                      </a:lnTo>
                      <a:lnTo>
                        <a:pt x="102" y="125"/>
                      </a:lnTo>
                      <a:lnTo>
                        <a:pt x="103" y="124"/>
                      </a:lnTo>
                      <a:lnTo>
                        <a:pt x="102" y="124"/>
                      </a:lnTo>
                      <a:lnTo>
                        <a:pt x="102" y="125"/>
                      </a:lnTo>
                      <a:lnTo>
                        <a:pt x="102" y="125"/>
                      </a:lnTo>
                      <a:lnTo>
                        <a:pt x="102" y="124"/>
                      </a:lnTo>
                      <a:lnTo>
                        <a:pt x="102" y="124"/>
                      </a:lnTo>
                      <a:lnTo>
                        <a:pt x="101" y="124"/>
                      </a:lnTo>
                      <a:lnTo>
                        <a:pt x="100" y="124"/>
                      </a:lnTo>
                      <a:lnTo>
                        <a:pt x="100" y="123"/>
                      </a:lnTo>
                      <a:lnTo>
                        <a:pt x="100" y="123"/>
                      </a:lnTo>
                      <a:lnTo>
                        <a:pt x="99" y="123"/>
                      </a:lnTo>
                      <a:lnTo>
                        <a:pt x="99" y="122"/>
                      </a:lnTo>
                      <a:lnTo>
                        <a:pt x="99" y="123"/>
                      </a:lnTo>
                      <a:lnTo>
                        <a:pt x="98" y="122"/>
                      </a:lnTo>
                      <a:lnTo>
                        <a:pt x="99" y="122"/>
                      </a:lnTo>
                      <a:lnTo>
                        <a:pt x="100" y="122"/>
                      </a:lnTo>
                      <a:lnTo>
                        <a:pt x="100" y="122"/>
                      </a:lnTo>
                      <a:lnTo>
                        <a:pt x="99" y="122"/>
                      </a:lnTo>
                      <a:lnTo>
                        <a:pt x="98" y="122"/>
                      </a:lnTo>
                      <a:lnTo>
                        <a:pt x="98" y="121"/>
                      </a:lnTo>
                      <a:lnTo>
                        <a:pt x="97" y="120"/>
                      </a:lnTo>
                      <a:lnTo>
                        <a:pt x="97" y="121"/>
                      </a:lnTo>
                      <a:lnTo>
                        <a:pt x="97" y="122"/>
                      </a:lnTo>
                      <a:lnTo>
                        <a:pt x="97" y="122"/>
                      </a:lnTo>
                      <a:lnTo>
                        <a:pt x="97" y="121"/>
                      </a:lnTo>
                      <a:lnTo>
                        <a:pt x="96" y="121"/>
                      </a:lnTo>
                      <a:lnTo>
                        <a:pt x="96" y="120"/>
                      </a:lnTo>
                      <a:lnTo>
                        <a:pt x="95" y="120"/>
                      </a:lnTo>
                      <a:lnTo>
                        <a:pt x="95" y="120"/>
                      </a:lnTo>
                      <a:lnTo>
                        <a:pt x="94" y="120"/>
                      </a:lnTo>
                      <a:lnTo>
                        <a:pt x="93" y="120"/>
                      </a:lnTo>
                      <a:lnTo>
                        <a:pt x="93" y="120"/>
                      </a:lnTo>
                      <a:lnTo>
                        <a:pt x="94" y="120"/>
                      </a:lnTo>
                      <a:lnTo>
                        <a:pt x="94" y="119"/>
                      </a:lnTo>
                      <a:lnTo>
                        <a:pt x="93" y="119"/>
                      </a:lnTo>
                      <a:lnTo>
                        <a:pt x="93" y="119"/>
                      </a:lnTo>
                      <a:lnTo>
                        <a:pt x="93" y="118"/>
                      </a:lnTo>
                      <a:lnTo>
                        <a:pt x="92" y="118"/>
                      </a:lnTo>
                      <a:lnTo>
                        <a:pt x="92" y="118"/>
                      </a:lnTo>
                      <a:lnTo>
                        <a:pt x="91" y="118"/>
                      </a:lnTo>
                      <a:lnTo>
                        <a:pt x="91" y="117"/>
                      </a:lnTo>
                      <a:lnTo>
                        <a:pt x="92" y="117"/>
                      </a:lnTo>
                      <a:lnTo>
                        <a:pt x="92" y="116"/>
                      </a:lnTo>
                      <a:lnTo>
                        <a:pt x="91" y="116"/>
                      </a:lnTo>
                      <a:lnTo>
                        <a:pt x="91" y="116"/>
                      </a:lnTo>
                      <a:lnTo>
                        <a:pt x="91" y="116"/>
                      </a:lnTo>
                      <a:lnTo>
                        <a:pt x="90" y="116"/>
                      </a:lnTo>
                      <a:lnTo>
                        <a:pt x="89" y="116"/>
                      </a:lnTo>
                      <a:lnTo>
                        <a:pt x="89" y="116"/>
                      </a:lnTo>
                      <a:lnTo>
                        <a:pt x="89" y="115"/>
                      </a:lnTo>
                      <a:lnTo>
                        <a:pt x="88" y="115"/>
                      </a:lnTo>
                      <a:lnTo>
                        <a:pt x="88" y="114"/>
                      </a:lnTo>
                      <a:lnTo>
                        <a:pt x="87" y="114"/>
                      </a:lnTo>
                      <a:lnTo>
                        <a:pt x="87" y="114"/>
                      </a:lnTo>
                      <a:lnTo>
                        <a:pt x="87" y="113"/>
                      </a:lnTo>
                      <a:lnTo>
                        <a:pt x="87" y="112"/>
                      </a:lnTo>
                      <a:lnTo>
                        <a:pt x="87" y="112"/>
                      </a:lnTo>
                      <a:lnTo>
                        <a:pt x="87" y="112"/>
                      </a:lnTo>
                      <a:lnTo>
                        <a:pt x="86" y="112"/>
                      </a:lnTo>
                      <a:lnTo>
                        <a:pt x="85" y="112"/>
                      </a:lnTo>
                      <a:lnTo>
                        <a:pt x="85" y="111"/>
                      </a:lnTo>
                      <a:lnTo>
                        <a:pt x="86" y="111"/>
                      </a:lnTo>
                      <a:lnTo>
                        <a:pt x="86" y="110"/>
                      </a:lnTo>
                      <a:lnTo>
                        <a:pt x="85" y="110"/>
                      </a:lnTo>
                      <a:lnTo>
                        <a:pt x="85" y="110"/>
                      </a:lnTo>
                      <a:lnTo>
                        <a:pt x="85" y="111"/>
                      </a:lnTo>
                      <a:lnTo>
                        <a:pt x="85" y="112"/>
                      </a:lnTo>
                      <a:lnTo>
                        <a:pt x="84" y="112"/>
                      </a:lnTo>
                      <a:lnTo>
                        <a:pt x="83" y="112"/>
                      </a:lnTo>
                      <a:lnTo>
                        <a:pt x="83" y="111"/>
                      </a:lnTo>
                      <a:lnTo>
                        <a:pt x="84" y="111"/>
                      </a:lnTo>
                      <a:lnTo>
                        <a:pt x="84" y="110"/>
                      </a:lnTo>
                      <a:lnTo>
                        <a:pt x="83" y="110"/>
                      </a:lnTo>
                      <a:lnTo>
                        <a:pt x="83" y="110"/>
                      </a:lnTo>
                      <a:lnTo>
                        <a:pt x="83" y="110"/>
                      </a:lnTo>
                      <a:lnTo>
                        <a:pt x="83" y="110"/>
                      </a:lnTo>
                      <a:lnTo>
                        <a:pt x="82" y="110"/>
                      </a:lnTo>
                      <a:lnTo>
                        <a:pt x="82" y="109"/>
                      </a:lnTo>
                      <a:lnTo>
                        <a:pt x="82" y="108"/>
                      </a:lnTo>
                      <a:lnTo>
                        <a:pt x="81" y="108"/>
                      </a:lnTo>
                      <a:lnTo>
                        <a:pt x="81" y="109"/>
                      </a:lnTo>
                      <a:lnTo>
                        <a:pt x="80" y="109"/>
                      </a:lnTo>
                      <a:lnTo>
                        <a:pt x="80" y="108"/>
                      </a:lnTo>
                      <a:lnTo>
                        <a:pt x="80" y="108"/>
                      </a:lnTo>
                      <a:lnTo>
                        <a:pt x="80" y="108"/>
                      </a:lnTo>
                      <a:lnTo>
                        <a:pt x="80" y="108"/>
                      </a:lnTo>
                      <a:lnTo>
                        <a:pt x="81" y="108"/>
                      </a:lnTo>
                      <a:lnTo>
                        <a:pt x="81" y="107"/>
                      </a:lnTo>
                      <a:lnTo>
                        <a:pt x="80" y="107"/>
                      </a:lnTo>
                      <a:lnTo>
                        <a:pt x="80" y="106"/>
                      </a:lnTo>
                      <a:lnTo>
                        <a:pt x="80" y="107"/>
                      </a:lnTo>
                      <a:lnTo>
                        <a:pt x="79" y="107"/>
                      </a:lnTo>
                      <a:lnTo>
                        <a:pt x="78" y="107"/>
                      </a:lnTo>
                      <a:lnTo>
                        <a:pt x="79" y="107"/>
                      </a:lnTo>
                      <a:lnTo>
                        <a:pt x="79" y="106"/>
                      </a:lnTo>
                      <a:lnTo>
                        <a:pt x="80" y="106"/>
                      </a:lnTo>
                      <a:lnTo>
                        <a:pt x="79" y="106"/>
                      </a:lnTo>
                      <a:lnTo>
                        <a:pt x="79" y="105"/>
                      </a:lnTo>
                      <a:lnTo>
                        <a:pt x="80" y="105"/>
                      </a:lnTo>
                      <a:lnTo>
                        <a:pt x="80" y="104"/>
                      </a:lnTo>
                      <a:lnTo>
                        <a:pt x="80" y="104"/>
                      </a:lnTo>
                      <a:lnTo>
                        <a:pt x="80" y="103"/>
                      </a:lnTo>
                      <a:lnTo>
                        <a:pt x="80" y="103"/>
                      </a:lnTo>
                      <a:lnTo>
                        <a:pt x="81" y="103"/>
                      </a:lnTo>
                      <a:lnTo>
                        <a:pt x="81" y="102"/>
                      </a:lnTo>
                      <a:lnTo>
                        <a:pt x="81" y="101"/>
                      </a:lnTo>
                      <a:lnTo>
                        <a:pt x="82" y="101"/>
                      </a:lnTo>
                      <a:lnTo>
                        <a:pt x="82" y="101"/>
                      </a:lnTo>
                      <a:lnTo>
                        <a:pt x="82" y="100"/>
                      </a:lnTo>
                      <a:lnTo>
                        <a:pt x="82" y="99"/>
                      </a:lnTo>
                      <a:lnTo>
                        <a:pt x="83" y="99"/>
                      </a:lnTo>
                      <a:lnTo>
                        <a:pt x="83" y="99"/>
                      </a:lnTo>
                      <a:lnTo>
                        <a:pt x="83" y="98"/>
                      </a:lnTo>
                      <a:lnTo>
                        <a:pt x="84" y="98"/>
                      </a:lnTo>
                      <a:lnTo>
                        <a:pt x="85" y="98"/>
                      </a:lnTo>
                      <a:lnTo>
                        <a:pt x="85" y="98"/>
                      </a:lnTo>
                      <a:lnTo>
                        <a:pt x="85" y="97"/>
                      </a:lnTo>
                      <a:lnTo>
                        <a:pt x="85" y="97"/>
                      </a:lnTo>
                      <a:lnTo>
                        <a:pt x="86" y="97"/>
                      </a:lnTo>
                      <a:lnTo>
                        <a:pt x="86" y="96"/>
                      </a:lnTo>
                      <a:lnTo>
                        <a:pt x="87" y="96"/>
                      </a:lnTo>
                      <a:lnTo>
                        <a:pt x="87" y="95"/>
                      </a:lnTo>
                      <a:lnTo>
                        <a:pt x="87" y="95"/>
                      </a:lnTo>
                      <a:lnTo>
                        <a:pt x="86" y="95"/>
                      </a:lnTo>
                      <a:lnTo>
                        <a:pt x="87" y="94"/>
                      </a:lnTo>
                      <a:lnTo>
                        <a:pt x="87" y="93"/>
                      </a:lnTo>
                      <a:lnTo>
                        <a:pt x="87" y="93"/>
                      </a:lnTo>
                      <a:lnTo>
                        <a:pt x="87" y="93"/>
                      </a:lnTo>
                      <a:lnTo>
                        <a:pt x="87" y="92"/>
                      </a:lnTo>
                      <a:lnTo>
                        <a:pt x="87" y="91"/>
                      </a:lnTo>
                      <a:lnTo>
                        <a:pt x="87" y="91"/>
                      </a:lnTo>
                      <a:lnTo>
                        <a:pt x="87" y="90"/>
                      </a:lnTo>
                      <a:lnTo>
                        <a:pt x="87" y="89"/>
                      </a:lnTo>
                      <a:lnTo>
                        <a:pt x="87" y="89"/>
                      </a:lnTo>
                      <a:lnTo>
                        <a:pt x="87" y="89"/>
                      </a:lnTo>
                      <a:lnTo>
                        <a:pt x="87" y="88"/>
                      </a:lnTo>
                      <a:lnTo>
                        <a:pt x="87" y="88"/>
                      </a:lnTo>
                      <a:lnTo>
                        <a:pt x="88" y="88"/>
                      </a:lnTo>
                      <a:lnTo>
                        <a:pt x="88" y="87"/>
                      </a:lnTo>
                      <a:lnTo>
                        <a:pt x="88" y="87"/>
                      </a:lnTo>
                      <a:lnTo>
                        <a:pt x="88" y="86"/>
                      </a:lnTo>
                      <a:lnTo>
                        <a:pt x="88" y="85"/>
                      </a:lnTo>
                      <a:lnTo>
                        <a:pt x="87" y="85"/>
                      </a:lnTo>
                      <a:lnTo>
                        <a:pt x="87" y="84"/>
                      </a:lnTo>
                      <a:lnTo>
                        <a:pt x="87" y="84"/>
                      </a:lnTo>
                      <a:lnTo>
                        <a:pt x="87" y="83"/>
                      </a:lnTo>
                      <a:lnTo>
                        <a:pt x="86" y="83"/>
                      </a:lnTo>
                      <a:lnTo>
                        <a:pt x="86" y="82"/>
                      </a:lnTo>
                      <a:lnTo>
                        <a:pt x="85" y="82"/>
                      </a:lnTo>
                      <a:lnTo>
                        <a:pt x="85" y="82"/>
                      </a:lnTo>
                      <a:lnTo>
                        <a:pt x="85" y="82"/>
                      </a:lnTo>
                      <a:lnTo>
                        <a:pt x="84" y="82"/>
                      </a:lnTo>
                      <a:lnTo>
                        <a:pt x="83" y="82"/>
                      </a:lnTo>
                      <a:lnTo>
                        <a:pt x="83" y="82"/>
                      </a:lnTo>
                      <a:lnTo>
                        <a:pt x="83" y="82"/>
                      </a:lnTo>
                      <a:lnTo>
                        <a:pt x="82" y="82"/>
                      </a:lnTo>
                      <a:lnTo>
                        <a:pt x="82" y="81"/>
                      </a:lnTo>
                      <a:lnTo>
                        <a:pt x="81" y="81"/>
                      </a:lnTo>
                      <a:lnTo>
                        <a:pt x="82" y="80"/>
                      </a:lnTo>
                      <a:lnTo>
                        <a:pt x="82" y="80"/>
                      </a:lnTo>
                      <a:lnTo>
                        <a:pt x="82" y="79"/>
                      </a:lnTo>
                      <a:lnTo>
                        <a:pt x="82" y="80"/>
                      </a:lnTo>
                      <a:lnTo>
                        <a:pt x="81" y="80"/>
                      </a:lnTo>
                      <a:lnTo>
                        <a:pt x="80" y="80"/>
                      </a:lnTo>
                      <a:lnTo>
                        <a:pt x="80" y="79"/>
                      </a:lnTo>
                      <a:lnTo>
                        <a:pt x="80" y="78"/>
                      </a:lnTo>
                      <a:lnTo>
                        <a:pt x="80" y="78"/>
                      </a:lnTo>
                      <a:lnTo>
                        <a:pt x="80" y="78"/>
                      </a:lnTo>
                      <a:lnTo>
                        <a:pt x="80" y="77"/>
                      </a:lnTo>
                      <a:lnTo>
                        <a:pt x="79" y="77"/>
                      </a:lnTo>
                      <a:lnTo>
                        <a:pt x="79" y="76"/>
                      </a:lnTo>
                      <a:lnTo>
                        <a:pt x="78" y="76"/>
                      </a:lnTo>
                      <a:lnTo>
                        <a:pt x="78" y="76"/>
                      </a:lnTo>
                      <a:lnTo>
                        <a:pt x="77" y="76"/>
                      </a:lnTo>
                      <a:lnTo>
                        <a:pt x="76" y="76"/>
                      </a:lnTo>
                      <a:lnTo>
                        <a:pt x="76" y="76"/>
                      </a:lnTo>
                      <a:lnTo>
                        <a:pt x="76" y="75"/>
                      </a:lnTo>
                      <a:lnTo>
                        <a:pt x="75" y="75"/>
                      </a:lnTo>
                      <a:lnTo>
                        <a:pt x="74" y="76"/>
                      </a:lnTo>
                      <a:lnTo>
                        <a:pt x="74" y="76"/>
                      </a:lnTo>
                      <a:lnTo>
                        <a:pt x="74" y="75"/>
                      </a:lnTo>
                      <a:lnTo>
                        <a:pt x="74" y="74"/>
                      </a:lnTo>
                      <a:lnTo>
                        <a:pt x="75" y="75"/>
                      </a:lnTo>
                      <a:lnTo>
                        <a:pt x="75" y="74"/>
                      </a:lnTo>
                      <a:lnTo>
                        <a:pt x="75" y="74"/>
                      </a:lnTo>
                      <a:lnTo>
                        <a:pt x="75" y="73"/>
                      </a:lnTo>
                      <a:lnTo>
                        <a:pt x="74" y="72"/>
                      </a:lnTo>
                      <a:lnTo>
                        <a:pt x="74" y="73"/>
                      </a:lnTo>
                      <a:lnTo>
                        <a:pt x="73" y="73"/>
                      </a:lnTo>
                      <a:lnTo>
                        <a:pt x="73" y="72"/>
                      </a:lnTo>
                      <a:lnTo>
                        <a:pt x="73" y="72"/>
                      </a:lnTo>
                      <a:lnTo>
                        <a:pt x="74" y="72"/>
                      </a:lnTo>
                      <a:lnTo>
                        <a:pt x="74" y="72"/>
                      </a:lnTo>
                      <a:lnTo>
                        <a:pt x="75" y="72"/>
                      </a:lnTo>
                      <a:lnTo>
                        <a:pt x="75" y="71"/>
                      </a:lnTo>
                      <a:lnTo>
                        <a:pt x="74" y="70"/>
                      </a:lnTo>
                      <a:lnTo>
                        <a:pt x="74" y="70"/>
                      </a:lnTo>
                      <a:lnTo>
                        <a:pt x="74" y="70"/>
                      </a:lnTo>
                      <a:lnTo>
                        <a:pt x="74" y="69"/>
                      </a:lnTo>
                      <a:lnTo>
                        <a:pt x="74" y="69"/>
                      </a:lnTo>
                      <a:lnTo>
                        <a:pt x="75" y="69"/>
                      </a:lnTo>
                      <a:lnTo>
                        <a:pt x="75" y="70"/>
                      </a:lnTo>
                      <a:lnTo>
                        <a:pt x="76" y="70"/>
                      </a:lnTo>
                      <a:lnTo>
                        <a:pt x="76" y="69"/>
                      </a:lnTo>
                      <a:lnTo>
                        <a:pt x="76" y="68"/>
                      </a:lnTo>
                      <a:lnTo>
                        <a:pt x="75" y="68"/>
                      </a:lnTo>
                      <a:lnTo>
                        <a:pt x="75" y="68"/>
                      </a:lnTo>
                      <a:lnTo>
                        <a:pt x="75" y="67"/>
                      </a:lnTo>
                      <a:lnTo>
                        <a:pt x="75" y="66"/>
                      </a:lnTo>
                      <a:lnTo>
                        <a:pt x="74" y="66"/>
                      </a:lnTo>
                      <a:lnTo>
                        <a:pt x="74" y="65"/>
                      </a:lnTo>
                      <a:lnTo>
                        <a:pt x="74" y="65"/>
                      </a:lnTo>
                      <a:lnTo>
                        <a:pt x="74" y="64"/>
                      </a:lnTo>
                      <a:lnTo>
                        <a:pt x="74" y="65"/>
                      </a:lnTo>
                      <a:lnTo>
                        <a:pt x="73" y="65"/>
                      </a:lnTo>
                      <a:lnTo>
                        <a:pt x="72" y="65"/>
                      </a:lnTo>
                      <a:lnTo>
                        <a:pt x="73" y="64"/>
                      </a:lnTo>
                      <a:lnTo>
                        <a:pt x="74" y="64"/>
                      </a:lnTo>
                      <a:lnTo>
                        <a:pt x="74" y="63"/>
                      </a:lnTo>
                      <a:lnTo>
                        <a:pt x="73" y="63"/>
                      </a:lnTo>
                      <a:lnTo>
                        <a:pt x="73" y="62"/>
                      </a:lnTo>
                      <a:lnTo>
                        <a:pt x="73" y="61"/>
                      </a:lnTo>
                      <a:lnTo>
                        <a:pt x="73" y="61"/>
                      </a:lnTo>
                      <a:lnTo>
                        <a:pt x="72" y="61"/>
                      </a:lnTo>
                      <a:lnTo>
                        <a:pt x="72" y="61"/>
                      </a:lnTo>
                      <a:lnTo>
                        <a:pt x="72" y="60"/>
                      </a:lnTo>
                      <a:lnTo>
                        <a:pt x="72" y="59"/>
                      </a:lnTo>
                      <a:lnTo>
                        <a:pt x="71" y="59"/>
                      </a:lnTo>
                      <a:lnTo>
                        <a:pt x="71" y="59"/>
                      </a:lnTo>
                      <a:lnTo>
                        <a:pt x="71" y="58"/>
                      </a:lnTo>
                      <a:lnTo>
                        <a:pt x="70" y="58"/>
                      </a:lnTo>
                      <a:lnTo>
                        <a:pt x="70" y="57"/>
                      </a:lnTo>
                      <a:lnTo>
                        <a:pt x="70" y="57"/>
                      </a:lnTo>
                      <a:lnTo>
                        <a:pt x="70" y="57"/>
                      </a:lnTo>
                      <a:lnTo>
                        <a:pt x="70" y="56"/>
                      </a:lnTo>
                      <a:lnTo>
                        <a:pt x="70" y="55"/>
                      </a:lnTo>
                      <a:lnTo>
                        <a:pt x="69" y="55"/>
                      </a:lnTo>
                      <a:lnTo>
                        <a:pt x="69" y="55"/>
                      </a:lnTo>
                      <a:lnTo>
                        <a:pt x="69" y="56"/>
                      </a:lnTo>
                      <a:lnTo>
                        <a:pt x="68" y="56"/>
                      </a:lnTo>
                      <a:lnTo>
                        <a:pt x="68" y="55"/>
                      </a:lnTo>
                      <a:lnTo>
                        <a:pt x="68" y="55"/>
                      </a:lnTo>
                      <a:lnTo>
                        <a:pt x="68" y="54"/>
                      </a:lnTo>
                      <a:lnTo>
                        <a:pt x="68" y="54"/>
                      </a:lnTo>
                      <a:lnTo>
                        <a:pt x="68" y="53"/>
                      </a:lnTo>
                      <a:lnTo>
                        <a:pt x="68" y="54"/>
                      </a:lnTo>
                      <a:lnTo>
                        <a:pt x="67" y="54"/>
                      </a:lnTo>
                      <a:lnTo>
                        <a:pt x="67" y="53"/>
                      </a:lnTo>
                      <a:lnTo>
                        <a:pt x="67" y="53"/>
                      </a:lnTo>
                      <a:lnTo>
                        <a:pt x="68" y="53"/>
                      </a:lnTo>
                      <a:lnTo>
                        <a:pt x="68" y="53"/>
                      </a:lnTo>
                      <a:lnTo>
                        <a:pt x="68" y="53"/>
                      </a:lnTo>
                      <a:lnTo>
                        <a:pt x="68" y="52"/>
                      </a:lnTo>
                      <a:lnTo>
                        <a:pt x="68" y="51"/>
                      </a:lnTo>
                      <a:lnTo>
                        <a:pt x="67" y="51"/>
                      </a:lnTo>
                      <a:lnTo>
                        <a:pt x="67" y="52"/>
                      </a:lnTo>
                      <a:lnTo>
                        <a:pt x="66" y="52"/>
                      </a:lnTo>
                      <a:lnTo>
                        <a:pt x="66" y="52"/>
                      </a:lnTo>
                      <a:lnTo>
                        <a:pt x="65" y="52"/>
                      </a:lnTo>
                      <a:lnTo>
                        <a:pt x="65" y="51"/>
                      </a:lnTo>
                      <a:lnTo>
                        <a:pt x="66" y="51"/>
                      </a:lnTo>
                      <a:lnTo>
                        <a:pt x="65" y="51"/>
                      </a:lnTo>
                      <a:lnTo>
                        <a:pt x="65" y="51"/>
                      </a:lnTo>
                      <a:lnTo>
                        <a:pt x="65" y="50"/>
                      </a:lnTo>
                      <a:lnTo>
                        <a:pt x="65" y="49"/>
                      </a:lnTo>
                      <a:lnTo>
                        <a:pt x="65" y="49"/>
                      </a:lnTo>
                      <a:lnTo>
                        <a:pt x="65" y="48"/>
                      </a:lnTo>
                      <a:lnTo>
                        <a:pt x="64" y="48"/>
                      </a:lnTo>
                      <a:lnTo>
                        <a:pt x="64" y="49"/>
                      </a:lnTo>
                      <a:lnTo>
                        <a:pt x="64" y="49"/>
                      </a:lnTo>
                      <a:lnTo>
                        <a:pt x="64" y="48"/>
                      </a:lnTo>
                      <a:lnTo>
                        <a:pt x="64" y="48"/>
                      </a:lnTo>
                      <a:lnTo>
                        <a:pt x="64" y="47"/>
                      </a:lnTo>
                      <a:lnTo>
                        <a:pt x="64" y="47"/>
                      </a:lnTo>
                      <a:lnTo>
                        <a:pt x="64" y="47"/>
                      </a:lnTo>
                      <a:lnTo>
                        <a:pt x="64" y="46"/>
                      </a:lnTo>
                      <a:lnTo>
                        <a:pt x="63" y="46"/>
                      </a:lnTo>
                      <a:lnTo>
                        <a:pt x="63" y="47"/>
                      </a:lnTo>
                      <a:lnTo>
                        <a:pt x="63" y="46"/>
                      </a:lnTo>
                      <a:lnTo>
                        <a:pt x="62" y="46"/>
                      </a:lnTo>
                      <a:lnTo>
                        <a:pt x="62" y="45"/>
                      </a:lnTo>
                      <a:lnTo>
                        <a:pt x="62" y="44"/>
                      </a:lnTo>
                      <a:lnTo>
                        <a:pt x="61" y="44"/>
                      </a:lnTo>
                      <a:lnTo>
                        <a:pt x="61" y="44"/>
                      </a:lnTo>
                      <a:lnTo>
                        <a:pt x="61" y="45"/>
                      </a:lnTo>
                      <a:lnTo>
                        <a:pt x="60" y="45"/>
                      </a:lnTo>
                      <a:lnTo>
                        <a:pt x="60" y="44"/>
                      </a:lnTo>
                      <a:lnTo>
                        <a:pt x="60" y="44"/>
                      </a:lnTo>
                      <a:lnTo>
                        <a:pt x="60" y="43"/>
                      </a:lnTo>
                      <a:lnTo>
                        <a:pt x="60" y="42"/>
                      </a:lnTo>
                      <a:lnTo>
                        <a:pt x="59" y="42"/>
                      </a:lnTo>
                      <a:lnTo>
                        <a:pt x="59" y="43"/>
                      </a:lnTo>
                      <a:lnTo>
                        <a:pt x="59" y="42"/>
                      </a:lnTo>
                      <a:lnTo>
                        <a:pt x="59" y="42"/>
                      </a:lnTo>
                      <a:lnTo>
                        <a:pt x="59" y="43"/>
                      </a:lnTo>
                      <a:lnTo>
                        <a:pt x="58" y="44"/>
                      </a:lnTo>
                      <a:lnTo>
                        <a:pt x="57" y="44"/>
                      </a:lnTo>
                      <a:lnTo>
                        <a:pt x="57" y="43"/>
                      </a:lnTo>
                      <a:lnTo>
                        <a:pt x="57" y="42"/>
                      </a:lnTo>
                      <a:lnTo>
                        <a:pt x="58" y="42"/>
                      </a:lnTo>
                      <a:lnTo>
                        <a:pt x="58" y="42"/>
                      </a:lnTo>
                      <a:lnTo>
                        <a:pt x="58" y="41"/>
                      </a:lnTo>
                      <a:lnTo>
                        <a:pt x="57" y="41"/>
                      </a:lnTo>
                      <a:lnTo>
                        <a:pt x="57" y="40"/>
                      </a:lnTo>
                      <a:lnTo>
                        <a:pt x="58" y="40"/>
                      </a:lnTo>
                      <a:lnTo>
                        <a:pt x="58" y="40"/>
                      </a:lnTo>
                      <a:lnTo>
                        <a:pt x="58" y="40"/>
                      </a:lnTo>
                      <a:lnTo>
                        <a:pt x="59" y="40"/>
                      </a:lnTo>
                      <a:lnTo>
                        <a:pt x="59" y="40"/>
                      </a:lnTo>
                      <a:lnTo>
                        <a:pt x="59" y="39"/>
                      </a:lnTo>
                      <a:lnTo>
                        <a:pt x="58" y="39"/>
                      </a:lnTo>
                      <a:lnTo>
                        <a:pt x="57" y="39"/>
                      </a:lnTo>
                      <a:lnTo>
                        <a:pt x="57" y="38"/>
                      </a:lnTo>
                      <a:lnTo>
                        <a:pt x="57" y="38"/>
                      </a:lnTo>
                      <a:lnTo>
                        <a:pt x="57" y="38"/>
                      </a:lnTo>
                      <a:lnTo>
                        <a:pt x="56" y="38"/>
                      </a:lnTo>
                      <a:lnTo>
                        <a:pt x="55" y="38"/>
                      </a:lnTo>
                      <a:lnTo>
                        <a:pt x="55" y="38"/>
                      </a:lnTo>
                      <a:lnTo>
                        <a:pt x="55" y="37"/>
                      </a:lnTo>
                      <a:lnTo>
                        <a:pt x="55" y="37"/>
                      </a:lnTo>
                      <a:lnTo>
                        <a:pt x="55" y="36"/>
                      </a:lnTo>
                      <a:lnTo>
                        <a:pt x="55" y="36"/>
                      </a:lnTo>
                      <a:lnTo>
                        <a:pt x="55" y="36"/>
                      </a:lnTo>
                      <a:lnTo>
                        <a:pt x="55" y="35"/>
                      </a:lnTo>
                      <a:lnTo>
                        <a:pt x="55" y="34"/>
                      </a:lnTo>
                      <a:lnTo>
                        <a:pt x="54" y="34"/>
                      </a:lnTo>
                      <a:lnTo>
                        <a:pt x="54" y="34"/>
                      </a:lnTo>
                      <a:lnTo>
                        <a:pt x="53" y="34"/>
                      </a:lnTo>
                      <a:lnTo>
                        <a:pt x="53" y="33"/>
                      </a:lnTo>
                      <a:lnTo>
                        <a:pt x="53" y="33"/>
                      </a:lnTo>
                      <a:lnTo>
                        <a:pt x="52" y="33"/>
                      </a:lnTo>
                      <a:lnTo>
                        <a:pt x="52" y="34"/>
                      </a:lnTo>
                      <a:lnTo>
                        <a:pt x="52" y="34"/>
                      </a:lnTo>
                      <a:lnTo>
                        <a:pt x="51" y="34"/>
                      </a:lnTo>
                      <a:lnTo>
                        <a:pt x="51" y="34"/>
                      </a:lnTo>
                      <a:lnTo>
                        <a:pt x="51" y="33"/>
                      </a:lnTo>
                      <a:lnTo>
                        <a:pt x="51" y="32"/>
                      </a:lnTo>
                      <a:lnTo>
                        <a:pt x="50" y="32"/>
                      </a:lnTo>
                      <a:lnTo>
                        <a:pt x="50" y="32"/>
                      </a:lnTo>
                      <a:lnTo>
                        <a:pt x="50" y="33"/>
                      </a:lnTo>
                      <a:lnTo>
                        <a:pt x="50" y="34"/>
                      </a:lnTo>
                      <a:lnTo>
                        <a:pt x="50" y="34"/>
                      </a:lnTo>
                      <a:lnTo>
                        <a:pt x="49" y="34"/>
                      </a:lnTo>
                      <a:lnTo>
                        <a:pt x="49" y="34"/>
                      </a:lnTo>
                      <a:lnTo>
                        <a:pt x="49" y="34"/>
                      </a:lnTo>
                      <a:lnTo>
                        <a:pt x="49" y="33"/>
                      </a:lnTo>
                      <a:lnTo>
                        <a:pt x="48" y="33"/>
                      </a:lnTo>
                      <a:lnTo>
                        <a:pt x="47" y="34"/>
                      </a:lnTo>
                      <a:lnTo>
                        <a:pt x="47" y="34"/>
                      </a:lnTo>
                      <a:lnTo>
                        <a:pt x="47" y="33"/>
                      </a:lnTo>
                      <a:lnTo>
                        <a:pt x="47" y="32"/>
                      </a:lnTo>
                      <a:lnTo>
                        <a:pt x="47" y="32"/>
                      </a:lnTo>
                      <a:lnTo>
                        <a:pt x="47" y="32"/>
                      </a:lnTo>
                      <a:lnTo>
                        <a:pt x="47" y="32"/>
                      </a:lnTo>
                      <a:lnTo>
                        <a:pt x="48" y="32"/>
                      </a:lnTo>
                      <a:lnTo>
                        <a:pt x="48" y="32"/>
                      </a:lnTo>
                      <a:lnTo>
                        <a:pt x="47" y="32"/>
                      </a:lnTo>
                      <a:lnTo>
                        <a:pt x="47" y="32"/>
                      </a:lnTo>
                      <a:lnTo>
                        <a:pt x="47" y="31"/>
                      </a:lnTo>
                      <a:lnTo>
                        <a:pt x="47" y="30"/>
                      </a:lnTo>
                      <a:lnTo>
                        <a:pt x="46" y="30"/>
                      </a:lnTo>
                      <a:lnTo>
                        <a:pt x="45" y="30"/>
                      </a:lnTo>
                      <a:lnTo>
                        <a:pt x="45" y="30"/>
                      </a:lnTo>
                      <a:lnTo>
                        <a:pt x="45" y="28"/>
                      </a:lnTo>
                      <a:lnTo>
                        <a:pt x="45" y="28"/>
                      </a:lnTo>
                      <a:lnTo>
                        <a:pt x="45" y="28"/>
                      </a:lnTo>
                      <a:lnTo>
                        <a:pt x="45" y="28"/>
                      </a:lnTo>
                      <a:lnTo>
                        <a:pt x="45" y="27"/>
                      </a:lnTo>
                      <a:lnTo>
                        <a:pt x="46" y="27"/>
                      </a:lnTo>
                      <a:lnTo>
                        <a:pt x="46" y="28"/>
                      </a:lnTo>
                      <a:lnTo>
                        <a:pt x="47" y="28"/>
                      </a:lnTo>
                      <a:lnTo>
                        <a:pt x="47" y="27"/>
                      </a:lnTo>
                      <a:lnTo>
                        <a:pt x="46" y="27"/>
                      </a:lnTo>
                      <a:lnTo>
                        <a:pt x="47" y="27"/>
                      </a:lnTo>
                      <a:lnTo>
                        <a:pt x="47" y="26"/>
                      </a:lnTo>
                      <a:lnTo>
                        <a:pt x="47" y="26"/>
                      </a:lnTo>
                      <a:lnTo>
                        <a:pt x="48" y="26"/>
                      </a:lnTo>
                      <a:lnTo>
                        <a:pt x="48" y="25"/>
                      </a:lnTo>
                      <a:lnTo>
                        <a:pt x="47" y="25"/>
                      </a:lnTo>
                      <a:lnTo>
                        <a:pt x="47" y="25"/>
                      </a:lnTo>
                      <a:lnTo>
                        <a:pt x="47" y="25"/>
                      </a:lnTo>
                      <a:lnTo>
                        <a:pt x="46" y="24"/>
                      </a:lnTo>
                      <a:lnTo>
                        <a:pt x="47" y="24"/>
                      </a:lnTo>
                      <a:lnTo>
                        <a:pt x="47" y="24"/>
                      </a:lnTo>
                      <a:lnTo>
                        <a:pt x="47" y="23"/>
                      </a:lnTo>
                      <a:lnTo>
                        <a:pt x="47" y="23"/>
                      </a:lnTo>
                      <a:lnTo>
                        <a:pt x="46" y="23"/>
                      </a:lnTo>
                      <a:lnTo>
                        <a:pt x="46" y="23"/>
                      </a:lnTo>
                      <a:lnTo>
                        <a:pt x="45" y="23"/>
                      </a:lnTo>
                      <a:lnTo>
                        <a:pt x="45" y="23"/>
                      </a:lnTo>
                      <a:lnTo>
                        <a:pt x="45" y="23"/>
                      </a:lnTo>
                      <a:lnTo>
                        <a:pt x="45" y="22"/>
                      </a:lnTo>
                      <a:lnTo>
                        <a:pt x="45" y="22"/>
                      </a:lnTo>
                      <a:lnTo>
                        <a:pt x="46" y="22"/>
                      </a:lnTo>
                      <a:lnTo>
                        <a:pt x="46" y="21"/>
                      </a:lnTo>
                      <a:lnTo>
                        <a:pt x="46" y="21"/>
                      </a:lnTo>
                      <a:lnTo>
                        <a:pt x="47" y="21"/>
                      </a:lnTo>
                      <a:lnTo>
                        <a:pt x="47" y="20"/>
                      </a:lnTo>
                      <a:lnTo>
                        <a:pt x="46" y="20"/>
                      </a:lnTo>
                      <a:lnTo>
                        <a:pt x="46" y="19"/>
                      </a:lnTo>
                      <a:lnTo>
                        <a:pt x="46" y="19"/>
                      </a:lnTo>
                      <a:lnTo>
                        <a:pt x="47" y="19"/>
                      </a:lnTo>
                      <a:lnTo>
                        <a:pt x="46" y="19"/>
                      </a:lnTo>
                      <a:lnTo>
                        <a:pt x="45" y="19"/>
                      </a:lnTo>
                      <a:lnTo>
                        <a:pt x="45" y="18"/>
                      </a:lnTo>
                      <a:lnTo>
                        <a:pt x="45" y="17"/>
                      </a:lnTo>
                      <a:lnTo>
                        <a:pt x="45" y="17"/>
                      </a:lnTo>
                      <a:lnTo>
                        <a:pt x="45" y="18"/>
                      </a:lnTo>
                      <a:lnTo>
                        <a:pt x="44" y="17"/>
                      </a:lnTo>
                      <a:lnTo>
                        <a:pt x="44" y="17"/>
                      </a:lnTo>
                      <a:lnTo>
                        <a:pt x="44" y="16"/>
                      </a:lnTo>
                      <a:lnTo>
                        <a:pt x="43" y="16"/>
                      </a:lnTo>
                      <a:lnTo>
                        <a:pt x="43" y="17"/>
                      </a:lnTo>
                      <a:lnTo>
                        <a:pt x="42" y="17"/>
                      </a:lnTo>
                      <a:lnTo>
                        <a:pt x="42" y="18"/>
                      </a:lnTo>
                      <a:lnTo>
                        <a:pt x="42" y="19"/>
                      </a:lnTo>
                      <a:lnTo>
                        <a:pt x="42" y="19"/>
                      </a:lnTo>
                      <a:lnTo>
                        <a:pt x="42" y="18"/>
                      </a:lnTo>
                      <a:lnTo>
                        <a:pt x="41" y="18"/>
                      </a:lnTo>
                      <a:lnTo>
                        <a:pt x="42" y="18"/>
                      </a:lnTo>
                      <a:lnTo>
                        <a:pt x="42" y="17"/>
                      </a:lnTo>
                      <a:lnTo>
                        <a:pt x="41" y="17"/>
                      </a:lnTo>
                      <a:lnTo>
                        <a:pt x="40" y="17"/>
                      </a:lnTo>
                      <a:lnTo>
                        <a:pt x="40" y="17"/>
                      </a:lnTo>
                      <a:lnTo>
                        <a:pt x="40" y="17"/>
                      </a:lnTo>
                      <a:lnTo>
                        <a:pt x="40" y="16"/>
                      </a:lnTo>
                      <a:lnTo>
                        <a:pt x="39" y="16"/>
                      </a:lnTo>
                      <a:lnTo>
                        <a:pt x="38" y="16"/>
                      </a:lnTo>
                      <a:lnTo>
                        <a:pt x="38" y="15"/>
                      </a:lnTo>
                      <a:lnTo>
                        <a:pt x="37" y="15"/>
                      </a:lnTo>
                      <a:lnTo>
                        <a:pt x="36" y="15"/>
                      </a:lnTo>
                      <a:lnTo>
                        <a:pt x="36" y="15"/>
                      </a:lnTo>
                      <a:lnTo>
                        <a:pt x="35" y="15"/>
                      </a:lnTo>
                      <a:lnTo>
                        <a:pt x="35" y="14"/>
                      </a:lnTo>
                      <a:lnTo>
                        <a:pt x="35" y="13"/>
                      </a:lnTo>
                      <a:lnTo>
                        <a:pt x="36" y="13"/>
                      </a:lnTo>
                      <a:lnTo>
                        <a:pt x="36" y="12"/>
                      </a:lnTo>
                      <a:lnTo>
                        <a:pt x="36" y="11"/>
                      </a:lnTo>
                      <a:lnTo>
                        <a:pt x="35" y="11"/>
                      </a:lnTo>
                      <a:lnTo>
                        <a:pt x="34" y="11"/>
                      </a:lnTo>
                      <a:lnTo>
                        <a:pt x="34" y="12"/>
                      </a:lnTo>
                      <a:lnTo>
                        <a:pt x="34" y="13"/>
                      </a:lnTo>
                      <a:lnTo>
                        <a:pt x="34" y="13"/>
                      </a:lnTo>
                      <a:lnTo>
                        <a:pt x="34" y="14"/>
                      </a:lnTo>
                      <a:lnTo>
                        <a:pt x="33" y="14"/>
                      </a:lnTo>
                      <a:lnTo>
                        <a:pt x="33" y="13"/>
                      </a:lnTo>
                      <a:lnTo>
                        <a:pt x="32" y="13"/>
                      </a:lnTo>
                      <a:lnTo>
                        <a:pt x="32" y="13"/>
                      </a:lnTo>
                      <a:lnTo>
                        <a:pt x="33" y="12"/>
                      </a:lnTo>
                      <a:lnTo>
                        <a:pt x="33" y="11"/>
                      </a:lnTo>
                      <a:lnTo>
                        <a:pt x="33" y="11"/>
                      </a:lnTo>
                      <a:lnTo>
                        <a:pt x="32" y="11"/>
                      </a:lnTo>
                      <a:lnTo>
                        <a:pt x="32" y="11"/>
                      </a:lnTo>
                      <a:lnTo>
                        <a:pt x="31" y="11"/>
                      </a:lnTo>
                      <a:lnTo>
                        <a:pt x="31" y="11"/>
                      </a:lnTo>
                      <a:lnTo>
                        <a:pt x="30" y="12"/>
                      </a:lnTo>
                      <a:lnTo>
                        <a:pt x="30" y="12"/>
                      </a:lnTo>
                      <a:lnTo>
                        <a:pt x="30" y="13"/>
                      </a:lnTo>
                      <a:lnTo>
                        <a:pt x="30" y="13"/>
                      </a:lnTo>
                      <a:lnTo>
                        <a:pt x="30" y="14"/>
                      </a:lnTo>
                      <a:lnTo>
                        <a:pt x="30" y="15"/>
                      </a:lnTo>
                      <a:lnTo>
                        <a:pt x="30" y="15"/>
                      </a:lnTo>
                      <a:lnTo>
                        <a:pt x="30" y="15"/>
                      </a:lnTo>
                      <a:lnTo>
                        <a:pt x="29" y="15"/>
                      </a:lnTo>
                      <a:lnTo>
                        <a:pt x="29" y="15"/>
                      </a:lnTo>
                      <a:lnTo>
                        <a:pt x="28" y="15"/>
                      </a:lnTo>
                      <a:lnTo>
                        <a:pt x="28" y="14"/>
                      </a:lnTo>
                      <a:lnTo>
                        <a:pt x="28" y="14"/>
                      </a:lnTo>
                      <a:lnTo>
                        <a:pt x="27" y="14"/>
                      </a:lnTo>
                      <a:lnTo>
                        <a:pt x="27" y="13"/>
                      </a:lnTo>
                      <a:lnTo>
                        <a:pt x="26" y="13"/>
                      </a:lnTo>
                      <a:lnTo>
                        <a:pt x="26" y="14"/>
                      </a:lnTo>
                      <a:lnTo>
                        <a:pt x="26" y="15"/>
                      </a:lnTo>
                      <a:lnTo>
                        <a:pt x="26" y="15"/>
                      </a:lnTo>
                      <a:lnTo>
                        <a:pt x="26" y="16"/>
                      </a:lnTo>
                      <a:lnTo>
                        <a:pt x="25" y="16"/>
                      </a:lnTo>
                      <a:lnTo>
                        <a:pt x="24" y="15"/>
                      </a:lnTo>
                      <a:lnTo>
                        <a:pt x="23" y="15"/>
                      </a:lnTo>
                      <a:lnTo>
                        <a:pt x="23" y="14"/>
                      </a:lnTo>
                      <a:lnTo>
                        <a:pt x="22" y="14"/>
                      </a:lnTo>
                      <a:lnTo>
                        <a:pt x="22" y="15"/>
                      </a:lnTo>
                      <a:lnTo>
                        <a:pt x="21" y="15"/>
                      </a:lnTo>
                      <a:lnTo>
                        <a:pt x="21" y="15"/>
                      </a:lnTo>
                      <a:lnTo>
                        <a:pt x="21" y="15"/>
                      </a:lnTo>
                      <a:lnTo>
                        <a:pt x="21" y="15"/>
                      </a:lnTo>
                      <a:lnTo>
                        <a:pt x="21" y="14"/>
                      </a:lnTo>
                      <a:lnTo>
                        <a:pt x="20" y="14"/>
                      </a:lnTo>
                      <a:lnTo>
                        <a:pt x="19" y="14"/>
                      </a:lnTo>
                      <a:lnTo>
                        <a:pt x="19" y="13"/>
                      </a:lnTo>
                      <a:lnTo>
                        <a:pt x="19" y="13"/>
                      </a:lnTo>
                      <a:lnTo>
                        <a:pt x="19" y="13"/>
                      </a:lnTo>
                      <a:lnTo>
                        <a:pt x="19" y="12"/>
                      </a:lnTo>
                      <a:lnTo>
                        <a:pt x="19" y="12"/>
                      </a:lnTo>
                      <a:lnTo>
                        <a:pt x="18" y="13"/>
                      </a:lnTo>
                      <a:lnTo>
                        <a:pt x="17" y="13"/>
                      </a:lnTo>
                      <a:lnTo>
                        <a:pt x="17" y="14"/>
                      </a:lnTo>
                      <a:lnTo>
                        <a:pt x="17" y="13"/>
                      </a:lnTo>
                      <a:lnTo>
                        <a:pt x="17" y="13"/>
                      </a:lnTo>
                      <a:lnTo>
                        <a:pt x="16" y="12"/>
                      </a:lnTo>
                      <a:lnTo>
                        <a:pt x="16" y="11"/>
                      </a:lnTo>
                      <a:lnTo>
                        <a:pt x="16" y="11"/>
                      </a:lnTo>
                      <a:lnTo>
                        <a:pt x="16" y="10"/>
                      </a:lnTo>
                      <a:lnTo>
                        <a:pt x="15" y="9"/>
                      </a:lnTo>
                      <a:lnTo>
                        <a:pt x="15" y="10"/>
                      </a:lnTo>
                      <a:lnTo>
                        <a:pt x="15" y="10"/>
                      </a:lnTo>
                      <a:lnTo>
                        <a:pt x="15" y="11"/>
                      </a:lnTo>
                      <a:lnTo>
                        <a:pt x="15" y="11"/>
                      </a:lnTo>
                      <a:lnTo>
                        <a:pt x="15" y="12"/>
                      </a:lnTo>
                      <a:lnTo>
                        <a:pt x="15" y="13"/>
                      </a:lnTo>
                      <a:lnTo>
                        <a:pt x="14" y="13"/>
                      </a:lnTo>
                      <a:lnTo>
                        <a:pt x="13" y="12"/>
                      </a:lnTo>
                      <a:lnTo>
                        <a:pt x="13" y="11"/>
                      </a:lnTo>
                      <a:lnTo>
                        <a:pt x="12" y="11"/>
                      </a:lnTo>
                      <a:lnTo>
                        <a:pt x="11" y="11"/>
                      </a:lnTo>
                      <a:lnTo>
                        <a:pt x="11" y="11"/>
                      </a:lnTo>
                      <a:lnTo>
                        <a:pt x="11" y="11"/>
                      </a:lnTo>
                      <a:lnTo>
                        <a:pt x="11" y="10"/>
                      </a:lnTo>
                      <a:lnTo>
                        <a:pt x="10" y="9"/>
                      </a:lnTo>
                      <a:lnTo>
                        <a:pt x="10" y="9"/>
                      </a:lnTo>
                      <a:lnTo>
                        <a:pt x="10" y="8"/>
                      </a:lnTo>
                      <a:lnTo>
                        <a:pt x="9" y="8"/>
                      </a:lnTo>
                      <a:lnTo>
                        <a:pt x="9" y="9"/>
                      </a:lnTo>
                      <a:lnTo>
                        <a:pt x="9" y="9"/>
                      </a:lnTo>
                      <a:lnTo>
                        <a:pt x="9" y="9"/>
                      </a:lnTo>
                      <a:lnTo>
                        <a:pt x="8" y="9"/>
                      </a:lnTo>
                      <a:lnTo>
                        <a:pt x="8" y="9"/>
                      </a:lnTo>
                      <a:lnTo>
                        <a:pt x="8" y="8"/>
                      </a:lnTo>
                      <a:lnTo>
                        <a:pt x="8" y="7"/>
                      </a:lnTo>
                      <a:lnTo>
                        <a:pt x="7" y="7"/>
                      </a:lnTo>
                      <a:lnTo>
                        <a:pt x="7" y="7"/>
                      </a:lnTo>
                      <a:lnTo>
                        <a:pt x="7" y="7"/>
                      </a:lnTo>
                      <a:lnTo>
                        <a:pt x="6" y="7"/>
                      </a:lnTo>
                      <a:lnTo>
                        <a:pt x="5" y="7"/>
                      </a:lnTo>
                      <a:lnTo>
                        <a:pt x="5" y="6"/>
                      </a:lnTo>
                      <a:lnTo>
                        <a:pt x="4" y="5"/>
                      </a:lnTo>
                      <a:lnTo>
                        <a:pt x="4" y="4"/>
                      </a:lnTo>
                      <a:lnTo>
                        <a:pt x="4" y="4"/>
                      </a:lnTo>
                      <a:lnTo>
                        <a:pt x="4" y="3"/>
                      </a:lnTo>
                      <a:lnTo>
                        <a:pt x="4" y="2"/>
                      </a:lnTo>
                      <a:lnTo>
                        <a:pt x="4" y="2"/>
                      </a:lnTo>
                      <a:lnTo>
                        <a:pt x="5" y="2"/>
                      </a:lnTo>
                      <a:lnTo>
                        <a:pt x="5" y="2"/>
                      </a:lnTo>
                      <a:lnTo>
                        <a:pt x="6" y="2"/>
                      </a:lnTo>
                      <a:lnTo>
                        <a:pt x="6" y="1"/>
                      </a:lnTo>
                      <a:lnTo>
                        <a:pt x="5" y="1"/>
                      </a:lnTo>
                      <a:lnTo>
                        <a:pt x="4" y="1"/>
                      </a:lnTo>
                      <a:lnTo>
                        <a:pt x="4" y="1"/>
                      </a:lnTo>
                      <a:lnTo>
                        <a:pt x="4" y="2"/>
                      </a:lnTo>
                      <a:lnTo>
                        <a:pt x="3" y="2"/>
                      </a:lnTo>
                      <a:lnTo>
                        <a:pt x="2" y="2"/>
                      </a:lnTo>
                      <a:lnTo>
                        <a:pt x="2" y="2"/>
                      </a:lnTo>
                      <a:lnTo>
                        <a:pt x="1" y="2"/>
                      </a:lnTo>
                      <a:lnTo>
                        <a:pt x="0" y="2"/>
                      </a:lnTo>
                      <a:lnTo>
                        <a:pt x="0" y="2"/>
                      </a:lnTo>
                      <a:lnTo>
                        <a:pt x="0" y="1"/>
                      </a:lnTo>
                      <a:lnTo>
                        <a:pt x="0" y="0"/>
                      </a:lnTo>
                      <a:lnTo>
                        <a:pt x="0"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198" name="Freeform 9">
                  <a:extLst>
                    <a:ext uri="{FF2B5EF4-FFF2-40B4-BE49-F238E27FC236}">
                      <a16:creationId xmlns:a16="http://schemas.microsoft.com/office/drawing/2014/main" xmlns="" id="{A6BD80F8-1AF6-539F-5A35-A1BB5D495927}"/>
                    </a:ext>
                  </a:extLst>
                </p:cNvPr>
                <p:cNvSpPr>
                  <a:spLocks/>
                </p:cNvSpPr>
                <p:nvPr/>
              </p:nvSpPr>
              <p:spPr bwMode="auto">
                <a:xfrm>
                  <a:off x="2488" y="1588"/>
                  <a:ext cx="139" cy="549"/>
                </a:xfrm>
                <a:custGeom>
                  <a:avLst/>
                  <a:gdLst>
                    <a:gd name="T0" fmla="*/ 39 w 139"/>
                    <a:gd name="T1" fmla="*/ 544 h 549"/>
                    <a:gd name="T2" fmla="*/ 39 w 139"/>
                    <a:gd name="T3" fmla="*/ 537 h 549"/>
                    <a:gd name="T4" fmla="*/ 38 w 139"/>
                    <a:gd name="T5" fmla="*/ 531 h 549"/>
                    <a:gd name="T6" fmla="*/ 38 w 139"/>
                    <a:gd name="T7" fmla="*/ 526 h 549"/>
                    <a:gd name="T8" fmla="*/ 41 w 139"/>
                    <a:gd name="T9" fmla="*/ 520 h 549"/>
                    <a:gd name="T10" fmla="*/ 43 w 139"/>
                    <a:gd name="T11" fmla="*/ 515 h 549"/>
                    <a:gd name="T12" fmla="*/ 43 w 139"/>
                    <a:gd name="T13" fmla="*/ 510 h 549"/>
                    <a:gd name="T14" fmla="*/ 43 w 139"/>
                    <a:gd name="T15" fmla="*/ 507 h 549"/>
                    <a:gd name="T16" fmla="*/ 44 w 139"/>
                    <a:gd name="T17" fmla="*/ 503 h 549"/>
                    <a:gd name="T18" fmla="*/ 43 w 139"/>
                    <a:gd name="T19" fmla="*/ 498 h 549"/>
                    <a:gd name="T20" fmla="*/ 41 w 139"/>
                    <a:gd name="T21" fmla="*/ 491 h 549"/>
                    <a:gd name="T22" fmla="*/ 39 w 139"/>
                    <a:gd name="T23" fmla="*/ 486 h 549"/>
                    <a:gd name="T24" fmla="*/ 34 w 139"/>
                    <a:gd name="T25" fmla="*/ 483 h 549"/>
                    <a:gd name="T26" fmla="*/ 26 w 139"/>
                    <a:gd name="T27" fmla="*/ 475 h 549"/>
                    <a:gd name="T28" fmla="*/ 20 w 139"/>
                    <a:gd name="T29" fmla="*/ 471 h 549"/>
                    <a:gd name="T30" fmla="*/ 17 w 139"/>
                    <a:gd name="T31" fmla="*/ 466 h 549"/>
                    <a:gd name="T32" fmla="*/ 12 w 139"/>
                    <a:gd name="T33" fmla="*/ 460 h 549"/>
                    <a:gd name="T34" fmla="*/ 11 w 139"/>
                    <a:gd name="T35" fmla="*/ 458 h 549"/>
                    <a:gd name="T36" fmla="*/ 7 w 139"/>
                    <a:gd name="T37" fmla="*/ 448 h 549"/>
                    <a:gd name="T38" fmla="*/ 17 w 139"/>
                    <a:gd name="T39" fmla="*/ 437 h 549"/>
                    <a:gd name="T40" fmla="*/ 21 w 139"/>
                    <a:gd name="T41" fmla="*/ 423 h 549"/>
                    <a:gd name="T42" fmla="*/ 10 w 139"/>
                    <a:gd name="T43" fmla="*/ 412 h 549"/>
                    <a:gd name="T44" fmla="*/ 3 w 139"/>
                    <a:gd name="T45" fmla="*/ 398 h 549"/>
                    <a:gd name="T46" fmla="*/ 6 w 139"/>
                    <a:gd name="T47" fmla="*/ 384 h 549"/>
                    <a:gd name="T48" fmla="*/ 5 w 139"/>
                    <a:gd name="T49" fmla="*/ 375 h 549"/>
                    <a:gd name="T50" fmla="*/ 22 w 139"/>
                    <a:gd name="T51" fmla="*/ 364 h 549"/>
                    <a:gd name="T52" fmla="*/ 13 w 139"/>
                    <a:gd name="T53" fmla="*/ 351 h 549"/>
                    <a:gd name="T54" fmla="*/ 7 w 139"/>
                    <a:gd name="T55" fmla="*/ 330 h 549"/>
                    <a:gd name="T56" fmla="*/ 5 w 139"/>
                    <a:gd name="T57" fmla="*/ 318 h 549"/>
                    <a:gd name="T58" fmla="*/ 10 w 139"/>
                    <a:gd name="T59" fmla="*/ 312 h 549"/>
                    <a:gd name="T60" fmla="*/ 5 w 139"/>
                    <a:gd name="T61" fmla="*/ 300 h 549"/>
                    <a:gd name="T62" fmla="*/ 4 w 139"/>
                    <a:gd name="T63" fmla="*/ 284 h 549"/>
                    <a:gd name="T64" fmla="*/ 14 w 139"/>
                    <a:gd name="T65" fmla="*/ 265 h 549"/>
                    <a:gd name="T66" fmla="*/ 24 w 139"/>
                    <a:gd name="T67" fmla="*/ 248 h 549"/>
                    <a:gd name="T68" fmla="*/ 11 w 139"/>
                    <a:gd name="T69" fmla="*/ 241 h 549"/>
                    <a:gd name="T70" fmla="*/ 7 w 139"/>
                    <a:gd name="T71" fmla="*/ 230 h 549"/>
                    <a:gd name="T72" fmla="*/ 22 w 139"/>
                    <a:gd name="T73" fmla="*/ 214 h 549"/>
                    <a:gd name="T74" fmla="*/ 31 w 139"/>
                    <a:gd name="T75" fmla="*/ 215 h 549"/>
                    <a:gd name="T76" fmla="*/ 29 w 139"/>
                    <a:gd name="T77" fmla="*/ 200 h 549"/>
                    <a:gd name="T78" fmla="*/ 47 w 139"/>
                    <a:gd name="T79" fmla="*/ 191 h 549"/>
                    <a:gd name="T80" fmla="*/ 48 w 139"/>
                    <a:gd name="T81" fmla="*/ 183 h 549"/>
                    <a:gd name="T82" fmla="*/ 45 w 139"/>
                    <a:gd name="T83" fmla="*/ 174 h 549"/>
                    <a:gd name="T84" fmla="*/ 37 w 139"/>
                    <a:gd name="T85" fmla="*/ 163 h 549"/>
                    <a:gd name="T86" fmla="*/ 45 w 139"/>
                    <a:gd name="T87" fmla="*/ 154 h 549"/>
                    <a:gd name="T88" fmla="*/ 43 w 139"/>
                    <a:gd name="T89" fmla="*/ 151 h 549"/>
                    <a:gd name="T90" fmla="*/ 48 w 139"/>
                    <a:gd name="T91" fmla="*/ 140 h 549"/>
                    <a:gd name="T92" fmla="*/ 41 w 139"/>
                    <a:gd name="T93" fmla="*/ 132 h 549"/>
                    <a:gd name="T94" fmla="*/ 48 w 139"/>
                    <a:gd name="T95" fmla="*/ 117 h 549"/>
                    <a:gd name="T96" fmla="*/ 64 w 139"/>
                    <a:gd name="T97" fmla="*/ 94 h 549"/>
                    <a:gd name="T98" fmla="*/ 69 w 139"/>
                    <a:gd name="T99" fmla="*/ 92 h 549"/>
                    <a:gd name="T100" fmla="*/ 75 w 139"/>
                    <a:gd name="T101" fmla="*/ 91 h 549"/>
                    <a:gd name="T102" fmla="*/ 83 w 139"/>
                    <a:gd name="T103" fmla="*/ 75 h 549"/>
                    <a:gd name="T104" fmla="*/ 92 w 139"/>
                    <a:gd name="T105" fmla="*/ 65 h 549"/>
                    <a:gd name="T106" fmla="*/ 97 w 139"/>
                    <a:gd name="T107" fmla="*/ 54 h 549"/>
                    <a:gd name="T108" fmla="*/ 103 w 139"/>
                    <a:gd name="T109" fmla="*/ 34 h 549"/>
                    <a:gd name="T110" fmla="*/ 111 w 139"/>
                    <a:gd name="T111" fmla="*/ 30 h 549"/>
                    <a:gd name="T112" fmla="*/ 124 w 139"/>
                    <a:gd name="T113" fmla="*/ 31 h 549"/>
                    <a:gd name="T114" fmla="*/ 121 w 139"/>
                    <a:gd name="T115" fmla="*/ 22 h 549"/>
                    <a:gd name="T116" fmla="*/ 129 w 139"/>
                    <a:gd name="T117" fmla="*/ 12 h 549"/>
                    <a:gd name="T118" fmla="*/ 136 w 139"/>
                    <a:gd name="T119" fmla="*/ 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549">
                      <a:moveTo>
                        <a:pt x="41" y="549"/>
                      </a:moveTo>
                      <a:lnTo>
                        <a:pt x="42" y="549"/>
                      </a:lnTo>
                      <a:lnTo>
                        <a:pt x="42" y="548"/>
                      </a:lnTo>
                      <a:lnTo>
                        <a:pt x="42" y="547"/>
                      </a:lnTo>
                      <a:lnTo>
                        <a:pt x="42" y="547"/>
                      </a:lnTo>
                      <a:lnTo>
                        <a:pt x="43" y="547"/>
                      </a:lnTo>
                      <a:lnTo>
                        <a:pt x="43" y="546"/>
                      </a:lnTo>
                      <a:lnTo>
                        <a:pt x="43" y="546"/>
                      </a:lnTo>
                      <a:lnTo>
                        <a:pt x="43" y="545"/>
                      </a:lnTo>
                      <a:lnTo>
                        <a:pt x="43" y="545"/>
                      </a:lnTo>
                      <a:lnTo>
                        <a:pt x="42" y="545"/>
                      </a:lnTo>
                      <a:lnTo>
                        <a:pt x="41" y="545"/>
                      </a:lnTo>
                      <a:lnTo>
                        <a:pt x="41" y="545"/>
                      </a:lnTo>
                      <a:lnTo>
                        <a:pt x="41" y="545"/>
                      </a:lnTo>
                      <a:lnTo>
                        <a:pt x="40" y="545"/>
                      </a:lnTo>
                      <a:lnTo>
                        <a:pt x="40" y="545"/>
                      </a:lnTo>
                      <a:lnTo>
                        <a:pt x="39" y="544"/>
                      </a:lnTo>
                      <a:lnTo>
                        <a:pt x="40" y="543"/>
                      </a:lnTo>
                      <a:lnTo>
                        <a:pt x="41" y="543"/>
                      </a:lnTo>
                      <a:lnTo>
                        <a:pt x="41" y="542"/>
                      </a:lnTo>
                      <a:lnTo>
                        <a:pt x="40" y="542"/>
                      </a:lnTo>
                      <a:lnTo>
                        <a:pt x="40" y="541"/>
                      </a:lnTo>
                      <a:lnTo>
                        <a:pt x="41" y="541"/>
                      </a:lnTo>
                      <a:lnTo>
                        <a:pt x="41" y="541"/>
                      </a:lnTo>
                      <a:lnTo>
                        <a:pt x="41" y="540"/>
                      </a:lnTo>
                      <a:lnTo>
                        <a:pt x="41" y="540"/>
                      </a:lnTo>
                      <a:lnTo>
                        <a:pt x="41" y="539"/>
                      </a:lnTo>
                      <a:lnTo>
                        <a:pt x="40" y="539"/>
                      </a:lnTo>
                      <a:lnTo>
                        <a:pt x="39" y="539"/>
                      </a:lnTo>
                      <a:lnTo>
                        <a:pt x="39" y="539"/>
                      </a:lnTo>
                      <a:lnTo>
                        <a:pt x="39" y="539"/>
                      </a:lnTo>
                      <a:lnTo>
                        <a:pt x="39" y="538"/>
                      </a:lnTo>
                      <a:lnTo>
                        <a:pt x="39" y="537"/>
                      </a:lnTo>
                      <a:lnTo>
                        <a:pt x="39" y="537"/>
                      </a:lnTo>
                      <a:lnTo>
                        <a:pt x="39" y="536"/>
                      </a:lnTo>
                      <a:lnTo>
                        <a:pt x="39" y="535"/>
                      </a:lnTo>
                      <a:lnTo>
                        <a:pt x="40" y="535"/>
                      </a:lnTo>
                      <a:lnTo>
                        <a:pt x="40" y="534"/>
                      </a:lnTo>
                      <a:lnTo>
                        <a:pt x="40" y="534"/>
                      </a:lnTo>
                      <a:lnTo>
                        <a:pt x="39" y="534"/>
                      </a:lnTo>
                      <a:lnTo>
                        <a:pt x="39" y="533"/>
                      </a:lnTo>
                      <a:lnTo>
                        <a:pt x="39" y="532"/>
                      </a:lnTo>
                      <a:lnTo>
                        <a:pt x="39" y="532"/>
                      </a:lnTo>
                      <a:lnTo>
                        <a:pt x="39" y="533"/>
                      </a:lnTo>
                      <a:lnTo>
                        <a:pt x="39" y="534"/>
                      </a:lnTo>
                      <a:lnTo>
                        <a:pt x="38" y="534"/>
                      </a:lnTo>
                      <a:lnTo>
                        <a:pt x="37" y="534"/>
                      </a:lnTo>
                      <a:lnTo>
                        <a:pt x="37" y="533"/>
                      </a:lnTo>
                      <a:lnTo>
                        <a:pt x="37" y="532"/>
                      </a:lnTo>
                      <a:lnTo>
                        <a:pt x="38" y="532"/>
                      </a:lnTo>
                      <a:lnTo>
                        <a:pt x="38" y="531"/>
                      </a:lnTo>
                      <a:lnTo>
                        <a:pt x="38" y="530"/>
                      </a:lnTo>
                      <a:lnTo>
                        <a:pt x="38" y="530"/>
                      </a:lnTo>
                      <a:lnTo>
                        <a:pt x="39" y="530"/>
                      </a:lnTo>
                      <a:lnTo>
                        <a:pt x="39" y="529"/>
                      </a:lnTo>
                      <a:lnTo>
                        <a:pt x="40" y="529"/>
                      </a:lnTo>
                      <a:lnTo>
                        <a:pt x="41" y="529"/>
                      </a:lnTo>
                      <a:lnTo>
                        <a:pt x="41" y="528"/>
                      </a:lnTo>
                      <a:lnTo>
                        <a:pt x="41" y="528"/>
                      </a:lnTo>
                      <a:lnTo>
                        <a:pt x="40" y="528"/>
                      </a:lnTo>
                      <a:lnTo>
                        <a:pt x="39" y="528"/>
                      </a:lnTo>
                      <a:lnTo>
                        <a:pt x="39" y="528"/>
                      </a:lnTo>
                      <a:lnTo>
                        <a:pt x="39" y="528"/>
                      </a:lnTo>
                      <a:lnTo>
                        <a:pt x="39" y="528"/>
                      </a:lnTo>
                      <a:lnTo>
                        <a:pt x="39" y="527"/>
                      </a:lnTo>
                      <a:lnTo>
                        <a:pt x="39" y="526"/>
                      </a:lnTo>
                      <a:lnTo>
                        <a:pt x="38" y="526"/>
                      </a:lnTo>
                      <a:lnTo>
                        <a:pt x="38" y="526"/>
                      </a:lnTo>
                      <a:lnTo>
                        <a:pt x="37" y="526"/>
                      </a:lnTo>
                      <a:lnTo>
                        <a:pt x="37" y="526"/>
                      </a:lnTo>
                      <a:lnTo>
                        <a:pt x="37" y="526"/>
                      </a:lnTo>
                      <a:lnTo>
                        <a:pt x="37" y="525"/>
                      </a:lnTo>
                      <a:lnTo>
                        <a:pt x="37" y="524"/>
                      </a:lnTo>
                      <a:lnTo>
                        <a:pt x="37" y="524"/>
                      </a:lnTo>
                      <a:lnTo>
                        <a:pt x="37" y="523"/>
                      </a:lnTo>
                      <a:lnTo>
                        <a:pt x="37" y="523"/>
                      </a:lnTo>
                      <a:lnTo>
                        <a:pt x="37" y="522"/>
                      </a:lnTo>
                      <a:lnTo>
                        <a:pt x="37" y="522"/>
                      </a:lnTo>
                      <a:lnTo>
                        <a:pt x="38" y="522"/>
                      </a:lnTo>
                      <a:lnTo>
                        <a:pt x="39" y="522"/>
                      </a:lnTo>
                      <a:lnTo>
                        <a:pt x="39" y="521"/>
                      </a:lnTo>
                      <a:lnTo>
                        <a:pt x="39" y="520"/>
                      </a:lnTo>
                      <a:lnTo>
                        <a:pt x="40" y="520"/>
                      </a:lnTo>
                      <a:lnTo>
                        <a:pt x="40" y="520"/>
                      </a:lnTo>
                      <a:lnTo>
                        <a:pt x="41" y="520"/>
                      </a:lnTo>
                      <a:lnTo>
                        <a:pt x="41" y="519"/>
                      </a:lnTo>
                      <a:lnTo>
                        <a:pt x="41" y="518"/>
                      </a:lnTo>
                      <a:lnTo>
                        <a:pt x="41" y="518"/>
                      </a:lnTo>
                      <a:lnTo>
                        <a:pt x="41" y="518"/>
                      </a:lnTo>
                      <a:lnTo>
                        <a:pt x="42" y="518"/>
                      </a:lnTo>
                      <a:lnTo>
                        <a:pt x="43" y="518"/>
                      </a:lnTo>
                      <a:lnTo>
                        <a:pt x="43" y="518"/>
                      </a:lnTo>
                      <a:lnTo>
                        <a:pt x="43" y="518"/>
                      </a:lnTo>
                      <a:lnTo>
                        <a:pt x="44" y="518"/>
                      </a:lnTo>
                      <a:lnTo>
                        <a:pt x="44" y="518"/>
                      </a:lnTo>
                      <a:lnTo>
                        <a:pt x="44" y="517"/>
                      </a:lnTo>
                      <a:lnTo>
                        <a:pt x="43" y="517"/>
                      </a:lnTo>
                      <a:lnTo>
                        <a:pt x="43" y="516"/>
                      </a:lnTo>
                      <a:lnTo>
                        <a:pt x="43" y="516"/>
                      </a:lnTo>
                      <a:lnTo>
                        <a:pt x="42" y="517"/>
                      </a:lnTo>
                      <a:lnTo>
                        <a:pt x="42" y="516"/>
                      </a:lnTo>
                      <a:lnTo>
                        <a:pt x="43" y="515"/>
                      </a:lnTo>
                      <a:lnTo>
                        <a:pt x="43" y="515"/>
                      </a:lnTo>
                      <a:lnTo>
                        <a:pt x="43" y="515"/>
                      </a:lnTo>
                      <a:lnTo>
                        <a:pt x="43" y="514"/>
                      </a:lnTo>
                      <a:lnTo>
                        <a:pt x="43" y="513"/>
                      </a:lnTo>
                      <a:lnTo>
                        <a:pt x="43" y="513"/>
                      </a:lnTo>
                      <a:lnTo>
                        <a:pt x="43" y="513"/>
                      </a:lnTo>
                      <a:lnTo>
                        <a:pt x="43" y="512"/>
                      </a:lnTo>
                      <a:lnTo>
                        <a:pt x="42" y="512"/>
                      </a:lnTo>
                      <a:lnTo>
                        <a:pt x="41" y="512"/>
                      </a:lnTo>
                      <a:lnTo>
                        <a:pt x="41" y="511"/>
                      </a:lnTo>
                      <a:lnTo>
                        <a:pt x="42" y="511"/>
                      </a:lnTo>
                      <a:lnTo>
                        <a:pt x="43" y="511"/>
                      </a:lnTo>
                      <a:lnTo>
                        <a:pt x="43" y="512"/>
                      </a:lnTo>
                      <a:lnTo>
                        <a:pt x="43" y="512"/>
                      </a:lnTo>
                      <a:lnTo>
                        <a:pt x="43" y="511"/>
                      </a:lnTo>
                      <a:lnTo>
                        <a:pt x="43" y="511"/>
                      </a:lnTo>
                      <a:lnTo>
                        <a:pt x="43" y="510"/>
                      </a:lnTo>
                      <a:lnTo>
                        <a:pt x="43" y="510"/>
                      </a:lnTo>
                      <a:lnTo>
                        <a:pt x="42" y="510"/>
                      </a:lnTo>
                      <a:lnTo>
                        <a:pt x="42" y="509"/>
                      </a:lnTo>
                      <a:lnTo>
                        <a:pt x="43" y="509"/>
                      </a:lnTo>
                      <a:lnTo>
                        <a:pt x="43" y="509"/>
                      </a:lnTo>
                      <a:lnTo>
                        <a:pt x="44" y="510"/>
                      </a:lnTo>
                      <a:lnTo>
                        <a:pt x="44" y="509"/>
                      </a:lnTo>
                      <a:lnTo>
                        <a:pt x="45" y="509"/>
                      </a:lnTo>
                      <a:lnTo>
                        <a:pt x="45" y="509"/>
                      </a:lnTo>
                      <a:lnTo>
                        <a:pt x="44" y="508"/>
                      </a:lnTo>
                      <a:lnTo>
                        <a:pt x="43" y="508"/>
                      </a:lnTo>
                      <a:lnTo>
                        <a:pt x="43" y="508"/>
                      </a:lnTo>
                      <a:lnTo>
                        <a:pt x="42" y="508"/>
                      </a:lnTo>
                      <a:lnTo>
                        <a:pt x="42" y="507"/>
                      </a:lnTo>
                      <a:lnTo>
                        <a:pt x="43" y="507"/>
                      </a:lnTo>
                      <a:lnTo>
                        <a:pt x="43" y="507"/>
                      </a:lnTo>
                      <a:lnTo>
                        <a:pt x="43" y="507"/>
                      </a:lnTo>
                      <a:lnTo>
                        <a:pt x="44" y="507"/>
                      </a:lnTo>
                      <a:lnTo>
                        <a:pt x="45" y="507"/>
                      </a:lnTo>
                      <a:lnTo>
                        <a:pt x="45" y="507"/>
                      </a:lnTo>
                      <a:lnTo>
                        <a:pt x="45" y="507"/>
                      </a:lnTo>
                      <a:lnTo>
                        <a:pt x="45" y="507"/>
                      </a:lnTo>
                      <a:lnTo>
                        <a:pt x="45" y="506"/>
                      </a:lnTo>
                      <a:lnTo>
                        <a:pt x="46" y="505"/>
                      </a:lnTo>
                      <a:lnTo>
                        <a:pt x="47" y="505"/>
                      </a:lnTo>
                      <a:lnTo>
                        <a:pt x="48" y="505"/>
                      </a:lnTo>
                      <a:lnTo>
                        <a:pt x="48" y="505"/>
                      </a:lnTo>
                      <a:lnTo>
                        <a:pt x="47" y="505"/>
                      </a:lnTo>
                      <a:lnTo>
                        <a:pt x="46" y="505"/>
                      </a:lnTo>
                      <a:lnTo>
                        <a:pt x="45" y="505"/>
                      </a:lnTo>
                      <a:lnTo>
                        <a:pt x="45" y="505"/>
                      </a:lnTo>
                      <a:lnTo>
                        <a:pt x="44" y="505"/>
                      </a:lnTo>
                      <a:lnTo>
                        <a:pt x="44" y="504"/>
                      </a:lnTo>
                      <a:lnTo>
                        <a:pt x="44" y="503"/>
                      </a:lnTo>
                      <a:lnTo>
                        <a:pt x="45" y="503"/>
                      </a:lnTo>
                      <a:lnTo>
                        <a:pt x="45" y="502"/>
                      </a:lnTo>
                      <a:lnTo>
                        <a:pt x="45" y="501"/>
                      </a:lnTo>
                      <a:lnTo>
                        <a:pt x="45" y="501"/>
                      </a:lnTo>
                      <a:lnTo>
                        <a:pt x="45" y="500"/>
                      </a:lnTo>
                      <a:lnTo>
                        <a:pt x="45" y="499"/>
                      </a:lnTo>
                      <a:lnTo>
                        <a:pt x="46" y="499"/>
                      </a:lnTo>
                      <a:lnTo>
                        <a:pt x="46" y="499"/>
                      </a:lnTo>
                      <a:lnTo>
                        <a:pt x="45" y="499"/>
                      </a:lnTo>
                      <a:lnTo>
                        <a:pt x="45" y="498"/>
                      </a:lnTo>
                      <a:lnTo>
                        <a:pt x="45" y="498"/>
                      </a:lnTo>
                      <a:lnTo>
                        <a:pt x="45" y="499"/>
                      </a:lnTo>
                      <a:lnTo>
                        <a:pt x="44" y="499"/>
                      </a:lnTo>
                      <a:lnTo>
                        <a:pt x="43" y="499"/>
                      </a:lnTo>
                      <a:lnTo>
                        <a:pt x="43" y="499"/>
                      </a:lnTo>
                      <a:lnTo>
                        <a:pt x="43" y="499"/>
                      </a:lnTo>
                      <a:lnTo>
                        <a:pt x="43" y="498"/>
                      </a:lnTo>
                      <a:lnTo>
                        <a:pt x="43" y="497"/>
                      </a:lnTo>
                      <a:lnTo>
                        <a:pt x="43" y="497"/>
                      </a:lnTo>
                      <a:lnTo>
                        <a:pt x="43" y="496"/>
                      </a:lnTo>
                      <a:lnTo>
                        <a:pt x="43" y="495"/>
                      </a:lnTo>
                      <a:lnTo>
                        <a:pt x="42" y="495"/>
                      </a:lnTo>
                      <a:lnTo>
                        <a:pt x="42" y="494"/>
                      </a:lnTo>
                      <a:lnTo>
                        <a:pt x="41" y="494"/>
                      </a:lnTo>
                      <a:lnTo>
                        <a:pt x="41" y="495"/>
                      </a:lnTo>
                      <a:lnTo>
                        <a:pt x="41" y="495"/>
                      </a:lnTo>
                      <a:lnTo>
                        <a:pt x="40" y="495"/>
                      </a:lnTo>
                      <a:lnTo>
                        <a:pt x="40" y="494"/>
                      </a:lnTo>
                      <a:lnTo>
                        <a:pt x="40" y="494"/>
                      </a:lnTo>
                      <a:lnTo>
                        <a:pt x="40" y="493"/>
                      </a:lnTo>
                      <a:lnTo>
                        <a:pt x="41" y="493"/>
                      </a:lnTo>
                      <a:lnTo>
                        <a:pt x="41" y="492"/>
                      </a:lnTo>
                      <a:lnTo>
                        <a:pt x="41" y="492"/>
                      </a:lnTo>
                      <a:lnTo>
                        <a:pt x="41" y="491"/>
                      </a:lnTo>
                      <a:lnTo>
                        <a:pt x="40" y="490"/>
                      </a:lnTo>
                      <a:lnTo>
                        <a:pt x="40" y="490"/>
                      </a:lnTo>
                      <a:lnTo>
                        <a:pt x="39" y="490"/>
                      </a:lnTo>
                      <a:lnTo>
                        <a:pt x="39" y="491"/>
                      </a:lnTo>
                      <a:lnTo>
                        <a:pt x="39" y="491"/>
                      </a:lnTo>
                      <a:lnTo>
                        <a:pt x="38" y="491"/>
                      </a:lnTo>
                      <a:lnTo>
                        <a:pt x="38" y="490"/>
                      </a:lnTo>
                      <a:lnTo>
                        <a:pt x="37" y="490"/>
                      </a:lnTo>
                      <a:lnTo>
                        <a:pt x="38" y="489"/>
                      </a:lnTo>
                      <a:lnTo>
                        <a:pt x="38" y="488"/>
                      </a:lnTo>
                      <a:lnTo>
                        <a:pt x="39" y="488"/>
                      </a:lnTo>
                      <a:lnTo>
                        <a:pt x="39" y="487"/>
                      </a:lnTo>
                      <a:lnTo>
                        <a:pt x="39" y="487"/>
                      </a:lnTo>
                      <a:lnTo>
                        <a:pt x="39" y="486"/>
                      </a:lnTo>
                      <a:lnTo>
                        <a:pt x="40" y="486"/>
                      </a:lnTo>
                      <a:lnTo>
                        <a:pt x="40" y="486"/>
                      </a:lnTo>
                      <a:lnTo>
                        <a:pt x="39" y="486"/>
                      </a:lnTo>
                      <a:lnTo>
                        <a:pt x="39" y="485"/>
                      </a:lnTo>
                      <a:lnTo>
                        <a:pt x="39" y="485"/>
                      </a:lnTo>
                      <a:lnTo>
                        <a:pt x="39" y="486"/>
                      </a:lnTo>
                      <a:lnTo>
                        <a:pt x="38" y="486"/>
                      </a:lnTo>
                      <a:lnTo>
                        <a:pt x="38" y="486"/>
                      </a:lnTo>
                      <a:lnTo>
                        <a:pt x="37" y="486"/>
                      </a:lnTo>
                      <a:lnTo>
                        <a:pt x="37" y="486"/>
                      </a:lnTo>
                      <a:lnTo>
                        <a:pt x="37" y="486"/>
                      </a:lnTo>
                      <a:lnTo>
                        <a:pt x="37" y="485"/>
                      </a:lnTo>
                      <a:lnTo>
                        <a:pt x="37" y="485"/>
                      </a:lnTo>
                      <a:lnTo>
                        <a:pt x="37" y="484"/>
                      </a:lnTo>
                      <a:lnTo>
                        <a:pt x="37" y="484"/>
                      </a:lnTo>
                      <a:lnTo>
                        <a:pt x="37" y="483"/>
                      </a:lnTo>
                      <a:lnTo>
                        <a:pt x="36" y="483"/>
                      </a:lnTo>
                      <a:lnTo>
                        <a:pt x="35" y="484"/>
                      </a:lnTo>
                      <a:lnTo>
                        <a:pt x="35" y="484"/>
                      </a:lnTo>
                      <a:lnTo>
                        <a:pt x="34" y="483"/>
                      </a:lnTo>
                      <a:lnTo>
                        <a:pt x="34" y="482"/>
                      </a:lnTo>
                      <a:lnTo>
                        <a:pt x="33" y="482"/>
                      </a:lnTo>
                      <a:lnTo>
                        <a:pt x="33" y="482"/>
                      </a:lnTo>
                      <a:lnTo>
                        <a:pt x="33" y="481"/>
                      </a:lnTo>
                      <a:lnTo>
                        <a:pt x="33" y="481"/>
                      </a:lnTo>
                      <a:lnTo>
                        <a:pt x="33" y="480"/>
                      </a:lnTo>
                      <a:lnTo>
                        <a:pt x="32" y="480"/>
                      </a:lnTo>
                      <a:lnTo>
                        <a:pt x="31" y="480"/>
                      </a:lnTo>
                      <a:lnTo>
                        <a:pt x="31" y="480"/>
                      </a:lnTo>
                      <a:lnTo>
                        <a:pt x="30" y="479"/>
                      </a:lnTo>
                      <a:lnTo>
                        <a:pt x="29" y="479"/>
                      </a:lnTo>
                      <a:lnTo>
                        <a:pt x="29" y="478"/>
                      </a:lnTo>
                      <a:lnTo>
                        <a:pt x="28" y="478"/>
                      </a:lnTo>
                      <a:lnTo>
                        <a:pt x="28" y="477"/>
                      </a:lnTo>
                      <a:lnTo>
                        <a:pt x="27" y="476"/>
                      </a:lnTo>
                      <a:lnTo>
                        <a:pt x="26" y="475"/>
                      </a:lnTo>
                      <a:lnTo>
                        <a:pt x="26" y="475"/>
                      </a:lnTo>
                      <a:lnTo>
                        <a:pt x="26" y="475"/>
                      </a:lnTo>
                      <a:lnTo>
                        <a:pt x="26" y="474"/>
                      </a:lnTo>
                      <a:lnTo>
                        <a:pt x="25" y="474"/>
                      </a:lnTo>
                      <a:lnTo>
                        <a:pt x="24" y="474"/>
                      </a:lnTo>
                      <a:lnTo>
                        <a:pt x="24" y="473"/>
                      </a:lnTo>
                      <a:lnTo>
                        <a:pt x="23" y="473"/>
                      </a:lnTo>
                      <a:lnTo>
                        <a:pt x="23" y="473"/>
                      </a:lnTo>
                      <a:lnTo>
                        <a:pt x="24" y="471"/>
                      </a:lnTo>
                      <a:lnTo>
                        <a:pt x="24" y="471"/>
                      </a:lnTo>
                      <a:lnTo>
                        <a:pt x="24" y="471"/>
                      </a:lnTo>
                      <a:lnTo>
                        <a:pt x="24" y="470"/>
                      </a:lnTo>
                      <a:lnTo>
                        <a:pt x="23" y="470"/>
                      </a:lnTo>
                      <a:lnTo>
                        <a:pt x="23" y="471"/>
                      </a:lnTo>
                      <a:lnTo>
                        <a:pt x="22" y="471"/>
                      </a:lnTo>
                      <a:lnTo>
                        <a:pt x="22" y="471"/>
                      </a:lnTo>
                      <a:lnTo>
                        <a:pt x="21" y="471"/>
                      </a:lnTo>
                      <a:lnTo>
                        <a:pt x="20" y="471"/>
                      </a:lnTo>
                      <a:lnTo>
                        <a:pt x="20" y="471"/>
                      </a:lnTo>
                      <a:lnTo>
                        <a:pt x="19" y="471"/>
                      </a:lnTo>
                      <a:lnTo>
                        <a:pt x="18" y="471"/>
                      </a:lnTo>
                      <a:lnTo>
                        <a:pt x="18" y="470"/>
                      </a:lnTo>
                      <a:lnTo>
                        <a:pt x="18" y="469"/>
                      </a:lnTo>
                      <a:lnTo>
                        <a:pt x="19" y="469"/>
                      </a:lnTo>
                      <a:lnTo>
                        <a:pt x="20" y="469"/>
                      </a:lnTo>
                      <a:lnTo>
                        <a:pt x="20" y="469"/>
                      </a:lnTo>
                      <a:lnTo>
                        <a:pt x="20" y="469"/>
                      </a:lnTo>
                      <a:lnTo>
                        <a:pt x="20" y="468"/>
                      </a:lnTo>
                      <a:lnTo>
                        <a:pt x="20" y="468"/>
                      </a:lnTo>
                      <a:lnTo>
                        <a:pt x="20" y="467"/>
                      </a:lnTo>
                      <a:lnTo>
                        <a:pt x="19" y="467"/>
                      </a:lnTo>
                      <a:lnTo>
                        <a:pt x="18" y="467"/>
                      </a:lnTo>
                      <a:lnTo>
                        <a:pt x="18" y="467"/>
                      </a:lnTo>
                      <a:lnTo>
                        <a:pt x="17" y="467"/>
                      </a:lnTo>
                      <a:lnTo>
                        <a:pt x="17" y="466"/>
                      </a:lnTo>
                      <a:lnTo>
                        <a:pt x="16" y="466"/>
                      </a:lnTo>
                      <a:lnTo>
                        <a:pt x="16" y="465"/>
                      </a:lnTo>
                      <a:lnTo>
                        <a:pt x="16" y="465"/>
                      </a:lnTo>
                      <a:lnTo>
                        <a:pt x="15" y="465"/>
                      </a:lnTo>
                      <a:lnTo>
                        <a:pt x="15" y="464"/>
                      </a:lnTo>
                      <a:lnTo>
                        <a:pt x="14" y="463"/>
                      </a:lnTo>
                      <a:lnTo>
                        <a:pt x="14" y="463"/>
                      </a:lnTo>
                      <a:lnTo>
                        <a:pt x="14" y="463"/>
                      </a:lnTo>
                      <a:lnTo>
                        <a:pt x="14" y="462"/>
                      </a:lnTo>
                      <a:lnTo>
                        <a:pt x="14" y="461"/>
                      </a:lnTo>
                      <a:lnTo>
                        <a:pt x="15" y="461"/>
                      </a:lnTo>
                      <a:lnTo>
                        <a:pt x="15" y="460"/>
                      </a:lnTo>
                      <a:lnTo>
                        <a:pt x="15" y="459"/>
                      </a:lnTo>
                      <a:lnTo>
                        <a:pt x="14" y="459"/>
                      </a:lnTo>
                      <a:lnTo>
                        <a:pt x="14" y="459"/>
                      </a:lnTo>
                      <a:lnTo>
                        <a:pt x="13" y="459"/>
                      </a:lnTo>
                      <a:lnTo>
                        <a:pt x="12" y="460"/>
                      </a:lnTo>
                      <a:lnTo>
                        <a:pt x="12" y="461"/>
                      </a:lnTo>
                      <a:lnTo>
                        <a:pt x="12" y="461"/>
                      </a:lnTo>
                      <a:lnTo>
                        <a:pt x="12" y="461"/>
                      </a:lnTo>
                      <a:lnTo>
                        <a:pt x="12" y="462"/>
                      </a:lnTo>
                      <a:lnTo>
                        <a:pt x="11" y="462"/>
                      </a:lnTo>
                      <a:lnTo>
                        <a:pt x="10" y="462"/>
                      </a:lnTo>
                      <a:lnTo>
                        <a:pt x="10" y="461"/>
                      </a:lnTo>
                      <a:lnTo>
                        <a:pt x="10" y="461"/>
                      </a:lnTo>
                      <a:lnTo>
                        <a:pt x="10" y="460"/>
                      </a:lnTo>
                      <a:lnTo>
                        <a:pt x="10" y="459"/>
                      </a:lnTo>
                      <a:lnTo>
                        <a:pt x="11" y="459"/>
                      </a:lnTo>
                      <a:lnTo>
                        <a:pt x="12" y="459"/>
                      </a:lnTo>
                      <a:lnTo>
                        <a:pt x="12" y="459"/>
                      </a:lnTo>
                      <a:lnTo>
                        <a:pt x="12" y="459"/>
                      </a:lnTo>
                      <a:lnTo>
                        <a:pt x="12" y="458"/>
                      </a:lnTo>
                      <a:lnTo>
                        <a:pt x="12" y="458"/>
                      </a:lnTo>
                      <a:lnTo>
                        <a:pt x="11" y="458"/>
                      </a:lnTo>
                      <a:lnTo>
                        <a:pt x="10" y="458"/>
                      </a:lnTo>
                      <a:lnTo>
                        <a:pt x="10" y="457"/>
                      </a:lnTo>
                      <a:lnTo>
                        <a:pt x="10" y="457"/>
                      </a:lnTo>
                      <a:lnTo>
                        <a:pt x="10" y="456"/>
                      </a:lnTo>
                      <a:lnTo>
                        <a:pt x="11" y="455"/>
                      </a:lnTo>
                      <a:lnTo>
                        <a:pt x="11" y="454"/>
                      </a:lnTo>
                      <a:lnTo>
                        <a:pt x="11" y="454"/>
                      </a:lnTo>
                      <a:lnTo>
                        <a:pt x="11" y="452"/>
                      </a:lnTo>
                      <a:lnTo>
                        <a:pt x="11" y="452"/>
                      </a:lnTo>
                      <a:lnTo>
                        <a:pt x="10" y="451"/>
                      </a:lnTo>
                      <a:lnTo>
                        <a:pt x="10" y="450"/>
                      </a:lnTo>
                      <a:lnTo>
                        <a:pt x="10" y="450"/>
                      </a:lnTo>
                      <a:lnTo>
                        <a:pt x="10" y="450"/>
                      </a:lnTo>
                      <a:lnTo>
                        <a:pt x="9" y="449"/>
                      </a:lnTo>
                      <a:lnTo>
                        <a:pt x="8" y="449"/>
                      </a:lnTo>
                      <a:lnTo>
                        <a:pt x="7" y="448"/>
                      </a:lnTo>
                      <a:lnTo>
                        <a:pt x="7" y="448"/>
                      </a:lnTo>
                      <a:lnTo>
                        <a:pt x="7" y="447"/>
                      </a:lnTo>
                      <a:lnTo>
                        <a:pt x="7" y="446"/>
                      </a:lnTo>
                      <a:lnTo>
                        <a:pt x="9" y="446"/>
                      </a:lnTo>
                      <a:lnTo>
                        <a:pt x="10" y="445"/>
                      </a:lnTo>
                      <a:lnTo>
                        <a:pt x="11" y="444"/>
                      </a:lnTo>
                      <a:lnTo>
                        <a:pt x="12" y="444"/>
                      </a:lnTo>
                      <a:lnTo>
                        <a:pt x="12" y="443"/>
                      </a:lnTo>
                      <a:lnTo>
                        <a:pt x="12" y="442"/>
                      </a:lnTo>
                      <a:lnTo>
                        <a:pt x="12" y="442"/>
                      </a:lnTo>
                      <a:lnTo>
                        <a:pt x="12" y="441"/>
                      </a:lnTo>
                      <a:lnTo>
                        <a:pt x="12" y="440"/>
                      </a:lnTo>
                      <a:lnTo>
                        <a:pt x="14" y="440"/>
                      </a:lnTo>
                      <a:lnTo>
                        <a:pt x="14" y="439"/>
                      </a:lnTo>
                      <a:lnTo>
                        <a:pt x="16" y="438"/>
                      </a:lnTo>
                      <a:lnTo>
                        <a:pt x="16" y="438"/>
                      </a:lnTo>
                      <a:lnTo>
                        <a:pt x="17" y="438"/>
                      </a:lnTo>
                      <a:lnTo>
                        <a:pt x="17" y="437"/>
                      </a:lnTo>
                      <a:lnTo>
                        <a:pt x="17" y="436"/>
                      </a:lnTo>
                      <a:lnTo>
                        <a:pt x="17" y="435"/>
                      </a:lnTo>
                      <a:lnTo>
                        <a:pt x="17" y="435"/>
                      </a:lnTo>
                      <a:lnTo>
                        <a:pt x="18" y="434"/>
                      </a:lnTo>
                      <a:lnTo>
                        <a:pt x="18" y="433"/>
                      </a:lnTo>
                      <a:lnTo>
                        <a:pt x="17" y="432"/>
                      </a:lnTo>
                      <a:lnTo>
                        <a:pt x="17" y="431"/>
                      </a:lnTo>
                      <a:lnTo>
                        <a:pt x="18" y="431"/>
                      </a:lnTo>
                      <a:lnTo>
                        <a:pt x="18" y="429"/>
                      </a:lnTo>
                      <a:lnTo>
                        <a:pt x="18" y="428"/>
                      </a:lnTo>
                      <a:lnTo>
                        <a:pt x="18" y="427"/>
                      </a:lnTo>
                      <a:lnTo>
                        <a:pt x="18" y="425"/>
                      </a:lnTo>
                      <a:lnTo>
                        <a:pt x="19" y="425"/>
                      </a:lnTo>
                      <a:lnTo>
                        <a:pt x="20" y="425"/>
                      </a:lnTo>
                      <a:lnTo>
                        <a:pt x="20" y="424"/>
                      </a:lnTo>
                      <a:lnTo>
                        <a:pt x="20" y="424"/>
                      </a:lnTo>
                      <a:lnTo>
                        <a:pt x="21" y="423"/>
                      </a:lnTo>
                      <a:lnTo>
                        <a:pt x="22" y="422"/>
                      </a:lnTo>
                      <a:lnTo>
                        <a:pt x="21" y="421"/>
                      </a:lnTo>
                      <a:lnTo>
                        <a:pt x="21" y="420"/>
                      </a:lnTo>
                      <a:lnTo>
                        <a:pt x="20" y="419"/>
                      </a:lnTo>
                      <a:lnTo>
                        <a:pt x="19" y="419"/>
                      </a:lnTo>
                      <a:lnTo>
                        <a:pt x="18" y="419"/>
                      </a:lnTo>
                      <a:lnTo>
                        <a:pt x="17" y="420"/>
                      </a:lnTo>
                      <a:lnTo>
                        <a:pt x="16" y="420"/>
                      </a:lnTo>
                      <a:lnTo>
                        <a:pt x="16" y="420"/>
                      </a:lnTo>
                      <a:lnTo>
                        <a:pt x="15" y="420"/>
                      </a:lnTo>
                      <a:lnTo>
                        <a:pt x="14" y="419"/>
                      </a:lnTo>
                      <a:lnTo>
                        <a:pt x="14" y="419"/>
                      </a:lnTo>
                      <a:lnTo>
                        <a:pt x="14" y="417"/>
                      </a:lnTo>
                      <a:lnTo>
                        <a:pt x="13" y="415"/>
                      </a:lnTo>
                      <a:lnTo>
                        <a:pt x="12" y="414"/>
                      </a:lnTo>
                      <a:lnTo>
                        <a:pt x="11" y="413"/>
                      </a:lnTo>
                      <a:lnTo>
                        <a:pt x="10" y="412"/>
                      </a:lnTo>
                      <a:lnTo>
                        <a:pt x="9" y="411"/>
                      </a:lnTo>
                      <a:lnTo>
                        <a:pt x="9" y="410"/>
                      </a:lnTo>
                      <a:lnTo>
                        <a:pt x="9" y="409"/>
                      </a:lnTo>
                      <a:lnTo>
                        <a:pt x="8" y="409"/>
                      </a:lnTo>
                      <a:lnTo>
                        <a:pt x="7" y="408"/>
                      </a:lnTo>
                      <a:lnTo>
                        <a:pt x="7" y="406"/>
                      </a:lnTo>
                      <a:lnTo>
                        <a:pt x="8" y="406"/>
                      </a:lnTo>
                      <a:lnTo>
                        <a:pt x="8" y="404"/>
                      </a:lnTo>
                      <a:lnTo>
                        <a:pt x="8" y="403"/>
                      </a:lnTo>
                      <a:lnTo>
                        <a:pt x="8" y="402"/>
                      </a:lnTo>
                      <a:lnTo>
                        <a:pt x="8" y="400"/>
                      </a:lnTo>
                      <a:lnTo>
                        <a:pt x="8" y="400"/>
                      </a:lnTo>
                      <a:lnTo>
                        <a:pt x="7" y="399"/>
                      </a:lnTo>
                      <a:lnTo>
                        <a:pt x="6" y="399"/>
                      </a:lnTo>
                      <a:lnTo>
                        <a:pt x="5" y="399"/>
                      </a:lnTo>
                      <a:lnTo>
                        <a:pt x="3" y="399"/>
                      </a:lnTo>
                      <a:lnTo>
                        <a:pt x="3" y="398"/>
                      </a:lnTo>
                      <a:lnTo>
                        <a:pt x="1" y="398"/>
                      </a:lnTo>
                      <a:lnTo>
                        <a:pt x="1" y="397"/>
                      </a:lnTo>
                      <a:lnTo>
                        <a:pt x="1" y="396"/>
                      </a:lnTo>
                      <a:lnTo>
                        <a:pt x="1" y="395"/>
                      </a:lnTo>
                      <a:lnTo>
                        <a:pt x="1" y="395"/>
                      </a:lnTo>
                      <a:lnTo>
                        <a:pt x="3" y="393"/>
                      </a:lnTo>
                      <a:lnTo>
                        <a:pt x="4" y="393"/>
                      </a:lnTo>
                      <a:lnTo>
                        <a:pt x="5" y="392"/>
                      </a:lnTo>
                      <a:lnTo>
                        <a:pt x="5" y="391"/>
                      </a:lnTo>
                      <a:lnTo>
                        <a:pt x="5" y="390"/>
                      </a:lnTo>
                      <a:lnTo>
                        <a:pt x="4" y="389"/>
                      </a:lnTo>
                      <a:lnTo>
                        <a:pt x="2" y="388"/>
                      </a:lnTo>
                      <a:lnTo>
                        <a:pt x="1" y="387"/>
                      </a:lnTo>
                      <a:lnTo>
                        <a:pt x="1" y="387"/>
                      </a:lnTo>
                      <a:lnTo>
                        <a:pt x="2" y="386"/>
                      </a:lnTo>
                      <a:lnTo>
                        <a:pt x="5" y="385"/>
                      </a:lnTo>
                      <a:lnTo>
                        <a:pt x="6" y="384"/>
                      </a:lnTo>
                      <a:lnTo>
                        <a:pt x="7" y="383"/>
                      </a:lnTo>
                      <a:lnTo>
                        <a:pt x="7" y="381"/>
                      </a:lnTo>
                      <a:lnTo>
                        <a:pt x="6" y="380"/>
                      </a:lnTo>
                      <a:lnTo>
                        <a:pt x="5" y="380"/>
                      </a:lnTo>
                      <a:lnTo>
                        <a:pt x="5" y="379"/>
                      </a:lnTo>
                      <a:lnTo>
                        <a:pt x="4" y="379"/>
                      </a:lnTo>
                      <a:lnTo>
                        <a:pt x="3" y="379"/>
                      </a:lnTo>
                      <a:lnTo>
                        <a:pt x="2" y="381"/>
                      </a:lnTo>
                      <a:lnTo>
                        <a:pt x="1" y="381"/>
                      </a:lnTo>
                      <a:lnTo>
                        <a:pt x="0" y="381"/>
                      </a:lnTo>
                      <a:lnTo>
                        <a:pt x="0" y="380"/>
                      </a:lnTo>
                      <a:lnTo>
                        <a:pt x="0" y="379"/>
                      </a:lnTo>
                      <a:lnTo>
                        <a:pt x="0" y="379"/>
                      </a:lnTo>
                      <a:lnTo>
                        <a:pt x="1" y="378"/>
                      </a:lnTo>
                      <a:lnTo>
                        <a:pt x="2" y="377"/>
                      </a:lnTo>
                      <a:lnTo>
                        <a:pt x="3" y="376"/>
                      </a:lnTo>
                      <a:lnTo>
                        <a:pt x="5" y="375"/>
                      </a:lnTo>
                      <a:lnTo>
                        <a:pt x="6" y="374"/>
                      </a:lnTo>
                      <a:lnTo>
                        <a:pt x="8" y="371"/>
                      </a:lnTo>
                      <a:lnTo>
                        <a:pt x="9" y="369"/>
                      </a:lnTo>
                      <a:lnTo>
                        <a:pt x="10" y="368"/>
                      </a:lnTo>
                      <a:lnTo>
                        <a:pt x="12" y="366"/>
                      </a:lnTo>
                      <a:lnTo>
                        <a:pt x="13" y="366"/>
                      </a:lnTo>
                      <a:lnTo>
                        <a:pt x="14" y="366"/>
                      </a:lnTo>
                      <a:lnTo>
                        <a:pt x="16" y="366"/>
                      </a:lnTo>
                      <a:lnTo>
                        <a:pt x="17" y="367"/>
                      </a:lnTo>
                      <a:lnTo>
                        <a:pt x="18" y="367"/>
                      </a:lnTo>
                      <a:lnTo>
                        <a:pt x="19" y="368"/>
                      </a:lnTo>
                      <a:lnTo>
                        <a:pt x="20" y="368"/>
                      </a:lnTo>
                      <a:lnTo>
                        <a:pt x="22" y="367"/>
                      </a:lnTo>
                      <a:lnTo>
                        <a:pt x="22" y="366"/>
                      </a:lnTo>
                      <a:lnTo>
                        <a:pt x="22" y="366"/>
                      </a:lnTo>
                      <a:lnTo>
                        <a:pt x="22" y="365"/>
                      </a:lnTo>
                      <a:lnTo>
                        <a:pt x="22" y="364"/>
                      </a:lnTo>
                      <a:lnTo>
                        <a:pt x="22" y="362"/>
                      </a:lnTo>
                      <a:lnTo>
                        <a:pt x="21" y="362"/>
                      </a:lnTo>
                      <a:lnTo>
                        <a:pt x="20" y="361"/>
                      </a:lnTo>
                      <a:lnTo>
                        <a:pt x="18" y="360"/>
                      </a:lnTo>
                      <a:lnTo>
                        <a:pt x="17" y="360"/>
                      </a:lnTo>
                      <a:lnTo>
                        <a:pt x="16" y="360"/>
                      </a:lnTo>
                      <a:lnTo>
                        <a:pt x="15" y="359"/>
                      </a:lnTo>
                      <a:lnTo>
                        <a:pt x="13" y="358"/>
                      </a:lnTo>
                      <a:lnTo>
                        <a:pt x="12" y="358"/>
                      </a:lnTo>
                      <a:lnTo>
                        <a:pt x="12" y="357"/>
                      </a:lnTo>
                      <a:lnTo>
                        <a:pt x="11" y="357"/>
                      </a:lnTo>
                      <a:lnTo>
                        <a:pt x="10" y="355"/>
                      </a:lnTo>
                      <a:lnTo>
                        <a:pt x="10" y="355"/>
                      </a:lnTo>
                      <a:lnTo>
                        <a:pt x="11" y="354"/>
                      </a:lnTo>
                      <a:lnTo>
                        <a:pt x="12" y="353"/>
                      </a:lnTo>
                      <a:lnTo>
                        <a:pt x="12" y="352"/>
                      </a:lnTo>
                      <a:lnTo>
                        <a:pt x="13" y="351"/>
                      </a:lnTo>
                      <a:lnTo>
                        <a:pt x="13" y="350"/>
                      </a:lnTo>
                      <a:lnTo>
                        <a:pt x="13" y="349"/>
                      </a:lnTo>
                      <a:lnTo>
                        <a:pt x="13" y="348"/>
                      </a:lnTo>
                      <a:lnTo>
                        <a:pt x="12" y="347"/>
                      </a:lnTo>
                      <a:lnTo>
                        <a:pt x="11" y="345"/>
                      </a:lnTo>
                      <a:lnTo>
                        <a:pt x="10" y="344"/>
                      </a:lnTo>
                      <a:lnTo>
                        <a:pt x="8" y="343"/>
                      </a:lnTo>
                      <a:lnTo>
                        <a:pt x="7" y="342"/>
                      </a:lnTo>
                      <a:lnTo>
                        <a:pt x="7" y="341"/>
                      </a:lnTo>
                      <a:lnTo>
                        <a:pt x="6" y="340"/>
                      </a:lnTo>
                      <a:lnTo>
                        <a:pt x="6" y="338"/>
                      </a:lnTo>
                      <a:lnTo>
                        <a:pt x="6" y="336"/>
                      </a:lnTo>
                      <a:lnTo>
                        <a:pt x="5" y="335"/>
                      </a:lnTo>
                      <a:lnTo>
                        <a:pt x="6" y="334"/>
                      </a:lnTo>
                      <a:lnTo>
                        <a:pt x="6" y="332"/>
                      </a:lnTo>
                      <a:lnTo>
                        <a:pt x="7" y="331"/>
                      </a:lnTo>
                      <a:lnTo>
                        <a:pt x="7" y="330"/>
                      </a:lnTo>
                      <a:lnTo>
                        <a:pt x="9" y="328"/>
                      </a:lnTo>
                      <a:lnTo>
                        <a:pt x="10" y="326"/>
                      </a:lnTo>
                      <a:lnTo>
                        <a:pt x="10" y="325"/>
                      </a:lnTo>
                      <a:lnTo>
                        <a:pt x="11" y="324"/>
                      </a:lnTo>
                      <a:lnTo>
                        <a:pt x="12" y="323"/>
                      </a:lnTo>
                      <a:lnTo>
                        <a:pt x="13" y="322"/>
                      </a:lnTo>
                      <a:lnTo>
                        <a:pt x="14" y="320"/>
                      </a:lnTo>
                      <a:lnTo>
                        <a:pt x="14" y="319"/>
                      </a:lnTo>
                      <a:lnTo>
                        <a:pt x="14" y="318"/>
                      </a:lnTo>
                      <a:lnTo>
                        <a:pt x="13" y="317"/>
                      </a:lnTo>
                      <a:lnTo>
                        <a:pt x="12" y="317"/>
                      </a:lnTo>
                      <a:lnTo>
                        <a:pt x="12" y="316"/>
                      </a:lnTo>
                      <a:lnTo>
                        <a:pt x="11" y="316"/>
                      </a:lnTo>
                      <a:lnTo>
                        <a:pt x="10" y="316"/>
                      </a:lnTo>
                      <a:lnTo>
                        <a:pt x="9" y="316"/>
                      </a:lnTo>
                      <a:lnTo>
                        <a:pt x="7" y="317"/>
                      </a:lnTo>
                      <a:lnTo>
                        <a:pt x="5" y="318"/>
                      </a:lnTo>
                      <a:lnTo>
                        <a:pt x="4" y="317"/>
                      </a:lnTo>
                      <a:lnTo>
                        <a:pt x="3" y="317"/>
                      </a:lnTo>
                      <a:lnTo>
                        <a:pt x="3" y="316"/>
                      </a:lnTo>
                      <a:lnTo>
                        <a:pt x="2" y="315"/>
                      </a:lnTo>
                      <a:lnTo>
                        <a:pt x="1" y="314"/>
                      </a:lnTo>
                      <a:lnTo>
                        <a:pt x="1" y="313"/>
                      </a:lnTo>
                      <a:lnTo>
                        <a:pt x="2" y="313"/>
                      </a:lnTo>
                      <a:lnTo>
                        <a:pt x="2" y="312"/>
                      </a:lnTo>
                      <a:lnTo>
                        <a:pt x="3" y="312"/>
                      </a:lnTo>
                      <a:lnTo>
                        <a:pt x="3" y="311"/>
                      </a:lnTo>
                      <a:lnTo>
                        <a:pt x="5" y="311"/>
                      </a:lnTo>
                      <a:lnTo>
                        <a:pt x="5" y="312"/>
                      </a:lnTo>
                      <a:lnTo>
                        <a:pt x="7" y="312"/>
                      </a:lnTo>
                      <a:lnTo>
                        <a:pt x="8" y="313"/>
                      </a:lnTo>
                      <a:lnTo>
                        <a:pt x="9" y="313"/>
                      </a:lnTo>
                      <a:lnTo>
                        <a:pt x="10" y="312"/>
                      </a:lnTo>
                      <a:lnTo>
                        <a:pt x="10" y="312"/>
                      </a:lnTo>
                      <a:lnTo>
                        <a:pt x="11" y="311"/>
                      </a:lnTo>
                      <a:lnTo>
                        <a:pt x="12" y="309"/>
                      </a:lnTo>
                      <a:lnTo>
                        <a:pt x="14" y="309"/>
                      </a:lnTo>
                      <a:lnTo>
                        <a:pt x="14" y="308"/>
                      </a:lnTo>
                      <a:lnTo>
                        <a:pt x="16" y="307"/>
                      </a:lnTo>
                      <a:lnTo>
                        <a:pt x="16" y="307"/>
                      </a:lnTo>
                      <a:lnTo>
                        <a:pt x="16" y="305"/>
                      </a:lnTo>
                      <a:lnTo>
                        <a:pt x="16" y="305"/>
                      </a:lnTo>
                      <a:lnTo>
                        <a:pt x="15" y="305"/>
                      </a:lnTo>
                      <a:lnTo>
                        <a:pt x="14" y="304"/>
                      </a:lnTo>
                      <a:lnTo>
                        <a:pt x="12" y="303"/>
                      </a:lnTo>
                      <a:lnTo>
                        <a:pt x="12" y="303"/>
                      </a:lnTo>
                      <a:lnTo>
                        <a:pt x="10" y="302"/>
                      </a:lnTo>
                      <a:lnTo>
                        <a:pt x="9" y="301"/>
                      </a:lnTo>
                      <a:lnTo>
                        <a:pt x="7" y="301"/>
                      </a:lnTo>
                      <a:lnTo>
                        <a:pt x="6" y="300"/>
                      </a:lnTo>
                      <a:lnTo>
                        <a:pt x="5" y="300"/>
                      </a:lnTo>
                      <a:lnTo>
                        <a:pt x="3" y="299"/>
                      </a:lnTo>
                      <a:lnTo>
                        <a:pt x="3" y="299"/>
                      </a:lnTo>
                      <a:lnTo>
                        <a:pt x="2" y="299"/>
                      </a:lnTo>
                      <a:lnTo>
                        <a:pt x="2" y="297"/>
                      </a:lnTo>
                      <a:lnTo>
                        <a:pt x="2" y="296"/>
                      </a:lnTo>
                      <a:lnTo>
                        <a:pt x="3" y="295"/>
                      </a:lnTo>
                      <a:lnTo>
                        <a:pt x="3" y="294"/>
                      </a:lnTo>
                      <a:lnTo>
                        <a:pt x="5" y="294"/>
                      </a:lnTo>
                      <a:lnTo>
                        <a:pt x="6" y="294"/>
                      </a:lnTo>
                      <a:lnTo>
                        <a:pt x="7" y="294"/>
                      </a:lnTo>
                      <a:lnTo>
                        <a:pt x="7" y="293"/>
                      </a:lnTo>
                      <a:lnTo>
                        <a:pt x="7" y="292"/>
                      </a:lnTo>
                      <a:lnTo>
                        <a:pt x="7" y="290"/>
                      </a:lnTo>
                      <a:lnTo>
                        <a:pt x="7" y="290"/>
                      </a:lnTo>
                      <a:lnTo>
                        <a:pt x="6" y="289"/>
                      </a:lnTo>
                      <a:lnTo>
                        <a:pt x="5" y="286"/>
                      </a:lnTo>
                      <a:lnTo>
                        <a:pt x="4" y="284"/>
                      </a:lnTo>
                      <a:lnTo>
                        <a:pt x="4" y="283"/>
                      </a:lnTo>
                      <a:lnTo>
                        <a:pt x="5" y="282"/>
                      </a:lnTo>
                      <a:lnTo>
                        <a:pt x="5" y="280"/>
                      </a:lnTo>
                      <a:lnTo>
                        <a:pt x="5" y="278"/>
                      </a:lnTo>
                      <a:lnTo>
                        <a:pt x="6" y="277"/>
                      </a:lnTo>
                      <a:lnTo>
                        <a:pt x="7" y="276"/>
                      </a:lnTo>
                      <a:lnTo>
                        <a:pt x="9" y="275"/>
                      </a:lnTo>
                      <a:lnTo>
                        <a:pt x="11" y="273"/>
                      </a:lnTo>
                      <a:lnTo>
                        <a:pt x="14" y="271"/>
                      </a:lnTo>
                      <a:lnTo>
                        <a:pt x="15" y="270"/>
                      </a:lnTo>
                      <a:lnTo>
                        <a:pt x="16" y="269"/>
                      </a:lnTo>
                      <a:lnTo>
                        <a:pt x="18" y="267"/>
                      </a:lnTo>
                      <a:lnTo>
                        <a:pt x="18" y="266"/>
                      </a:lnTo>
                      <a:lnTo>
                        <a:pt x="18" y="265"/>
                      </a:lnTo>
                      <a:lnTo>
                        <a:pt x="16" y="264"/>
                      </a:lnTo>
                      <a:lnTo>
                        <a:pt x="15" y="264"/>
                      </a:lnTo>
                      <a:lnTo>
                        <a:pt x="14" y="265"/>
                      </a:lnTo>
                      <a:lnTo>
                        <a:pt x="12" y="265"/>
                      </a:lnTo>
                      <a:lnTo>
                        <a:pt x="11" y="266"/>
                      </a:lnTo>
                      <a:lnTo>
                        <a:pt x="10" y="265"/>
                      </a:lnTo>
                      <a:lnTo>
                        <a:pt x="11" y="264"/>
                      </a:lnTo>
                      <a:lnTo>
                        <a:pt x="12" y="263"/>
                      </a:lnTo>
                      <a:lnTo>
                        <a:pt x="12" y="261"/>
                      </a:lnTo>
                      <a:lnTo>
                        <a:pt x="14" y="260"/>
                      </a:lnTo>
                      <a:lnTo>
                        <a:pt x="16" y="258"/>
                      </a:lnTo>
                      <a:lnTo>
                        <a:pt x="19" y="258"/>
                      </a:lnTo>
                      <a:lnTo>
                        <a:pt x="19" y="256"/>
                      </a:lnTo>
                      <a:lnTo>
                        <a:pt x="19" y="254"/>
                      </a:lnTo>
                      <a:lnTo>
                        <a:pt x="20" y="254"/>
                      </a:lnTo>
                      <a:lnTo>
                        <a:pt x="20" y="252"/>
                      </a:lnTo>
                      <a:lnTo>
                        <a:pt x="22" y="251"/>
                      </a:lnTo>
                      <a:lnTo>
                        <a:pt x="22" y="250"/>
                      </a:lnTo>
                      <a:lnTo>
                        <a:pt x="24" y="248"/>
                      </a:lnTo>
                      <a:lnTo>
                        <a:pt x="24" y="248"/>
                      </a:lnTo>
                      <a:lnTo>
                        <a:pt x="23" y="246"/>
                      </a:lnTo>
                      <a:lnTo>
                        <a:pt x="22" y="246"/>
                      </a:lnTo>
                      <a:lnTo>
                        <a:pt x="22" y="246"/>
                      </a:lnTo>
                      <a:lnTo>
                        <a:pt x="21" y="246"/>
                      </a:lnTo>
                      <a:lnTo>
                        <a:pt x="20" y="248"/>
                      </a:lnTo>
                      <a:lnTo>
                        <a:pt x="18" y="249"/>
                      </a:lnTo>
                      <a:lnTo>
                        <a:pt x="17" y="250"/>
                      </a:lnTo>
                      <a:lnTo>
                        <a:pt x="16" y="248"/>
                      </a:lnTo>
                      <a:lnTo>
                        <a:pt x="16" y="247"/>
                      </a:lnTo>
                      <a:lnTo>
                        <a:pt x="14" y="246"/>
                      </a:lnTo>
                      <a:lnTo>
                        <a:pt x="13" y="245"/>
                      </a:lnTo>
                      <a:lnTo>
                        <a:pt x="12" y="245"/>
                      </a:lnTo>
                      <a:lnTo>
                        <a:pt x="10" y="244"/>
                      </a:lnTo>
                      <a:lnTo>
                        <a:pt x="10" y="244"/>
                      </a:lnTo>
                      <a:lnTo>
                        <a:pt x="10" y="243"/>
                      </a:lnTo>
                      <a:lnTo>
                        <a:pt x="10" y="242"/>
                      </a:lnTo>
                      <a:lnTo>
                        <a:pt x="11" y="241"/>
                      </a:lnTo>
                      <a:lnTo>
                        <a:pt x="12" y="240"/>
                      </a:lnTo>
                      <a:lnTo>
                        <a:pt x="13" y="239"/>
                      </a:lnTo>
                      <a:lnTo>
                        <a:pt x="16" y="237"/>
                      </a:lnTo>
                      <a:lnTo>
                        <a:pt x="16" y="237"/>
                      </a:lnTo>
                      <a:lnTo>
                        <a:pt x="18" y="236"/>
                      </a:lnTo>
                      <a:lnTo>
                        <a:pt x="18" y="234"/>
                      </a:lnTo>
                      <a:lnTo>
                        <a:pt x="17" y="233"/>
                      </a:lnTo>
                      <a:lnTo>
                        <a:pt x="16" y="233"/>
                      </a:lnTo>
                      <a:lnTo>
                        <a:pt x="14" y="233"/>
                      </a:lnTo>
                      <a:lnTo>
                        <a:pt x="14" y="233"/>
                      </a:lnTo>
                      <a:lnTo>
                        <a:pt x="12" y="234"/>
                      </a:lnTo>
                      <a:lnTo>
                        <a:pt x="11" y="234"/>
                      </a:lnTo>
                      <a:lnTo>
                        <a:pt x="10" y="234"/>
                      </a:lnTo>
                      <a:lnTo>
                        <a:pt x="7" y="233"/>
                      </a:lnTo>
                      <a:lnTo>
                        <a:pt x="7" y="233"/>
                      </a:lnTo>
                      <a:lnTo>
                        <a:pt x="7" y="231"/>
                      </a:lnTo>
                      <a:lnTo>
                        <a:pt x="7" y="230"/>
                      </a:lnTo>
                      <a:lnTo>
                        <a:pt x="10" y="229"/>
                      </a:lnTo>
                      <a:lnTo>
                        <a:pt x="10" y="229"/>
                      </a:lnTo>
                      <a:lnTo>
                        <a:pt x="11" y="228"/>
                      </a:lnTo>
                      <a:lnTo>
                        <a:pt x="12" y="228"/>
                      </a:lnTo>
                      <a:lnTo>
                        <a:pt x="14" y="227"/>
                      </a:lnTo>
                      <a:lnTo>
                        <a:pt x="16" y="227"/>
                      </a:lnTo>
                      <a:lnTo>
                        <a:pt x="17" y="227"/>
                      </a:lnTo>
                      <a:lnTo>
                        <a:pt x="18" y="225"/>
                      </a:lnTo>
                      <a:lnTo>
                        <a:pt x="19" y="223"/>
                      </a:lnTo>
                      <a:lnTo>
                        <a:pt x="20" y="222"/>
                      </a:lnTo>
                      <a:lnTo>
                        <a:pt x="22" y="221"/>
                      </a:lnTo>
                      <a:lnTo>
                        <a:pt x="24" y="221"/>
                      </a:lnTo>
                      <a:lnTo>
                        <a:pt x="26" y="219"/>
                      </a:lnTo>
                      <a:lnTo>
                        <a:pt x="26" y="218"/>
                      </a:lnTo>
                      <a:lnTo>
                        <a:pt x="24" y="217"/>
                      </a:lnTo>
                      <a:lnTo>
                        <a:pt x="23" y="216"/>
                      </a:lnTo>
                      <a:lnTo>
                        <a:pt x="22" y="214"/>
                      </a:lnTo>
                      <a:lnTo>
                        <a:pt x="22" y="214"/>
                      </a:lnTo>
                      <a:lnTo>
                        <a:pt x="23" y="212"/>
                      </a:lnTo>
                      <a:lnTo>
                        <a:pt x="24" y="212"/>
                      </a:lnTo>
                      <a:lnTo>
                        <a:pt x="24" y="212"/>
                      </a:lnTo>
                      <a:lnTo>
                        <a:pt x="25" y="212"/>
                      </a:lnTo>
                      <a:lnTo>
                        <a:pt x="26" y="214"/>
                      </a:lnTo>
                      <a:lnTo>
                        <a:pt x="26" y="216"/>
                      </a:lnTo>
                      <a:lnTo>
                        <a:pt x="26" y="216"/>
                      </a:lnTo>
                      <a:lnTo>
                        <a:pt x="27" y="217"/>
                      </a:lnTo>
                      <a:lnTo>
                        <a:pt x="28" y="217"/>
                      </a:lnTo>
                      <a:lnTo>
                        <a:pt x="30" y="218"/>
                      </a:lnTo>
                      <a:lnTo>
                        <a:pt x="31" y="218"/>
                      </a:lnTo>
                      <a:lnTo>
                        <a:pt x="31" y="218"/>
                      </a:lnTo>
                      <a:lnTo>
                        <a:pt x="32" y="218"/>
                      </a:lnTo>
                      <a:lnTo>
                        <a:pt x="32" y="217"/>
                      </a:lnTo>
                      <a:lnTo>
                        <a:pt x="31" y="216"/>
                      </a:lnTo>
                      <a:lnTo>
                        <a:pt x="31" y="215"/>
                      </a:lnTo>
                      <a:lnTo>
                        <a:pt x="31" y="214"/>
                      </a:lnTo>
                      <a:lnTo>
                        <a:pt x="31" y="213"/>
                      </a:lnTo>
                      <a:lnTo>
                        <a:pt x="31" y="211"/>
                      </a:lnTo>
                      <a:lnTo>
                        <a:pt x="31" y="210"/>
                      </a:lnTo>
                      <a:lnTo>
                        <a:pt x="32" y="210"/>
                      </a:lnTo>
                      <a:lnTo>
                        <a:pt x="33" y="210"/>
                      </a:lnTo>
                      <a:lnTo>
                        <a:pt x="34" y="210"/>
                      </a:lnTo>
                      <a:lnTo>
                        <a:pt x="34" y="210"/>
                      </a:lnTo>
                      <a:lnTo>
                        <a:pt x="34" y="209"/>
                      </a:lnTo>
                      <a:lnTo>
                        <a:pt x="34" y="208"/>
                      </a:lnTo>
                      <a:lnTo>
                        <a:pt x="33" y="208"/>
                      </a:lnTo>
                      <a:lnTo>
                        <a:pt x="31" y="206"/>
                      </a:lnTo>
                      <a:lnTo>
                        <a:pt x="31" y="206"/>
                      </a:lnTo>
                      <a:lnTo>
                        <a:pt x="29" y="204"/>
                      </a:lnTo>
                      <a:lnTo>
                        <a:pt x="29" y="203"/>
                      </a:lnTo>
                      <a:lnTo>
                        <a:pt x="29" y="201"/>
                      </a:lnTo>
                      <a:lnTo>
                        <a:pt x="29" y="200"/>
                      </a:lnTo>
                      <a:lnTo>
                        <a:pt x="29" y="199"/>
                      </a:lnTo>
                      <a:lnTo>
                        <a:pt x="29" y="198"/>
                      </a:lnTo>
                      <a:lnTo>
                        <a:pt x="29" y="197"/>
                      </a:lnTo>
                      <a:lnTo>
                        <a:pt x="30" y="197"/>
                      </a:lnTo>
                      <a:lnTo>
                        <a:pt x="32" y="197"/>
                      </a:lnTo>
                      <a:lnTo>
                        <a:pt x="33" y="196"/>
                      </a:lnTo>
                      <a:lnTo>
                        <a:pt x="35" y="195"/>
                      </a:lnTo>
                      <a:lnTo>
                        <a:pt x="38" y="193"/>
                      </a:lnTo>
                      <a:lnTo>
                        <a:pt x="40" y="193"/>
                      </a:lnTo>
                      <a:lnTo>
                        <a:pt x="42" y="193"/>
                      </a:lnTo>
                      <a:lnTo>
                        <a:pt x="45" y="193"/>
                      </a:lnTo>
                      <a:lnTo>
                        <a:pt x="46" y="193"/>
                      </a:lnTo>
                      <a:lnTo>
                        <a:pt x="47" y="193"/>
                      </a:lnTo>
                      <a:lnTo>
                        <a:pt x="48" y="192"/>
                      </a:lnTo>
                      <a:lnTo>
                        <a:pt x="48" y="191"/>
                      </a:lnTo>
                      <a:lnTo>
                        <a:pt x="48" y="191"/>
                      </a:lnTo>
                      <a:lnTo>
                        <a:pt x="47" y="191"/>
                      </a:lnTo>
                      <a:lnTo>
                        <a:pt x="46" y="190"/>
                      </a:lnTo>
                      <a:lnTo>
                        <a:pt x="45" y="188"/>
                      </a:lnTo>
                      <a:lnTo>
                        <a:pt x="44" y="187"/>
                      </a:lnTo>
                      <a:lnTo>
                        <a:pt x="42" y="185"/>
                      </a:lnTo>
                      <a:lnTo>
                        <a:pt x="41" y="185"/>
                      </a:lnTo>
                      <a:lnTo>
                        <a:pt x="41" y="184"/>
                      </a:lnTo>
                      <a:lnTo>
                        <a:pt x="41" y="183"/>
                      </a:lnTo>
                      <a:lnTo>
                        <a:pt x="42" y="182"/>
                      </a:lnTo>
                      <a:lnTo>
                        <a:pt x="43" y="183"/>
                      </a:lnTo>
                      <a:lnTo>
                        <a:pt x="44" y="183"/>
                      </a:lnTo>
                      <a:lnTo>
                        <a:pt x="45" y="184"/>
                      </a:lnTo>
                      <a:lnTo>
                        <a:pt x="45" y="185"/>
                      </a:lnTo>
                      <a:lnTo>
                        <a:pt x="45" y="185"/>
                      </a:lnTo>
                      <a:lnTo>
                        <a:pt x="47" y="185"/>
                      </a:lnTo>
                      <a:lnTo>
                        <a:pt x="48" y="184"/>
                      </a:lnTo>
                      <a:lnTo>
                        <a:pt x="48" y="183"/>
                      </a:lnTo>
                      <a:lnTo>
                        <a:pt x="48" y="183"/>
                      </a:lnTo>
                      <a:lnTo>
                        <a:pt x="48" y="182"/>
                      </a:lnTo>
                      <a:lnTo>
                        <a:pt x="48" y="181"/>
                      </a:lnTo>
                      <a:lnTo>
                        <a:pt x="48" y="179"/>
                      </a:lnTo>
                      <a:lnTo>
                        <a:pt x="48" y="178"/>
                      </a:lnTo>
                      <a:lnTo>
                        <a:pt x="48" y="178"/>
                      </a:lnTo>
                      <a:lnTo>
                        <a:pt x="48" y="177"/>
                      </a:lnTo>
                      <a:lnTo>
                        <a:pt x="50" y="176"/>
                      </a:lnTo>
                      <a:lnTo>
                        <a:pt x="50" y="176"/>
                      </a:lnTo>
                      <a:lnTo>
                        <a:pt x="50" y="175"/>
                      </a:lnTo>
                      <a:lnTo>
                        <a:pt x="50" y="174"/>
                      </a:lnTo>
                      <a:lnTo>
                        <a:pt x="50" y="174"/>
                      </a:lnTo>
                      <a:lnTo>
                        <a:pt x="50" y="173"/>
                      </a:lnTo>
                      <a:lnTo>
                        <a:pt x="49" y="172"/>
                      </a:lnTo>
                      <a:lnTo>
                        <a:pt x="48" y="172"/>
                      </a:lnTo>
                      <a:lnTo>
                        <a:pt x="48" y="173"/>
                      </a:lnTo>
                      <a:lnTo>
                        <a:pt x="46" y="174"/>
                      </a:lnTo>
                      <a:lnTo>
                        <a:pt x="45" y="174"/>
                      </a:lnTo>
                      <a:lnTo>
                        <a:pt x="45" y="174"/>
                      </a:lnTo>
                      <a:lnTo>
                        <a:pt x="44" y="174"/>
                      </a:lnTo>
                      <a:lnTo>
                        <a:pt x="43" y="173"/>
                      </a:lnTo>
                      <a:lnTo>
                        <a:pt x="43" y="172"/>
                      </a:lnTo>
                      <a:lnTo>
                        <a:pt x="43" y="171"/>
                      </a:lnTo>
                      <a:lnTo>
                        <a:pt x="43" y="170"/>
                      </a:lnTo>
                      <a:lnTo>
                        <a:pt x="43" y="168"/>
                      </a:lnTo>
                      <a:lnTo>
                        <a:pt x="43" y="167"/>
                      </a:lnTo>
                      <a:lnTo>
                        <a:pt x="43" y="166"/>
                      </a:lnTo>
                      <a:lnTo>
                        <a:pt x="41" y="164"/>
                      </a:lnTo>
                      <a:lnTo>
                        <a:pt x="41" y="164"/>
                      </a:lnTo>
                      <a:lnTo>
                        <a:pt x="40" y="164"/>
                      </a:lnTo>
                      <a:lnTo>
                        <a:pt x="39" y="165"/>
                      </a:lnTo>
                      <a:lnTo>
                        <a:pt x="38" y="165"/>
                      </a:lnTo>
                      <a:lnTo>
                        <a:pt x="37" y="164"/>
                      </a:lnTo>
                      <a:lnTo>
                        <a:pt x="37" y="164"/>
                      </a:lnTo>
                      <a:lnTo>
                        <a:pt x="37" y="163"/>
                      </a:lnTo>
                      <a:lnTo>
                        <a:pt x="37" y="162"/>
                      </a:lnTo>
                      <a:lnTo>
                        <a:pt x="38" y="161"/>
                      </a:lnTo>
                      <a:lnTo>
                        <a:pt x="39" y="160"/>
                      </a:lnTo>
                      <a:lnTo>
                        <a:pt x="39" y="160"/>
                      </a:lnTo>
                      <a:lnTo>
                        <a:pt x="40" y="160"/>
                      </a:lnTo>
                      <a:lnTo>
                        <a:pt x="40" y="159"/>
                      </a:lnTo>
                      <a:lnTo>
                        <a:pt x="41" y="160"/>
                      </a:lnTo>
                      <a:lnTo>
                        <a:pt x="42" y="160"/>
                      </a:lnTo>
                      <a:lnTo>
                        <a:pt x="43" y="160"/>
                      </a:lnTo>
                      <a:lnTo>
                        <a:pt x="43" y="160"/>
                      </a:lnTo>
                      <a:lnTo>
                        <a:pt x="44" y="159"/>
                      </a:lnTo>
                      <a:lnTo>
                        <a:pt x="45" y="159"/>
                      </a:lnTo>
                      <a:lnTo>
                        <a:pt x="45" y="157"/>
                      </a:lnTo>
                      <a:lnTo>
                        <a:pt x="44" y="157"/>
                      </a:lnTo>
                      <a:lnTo>
                        <a:pt x="44" y="156"/>
                      </a:lnTo>
                      <a:lnTo>
                        <a:pt x="44" y="155"/>
                      </a:lnTo>
                      <a:lnTo>
                        <a:pt x="45" y="154"/>
                      </a:lnTo>
                      <a:lnTo>
                        <a:pt x="45" y="153"/>
                      </a:lnTo>
                      <a:lnTo>
                        <a:pt x="47" y="153"/>
                      </a:lnTo>
                      <a:lnTo>
                        <a:pt x="48" y="153"/>
                      </a:lnTo>
                      <a:lnTo>
                        <a:pt x="50" y="151"/>
                      </a:lnTo>
                      <a:lnTo>
                        <a:pt x="50" y="151"/>
                      </a:lnTo>
                      <a:lnTo>
                        <a:pt x="51" y="149"/>
                      </a:lnTo>
                      <a:lnTo>
                        <a:pt x="51" y="149"/>
                      </a:lnTo>
                      <a:lnTo>
                        <a:pt x="51" y="147"/>
                      </a:lnTo>
                      <a:lnTo>
                        <a:pt x="51" y="147"/>
                      </a:lnTo>
                      <a:lnTo>
                        <a:pt x="50" y="147"/>
                      </a:lnTo>
                      <a:lnTo>
                        <a:pt x="49" y="147"/>
                      </a:lnTo>
                      <a:lnTo>
                        <a:pt x="48" y="147"/>
                      </a:lnTo>
                      <a:lnTo>
                        <a:pt x="46" y="149"/>
                      </a:lnTo>
                      <a:lnTo>
                        <a:pt x="45" y="151"/>
                      </a:lnTo>
                      <a:lnTo>
                        <a:pt x="44" y="151"/>
                      </a:lnTo>
                      <a:lnTo>
                        <a:pt x="43" y="151"/>
                      </a:lnTo>
                      <a:lnTo>
                        <a:pt x="43" y="151"/>
                      </a:lnTo>
                      <a:lnTo>
                        <a:pt x="42" y="151"/>
                      </a:lnTo>
                      <a:lnTo>
                        <a:pt x="41" y="151"/>
                      </a:lnTo>
                      <a:lnTo>
                        <a:pt x="41" y="149"/>
                      </a:lnTo>
                      <a:lnTo>
                        <a:pt x="40" y="148"/>
                      </a:lnTo>
                      <a:lnTo>
                        <a:pt x="39" y="147"/>
                      </a:lnTo>
                      <a:lnTo>
                        <a:pt x="39" y="145"/>
                      </a:lnTo>
                      <a:lnTo>
                        <a:pt x="40" y="144"/>
                      </a:lnTo>
                      <a:lnTo>
                        <a:pt x="42" y="143"/>
                      </a:lnTo>
                      <a:lnTo>
                        <a:pt x="43" y="144"/>
                      </a:lnTo>
                      <a:lnTo>
                        <a:pt x="47" y="144"/>
                      </a:lnTo>
                      <a:lnTo>
                        <a:pt x="48" y="144"/>
                      </a:lnTo>
                      <a:lnTo>
                        <a:pt x="48" y="143"/>
                      </a:lnTo>
                      <a:lnTo>
                        <a:pt x="49" y="143"/>
                      </a:lnTo>
                      <a:lnTo>
                        <a:pt x="49" y="142"/>
                      </a:lnTo>
                      <a:lnTo>
                        <a:pt x="49" y="141"/>
                      </a:lnTo>
                      <a:lnTo>
                        <a:pt x="49" y="141"/>
                      </a:lnTo>
                      <a:lnTo>
                        <a:pt x="48" y="140"/>
                      </a:lnTo>
                      <a:lnTo>
                        <a:pt x="48" y="140"/>
                      </a:lnTo>
                      <a:lnTo>
                        <a:pt x="45" y="141"/>
                      </a:lnTo>
                      <a:lnTo>
                        <a:pt x="43" y="141"/>
                      </a:lnTo>
                      <a:lnTo>
                        <a:pt x="41" y="140"/>
                      </a:lnTo>
                      <a:lnTo>
                        <a:pt x="39" y="140"/>
                      </a:lnTo>
                      <a:lnTo>
                        <a:pt x="39" y="139"/>
                      </a:lnTo>
                      <a:lnTo>
                        <a:pt x="38" y="138"/>
                      </a:lnTo>
                      <a:lnTo>
                        <a:pt x="38" y="137"/>
                      </a:lnTo>
                      <a:lnTo>
                        <a:pt x="38" y="136"/>
                      </a:lnTo>
                      <a:lnTo>
                        <a:pt x="39" y="136"/>
                      </a:lnTo>
                      <a:lnTo>
                        <a:pt x="41" y="135"/>
                      </a:lnTo>
                      <a:lnTo>
                        <a:pt x="43" y="134"/>
                      </a:lnTo>
                      <a:lnTo>
                        <a:pt x="43" y="134"/>
                      </a:lnTo>
                      <a:lnTo>
                        <a:pt x="43" y="133"/>
                      </a:lnTo>
                      <a:lnTo>
                        <a:pt x="43" y="132"/>
                      </a:lnTo>
                      <a:lnTo>
                        <a:pt x="41" y="132"/>
                      </a:lnTo>
                      <a:lnTo>
                        <a:pt x="41" y="132"/>
                      </a:lnTo>
                      <a:lnTo>
                        <a:pt x="40" y="131"/>
                      </a:lnTo>
                      <a:lnTo>
                        <a:pt x="39" y="129"/>
                      </a:lnTo>
                      <a:lnTo>
                        <a:pt x="40" y="128"/>
                      </a:lnTo>
                      <a:lnTo>
                        <a:pt x="41" y="126"/>
                      </a:lnTo>
                      <a:lnTo>
                        <a:pt x="43" y="125"/>
                      </a:lnTo>
                      <a:lnTo>
                        <a:pt x="44" y="124"/>
                      </a:lnTo>
                      <a:lnTo>
                        <a:pt x="47" y="124"/>
                      </a:lnTo>
                      <a:lnTo>
                        <a:pt x="53" y="122"/>
                      </a:lnTo>
                      <a:lnTo>
                        <a:pt x="54" y="121"/>
                      </a:lnTo>
                      <a:lnTo>
                        <a:pt x="56" y="119"/>
                      </a:lnTo>
                      <a:lnTo>
                        <a:pt x="56" y="119"/>
                      </a:lnTo>
                      <a:lnTo>
                        <a:pt x="56" y="117"/>
                      </a:lnTo>
                      <a:lnTo>
                        <a:pt x="55" y="117"/>
                      </a:lnTo>
                      <a:lnTo>
                        <a:pt x="52" y="116"/>
                      </a:lnTo>
                      <a:lnTo>
                        <a:pt x="50" y="117"/>
                      </a:lnTo>
                      <a:lnTo>
                        <a:pt x="49" y="117"/>
                      </a:lnTo>
                      <a:lnTo>
                        <a:pt x="48" y="117"/>
                      </a:lnTo>
                      <a:lnTo>
                        <a:pt x="48" y="115"/>
                      </a:lnTo>
                      <a:lnTo>
                        <a:pt x="48" y="115"/>
                      </a:lnTo>
                      <a:lnTo>
                        <a:pt x="49" y="114"/>
                      </a:lnTo>
                      <a:lnTo>
                        <a:pt x="50" y="113"/>
                      </a:lnTo>
                      <a:lnTo>
                        <a:pt x="54" y="111"/>
                      </a:lnTo>
                      <a:lnTo>
                        <a:pt x="56" y="109"/>
                      </a:lnTo>
                      <a:lnTo>
                        <a:pt x="58" y="106"/>
                      </a:lnTo>
                      <a:lnTo>
                        <a:pt x="61" y="105"/>
                      </a:lnTo>
                      <a:lnTo>
                        <a:pt x="62" y="103"/>
                      </a:lnTo>
                      <a:lnTo>
                        <a:pt x="63" y="103"/>
                      </a:lnTo>
                      <a:lnTo>
                        <a:pt x="64" y="102"/>
                      </a:lnTo>
                      <a:lnTo>
                        <a:pt x="64" y="100"/>
                      </a:lnTo>
                      <a:lnTo>
                        <a:pt x="62" y="100"/>
                      </a:lnTo>
                      <a:lnTo>
                        <a:pt x="62" y="99"/>
                      </a:lnTo>
                      <a:lnTo>
                        <a:pt x="62" y="98"/>
                      </a:lnTo>
                      <a:lnTo>
                        <a:pt x="62" y="96"/>
                      </a:lnTo>
                      <a:lnTo>
                        <a:pt x="64" y="94"/>
                      </a:lnTo>
                      <a:lnTo>
                        <a:pt x="65" y="94"/>
                      </a:lnTo>
                      <a:lnTo>
                        <a:pt x="66" y="94"/>
                      </a:lnTo>
                      <a:lnTo>
                        <a:pt x="66" y="96"/>
                      </a:lnTo>
                      <a:lnTo>
                        <a:pt x="66" y="99"/>
                      </a:lnTo>
                      <a:lnTo>
                        <a:pt x="66" y="101"/>
                      </a:lnTo>
                      <a:lnTo>
                        <a:pt x="66" y="103"/>
                      </a:lnTo>
                      <a:lnTo>
                        <a:pt x="67" y="103"/>
                      </a:lnTo>
                      <a:lnTo>
                        <a:pt x="67" y="103"/>
                      </a:lnTo>
                      <a:lnTo>
                        <a:pt x="69" y="103"/>
                      </a:lnTo>
                      <a:lnTo>
                        <a:pt x="70" y="101"/>
                      </a:lnTo>
                      <a:lnTo>
                        <a:pt x="71" y="100"/>
                      </a:lnTo>
                      <a:lnTo>
                        <a:pt x="72" y="98"/>
                      </a:lnTo>
                      <a:lnTo>
                        <a:pt x="72" y="94"/>
                      </a:lnTo>
                      <a:lnTo>
                        <a:pt x="72" y="93"/>
                      </a:lnTo>
                      <a:lnTo>
                        <a:pt x="71" y="92"/>
                      </a:lnTo>
                      <a:lnTo>
                        <a:pt x="70" y="92"/>
                      </a:lnTo>
                      <a:lnTo>
                        <a:pt x="69" y="92"/>
                      </a:lnTo>
                      <a:lnTo>
                        <a:pt x="66" y="91"/>
                      </a:lnTo>
                      <a:lnTo>
                        <a:pt x="65" y="91"/>
                      </a:lnTo>
                      <a:lnTo>
                        <a:pt x="64" y="90"/>
                      </a:lnTo>
                      <a:lnTo>
                        <a:pt x="64" y="90"/>
                      </a:lnTo>
                      <a:lnTo>
                        <a:pt x="64" y="89"/>
                      </a:lnTo>
                      <a:lnTo>
                        <a:pt x="64" y="88"/>
                      </a:lnTo>
                      <a:lnTo>
                        <a:pt x="65" y="88"/>
                      </a:lnTo>
                      <a:lnTo>
                        <a:pt x="67" y="86"/>
                      </a:lnTo>
                      <a:lnTo>
                        <a:pt x="68" y="86"/>
                      </a:lnTo>
                      <a:lnTo>
                        <a:pt x="69" y="86"/>
                      </a:lnTo>
                      <a:lnTo>
                        <a:pt x="70" y="88"/>
                      </a:lnTo>
                      <a:lnTo>
                        <a:pt x="70" y="88"/>
                      </a:lnTo>
                      <a:lnTo>
                        <a:pt x="71" y="90"/>
                      </a:lnTo>
                      <a:lnTo>
                        <a:pt x="71" y="90"/>
                      </a:lnTo>
                      <a:lnTo>
                        <a:pt x="73" y="91"/>
                      </a:lnTo>
                      <a:lnTo>
                        <a:pt x="73" y="91"/>
                      </a:lnTo>
                      <a:lnTo>
                        <a:pt x="75" y="91"/>
                      </a:lnTo>
                      <a:lnTo>
                        <a:pt x="75" y="91"/>
                      </a:lnTo>
                      <a:lnTo>
                        <a:pt x="75" y="90"/>
                      </a:lnTo>
                      <a:lnTo>
                        <a:pt x="75" y="89"/>
                      </a:lnTo>
                      <a:lnTo>
                        <a:pt x="74" y="86"/>
                      </a:lnTo>
                      <a:lnTo>
                        <a:pt x="73" y="84"/>
                      </a:lnTo>
                      <a:lnTo>
                        <a:pt x="71" y="83"/>
                      </a:lnTo>
                      <a:lnTo>
                        <a:pt x="71" y="81"/>
                      </a:lnTo>
                      <a:lnTo>
                        <a:pt x="71" y="79"/>
                      </a:lnTo>
                      <a:lnTo>
                        <a:pt x="71" y="78"/>
                      </a:lnTo>
                      <a:lnTo>
                        <a:pt x="71" y="77"/>
                      </a:lnTo>
                      <a:lnTo>
                        <a:pt x="73" y="77"/>
                      </a:lnTo>
                      <a:lnTo>
                        <a:pt x="74" y="77"/>
                      </a:lnTo>
                      <a:lnTo>
                        <a:pt x="75" y="76"/>
                      </a:lnTo>
                      <a:lnTo>
                        <a:pt x="76" y="75"/>
                      </a:lnTo>
                      <a:lnTo>
                        <a:pt x="78" y="73"/>
                      </a:lnTo>
                      <a:lnTo>
                        <a:pt x="81" y="74"/>
                      </a:lnTo>
                      <a:lnTo>
                        <a:pt x="83" y="75"/>
                      </a:lnTo>
                      <a:lnTo>
                        <a:pt x="85" y="75"/>
                      </a:lnTo>
                      <a:lnTo>
                        <a:pt x="87" y="75"/>
                      </a:lnTo>
                      <a:lnTo>
                        <a:pt x="89" y="74"/>
                      </a:lnTo>
                      <a:lnTo>
                        <a:pt x="89" y="73"/>
                      </a:lnTo>
                      <a:lnTo>
                        <a:pt x="89" y="72"/>
                      </a:lnTo>
                      <a:lnTo>
                        <a:pt x="88" y="71"/>
                      </a:lnTo>
                      <a:lnTo>
                        <a:pt x="86" y="71"/>
                      </a:lnTo>
                      <a:lnTo>
                        <a:pt x="83" y="71"/>
                      </a:lnTo>
                      <a:lnTo>
                        <a:pt x="82" y="70"/>
                      </a:lnTo>
                      <a:lnTo>
                        <a:pt x="81" y="69"/>
                      </a:lnTo>
                      <a:lnTo>
                        <a:pt x="81" y="69"/>
                      </a:lnTo>
                      <a:lnTo>
                        <a:pt x="81" y="67"/>
                      </a:lnTo>
                      <a:lnTo>
                        <a:pt x="81" y="67"/>
                      </a:lnTo>
                      <a:lnTo>
                        <a:pt x="83" y="66"/>
                      </a:lnTo>
                      <a:lnTo>
                        <a:pt x="86" y="66"/>
                      </a:lnTo>
                      <a:lnTo>
                        <a:pt x="90" y="65"/>
                      </a:lnTo>
                      <a:lnTo>
                        <a:pt x="92" y="65"/>
                      </a:lnTo>
                      <a:lnTo>
                        <a:pt x="94" y="66"/>
                      </a:lnTo>
                      <a:lnTo>
                        <a:pt x="97" y="66"/>
                      </a:lnTo>
                      <a:lnTo>
                        <a:pt x="98" y="66"/>
                      </a:lnTo>
                      <a:lnTo>
                        <a:pt x="98" y="65"/>
                      </a:lnTo>
                      <a:lnTo>
                        <a:pt x="98" y="63"/>
                      </a:lnTo>
                      <a:lnTo>
                        <a:pt x="96" y="58"/>
                      </a:lnTo>
                      <a:lnTo>
                        <a:pt x="96" y="58"/>
                      </a:lnTo>
                      <a:lnTo>
                        <a:pt x="94" y="56"/>
                      </a:lnTo>
                      <a:lnTo>
                        <a:pt x="92" y="56"/>
                      </a:lnTo>
                      <a:lnTo>
                        <a:pt x="91" y="56"/>
                      </a:lnTo>
                      <a:lnTo>
                        <a:pt x="91" y="55"/>
                      </a:lnTo>
                      <a:lnTo>
                        <a:pt x="92" y="54"/>
                      </a:lnTo>
                      <a:lnTo>
                        <a:pt x="92" y="54"/>
                      </a:lnTo>
                      <a:lnTo>
                        <a:pt x="93" y="54"/>
                      </a:lnTo>
                      <a:lnTo>
                        <a:pt x="94" y="54"/>
                      </a:lnTo>
                      <a:lnTo>
                        <a:pt x="96" y="55"/>
                      </a:lnTo>
                      <a:lnTo>
                        <a:pt x="97" y="54"/>
                      </a:lnTo>
                      <a:lnTo>
                        <a:pt x="97" y="54"/>
                      </a:lnTo>
                      <a:lnTo>
                        <a:pt x="97" y="53"/>
                      </a:lnTo>
                      <a:lnTo>
                        <a:pt x="98" y="52"/>
                      </a:lnTo>
                      <a:lnTo>
                        <a:pt x="98" y="50"/>
                      </a:lnTo>
                      <a:lnTo>
                        <a:pt x="98" y="49"/>
                      </a:lnTo>
                      <a:lnTo>
                        <a:pt x="100" y="49"/>
                      </a:lnTo>
                      <a:lnTo>
                        <a:pt x="102" y="48"/>
                      </a:lnTo>
                      <a:lnTo>
                        <a:pt x="104" y="48"/>
                      </a:lnTo>
                      <a:lnTo>
                        <a:pt x="105" y="47"/>
                      </a:lnTo>
                      <a:lnTo>
                        <a:pt x="105" y="46"/>
                      </a:lnTo>
                      <a:lnTo>
                        <a:pt x="105" y="46"/>
                      </a:lnTo>
                      <a:lnTo>
                        <a:pt x="103" y="44"/>
                      </a:lnTo>
                      <a:lnTo>
                        <a:pt x="102" y="44"/>
                      </a:lnTo>
                      <a:lnTo>
                        <a:pt x="102" y="41"/>
                      </a:lnTo>
                      <a:lnTo>
                        <a:pt x="101" y="39"/>
                      </a:lnTo>
                      <a:lnTo>
                        <a:pt x="101" y="36"/>
                      </a:lnTo>
                      <a:lnTo>
                        <a:pt x="103" y="34"/>
                      </a:lnTo>
                      <a:lnTo>
                        <a:pt x="105" y="34"/>
                      </a:lnTo>
                      <a:lnTo>
                        <a:pt x="107" y="35"/>
                      </a:lnTo>
                      <a:lnTo>
                        <a:pt x="109" y="35"/>
                      </a:lnTo>
                      <a:lnTo>
                        <a:pt x="110" y="34"/>
                      </a:lnTo>
                      <a:lnTo>
                        <a:pt x="111" y="35"/>
                      </a:lnTo>
                      <a:lnTo>
                        <a:pt x="110" y="36"/>
                      </a:lnTo>
                      <a:lnTo>
                        <a:pt x="109" y="37"/>
                      </a:lnTo>
                      <a:lnTo>
                        <a:pt x="109" y="39"/>
                      </a:lnTo>
                      <a:lnTo>
                        <a:pt x="111" y="39"/>
                      </a:lnTo>
                      <a:lnTo>
                        <a:pt x="112" y="39"/>
                      </a:lnTo>
                      <a:lnTo>
                        <a:pt x="113" y="39"/>
                      </a:lnTo>
                      <a:lnTo>
                        <a:pt x="113" y="37"/>
                      </a:lnTo>
                      <a:lnTo>
                        <a:pt x="113" y="35"/>
                      </a:lnTo>
                      <a:lnTo>
                        <a:pt x="112" y="33"/>
                      </a:lnTo>
                      <a:lnTo>
                        <a:pt x="111" y="32"/>
                      </a:lnTo>
                      <a:lnTo>
                        <a:pt x="111" y="31"/>
                      </a:lnTo>
                      <a:lnTo>
                        <a:pt x="111" y="30"/>
                      </a:lnTo>
                      <a:lnTo>
                        <a:pt x="112" y="29"/>
                      </a:lnTo>
                      <a:lnTo>
                        <a:pt x="115" y="29"/>
                      </a:lnTo>
                      <a:lnTo>
                        <a:pt x="115" y="29"/>
                      </a:lnTo>
                      <a:lnTo>
                        <a:pt x="115" y="30"/>
                      </a:lnTo>
                      <a:lnTo>
                        <a:pt x="115" y="31"/>
                      </a:lnTo>
                      <a:lnTo>
                        <a:pt x="114" y="31"/>
                      </a:lnTo>
                      <a:lnTo>
                        <a:pt x="114" y="33"/>
                      </a:lnTo>
                      <a:lnTo>
                        <a:pt x="115" y="33"/>
                      </a:lnTo>
                      <a:lnTo>
                        <a:pt x="115" y="33"/>
                      </a:lnTo>
                      <a:lnTo>
                        <a:pt x="116" y="33"/>
                      </a:lnTo>
                      <a:lnTo>
                        <a:pt x="117" y="33"/>
                      </a:lnTo>
                      <a:lnTo>
                        <a:pt x="119" y="32"/>
                      </a:lnTo>
                      <a:lnTo>
                        <a:pt x="121" y="30"/>
                      </a:lnTo>
                      <a:lnTo>
                        <a:pt x="122" y="29"/>
                      </a:lnTo>
                      <a:lnTo>
                        <a:pt x="124" y="29"/>
                      </a:lnTo>
                      <a:lnTo>
                        <a:pt x="124" y="30"/>
                      </a:lnTo>
                      <a:lnTo>
                        <a:pt x="124" y="31"/>
                      </a:lnTo>
                      <a:lnTo>
                        <a:pt x="124" y="33"/>
                      </a:lnTo>
                      <a:lnTo>
                        <a:pt x="124" y="34"/>
                      </a:lnTo>
                      <a:lnTo>
                        <a:pt x="125" y="35"/>
                      </a:lnTo>
                      <a:lnTo>
                        <a:pt x="126" y="35"/>
                      </a:lnTo>
                      <a:lnTo>
                        <a:pt x="127" y="35"/>
                      </a:lnTo>
                      <a:lnTo>
                        <a:pt x="128" y="35"/>
                      </a:lnTo>
                      <a:lnTo>
                        <a:pt x="128" y="33"/>
                      </a:lnTo>
                      <a:lnTo>
                        <a:pt x="128" y="32"/>
                      </a:lnTo>
                      <a:lnTo>
                        <a:pt x="128" y="30"/>
                      </a:lnTo>
                      <a:lnTo>
                        <a:pt x="128" y="27"/>
                      </a:lnTo>
                      <a:lnTo>
                        <a:pt x="128" y="26"/>
                      </a:lnTo>
                      <a:lnTo>
                        <a:pt x="128" y="25"/>
                      </a:lnTo>
                      <a:lnTo>
                        <a:pt x="128" y="25"/>
                      </a:lnTo>
                      <a:lnTo>
                        <a:pt x="126" y="24"/>
                      </a:lnTo>
                      <a:lnTo>
                        <a:pt x="124" y="23"/>
                      </a:lnTo>
                      <a:lnTo>
                        <a:pt x="122" y="23"/>
                      </a:lnTo>
                      <a:lnTo>
                        <a:pt x="121" y="22"/>
                      </a:lnTo>
                      <a:lnTo>
                        <a:pt x="121" y="21"/>
                      </a:lnTo>
                      <a:lnTo>
                        <a:pt x="121" y="20"/>
                      </a:lnTo>
                      <a:lnTo>
                        <a:pt x="121" y="20"/>
                      </a:lnTo>
                      <a:lnTo>
                        <a:pt x="121" y="19"/>
                      </a:lnTo>
                      <a:lnTo>
                        <a:pt x="121" y="18"/>
                      </a:lnTo>
                      <a:lnTo>
                        <a:pt x="122" y="18"/>
                      </a:lnTo>
                      <a:lnTo>
                        <a:pt x="123" y="18"/>
                      </a:lnTo>
                      <a:lnTo>
                        <a:pt x="124" y="17"/>
                      </a:lnTo>
                      <a:lnTo>
                        <a:pt x="125" y="16"/>
                      </a:lnTo>
                      <a:lnTo>
                        <a:pt x="126" y="16"/>
                      </a:lnTo>
                      <a:lnTo>
                        <a:pt x="127" y="16"/>
                      </a:lnTo>
                      <a:lnTo>
                        <a:pt x="128" y="16"/>
                      </a:lnTo>
                      <a:lnTo>
                        <a:pt x="129" y="15"/>
                      </a:lnTo>
                      <a:lnTo>
                        <a:pt x="129" y="14"/>
                      </a:lnTo>
                      <a:lnTo>
                        <a:pt x="130" y="14"/>
                      </a:lnTo>
                      <a:lnTo>
                        <a:pt x="129" y="13"/>
                      </a:lnTo>
                      <a:lnTo>
                        <a:pt x="129" y="12"/>
                      </a:lnTo>
                      <a:lnTo>
                        <a:pt x="128" y="12"/>
                      </a:lnTo>
                      <a:lnTo>
                        <a:pt x="128" y="12"/>
                      </a:lnTo>
                      <a:lnTo>
                        <a:pt x="127" y="10"/>
                      </a:lnTo>
                      <a:lnTo>
                        <a:pt x="127" y="10"/>
                      </a:lnTo>
                      <a:lnTo>
                        <a:pt x="127" y="9"/>
                      </a:lnTo>
                      <a:lnTo>
                        <a:pt x="128" y="8"/>
                      </a:lnTo>
                      <a:lnTo>
                        <a:pt x="128" y="7"/>
                      </a:lnTo>
                      <a:lnTo>
                        <a:pt x="128" y="6"/>
                      </a:lnTo>
                      <a:lnTo>
                        <a:pt x="129" y="4"/>
                      </a:lnTo>
                      <a:lnTo>
                        <a:pt x="130" y="4"/>
                      </a:lnTo>
                      <a:lnTo>
                        <a:pt x="130" y="3"/>
                      </a:lnTo>
                      <a:lnTo>
                        <a:pt x="131" y="2"/>
                      </a:lnTo>
                      <a:lnTo>
                        <a:pt x="132" y="2"/>
                      </a:lnTo>
                      <a:lnTo>
                        <a:pt x="133" y="3"/>
                      </a:lnTo>
                      <a:lnTo>
                        <a:pt x="134" y="3"/>
                      </a:lnTo>
                      <a:lnTo>
                        <a:pt x="134" y="3"/>
                      </a:lnTo>
                      <a:lnTo>
                        <a:pt x="136" y="3"/>
                      </a:lnTo>
                      <a:lnTo>
                        <a:pt x="137" y="2"/>
                      </a:lnTo>
                      <a:lnTo>
                        <a:pt x="138" y="1"/>
                      </a:lnTo>
                      <a:lnTo>
                        <a:pt x="138" y="1"/>
                      </a:lnTo>
                      <a:lnTo>
                        <a:pt x="139"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199" name="Freeform 10">
                  <a:extLst>
                    <a:ext uri="{FF2B5EF4-FFF2-40B4-BE49-F238E27FC236}">
                      <a16:creationId xmlns:a16="http://schemas.microsoft.com/office/drawing/2014/main" xmlns="" id="{204B6C61-4E98-FD0B-E804-E692B891DE60}"/>
                    </a:ext>
                  </a:extLst>
                </p:cNvPr>
                <p:cNvSpPr>
                  <a:spLocks/>
                </p:cNvSpPr>
                <p:nvPr/>
              </p:nvSpPr>
              <p:spPr bwMode="auto">
                <a:xfrm>
                  <a:off x="2618" y="959"/>
                  <a:ext cx="360" cy="629"/>
                </a:xfrm>
                <a:custGeom>
                  <a:avLst/>
                  <a:gdLst>
                    <a:gd name="T0" fmla="*/ 2 w 360"/>
                    <a:gd name="T1" fmla="*/ 620 h 629"/>
                    <a:gd name="T2" fmla="*/ 11 w 360"/>
                    <a:gd name="T3" fmla="*/ 612 h 629"/>
                    <a:gd name="T4" fmla="*/ 20 w 360"/>
                    <a:gd name="T5" fmla="*/ 607 h 629"/>
                    <a:gd name="T6" fmla="*/ 14 w 360"/>
                    <a:gd name="T7" fmla="*/ 601 h 629"/>
                    <a:gd name="T8" fmla="*/ 22 w 360"/>
                    <a:gd name="T9" fmla="*/ 595 h 629"/>
                    <a:gd name="T10" fmla="*/ 13 w 360"/>
                    <a:gd name="T11" fmla="*/ 580 h 629"/>
                    <a:gd name="T12" fmla="*/ 16 w 360"/>
                    <a:gd name="T13" fmla="*/ 569 h 629"/>
                    <a:gd name="T14" fmla="*/ 19 w 360"/>
                    <a:gd name="T15" fmla="*/ 562 h 629"/>
                    <a:gd name="T16" fmla="*/ 21 w 360"/>
                    <a:gd name="T17" fmla="*/ 550 h 629"/>
                    <a:gd name="T18" fmla="*/ 19 w 360"/>
                    <a:gd name="T19" fmla="*/ 543 h 629"/>
                    <a:gd name="T20" fmla="*/ 25 w 360"/>
                    <a:gd name="T21" fmla="*/ 528 h 629"/>
                    <a:gd name="T22" fmla="*/ 16 w 360"/>
                    <a:gd name="T23" fmla="*/ 513 h 629"/>
                    <a:gd name="T24" fmla="*/ 25 w 360"/>
                    <a:gd name="T25" fmla="*/ 509 h 629"/>
                    <a:gd name="T26" fmla="*/ 15 w 360"/>
                    <a:gd name="T27" fmla="*/ 498 h 629"/>
                    <a:gd name="T28" fmla="*/ 25 w 360"/>
                    <a:gd name="T29" fmla="*/ 489 h 629"/>
                    <a:gd name="T30" fmla="*/ 34 w 360"/>
                    <a:gd name="T31" fmla="*/ 483 h 629"/>
                    <a:gd name="T32" fmla="*/ 27 w 360"/>
                    <a:gd name="T33" fmla="*/ 473 h 629"/>
                    <a:gd name="T34" fmla="*/ 20 w 360"/>
                    <a:gd name="T35" fmla="*/ 466 h 629"/>
                    <a:gd name="T36" fmla="*/ 30 w 360"/>
                    <a:gd name="T37" fmla="*/ 460 h 629"/>
                    <a:gd name="T38" fmla="*/ 36 w 360"/>
                    <a:gd name="T39" fmla="*/ 449 h 629"/>
                    <a:gd name="T40" fmla="*/ 34 w 360"/>
                    <a:gd name="T41" fmla="*/ 436 h 629"/>
                    <a:gd name="T42" fmla="*/ 25 w 360"/>
                    <a:gd name="T43" fmla="*/ 430 h 629"/>
                    <a:gd name="T44" fmla="*/ 33 w 360"/>
                    <a:gd name="T45" fmla="*/ 419 h 629"/>
                    <a:gd name="T46" fmla="*/ 38 w 360"/>
                    <a:gd name="T47" fmla="*/ 410 h 629"/>
                    <a:gd name="T48" fmla="*/ 34 w 360"/>
                    <a:gd name="T49" fmla="*/ 399 h 629"/>
                    <a:gd name="T50" fmla="*/ 30 w 360"/>
                    <a:gd name="T51" fmla="*/ 395 h 629"/>
                    <a:gd name="T52" fmla="*/ 33 w 360"/>
                    <a:gd name="T53" fmla="*/ 386 h 629"/>
                    <a:gd name="T54" fmla="*/ 23 w 360"/>
                    <a:gd name="T55" fmla="*/ 371 h 629"/>
                    <a:gd name="T56" fmla="*/ 17 w 360"/>
                    <a:gd name="T57" fmla="*/ 366 h 629"/>
                    <a:gd name="T58" fmla="*/ 17 w 360"/>
                    <a:gd name="T59" fmla="*/ 357 h 629"/>
                    <a:gd name="T60" fmla="*/ 33 w 360"/>
                    <a:gd name="T61" fmla="*/ 347 h 629"/>
                    <a:gd name="T62" fmla="*/ 38 w 360"/>
                    <a:gd name="T63" fmla="*/ 327 h 629"/>
                    <a:gd name="T64" fmla="*/ 34 w 360"/>
                    <a:gd name="T65" fmla="*/ 317 h 629"/>
                    <a:gd name="T66" fmla="*/ 49 w 360"/>
                    <a:gd name="T67" fmla="*/ 310 h 629"/>
                    <a:gd name="T68" fmla="*/ 59 w 360"/>
                    <a:gd name="T69" fmla="*/ 311 h 629"/>
                    <a:gd name="T70" fmla="*/ 68 w 360"/>
                    <a:gd name="T71" fmla="*/ 306 h 629"/>
                    <a:gd name="T72" fmla="*/ 74 w 360"/>
                    <a:gd name="T73" fmla="*/ 293 h 629"/>
                    <a:gd name="T74" fmla="*/ 75 w 360"/>
                    <a:gd name="T75" fmla="*/ 281 h 629"/>
                    <a:gd name="T76" fmla="*/ 83 w 360"/>
                    <a:gd name="T77" fmla="*/ 268 h 629"/>
                    <a:gd name="T78" fmla="*/ 78 w 360"/>
                    <a:gd name="T79" fmla="*/ 248 h 629"/>
                    <a:gd name="T80" fmla="*/ 92 w 360"/>
                    <a:gd name="T81" fmla="*/ 241 h 629"/>
                    <a:gd name="T82" fmla="*/ 104 w 360"/>
                    <a:gd name="T83" fmla="*/ 232 h 629"/>
                    <a:gd name="T84" fmla="*/ 131 w 360"/>
                    <a:gd name="T85" fmla="*/ 234 h 629"/>
                    <a:gd name="T86" fmla="*/ 144 w 360"/>
                    <a:gd name="T87" fmla="*/ 229 h 629"/>
                    <a:gd name="T88" fmla="*/ 160 w 360"/>
                    <a:gd name="T89" fmla="*/ 218 h 629"/>
                    <a:gd name="T90" fmla="*/ 178 w 360"/>
                    <a:gd name="T91" fmla="*/ 211 h 629"/>
                    <a:gd name="T92" fmla="*/ 196 w 360"/>
                    <a:gd name="T93" fmla="*/ 205 h 629"/>
                    <a:gd name="T94" fmla="*/ 195 w 360"/>
                    <a:gd name="T95" fmla="*/ 196 h 629"/>
                    <a:gd name="T96" fmla="*/ 194 w 360"/>
                    <a:gd name="T97" fmla="*/ 182 h 629"/>
                    <a:gd name="T98" fmla="*/ 211 w 360"/>
                    <a:gd name="T99" fmla="*/ 171 h 629"/>
                    <a:gd name="T100" fmla="*/ 211 w 360"/>
                    <a:gd name="T101" fmla="*/ 141 h 629"/>
                    <a:gd name="T102" fmla="*/ 230 w 360"/>
                    <a:gd name="T103" fmla="*/ 150 h 629"/>
                    <a:gd name="T104" fmla="*/ 235 w 360"/>
                    <a:gd name="T105" fmla="*/ 131 h 629"/>
                    <a:gd name="T106" fmla="*/ 245 w 360"/>
                    <a:gd name="T107" fmla="*/ 115 h 629"/>
                    <a:gd name="T108" fmla="*/ 259 w 360"/>
                    <a:gd name="T109" fmla="*/ 80 h 629"/>
                    <a:gd name="T110" fmla="*/ 263 w 360"/>
                    <a:gd name="T111" fmla="*/ 67 h 629"/>
                    <a:gd name="T112" fmla="*/ 302 w 360"/>
                    <a:gd name="T113" fmla="*/ 70 h 629"/>
                    <a:gd name="T114" fmla="*/ 300 w 360"/>
                    <a:gd name="T115" fmla="*/ 36 h 629"/>
                    <a:gd name="T116" fmla="*/ 340 w 360"/>
                    <a:gd name="T117" fmla="*/ 22 h 629"/>
                    <a:gd name="T118" fmla="*/ 349 w 360"/>
                    <a:gd name="T119" fmla="*/ 1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629">
                      <a:moveTo>
                        <a:pt x="9" y="629"/>
                      </a:moveTo>
                      <a:lnTo>
                        <a:pt x="9" y="628"/>
                      </a:lnTo>
                      <a:lnTo>
                        <a:pt x="10" y="628"/>
                      </a:lnTo>
                      <a:lnTo>
                        <a:pt x="9" y="627"/>
                      </a:lnTo>
                      <a:lnTo>
                        <a:pt x="8" y="627"/>
                      </a:lnTo>
                      <a:lnTo>
                        <a:pt x="7" y="626"/>
                      </a:lnTo>
                      <a:lnTo>
                        <a:pt x="6" y="626"/>
                      </a:lnTo>
                      <a:lnTo>
                        <a:pt x="4" y="626"/>
                      </a:lnTo>
                      <a:lnTo>
                        <a:pt x="3" y="627"/>
                      </a:lnTo>
                      <a:lnTo>
                        <a:pt x="1" y="626"/>
                      </a:lnTo>
                      <a:lnTo>
                        <a:pt x="0" y="626"/>
                      </a:lnTo>
                      <a:lnTo>
                        <a:pt x="0" y="625"/>
                      </a:lnTo>
                      <a:lnTo>
                        <a:pt x="0" y="624"/>
                      </a:lnTo>
                      <a:lnTo>
                        <a:pt x="0" y="623"/>
                      </a:lnTo>
                      <a:lnTo>
                        <a:pt x="0" y="622"/>
                      </a:lnTo>
                      <a:lnTo>
                        <a:pt x="1" y="621"/>
                      </a:lnTo>
                      <a:lnTo>
                        <a:pt x="2" y="620"/>
                      </a:lnTo>
                      <a:lnTo>
                        <a:pt x="3" y="620"/>
                      </a:lnTo>
                      <a:lnTo>
                        <a:pt x="4" y="620"/>
                      </a:lnTo>
                      <a:lnTo>
                        <a:pt x="5" y="620"/>
                      </a:lnTo>
                      <a:lnTo>
                        <a:pt x="6" y="620"/>
                      </a:lnTo>
                      <a:lnTo>
                        <a:pt x="6" y="620"/>
                      </a:lnTo>
                      <a:lnTo>
                        <a:pt x="8" y="621"/>
                      </a:lnTo>
                      <a:lnTo>
                        <a:pt x="8" y="621"/>
                      </a:lnTo>
                      <a:lnTo>
                        <a:pt x="10" y="621"/>
                      </a:lnTo>
                      <a:lnTo>
                        <a:pt x="11" y="620"/>
                      </a:lnTo>
                      <a:lnTo>
                        <a:pt x="11" y="620"/>
                      </a:lnTo>
                      <a:lnTo>
                        <a:pt x="11" y="618"/>
                      </a:lnTo>
                      <a:lnTo>
                        <a:pt x="11" y="618"/>
                      </a:lnTo>
                      <a:lnTo>
                        <a:pt x="11" y="616"/>
                      </a:lnTo>
                      <a:lnTo>
                        <a:pt x="11" y="615"/>
                      </a:lnTo>
                      <a:lnTo>
                        <a:pt x="11" y="614"/>
                      </a:lnTo>
                      <a:lnTo>
                        <a:pt x="11" y="613"/>
                      </a:lnTo>
                      <a:lnTo>
                        <a:pt x="11" y="612"/>
                      </a:lnTo>
                      <a:lnTo>
                        <a:pt x="11" y="612"/>
                      </a:lnTo>
                      <a:lnTo>
                        <a:pt x="11" y="611"/>
                      </a:lnTo>
                      <a:lnTo>
                        <a:pt x="12" y="610"/>
                      </a:lnTo>
                      <a:lnTo>
                        <a:pt x="13" y="610"/>
                      </a:lnTo>
                      <a:lnTo>
                        <a:pt x="13" y="611"/>
                      </a:lnTo>
                      <a:lnTo>
                        <a:pt x="14" y="611"/>
                      </a:lnTo>
                      <a:lnTo>
                        <a:pt x="15" y="611"/>
                      </a:lnTo>
                      <a:lnTo>
                        <a:pt x="15" y="610"/>
                      </a:lnTo>
                      <a:lnTo>
                        <a:pt x="16" y="609"/>
                      </a:lnTo>
                      <a:lnTo>
                        <a:pt x="16" y="609"/>
                      </a:lnTo>
                      <a:lnTo>
                        <a:pt x="16" y="607"/>
                      </a:lnTo>
                      <a:lnTo>
                        <a:pt x="17" y="607"/>
                      </a:lnTo>
                      <a:lnTo>
                        <a:pt x="17" y="607"/>
                      </a:lnTo>
                      <a:lnTo>
                        <a:pt x="18" y="607"/>
                      </a:lnTo>
                      <a:lnTo>
                        <a:pt x="19" y="607"/>
                      </a:lnTo>
                      <a:lnTo>
                        <a:pt x="19" y="607"/>
                      </a:lnTo>
                      <a:lnTo>
                        <a:pt x="20" y="607"/>
                      </a:lnTo>
                      <a:lnTo>
                        <a:pt x="21" y="608"/>
                      </a:lnTo>
                      <a:lnTo>
                        <a:pt x="21" y="609"/>
                      </a:lnTo>
                      <a:lnTo>
                        <a:pt x="22" y="609"/>
                      </a:lnTo>
                      <a:lnTo>
                        <a:pt x="22" y="608"/>
                      </a:lnTo>
                      <a:lnTo>
                        <a:pt x="23" y="607"/>
                      </a:lnTo>
                      <a:lnTo>
                        <a:pt x="23" y="606"/>
                      </a:lnTo>
                      <a:lnTo>
                        <a:pt x="23" y="605"/>
                      </a:lnTo>
                      <a:lnTo>
                        <a:pt x="23" y="604"/>
                      </a:lnTo>
                      <a:lnTo>
                        <a:pt x="23" y="603"/>
                      </a:lnTo>
                      <a:lnTo>
                        <a:pt x="22" y="603"/>
                      </a:lnTo>
                      <a:lnTo>
                        <a:pt x="21" y="603"/>
                      </a:lnTo>
                      <a:lnTo>
                        <a:pt x="20" y="602"/>
                      </a:lnTo>
                      <a:lnTo>
                        <a:pt x="19" y="602"/>
                      </a:lnTo>
                      <a:lnTo>
                        <a:pt x="17" y="602"/>
                      </a:lnTo>
                      <a:lnTo>
                        <a:pt x="15" y="602"/>
                      </a:lnTo>
                      <a:lnTo>
                        <a:pt x="15" y="601"/>
                      </a:lnTo>
                      <a:lnTo>
                        <a:pt x="14" y="601"/>
                      </a:lnTo>
                      <a:lnTo>
                        <a:pt x="13" y="600"/>
                      </a:lnTo>
                      <a:lnTo>
                        <a:pt x="13" y="598"/>
                      </a:lnTo>
                      <a:lnTo>
                        <a:pt x="13" y="597"/>
                      </a:lnTo>
                      <a:lnTo>
                        <a:pt x="12" y="595"/>
                      </a:lnTo>
                      <a:lnTo>
                        <a:pt x="12" y="594"/>
                      </a:lnTo>
                      <a:lnTo>
                        <a:pt x="13" y="593"/>
                      </a:lnTo>
                      <a:lnTo>
                        <a:pt x="13" y="593"/>
                      </a:lnTo>
                      <a:lnTo>
                        <a:pt x="13" y="593"/>
                      </a:lnTo>
                      <a:lnTo>
                        <a:pt x="14" y="593"/>
                      </a:lnTo>
                      <a:lnTo>
                        <a:pt x="15" y="594"/>
                      </a:lnTo>
                      <a:lnTo>
                        <a:pt x="16" y="595"/>
                      </a:lnTo>
                      <a:lnTo>
                        <a:pt x="18" y="597"/>
                      </a:lnTo>
                      <a:lnTo>
                        <a:pt x="21" y="597"/>
                      </a:lnTo>
                      <a:lnTo>
                        <a:pt x="21" y="597"/>
                      </a:lnTo>
                      <a:lnTo>
                        <a:pt x="22" y="596"/>
                      </a:lnTo>
                      <a:lnTo>
                        <a:pt x="22" y="595"/>
                      </a:lnTo>
                      <a:lnTo>
                        <a:pt x="22" y="595"/>
                      </a:lnTo>
                      <a:lnTo>
                        <a:pt x="21" y="593"/>
                      </a:lnTo>
                      <a:lnTo>
                        <a:pt x="21" y="592"/>
                      </a:lnTo>
                      <a:lnTo>
                        <a:pt x="20" y="591"/>
                      </a:lnTo>
                      <a:lnTo>
                        <a:pt x="19" y="590"/>
                      </a:lnTo>
                      <a:lnTo>
                        <a:pt x="17" y="590"/>
                      </a:lnTo>
                      <a:lnTo>
                        <a:pt x="17" y="590"/>
                      </a:lnTo>
                      <a:lnTo>
                        <a:pt x="17" y="589"/>
                      </a:lnTo>
                      <a:lnTo>
                        <a:pt x="17" y="588"/>
                      </a:lnTo>
                      <a:lnTo>
                        <a:pt x="17" y="587"/>
                      </a:lnTo>
                      <a:lnTo>
                        <a:pt x="17" y="586"/>
                      </a:lnTo>
                      <a:lnTo>
                        <a:pt x="17" y="586"/>
                      </a:lnTo>
                      <a:lnTo>
                        <a:pt x="17" y="585"/>
                      </a:lnTo>
                      <a:lnTo>
                        <a:pt x="16" y="584"/>
                      </a:lnTo>
                      <a:lnTo>
                        <a:pt x="15" y="582"/>
                      </a:lnTo>
                      <a:lnTo>
                        <a:pt x="13" y="582"/>
                      </a:lnTo>
                      <a:lnTo>
                        <a:pt x="13" y="580"/>
                      </a:lnTo>
                      <a:lnTo>
                        <a:pt x="13" y="580"/>
                      </a:lnTo>
                      <a:lnTo>
                        <a:pt x="13" y="579"/>
                      </a:lnTo>
                      <a:lnTo>
                        <a:pt x="13" y="578"/>
                      </a:lnTo>
                      <a:lnTo>
                        <a:pt x="14" y="578"/>
                      </a:lnTo>
                      <a:lnTo>
                        <a:pt x="15" y="578"/>
                      </a:lnTo>
                      <a:lnTo>
                        <a:pt x="16" y="578"/>
                      </a:lnTo>
                      <a:lnTo>
                        <a:pt x="17" y="579"/>
                      </a:lnTo>
                      <a:lnTo>
                        <a:pt x="18" y="580"/>
                      </a:lnTo>
                      <a:lnTo>
                        <a:pt x="19" y="580"/>
                      </a:lnTo>
                      <a:lnTo>
                        <a:pt x="19" y="579"/>
                      </a:lnTo>
                      <a:lnTo>
                        <a:pt x="20" y="579"/>
                      </a:lnTo>
                      <a:lnTo>
                        <a:pt x="21" y="578"/>
                      </a:lnTo>
                      <a:lnTo>
                        <a:pt x="21" y="577"/>
                      </a:lnTo>
                      <a:lnTo>
                        <a:pt x="20" y="576"/>
                      </a:lnTo>
                      <a:lnTo>
                        <a:pt x="19" y="574"/>
                      </a:lnTo>
                      <a:lnTo>
                        <a:pt x="19" y="573"/>
                      </a:lnTo>
                      <a:lnTo>
                        <a:pt x="17" y="571"/>
                      </a:lnTo>
                      <a:lnTo>
                        <a:pt x="16" y="569"/>
                      </a:lnTo>
                      <a:lnTo>
                        <a:pt x="15" y="569"/>
                      </a:lnTo>
                      <a:lnTo>
                        <a:pt x="15" y="568"/>
                      </a:lnTo>
                      <a:lnTo>
                        <a:pt x="16" y="567"/>
                      </a:lnTo>
                      <a:lnTo>
                        <a:pt x="17" y="567"/>
                      </a:lnTo>
                      <a:lnTo>
                        <a:pt x="18" y="567"/>
                      </a:lnTo>
                      <a:lnTo>
                        <a:pt x="19" y="567"/>
                      </a:lnTo>
                      <a:lnTo>
                        <a:pt x="20" y="567"/>
                      </a:lnTo>
                      <a:lnTo>
                        <a:pt x="21" y="567"/>
                      </a:lnTo>
                      <a:lnTo>
                        <a:pt x="22" y="567"/>
                      </a:lnTo>
                      <a:lnTo>
                        <a:pt x="23" y="567"/>
                      </a:lnTo>
                      <a:lnTo>
                        <a:pt x="24" y="567"/>
                      </a:lnTo>
                      <a:lnTo>
                        <a:pt x="24" y="567"/>
                      </a:lnTo>
                      <a:lnTo>
                        <a:pt x="23" y="565"/>
                      </a:lnTo>
                      <a:lnTo>
                        <a:pt x="23" y="564"/>
                      </a:lnTo>
                      <a:lnTo>
                        <a:pt x="22" y="563"/>
                      </a:lnTo>
                      <a:lnTo>
                        <a:pt x="21" y="562"/>
                      </a:lnTo>
                      <a:lnTo>
                        <a:pt x="19" y="562"/>
                      </a:lnTo>
                      <a:lnTo>
                        <a:pt x="17" y="561"/>
                      </a:lnTo>
                      <a:lnTo>
                        <a:pt x="16" y="561"/>
                      </a:lnTo>
                      <a:lnTo>
                        <a:pt x="15" y="561"/>
                      </a:lnTo>
                      <a:lnTo>
                        <a:pt x="15" y="560"/>
                      </a:lnTo>
                      <a:lnTo>
                        <a:pt x="15" y="559"/>
                      </a:lnTo>
                      <a:lnTo>
                        <a:pt x="15" y="559"/>
                      </a:lnTo>
                      <a:lnTo>
                        <a:pt x="15" y="558"/>
                      </a:lnTo>
                      <a:lnTo>
                        <a:pt x="17" y="557"/>
                      </a:lnTo>
                      <a:lnTo>
                        <a:pt x="17" y="557"/>
                      </a:lnTo>
                      <a:lnTo>
                        <a:pt x="19" y="557"/>
                      </a:lnTo>
                      <a:lnTo>
                        <a:pt x="19" y="556"/>
                      </a:lnTo>
                      <a:lnTo>
                        <a:pt x="19" y="555"/>
                      </a:lnTo>
                      <a:lnTo>
                        <a:pt x="20" y="553"/>
                      </a:lnTo>
                      <a:lnTo>
                        <a:pt x="20" y="552"/>
                      </a:lnTo>
                      <a:lnTo>
                        <a:pt x="20" y="551"/>
                      </a:lnTo>
                      <a:lnTo>
                        <a:pt x="21" y="550"/>
                      </a:lnTo>
                      <a:lnTo>
                        <a:pt x="21" y="550"/>
                      </a:lnTo>
                      <a:lnTo>
                        <a:pt x="22" y="550"/>
                      </a:lnTo>
                      <a:lnTo>
                        <a:pt x="23" y="551"/>
                      </a:lnTo>
                      <a:lnTo>
                        <a:pt x="23" y="552"/>
                      </a:lnTo>
                      <a:lnTo>
                        <a:pt x="23" y="553"/>
                      </a:lnTo>
                      <a:lnTo>
                        <a:pt x="24" y="553"/>
                      </a:lnTo>
                      <a:lnTo>
                        <a:pt x="25" y="553"/>
                      </a:lnTo>
                      <a:lnTo>
                        <a:pt x="26" y="553"/>
                      </a:lnTo>
                      <a:lnTo>
                        <a:pt x="27" y="552"/>
                      </a:lnTo>
                      <a:lnTo>
                        <a:pt x="27" y="550"/>
                      </a:lnTo>
                      <a:lnTo>
                        <a:pt x="27" y="550"/>
                      </a:lnTo>
                      <a:lnTo>
                        <a:pt x="26" y="549"/>
                      </a:lnTo>
                      <a:lnTo>
                        <a:pt x="25" y="548"/>
                      </a:lnTo>
                      <a:lnTo>
                        <a:pt x="23" y="546"/>
                      </a:lnTo>
                      <a:lnTo>
                        <a:pt x="22" y="544"/>
                      </a:lnTo>
                      <a:lnTo>
                        <a:pt x="21" y="544"/>
                      </a:lnTo>
                      <a:lnTo>
                        <a:pt x="20" y="544"/>
                      </a:lnTo>
                      <a:lnTo>
                        <a:pt x="19" y="543"/>
                      </a:lnTo>
                      <a:lnTo>
                        <a:pt x="17" y="543"/>
                      </a:lnTo>
                      <a:lnTo>
                        <a:pt x="15" y="543"/>
                      </a:lnTo>
                      <a:lnTo>
                        <a:pt x="14" y="542"/>
                      </a:lnTo>
                      <a:lnTo>
                        <a:pt x="14" y="541"/>
                      </a:lnTo>
                      <a:lnTo>
                        <a:pt x="14" y="540"/>
                      </a:lnTo>
                      <a:lnTo>
                        <a:pt x="15" y="538"/>
                      </a:lnTo>
                      <a:lnTo>
                        <a:pt x="15" y="536"/>
                      </a:lnTo>
                      <a:lnTo>
                        <a:pt x="15" y="536"/>
                      </a:lnTo>
                      <a:lnTo>
                        <a:pt x="17" y="535"/>
                      </a:lnTo>
                      <a:lnTo>
                        <a:pt x="19" y="534"/>
                      </a:lnTo>
                      <a:lnTo>
                        <a:pt x="21" y="534"/>
                      </a:lnTo>
                      <a:lnTo>
                        <a:pt x="21" y="534"/>
                      </a:lnTo>
                      <a:lnTo>
                        <a:pt x="22" y="533"/>
                      </a:lnTo>
                      <a:lnTo>
                        <a:pt x="23" y="531"/>
                      </a:lnTo>
                      <a:lnTo>
                        <a:pt x="23" y="530"/>
                      </a:lnTo>
                      <a:lnTo>
                        <a:pt x="24" y="529"/>
                      </a:lnTo>
                      <a:lnTo>
                        <a:pt x="25" y="528"/>
                      </a:lnTo>
                      <a:lnTo>
                        <a:pt x="26" y="528"/>
                      </a:lnTo>
                      <a:lnTo>
                        <a:pt x="27" y="527"/>
                      </a:lnTo>
                      <a:lnTo>
                        <a:pt x="29" y="527"/>
                      </a:lnTo>
                      <a:lnTo>
                        <a:pt x="29" y="526"/>
                      </a:lnTo>
                      <a:lnTo>
                        <a:pt x="29" y="525"/>
                      </a:lnTo>
                      <a:lnTo>
                        <a:pt x="28" y="525"/>
                      </a:lnTo>
                      <a:lnTo>
                        <a:pt x="27" y="524"/>
                      </a:lnTo>
                      <a:lnTo>
                        <a:pt x="25" y="523"/>
                      </a:lnTo>
                      <a:lnTo>
                        <a:pt x="23" y="522"/>
                      </a:lnTo>
                      <a:lnTo>
                        <a:pt x="21" y="521"/>
                      </a:lnTo>
                      <a:lnTo>
                        <a:pt x="19" y="520"/>
                      </a:lnTo>
                      <a:lnTo>
                        <a:pt x="17" y="519"/>
                      </a:lnTo>
                      <a:lnTo>
                        <a:pt x="17" y="517"/>
                      </a:lnTo>
                      <a:lnTo>
                        <a:pt x="16" y="516"/>
                      </a:lnTo>
                      <a:lnTo>
                        <a:pt x="16" y="515"/>
                      </a:lnTo>
                      <a:lnTo>
                        <a:pt x="16" y="514"/>
                      </a:lnTo>
                      <a:lnTo>
                        <a:pt x="16" y="513"/>
                      </a:lnTo>
                      <a:lnTo>
                        <a:pt x="17" y="512"/>
                      </a:lnTo>
                      <a:lnTo>
                        <a:pt x="17" y="512"/>
                      </a:lnTo>
                      <a:lnTo>
                        <a:pt x="18" y="512"/>
                      </a:lnTo>
                      <a:lnTo>
                        <a:pt x="19" y="511"/>
                      </a:lnTo>
                      <a:lnTo>
                        <a:pt x="19" y="511"/>
                      </a:lnTo>
                      <a:lnTo>
                        <a:pt x="20" y="511"/>
                      </a:lnTo>
                      <a:lnTo>
                        <a:pt x="20" y="510"/>
                      </a:lnTo>
                      <a:lnTo>
                        <a:pt x="21" y="510"/>
                      </a:lnTo>
                      <a:lnTo>
                        <a:pt x="21" y="510"/>
                      </a:lnTo>
                      <a:lnTo>
                        <a:pt x="22" y="510"/>
                      </a:lnTo>
                      <a:lnTo>
                        <a:pt x="23" y="511"/>
                      </a:lnTo>
                      <a:lnTo>
                        <a:pt x="23" y="511"/>
                      </a:lnTo>
                      <a:lnTo>
                        <a:pt x="24" y="511"/>
                      </a:lnTo>
                      <a:lnTo>
                        <a:pt x="24" y="510"/>
                      </a:lnTo>
                      <a:lnTo>
                        <a:pt x="25" y="510"/>
                      </a:lnTo>
                      <a:lnTo>
                        <a:pt x="25" y="510"/>
                      </a:lnTo>
                      <a:lnTo>
                        <a:pt x="25" y="509"/>
                      </a:lnTo>
                      <a:lnTo>
                        <a:pt x="24" y="508"/>
                      </a:lnTo>
                      <a:lnTo>
                        <a:pt x="23" y="508"/>
                      </a:lnTo>
                      <a:lnTo>
                        <a:pt x="23" y="507"/>
                      </a:lnTo>
                      <a:lnTo>
                        <a:pt x="23" y="506"/>
                      </a:lnTo>
                      <a:lnTo>
                        <a:pt x="22" y="506"/>
                      </a:lnTo>
                      <a:lnTo>
                        <a:pt x="21" y="506"/>
                      </a:lnTo>
                      <a:lnTo>
                        <a:pt x="21" y="505"/>
                      </a:lnTo>
                      <a:lnTo>
                        <a:pt x="20" y="504"/>
                      </a:lnTo>
                      <a:lnTo>
                        <a:pt x="19" y="503"/>
                      </a:lnTo>
                      <a:lnTo>
                        <a:pt x="19" y="502"/>
                      </a:lnTo>
                      <a:lnTo>
                        <a:pt x="18" y="502"/>
                      </a:lnTo>
                      <a:lnTo>
                        <a:pt x="18" y="501"/>
                      </a:lnTo>
                      <a:lnTo>
                        <a:pt x="17" y="500"/>
                      </a:lnTo>
                      <a:lnTo>
                        <a:pt x="17" y="500"/>
                      </a:lnTo>
                      <a:lnTo>
                        <a:pt x="16" y="499"/>
                      </a:lnTo>
                      <a:lnTo>
                        <a:pt x="15" y="498"/>
                      </a:lnTo>
                      <a:lnTo>
                        <a:pt x="15" y="498"/>
                      </a:lnTo>
                      <a:lnTo>
                        <a:pt x="15" y="497"/>
                      </a:lnTo>
                      <a:lnTo>
                        <a:pt x="15" y="496"/>
                      </a:lnTo>
                      <a:lnTo>
                        <a:pt x="15" y="496"/>
                      </a:lnTo>
                      <a:lnTo>
                        <a:pt x="16" y="495"/>
                      </a:lnTo>
                      <a:lnTo>
                        <a:pt x="17" y="495"/>
                      </a:lnTo>
                      <a:lnTo>
                        <a:pt x="17" y="494"/>
                      </a:lnTo>
                      <a:lnTo>
                        <a:pt x="18" y="494"/>
                      </a:lnTo>
                      <a:lnTo>
                        <a:pt x="19" y="494"/>
                      </a:lnTo>
                      <a:lnTo>
                        <a:pt x="19" y="494"/>
                      </a:lnTo>
                      <a:lnTo>
                        <a:pt x="19" y="493"/>
                      </a:lnTo>
                      <a:lnTo>
                        <a:pt x="20" y="493"/>
                      </a:lnTo>
                      <a:lnTo>
                        <a:pt x="21" y="492"/>
                      </a:lnTo>
                      <a:lnTo>
                        <a:pt x="21" y="491"/>
                      </a:lnTo>
                      <a:lnTo>
                        <a:pt x="23" y="491"/>
                      </a:lnTo>
                      <a:lnTo>
                        <a:pt x="23" y="490"/>
                      </a:lnTo>
                      <a:lnTo>
                        <a:pt x="24" y="489"/>
                      </a:lnTo>
                      <a:lnTo>
                        <a:pt x="25" y="489"/>
                      </a:lnTo>
                      <a:lnTo>
                        <a:pt x="25" y="488"/>
                      </a:lnTo>
                      <a:lnTo>
                        <a:pt x="25" y="487"/>
                      </a:lnTo>
                      <a:lnTo>
                        <a:pt x="26" y="487"/>
                      </a:lnTo>
                      <a:lnTo>
                        <a:pt x="26" y="487"/>
                      </a:lnTo>
                      <a:lnTo>
                        <a:pt x="27" y="486"/>
                      </a:lnTo>
                      <a:lnTo>
                        <a:pt x="27" y="485"/>
                      </a:lnTo>
                      <a:lnTo>
                        <a:pt x="28" y="485"/>
                      </a:lnTo>
                      <a:lnTo>
                        <a:pt x="28" y="485"/>
                      </a:lnTo>
                      <a:lnTo>
                        <a:pt x="29" y="485"/>
                      </a:lnTo>
                      <a:lnTo>
                        <a:pt x="30" y="485"/>
                      </a:lnTo>
                      <a:lnTo>
                        <a:pt x="30" y="484"/>
                      </a:lnTo>
                      <a:lnTo>
                        <a:pt x="31" y="484"/>
                      </a:lnTo>
                      <a:lnTo>
                        <a:pt x="32" y="484"/>
                      </a:lnTo>
                      <a:lnTo>
                        <a:pt x="32" y="484"/>
                      </a:lnTo>
                      <a:lnTo>
                        <a:pt x="33" y="484"/>
                      </a:lnTo>
                      <a:lnTo>
                        <a:pt x="33" y="483"/>
                      </a:lnTo>
                      <a:lnTo>
                        <a:pt x="34" y="483"/>
                      </a:lnTo>
                      <a:lnTo>
                        <a:pt x="34" y="483"/>
                      </a:lnTo>
                      <a:lnTo>
                        <a:pt x="34" y="482"/>
                      </a:lnTo>
                      <a:lnTo>
                        <a:pt x="34" y="481"/>
                      </a:lnTo>
                      <a:lnTo>
                        <a:pt x="34" y="481"/>
                      </a:lnTo>
                      <a:lnTo>
                        <a:pt x="34" y="480"/>
                      </a:lnTo>
                      <a:lnTo>
                        <a:pt x="34" y="479"/>
                      </a:lnTo>
                      <a:lnTo>
                        <a:pt x="33" y="479"/>
                      </a:lnTo>
                      <a:lnTo>
                        <a:pt x="33" y="478"/>
                      </a:lnTo>
                      <a:lnTo>
                        <a:pt x="32" y="477"/>
                      </a:lnTo>
                      <a:lnTo>
                        <a:pt x="32" y="476"/>
                      </a:lnTo>
                      <a:lnTo>
                        <a:pt x="31" y="475"/>
                      </a:lnTo>
                      <a:lnTo>
                        <a:pt x="30" y="475"/>
                      </a:lnTo>
                      <a:lnTo>
                        <a:pt x="30" y="475"/>
                      </a:lnTo>
                      <a:lnTo>
                        <a:pt x="29" y="474"/>
                      </a:lnTo>
                      <a:lnTo>
                        <a:pt x="28" y="474"/>
                      </a:lnTo>
                      <a:lnTo>
                        <a:pt x="27" y="473"/>
                      </a:lnTo>
                      <a:lnTo>
                        <a:pt x="27" y="473"/>
                      </a:lnTo>
                      <a:lnTo>
                        <a:pt x="26" y="473"/>
                      </a:lnTo>
                      <a:lnTo>
                        <a:pt x="25" y="473"/>
                      </a:lnTo>
                      <a:lnTo>
                        <a:pt x="24" y="473"/>
                      </a:lnTo>
                      <a:lnTo>
                        <a:pt x="23" y="473"/>
                      </a:lnTo>
                      <a:lnTo>
                        <a:pt x="23" y="473"/>
                      </a:lnTo>
                      <a:lnTo>
                        <a:pt x="22" y="472"/>
                      </a:lnTo>
                      <a:lnTo>
                        <a:pt x="21" y="472"/>
                      </a:lnTo>
                      <a:lnTo>
                        <a:pt x="21" y="472"/>
                      </a:lnTo>
                      <a:lnTo>
                        <a:pt x="21" y="472"/>
                      </a:lnTo>
                      <a:lnTo>
                        <a:pt x="21" y="471"/>
                      </a:lnTo>
                      <a:lnTo>
                        <a:pt x="21" y="470"/>
                      </a:lnTo>
                      <a:lnTo>
                        <a:pt x="21" y="470"/>
                      </a:lnTo>
                      <a:lnTo>
                        <a:pt x="21" y="469"/>
                      </a:lnTo>
                      <a:lnTo>
                        <a:pt x="20" y="468"/>
                      </a:lnTo>
                      <a:lnTo>
                        <a:pt x="20" y="468"/>
                      </a:lnTo>
                      <a:lnTo>
                        <a:pt x="20" y="467"/>
                      </a:lnTo>
                      <a:lnTo>
                        <a:pt x="20" y="466"/>
                      </a:lnTo>
                      <a:lnTo>
                        <a:pt x="20" y="465"/>
                      </a:lnTo>
                      <a:lnTo>
                        <a:pt x="20" y="464"/>
                      </a:lnTo>
                      <a:lnTo>
                        <a:pt x="21" y="464"/>
                      </a:lnTo>
                      <a:lnTo>
                        <a:pt x="21" y="464"/>
                      </a:lnTo>
                      <a:lnTo>
                        <a:pt x="21" y="464"/>
                      </a:lnTo>
                      <a:lnTo>
                        <a:pt x="22" y="463"/>
                      </a:lnTo>
                      <a:lnTo>
                        <a:pt x="23" y="463"/>
                      </a:lnTo>
                      <a:lnTo>
                        <a:pt x="24" y="462"/>
                      </a:lnTo>
                      <a:lnTo>
                        <a:pt x="25" y="462"/>
                      </a:lnTo>
                      <a:lnTo>
                        <a:pt x="26" y="462"/>
                      </a:lnTo>
                      <a:lnTo>
                        <a:pt x="27" y="462"/>
                      </a:lnTo>
                      <a:lnTo>
                        <a:pt x="27" y="462"/>
                      </a:lnTo>
                      <a:lnTo>
                        <a:pt x="28" y="461"/>
                      </a:lnTo>
                      <a:lnTo>
                        <a:pt x="29" y="461"/>
                      </a:lnTo>
                      <a:lnTo>
                        <a:pt x="30" y="461"/>
                      </a:lnTo>
                      <a:lnTo>
                        <a:pt x="30" y="460"/>
                      </a:lnTo>
                      <a:lnTo>
                        <a:pt x="30" y="460"/>
                      </a:lnTo>
                      <a:lnTo>
                        <a:pt x="30" y="459"/>
                      </a:lnTo>
                      <a:lnTo>
                        <a:pt x="31" y="459"/>
                      </a:lnTo>
                      <a:lnTo>
                        <a:pt x="31" y="458"/>
                      </a:lnTo>
                      <a:lnTo>
                        <a:pt x="32" y="458"/>
                      </a:lnTo>
                      <a:lnTo>
                        <a:pt x="32" y="457"/>
                      </a:lnTo>
                      <a:lnTo>
                        <a:pt x="32" y="456"/>
                      </a:lnTo>
                      <a:lnTo>
                        <a:pt x="33" y="456"/>
                      </a:lnTo>
                      <a:lnTo>
                        <a:pt x="34" y="454"/>
                      </a:lnTo>
                      <a:lnTo>
                        <a:pt x="34" y="454"/>
                      </a:lnTo>
                      <a:lnTo>
                        <a:pt x="34" y="453"/>
                      </a:lnTo>
                      <a:lnTo>
                        <a:pt x="35" y="453"/>
                      </a:lnTo>
                      <a:lnTo>
                        <a:pt x="35" y="452"/>
                      </a:lnTo>
                      <a:lnTo>
                        <a:pt x="36" y="452"/>
                      </a:lnTo>
                      <a:lnTo>
                        <a:pt x="36" y="451"/>
                      </a:lnTo>
                      <a:lnTo>
                        <a:pt x="36" y="451"/>
                      </a:lnTo>
                      <a:lnTo>
                        <a:pt x="36" y="450"/>
                      </a:lnTo>
                      <a:lnTo>
                        <a:pt x="36" y="449"/>
                      </a:lnTo>
                      <a:lnTo>
                        <a:pt x="36" y="448"/>
                      </a:lnTo>
                      <a:lnTo>
                        <a:pt x="36" y="447"/>
                      </a:lnTo>
                      <a:lnTo>
                        <a:pt x="36" y="447"/>
                      </a:lnTo>
                      <a:lnTo>
                        <a:pt x="36" y="446"/>
                      </a:lnTo>
                      <a:lnTo>
                        <a:pt x="36" y="445"/>
                      </a:lnTo>
                      <a:lnTo>
                        <a:pt x="36" y="445"/>
                      </a:lnTo>
                      <a:lnTo>
                        <a:pt x="36" y="443"/>
                      </a:lnTo>
                      <a:lnTo>
                        <a:pt x="36" y="443"/>
                      </a:lnTo>
                      <a:lnTo>
                        <a:pt x="36" y="441"/>
                      </a:lnTo>
                      <a:lnTo>
                        <a:pt x="36" y="441"/>
                      </a:lnTo>
                      <a:lnTo>
                        <a:pt x="36" y="440"/>
                      </a:lnTo>
                      <a:lnTo>
                        <a:pt x="36" y="439"/>
                      </a:lnTo>
                      <a:lnTo>
                        <a:pt x="35" y="438"/>
                      </a:lnTo>
                      <a:lnTo>
                        <a:pt x="35" y="437"/>
                      </a:lnTo>
                      <a:lnTo>
                        <a:pt x="34" y="437"/>
                      </a:lnTo>
                      <a:lnTo>
                        <a:pt x="34" y="436"/>
                      </a:lnTo>
                      <a:lnTo>
                        <a:pt x="34" y="436"/>
                      </a:lnTo>
                      <a:lnTo>
                        <a:pt x="33" y="435"/>
                      </a:lnTo>
                      <a:lnTo>
                        <a:pt x="32" y="435"/>
                      </a:lnTo>
                      <a:lnTo>
                        <a:pt x="32" y="435"/>
                      </a:lnTo>
                      <a:lnTo>
                        <a:pt x="31" y="435"/>
                      </a:lnTo>
                      <a:lnTo>
                        <a:pt x="30" y="435"/>
                      </a:lnTo>
                      <a:lnTo>
                        <a:pt x="30" y="435"/>
                      </a:lnTo>
                      <a:lnTo>
                        <a:pt x="29" y="435"/>
                      </a:lnTo>
                      <a:lnTo>
                        <a:pt x="28" y="435"/>
                      </a:lnTo>
                      <a:lnTo>
                        <a:pt x="27" y="435"/>
                      </a:lnTo>
                      <a:lnTo>
                        <a:pt x="27" y="434"/>
                      </a:lnTo>
                      <a:lnTo>
                        <a:pt x="27" y="434"/>
                      </a:lnTo>
                      <a:lnTo>
                        <a:pt x="27" y="433"/>
                      </a:lnTo>
                      <a:lnTo>
                        <a:pt x="26" y="432"/>
                      </a:lnTo>
                      <a:lnTo>
                        <a:pt x="26" y="432"/>
                      </a:lnTo>
                      <a:lnTo>
                        <a:pt x="26" y="431"/>
                      </a:lnTo>
                      <a:lnTo>
                        <a:pt x="26" y="430"/>
                      </a:lnTo>
                      <a:lnTo>
                        <a:pt x="25" y="430"/>
                      </a:lnTo>
                      <a:lnTo>
                        <a:pt x="25" y="429"/>
                      </a:lnTo>
                      <a:lnTo>
                        <a:pt x="25" y="428"/>
                      </a:lnTo>
                      <a:lnTo>
                        <a:pt x="25" y="428"/>
                      </a:lnTo>
                      <a:lnTo>
                        <a:pt x="25" y="427"/>
                      </a:lnTo>
                      <a:lnTo>
                        <a:pt x="26" y="426"/>
                      </a:lnTo>
                      <a:lnTo>
                        <a:pt x="26" y="426"/>
                      </a:lnTo>
                      <a:lnTo>
                        <a:pt x="27" y="425"/>
                      </a:lnTo>
                      <a:lnTo>
                        <a:pt x="27" y="424"/>
                      </a:lnTo>
                      <a:lnTo>
                        <a:pt x="28" y="424"/>
                      </a:lnTo>
                      <a:lnTo>
                        <a:pt x="29" y="424"/>
                      </a:lnTo>
                      <a:lnTo>
                        <a:pt x="30" y="423"/>
                      </a:lnTo>
                      <a:lnTo>
                        <a:pt x="30" y="422"/>
                      </a:lnTo>
                      <a:lnTo>
                        <a:pt x="30" y="422"/>
                      </a:lnTo>
                      <a:lnTo>
                        <a:pt x="31" y="422"/>
                      </a:lnTo>
                      <a:lnTo>
                        <a:pt x="32" y="420"/>
                      </a:lnTo>
                      <a:lnTo>
                        <a:pt x="33" y="420"/>
                      </a:lnTo>
                      <a:lnTo>
                        <a:pt x="33" y="419"/>
                      </a:lnTo>
                      <a:lnTo>
                        <a:pt x="34" y="419"/>
                      </a:lnTo>
                      <a:lnTo>
                        <a:pt x="34" y="418"/>
                      </a:lnTo>
                      <a:lnTo>
                        <a:pt x="34" y="418"/>
                      </a:lnTo>
                      <a:lnTo>
                        <a:pt x="35" y="418"/>
                      </a:lnTo>
                      <a:lnTo>
                        <a:pt x="36" y="417"/>
                      </a:lnTo>
                      <a:lnTo>
                        <a:pt x="36" y="416"/>
                      </a:lnTo>
                      <a:lnTo>
                        <a:pt x="37" y="416"/>
                      </a:lnTo>
                      <a:lnTo>
                        <a:pt x="38" y="415"/>
                      </a:lnTo>
                      <a:lnTo>
                        <a:pt x="38" y="415"/>
                      </a:lnTo>
                      <a:lnTo>
                        <a:pt x="38" y="414"/>
                      </a:lnTo>
                      <a:lnTo>
                        <a:pt x="39" y="413"/>
                      </a:lnTo>
                      <a:lnTo>
                        <a:pt x="39" y="413"/>
                      </a:lnTo>
                      <a:lnTo>
                        <a:pt x="39" y="412"/>
                      </a:lnTo>
                      <a:lnTo>
                        <a:pt x="38" y="412"/>
                      </a:lnTo>
                      <a:lnTo>
                        <a:pt x="38" y="411"/>
                      </a:lnTo>
                      <a:lnTo>
                        <a:pt x="38" y="411"/>
                      </a:lnTo>
                      <a:lnTo>
                        <a:pt x="38" y="410"/>
                      </a:lnTo>
                      <a:lnTo>
                        <a:pt x="38" y="409"/>
                      </a:lnTo>
                      <a:lnTo>
                        <a:pt x="38" y="409"/>
                      </a:lnTo>
                      <a:lnTo>
                        <a:pt x="37" y="408"/>
                      </a:lnTo>
                      <a:lnTo>
                        <a:pt x="37" y="407"/>
                      </a:lnTo>
                      <a:lnTo>
                        <a:pt x="36" y="407"/>
                      </a:lnTo>
                      <a:lnTo>
                        <a:pt x="36" y="406"/>
                      </a:lnTo>
                      <a:lnTo>
                        <a:pt x="36" y="405"/>
                      </a:lnTo>
                      <a:lnTo>
                        <a:pt x="36" y="405"/>
                      </a:lnTo>
                      <a:lnTo>
                        <a:pt x="36" y="404"/>
                      </a:lnTo>
                      <a:lnTo>
                        <a:pt x="36" y="403"/>
                      </a:lnTo>
                      <a:lnTo>
                        <a:pt x="36" y="403"/>
                      </a:lnTo>
                      <a:lnTo>
                        <a:pt x="36" y="402"/>
                      </a:lnTo>
                      <a:lnTo>
                        <a:pt x="35" y="401"/>
                      </a:lnTo>
                      <a:lnTo>
                        <a:pt x="35" y="401"/>
                      </a:lnTo>
                      <a:lnTo>
                        <a:pt x="35" y="400"/>
                      </a:lnTo>
                      <a:lnTo>
                        <a:pt x="34" y="400"/>
                      </a:lnTo>
                      <a:lnTo>
                        <a:pt x="34" y="399"/>
                      </a:lnTo>
                      <a:lnTo>
                        <a:pt x="33" y="399"/>
                      </a:lnTo>
                      <a:lnTo>
                        <a:pt x="32" y="399"/>
                      </a:lnTo>
                      <a:lnTo>
                        <a:pt x="32" y="399"/>
                      </a:lnTo>
                      <a:lnTo>
                        <a:pt x="32" y="400"/>
                      </a:lnTo>
                      <a:lnTo>
                        <a:pt x="31" y="400"/>
                      </a:lnTo>
                      <a:lnTo>
                        <a:pt x="30" y="400"/>
                      </a:lnTo>
                      <a:lnTo>
                        <a:pt x="30" y="400"/>
                      </a:lnTo>
                      <a:lnTo>
                        <a:pt x="29" y="400"/>
                      </a:lnTo>
                      <a:lnTo>
                        <a:pt x="29" y="399"/>
                      </a:lnTo>
                      <a:lnTo>
                        <a:pt x="29" y="399"/>
                      </a:lnTo>
                      <a:lnTo>
                        <a:pt x="29" y="398"/>
                      </a:lnTo>
                      <a:lnTo>
                        <a:pt x="29" y="397"/>
                      </a:lnTo>
                      <a:lnTo>
                        <a:pt x="30" y="397"/>
                      </a:lnTo>
                      <a:lnTo>
                        <a:pt x="30" y="397"/>
                      </a:lnTo>
                      <a:lnTo>
                        <a:pt x="30" y="396"/>
                      </a:lnTo>
                      <a:lnTo>
                        <a:pt x="30" y="395"/>
                      </a:lnTo>
                      <a:lnTo>
                        <a:pt x="30" y="395"/>
                      </a:lnTo>
                      <a:lnTo>
                        <a:pt x="30" y="394"/>
                      </a:lnTo>
                      <a:lnTo>
                        <a:pt x="31" y="394"/>
                      </a:lnTo>
                      <a:lnTo>
                        <a:pt x="31" y="393"/>
                      </a:lnTo>
                      <a:lnTo>
                        <a:pt x="31" y="392"/>
                      </a:lnTo>
                      <a:lnTo>
                        <a:pt x="32" y="392"/>
                      </a:lnTo>
                      <a:lnTo>
                        <a:pt x="32" y="392"/>
                      </a:lnTo>
                      <a:lnTo>
                        <a:pt x="32" y="391"/>
                      </a:lnTo>
                      <a:lnTo>
                        <a:pt x="32" y="391"/>
                      </a:lnTo>
                      <a:lnTo>
                        <a:pt x="32" y="390"/>
                      </a:lnTo>
                      <a:lnTo>
                        <a:pt x="32" y="390"/>
                      </a:lnTo>
                      <a:lnTo>
                        <a:pt x="32" y="389"/>
                      </a:lnTo>
                      <a:lnTo>
                        <a:pt x="33" y="389"/>
                      </a:lnTo>
                      <a:lnTo>
                        <a:pt x="33" y="388"/>
                      </a:lnTo>
                      <a:lnTo>
                        <a:pt x="33" y="388"/>
                      </a:lnTo>
                      <a:lnTo>
                        <a:pt x="33" y="387"/>
                      </a:lnTo>
                      <a:lnTo>
                        <a:pt x="33" y="386"/>
                      </a:lnTo>
                      <a:lnTo>
                        <a:pt x="33" y="386"/>
                      </a:lnTo>
                      <a:lnTo>
                        <a:pt x="32" y="383"/>
                      </a:lnTo>
                      <a:lnTo>
                        <a:pt x="32" y="381"/>
                      </a:lnTo>
                      <a:lnTo>
                        <a:pt x="31" y="380"/>
                      </a:lnTo>
                      <a:lnTo>
                        <a:pt x="31" y="378"/>
                      </a:lnTo>
                      <a:lnTo>
                        <a:pt x="30" y="376"/>
                      </a:lnTo>
                      <a:lnTo>
                        <a:pt x="30" y="375"/>
                      </a:lnTo>
                      <a:lnTo>
                        <a:pt x="30" y="373"/>
                      </a:lnTo>
                      <a:lnTo>
                        <a:pt x="30" y="372"/>
                      </a:lnTo>
                      <a:lnTo>
                        <a:pt x="29" y="371"/>
                      </a:lnTo>
                      <a:lnTo>
                        <a:pt x="28" y="371"/>
                      </a:lnTo>
                      <a:lnTo>
                        <a:pt x="27" y="371"/>
                      </a:lnTo>
                      <a:lnTo>
                        <a:pt x="27" y="372"/>
                      </a:lnTo>
                      <a:lnTo>
                        <a:pt x="26" y="372"/>
                      </a:lnTo>
                      <a:lnTo>
                        <a:pt x="25" y="373"/>
                      </a:lnTo>
                      <a:lnTo>
                        <a:pt x="25" y="373"/>
                      </a:lnTo>
                      <a:lnTo>
                        <a:pt x="24" y="372"/>
                      </a:lnTo>
                      <a:lnTo>
                        <a:pt x="23" y="371"/>
                      </a:lnTo>
                      <a:lnTo>
                        <a:pt x="23" y="370"/>
                      </a:lnTo>
                      <a:lnTo>
                        <a:pt x="23" y="369"/>
                      </a:lnTo>
                      <a:lnTo>
                        <a:pt x="24" y="368"/>
                      </a:lnTo>
                      <a:lnTo>
                        <a:pt x="24" y="367"/>
                      </a:lnTo>
                      <a:lnTo>
                        <a:pt x="24" y="367"/>
                      </a:lnTo>
                      <a:lnTo>
                        <a:pt x="24" y="366"/>
                      </a:lnTo>
                      <a:lnTo>
                        <a:pt x="24" y="365"/>
                      </a:lnTo>
                      <a:lnTo>
                        <a:pt x="23" y="364"/>
                      </a:lnTo>
                      <a:lnTo>
                        <a:pt x="22" y="363"/>
                      </a:lnTo>
                      <a:lnTo>
                        <a:pt x="21" y="361"/>
                      </a:lnTo>
                      <a:lnTo>
                        <a:pt x="19" y="361"/>
                      </a:lnTo>
                      <a:lnTo>
                        <a:pt x="18" y="361"/>
                      </a:lnTo>
                      <a:lnTo>
                        <a:pt x="17" y="361"/>
                      </a:lnTo>
                      <a:lnTo>
                        <a:pt x="17" y="362"/>
                      </a:lnTo>
                      <a:lnTo>
                        <a:pt x="16" y="363"/>
                      </a:lnTo>
                      <a:lnTo>
                        <a:pt x="17" y="364"/>
                      </a:lnTo>
                      <a:lnTo>
                        <a:pt x="17" y="366"/>
                      </a:lnTo>
                      <a:lnTo>
                        <a:pt x="18" y="367"/>
                      </a:lnTo>
                      <a:lnTo>
                        <a:pt x="18" y="368"/>
                      </a:lnTo>
                      <a:lnTo>
                        <a:pt x="17" y="369"/>
                      </a:lnTo>
                      <a:lnTo>
                        <a:pt x="17" y="369"/>
                      </a:lnTo>
                      <a:lnTo>
                        <a:pt x="15" y="367"/>
                      </a:lnTo>
                      <a:lnTo>
                        <a:pt x="13" y="366"/>
                      </a:lnTo>
                      <a:lnTo>
                        <a:pt x="12" y="365"/>
                      </a:lnTo>
                      <a:lnTo>
                        <a:pt x="11" y="363"/>
                      </a:lnTo>
                      <a:lnTo>
                        <a:pt x="11" y="361"/>
                      </a:lnTo>
                      <a:lnTo>
                        <a:pt x="11" y="359"/>
                      </a:lnTo>
                      <a:lnTo>
                        <a:pt x="11" y="357"/>
                      </a:lnTo>
                      <a:lnTo>
                        <a:pt x="13" y="357"/>
                      </a:lnTo>
                      <a:lnTo>
                        <a:pt x="13" y="357"/>
                      </a:lnTo>
                      <a:lnTo>
                        <a:pt x="14" y="358"/>
                      </a:lnTo>
                      <a:lnTo>
                        <a:pt x="15" y="358"/>
                      </a:lnTo>
                      <a:lnTo>
                        <a:pt x="16" y="357"/>
                      </a:lnTo>
                      <a:lnTo>
                        <a:pt x="17" y="357"/>
                      </a:lnTo>
                      <a:lnTo>
                        <a:pt x="17" y="356"/>
                      </a:lnTo>
                      <a:lnTo>
                        <a:pt x="16" y="354"/>
                      </a:lnTo>
                      <a:lnTo>
                        <a:pt x="17" y="353"/>
                      </a:lnTo>
                      <a:lnTo>
                        <a:pt x="17" y="352"/>
                      </a:lnTo>
                      <a:lnTo>
                        <a:pt x="18" y="352"/>
                      </a:lnTo>
                      <a:lnTo>
                        <a:pt x="19" y="352"/>
                      </a:lnTo>
                      <a:lnTo>
                        <a:pt x="19" y="352"/>
                      </a:lnTo>
                      <a:lnTo>
                        <a:pt x="20" y="352"/>
                      </a:lnTo>
                      <a:lnTo>
                        <a:pt x="21" y="352"/>
                      </a:lnTo>
                      <a:lnTo>
                        <a:pt x="23" y="352"/>
                      </a:lnTo>
                      <a:lnTo>
                        <a:pt x="24" y="350"/>
                      </a:lnTo>
                      <a:lnTo>
                        <a:pt x="26" y="349"/>
                      </a:lnTo>
                      <a:lnTo>
                        <a:pt x="27" y="348"/>
                      </a:lnTo>
                      <a:lnTo>
                        <a:pt x="29" y="348"/>
                      </a:lnTo>
                      <a:lnTo>
                        <a:pt x="30" y="348"/>
                      </a:lnTo>
                      <a:lnTo>
                        <a:pt x="31" y="348"/>
                      </a:lnTo>
                      <a:lnTo>
                        <a:pt x="33" y="347"/>
                      </a:lnTo>
                      <a:lnTo>
                        <a:pt x="34" y="346"/>
                      </a:lnTo>
                      <a:lnTo>
                        <a:pt x="37" y="343"/>
                      </a:lnTo>
                      <a:lnTo>
                        <a:pt x="39" y="340"/>
                      </a:lnTo>
                      <a:lnTo>
                        <a:pt x="41" y="339"/>
                      </a:lnTo>
                      <a:lnTo>
                        <a:pt x="42" y="338"/>
                      </a:lnTo>
                      <a:lnTo>
                        <a:pt x="42" y="337"/>
                      </a:lnTo>
                      <a:lnTo>
                        <a:pt x="42" y="336"/>
                      </a:lnTo>
                      <a:lnTo>
                        <a:pt x="42" y="336"/>
                      </a:lnTo>
                      <a:lnTo>
                        <a:pt x="40" y="336"/>
                      </a:lnTo>
                      <a:lnTo>
                        <a:pt x="39" y="335"/>
                      </a:lnTo>
                      <a:lnTo>
                        <a:pt x="38" y="334"/>
                      </a:lnTo>
                      <a:lnTo>
                        <a:pt x="38" y="333"/>
                      </a:lnTo>
                      <a:lnTo>
                        <a:pt x="38" y="332"/>
                      </a:lnTo>
                      <a:lnTo>
                        <a:pt x="38" y="331"/>
                      </a:lnTo>
                      <a:lnTo>
                        <a:pt x="38" y="330"/>
                      </a:lnTo>
                      <a:lnTo>
                        <a:pt x="38" y="329"/>
                      </a:lnTo>
                      <a:lnTo>
                        <a:pt x="38" y="327"/>
                      </a:lnTo>
                      <a:lnTo>
                        <a:pt x="36" y="325"/>
                      </a:lnTo>
                      <a:lnTo>
                        <a:pt x="36" y="325"/>
                      </a:lnTo>
                      <a:lnTo>
                        <a:pt x="35" y="325"/>
                      </a:lnTo>
                      <a:lnTo>
                        <a:pt x="34" y="325"/>
                      </a:lnTo>
                      <a:lnTo>
                        <a:pt x="32" y="325"/>
                      </a:lnTo>
                      <a:lnTo>
                        <a:pt x="30" y="327"/>
                      </a:lnTo>
                      <a:lnTo>
                        <a:pt x="28" y="327"/>
                      </a:lnTo>
                      <a:lnTo>
                        <a:pt x="27" y="327"/>
                      </a:lnTo>
                      <a:lnTo>
                        <a:pt x="26" y="327"/>
                      </a:lnTo>
                      <a:lnTo>
                        <a:pt x="25" y="326"/>
                      </a:lnTo>
                      <a:lnTo>
                        <a:pt x="26" y="323"/>
                      </a:lnTo>
                      <a:lnTo>
                        <a:pt x="27" y="320"/>
                      </a:lnTo>
                      <a:lnTo>
                        <a:pt x="27" y="318"/>
                      </a:lnTo>
                      <a:lnTo>
                        <a:pt x="29" y="317"/>
                      </a:lnTo>
                      <a:lnTo>
                        <a:pt x="30" y="317"/>
                      </a:lnTo>
                      <a:lnTo>
                        <a:pt x="32" y="317"/>
                      </a:lnTo>
                      <a:lnTo>
                        <a:pt x="34" y="317"/>
                      </a:lnTo>
                      <a:lnTo>
                        <a:pt x="36" y="317"/>
                      </a:lnTo>
                      <a:lnTo>
                        <a:pt x="37" y="317"/>
                      </a:lnTo>
                      <a:lnTo>
                        <a:pt x="38" y="317"/>
                      </a:lnTo>
                      <a:lnTo>
                        <a:pt x="39" y="317"/>
                      </a:lnTo>
                      <a:lnTo>
                        <a:pt x="40" y="318"/>
                      </a:lnTo>
                      <a:lnTo>
                        <a:pt x="41" y="320"/>
                      </a:lnTo>
                      <a:lnTo>
                        <a:pt x="42" y="321"/>
                      </a:lnTo>
                      <a:lnTo>
                        <a:pt x="43" y="322"/>
                      </a:lnTo>
                      <a:lnTo>
                        <a:pt x="44" y="323"/>
                      </a:lnTo>
                      <a:lnTo>
                        <a:pt x="46" y="323"/>
                      </a:lnTo>
                      <a:lnTo>
                        <a:pt x="46" y="323"/>
                      </a:lnTo>
                      <a:lnTo>
                        <a:pt x="47" y="322"/>
                      </a:lnTo>
                      <a:lnTo>
                        <a:pt x="47" y="321"/>
                      </a:lnTo>
                      <a:lnTo>
                        <a:pt x="47" y="318"/>
                      </a:lnTo>
                      <a:lnTo>
                        <a:pt x="47" y="316"/>
                      </a:lnTo>
                      <a:lnTo>
                        <a:pt x="49" y="312"/>
                      </a:lnTo>
                      <a:lnTo>
                        <a:pt x="49" y="310"/>
                      </a:lnTo>
                      <a:lnTo>
                        <a:pt x="49" y="308"/>
                      </a:lnTo>
                      <a:lnTo>
                        <a:pt x="50" y="307"/>
                      </a:lnTo>
                      <a:lnTo>
                        <a:pt x="51" y="305"/>
                      </a:lnTo>
                      <a:lnTo>
                        <a:pt x="52" y="304"/>
                      </a:lnTo>
                      <a:lnTo>
                        <a:pt x="53" y="304"/>
                      </a:lnTo>
                      <a:lnTo>
                        <a:pt x="55" y="304"/>
                      </a:lnTo>
                      <a:lnTo>
                        <a:pt x="58" y="304"/>
                      </a:lnTo>
                      <a:lnTo>
                        <a:pt x="60" y="303"/>
                      </a:lnTo>
                      <a:lnTo>
                        <a:pt x="62" y="303"/>
                      </a:lnTo>
                      <a:lnTo>
                        <a:pt x="63" y="304"/>
                      </a:lnTo>
                      <a:lnTo>
                        <a:pt x="64" y="304"/>
                      </a:lnTo>
                      <a:lnTo>
                        <a:pt x="64" y="306"/>
                      </a:lnTo>
                      <a:lnTo>
                        <a:pt x="64" y="307"/>
                      </a:lnTo>
                      <a:lnTo>
                        <a:pt x="63" y="308"/>
                      </a:lnTo>
                      <a:lnTo>
                        <a:pt x="63" y="310"/>
                      </a:lnTo>
                      <a:lnTo>
                        <a:pt x="61" y="310"/>
                      </a:lnTo>
                      <a:lnTo>
                        <a:pt x="59" y="311"/>
                      </a:lnTo>
                      <a:lnTo>
                        <a:pt x="58" y="312"/>
                      </a:lnTo>
                      <a:lnTo>
                        <a:pt x="57" y="313"/>
                      </a:lnTo>
                      <a:lnTo>
                        <a:pt x="57" y="314"/>
                      </a:lnTo>
                      <a:lnTo>
                        <a:pt x="58" y="316"/>
                      </a:lnTo>
                      <a:lnTo>
                        <a:pt x="59" y="317"/>
                      </a:lnTo>
                      <a:lnTo>
                        <a:pt x="61" y="317"/>
                      </a:lnTo>
                      <a:lnTo>
                        <a:pt x="61" y="317"/>
                      </a:lnTo>
                      <a:lnTo>
                        <a:pt x="63" y="317"/>
                      </a:lnTo>
                      <a:lnTo>
                        <a:pt x="64" y="316"/>
                      </a:lnTo>
                      <a:lnTo>
                        <a:pt x="65" y="315"/>
                      </a:lnTo>
                      <a:lnTo>
                        <a:pt x="65" y="314"/>
                      </a:lnTo>
                      <a:lnTo>
                        <a:pt x="66" y="313"/>
                      </a:lnTo>
                      <a:lnTo>
                        <a:pt x="66" y="312"/>
                      </a:lnTo>
                      <a:lnTo>
                        <a:pt x="66" y="309"/>
                      </a:lnTo>
                      <a:lnTo>
                        <a:pt x="66" y="308"/>
                      </a:lnTo>
                      <a:lnTo>
                        <a:pt x="66" y="307"/>
                      </a:lnTo>
                      <a:lnTo>
                        <a:pt x="68" y="306"/>
                      </a:lnTo>
                      <a:lnTo>
                        <a:pt x="70" y="306"/>
                      </a:lnTo>
                      <a:lnTo>
                        <a:pt x="71" y="305"/>
                      </a:lnTo>
                      <a:lnTo>
                        <a:pt x="73" y="304"/>
                      </a:lnTo>
                      <a:lnTo>
                        <a:pt x="76" y="302"/>
                      </a:lnTo>
                      <a:lnTo>
                        <a:pt x="78" y="301"/>
                      </a:lnTo>
                      <a:lnTo>
                        <a:pt x="80" y="300"/>
                      </a:lnTo>
                      <a:lnTo>
                        <a:pt x="80" y="298"/>
                      </a:lnTo>
                      <a:lnTo>
                        <a:pt x="81" y="297"/>
                      </a:lnTo>
                      <a:lnTo>
                        <a:pt x="81" y="296"/>
                      </a:lnTo>
                      <a:lnTo>
                        <a:pt x="80" y="294"/>
                      </a:lnTo>
                      <a:lnTo>
                        <a:pt x="80" y="293"/>
                      </a:lnTo>
                      <a:lnTo>
                        <a:pt x="79" y="293"/>
                      </a:lnTo>
                      <a:lnTo>
                        <a:pt x="78" y="293"/>
                      </a:lnTo>
                      <a:lnTo>
                        <a:pt x="77" y="293"/>
                      </a:lnTo>
                      <a:lnTo>
                        <a:pt x="76" y="293"/>
                      </a:lnTo>
                      <a:lnTo>
                        <a:pt x="75" y="293"/>
                      </a:lnTo>
                      <a:lnTo>
                        <a:pt x="74" y="293"/>
                      </a:lnTo>
                      <a:lnTo>
                        <a:pt x="73" y="293"/>
                      </a:lnTo>
                      <a:lnTo>
                        <a:pt x="73" y="292"/>
                      </a:lnTo>
                      <a:lnTo>
                        <a:pt x="74" y="291"/>
                      </a:lnTo>
                      <a:lnTo>
                        <a:pt x="75" y="291"/>
                      </a:lnTo>
                      <a:lnTo>
                        <a:pt x="76" y="290"/>
                      </a:lnTo>
                      <a:lnTo>
                        <a:pt x="76" y="289"/>
                      </a:lnTo>
                      <a:lnTo>
                        <a:pt x="76" y="287"/>
                      </a:lnTo>
                      <a:lnTo>
                        <a:pt x="76" y="286"/>
                      </a:lnTo>
                      <a:lnTo>
                        <a:pt x="78" y="285"/>
                      </a:lnTo>
                      <a:lnTo>
                        <a:pt x="79" y="283"/>
                      </a:lnTo>
                      <a:lnTo>
                        <a:pt x="80" y="283"/>
                      </a:lnTo>
                      <a:lnTo>
                        <a:pt x="80" y="282"/>
                      </a:lnTo>
                      <a:lnTo>
                        <a:pt x="79" y="281"/>
                      </a:lnTo>
                      <a:lnTo>
                        <a:pt x="78" y="280"/>
                      </a:lnTo>
                      <a:lnTo>
                        <a:pt x="77" y="280"/>
                      </a:lnTo>
                      <a:lnTo>
                        <a:pt x="76" y="280"/>
                      </a:lnTo>
                      <a:lnTo>
                        <a:pt x="75" y="281"/>
                      </a:lnTo>
                      <a:lnTo>
                        <a:pt x="74" y="281"/>
                      </a:lnTo>
                      <a:lnTo>
                        <a:pt x="72" y="279"/>
                      </a:lnTo>
                      <a:lnTo>
                        <a:pt x="70" y="279"/>
                      </a:lnTo>
                      <a:lnTo>
                        <a:pt x="69" y="278"/>
                      </a:lnTo>
                      <a:lnTo>
                        <a:pt x="68" y="277"/>
                      </a:lnTo>
                      <a:lnTo>
                        <a:pt x="66" y="277"/>
                      </a:lnTo>
                      <a:lnTo>
                        <a:pt x="65" y="276"/>
                      </a:lnTo>
                      <a:lnTo>
                        <a:pt x="66" y="275"/>
                      </a:lnTo>
                      <a:lnTo>
                        <a:pt x="67" y="274"/>
                      </a:lnTo>
                      <a:lnTo>
                        <a:pt x="68" y="273"/>
                      </a:lnTo>
                      <a:lnTo>
                        <a:pt x="70" y="272"/>
                      </a:lnTo>
                      <a:lnTo>
                        <a:pt x="72" y="271"/>
                      </a:lnTo>
                      <a:lnTo>
                        <a:pt x="74" y="270"/>
                      </a:lnTo>
                      <a:lnTo>
                        <a:pt x="76" y="269"/>
                      </a:lnTo>
                      <a:lnTo>
                        <a:pt x="78" y="268"/>
                      </a:lnTo>
                      <a:lnTo>
                        <a:pt x="81" y="268"/>
                      </a:lnTo>
                      <a:lnTo>
                        <a:pt x="83" y="268"/>
                      </a:lnTo>
                      <a:lnTo>
                        <a:pt x="84" y="268"/>
                      </a:lnTo>
                      <a:lnTo>
                        <a:pt x="85" y="268"/>
                      </a:lnTo>
                      <a:lnTo>
                        <a:pt x="87" y="268"/>
                      </a:lnTo>
                      <a:lnTo>
                        <a:pt x="87" y="269"/>
                      </a:lnTo>
                      <a:lnTo>
                        <a:pt x="88" y="269"/>
                      </a:lnTo>
                      <a:lnTo>
                        <a:pt x="89" y="268"/>
                      </a:lnTo>
                      <a:lnTo>
                        <a:pt x="89" y="266"/>
                      </a:lnTo>
                      <a:lnTo>
                        <a:pt x="89" y="264"/>
                      </a:lnTo>
                      <a:lnTo>
                        <a:pt x="88" y="262"/>
                      </a:lnTo>
                      <a:lnTo>
                        <a:pt x="87" y="260"/>
                      </a:lnTo>
                      <a:lnTo>
                        <a:pt x="87" y="257"/>
                      </a:lnTo>
                      <a:lnTo>
                        <a:pt x="86" y="255"/>
                      </a:lnTo>
                      <a:lnTo>
                        <a:pt x="84" y="253"/>
                      </a:lnTo>
                      <a:lnTo>
                        <a:pt x="83" y="251"/>
                      </a:lnTo>
                      <a:lnTo>
                        <a:pt x="82" y="249"/>
                      </a:lnTo>
                      <a:lnTo>
                        <a:pt x="80" y="249"/>
                      </a:lnTo>
                      <a:lnTo>
                        <a:pt x="78" y="248"/>
                      </a:lnTo>
                      <a:lnTo>
                        <a:pt x="77" y="248"/>
                      </a:lnTo>
                      <a:lnTo>
                        <a:pt x="75" y="248"/>
                      </a:lnTo>
                      <a:lnTo>
                        <a:pt x="74" y="249"/>
                      </a:lnTo>
                      <a:lnTo>
                        <a:pt x="74" y="248"/>
                      </a:lnTo>
                      <a:lnTo>
                        <a:pt x="73" y="247"/>
                      </a:lnTo>
                      <a:lnTo>
                        <a:pt x="73" y="247"/>
                      </a:lnTo>
                      <a:lnTo>
                        <a:pt x="75" y="244"/>
                      </a:lnTo>
                      <a:lnTo>
                        <a:pt x="77" y="241"/>
                      </a:lnTo>
                      <a:lnTo>
                        <a:pt x="79" y="239"/>
                      </a:lnTo>
                      <a:lnTo>
                        <a:pt x="80" y="237"/>
                      </a:lnTo>
                      <a:lnTo>
                        <a:pt x="82" y="237"/>
                      </a:lnTo>
                      <a:lnTo>
                        <a:pt x="83" y="237"/>
                      </a:lnTo>
                      <a:lnTo>
                        <a:pt x="84" y="237"/>
                      </a:lnTo>
                      <a:lnTo>
                        <a:pt x="87" y="237"/>
                      </a:lnTo>
                      <a:lnTo>
                        <a:pt x="89" y="238"/>
                      </a:lnTo>
                      <a:lnTo>
                        <a:pt x="91" y="239"/>
                      </a:lnTo>
                      <a:lnTo>
                        <a:pt x="92" y="241"/>
                      </a:lnTo>
                      <a:lnTo>
                        <a:pt x="93" y="241"/>
                      </a:lnTo>
                      <a:lnTo>
                        <a:pt x="95" y="243"/>
                      </a:lnTo>
                      <a:lnTo>
                        <a:pt x="96" y="243"/>
                      </a:lnTo>
                      <a:lnTo>
                        <a:pt x="97" y="244"/>
                      </a:lnTo>
                      <a:lnTo>
                        <a:pt x="97" y="245"/>
                      </a:lnTo>
                      <a:lnTo>
                        <a:pt x="99" y="244"/>
                      </a:lnTo>
                      <a:lnTo>
                        <a:pt x="99" y="243"/>
                      </a:lnTo>
                      <a:lnTo>
                        <a:pt x="99" y="241"/>
                      </a:lnTo>
                      <a:lnTo>
                        <a:pt x="99" y="239"/>
                      </a:lnTo>
                      <a:lnTo>
                        <a:pt x="98" y="234"/>
                      </a:lnTo>
                      <a:lnTo>
                        <a:pt x="97" y="233"/>
                      </a:lnTo>
                      <a:lnTo>
                        <a:pt x="97" y="232"/>
                      </a:lnTo>
                      <a:lnTo>
                        <a:pt x="98" y="232"/>
                      </a:lnTo>
                      <a:lnTo>
                        <a:pt x="99" y="232"/>
                      </a:lnTo>
                      <a:lnTo>
                        <a:pt x="99" y="231"/>
                      </a:lnTo>
                      <a:lnTo>
                        <a:pt x="101" y="232"/>
                      </a:lnTo>
                      <a:lnTo>
                        <a:pt x="104" y="232"/>
                      </a:lnTo>
                      <a:lnTo>
                        <a:pt x="107" y="232"/>
                      </a:lnTo>
                      <a:lnTo>
                        <a:pt x="110" y="232"/>
                      </a:lnTo>
                      <a:lnTo>
                        <a:pt x="112" y="232"/>
                      </a:lnTo>
                      <a:lnTo>
                        <a:pt x="114" y="231"/>
                      </a:lnTo>
                      <a:lnTo>
                        <a:pt x="117" y="230"/>
                      </a:lnTo>
                      <a:lnTo>
                        <a:pt x="118" y="229"/>
                      </a:lnTo>
                      <a:lnTo>
                        <a:pt x="120" y="228"/>
                      </a:lnTo>
                      <a:lnTo>
                        <a:pt x="122" y="228"/>
                      </a:lnTo>
                      <a:lnTo>
                        <a:pt x="123" y="229"/>
                      </a:lnTo>
                      <a:lnTo>
                        <a:pt x="125" y="230"/>
                      </a:lnTo>
                      <a:lnTo>
                        <a:pt x="127" y="230"/>
                      </a:lnTo>
                      <a:lnTo>
                        <a:pt x="128" y="230"/>
                      </a:lnTo>
                      <a:lnTo>
                        <a:pt x="129" y="230"/>
                      </a:lnTo>
                      <a:lnTo>
                        <a:pt x="130" y="230"/>
                      </a:lnTo>
                      <a:lnTo>
                        <a:pt x="131" y="231"/>
                      </a:lnTo>
                      <a:lnTo>
                        <a:pt x="131" y="232"/>
                      </a:lnTo>
                      <a:lnTo>
                        <a:pt x="131" y="234"/>
                      </a:lnTo>
                      <a:lnTo>
                        <a:pt x="131" y="234"/>
                      </a:lnTo>
                      <a:lnTo>
                        <a:pt x="131" y="235"/>
                      </a:lnTo>
                      <a:lnTo>
                        <a:pt x="132" y="236"/>
                      </a:lnTo>
                      <a:lnTo>
                        <a:pt x="133" y="236"/>
                      </a:lnTo>
                      <a:lnTo>
                        <a:pt x="133" y="236"/>
                      </a:lnTo>
                      <a:lnTo>
                        <a:pt x="135" y="236"/>
                      </a:lnTo>
                      <a:lnTo>
                        <a:pt x="135" y="235"/>
                      </a:lnTo>
                      <a:lnTo>
                        <a:pt x="137" y="234"/>
                      </a:lnTo>
                      <a:lnTo>
                        <a:pt x="137" y="233"/>
                      </a:lnTo>
                      <a:lnTo>
                        <a:pt x="139" y="232"/>
                      </a:lnTo>
                      <a:lnTo>
                        <a:pt x="139" y="232"/>
                      </a:lnTo>
                      <a:lnTo>
                        <a:pt x="141" y="232"/>
                      </a:lnTo>
                      <a:lnTo>
                        <a:pt x="141" y="232"/>
                      </a:lnTo>
                      <a:lnTo>
                        <a:pt x="143" y="231"/>
                      </a:lnTo>
                      <a:lnTo>
                        <a:pt x="144" y="230"/>
                      </a:lnTo>
                      <a:lnTo>
                        <a:pt x="144" y="230"/>
                      </a:lnTo>
                      <a:lnTo>
                        <a:pt x="144" y="229"/>
                      </a:lnTo>
                      <a:lnTo>
                        <a:pt x="144" y="228"/>
                      </a:lnTo>
                      <a:lnTo>
                        <a:pt x="143" y="227"/>
                      </a:lnTo>
                      <a:lnTo>
                        <a:pt x="143" y="226"/>
                      </a:lnTo>
                      <a:lnTo>
                        <a:pt x="143" y="225"/>
                      </a:lnTo>
                      <a:lnTo>
                        <a:pt x="143" y="224"/>
                      </a:lnTo>
                      <a:lnTo>
                        <a:pt x="144" y="222"/>
                      </a:lnTo>
                      <a:lnTo>
                        <a:pt x="146" y="222"/>
                      </a:lnTo>
                      <a:lnTo>
                        <a:pt x="146" y="221"/>
                      </a:lnTo>
                      <a:lnTo>
                        <a:pt x="147" y="220"/>
                      </a:lnTo>
                      <a:lnTo>
                        <a:pt x="148" y="219"/>
                      </a:lnTo>
                      <a:lnTo>
                        <a:pt x="150" y="218"/>
                      </a:lnTo>
                      <a:lnTo>
                        <a:pt x="150" y="218"/>
                      </a:lnTo>
                      <a:lnTo>
                        <a:pt x="152" y="218"/>
                      </a:lnTo>
                      <a:lnTo>
                        <a:pt x="154" y="218"/>
                      </a:lnTo>
                      <a:lnTo>
                        <a:pt x="156" y="218"/>
                      </a:lnTo>
                      <a:lnTo>
                        <a:pt x="158" y="218"/>
                      </a:lnTo>
                      <a:lnTo>
                        <a:pt x="160" y="218"/>
                      </a:lnTo>
                      <a:lnTo>
                        <a:pt x="163" y="218"/>
                      </a:lnTo>
                      <a:lnTo>
                        <a:pt x="165" y="218"/>
                      </a:lnTo>
                      <a:lnTo>
                        <a:pt x="167" y="218"/>
                      </a:lnTo>
                      <a:lnTo>
                        <a:pt x="169" y="216"/>
                      </a:lnTo>
                      <a:lnTo>
                        <a:pt x="171" y="215"/>
                      </a:lnTo>
                      <a:lnTo>
                        <a:pt x="172" y="215"/>
                      </a:lnTo>
                      <a:lnTo>
                        <a:pt x="175" y="215"/>
                      </a:lnTo>
                      <a:lnTo>
                        <a:pt x="177" y="214"/>
                      </a:lnTo>
                      <a:lnTo>
                        <a:pt x="179" y="214"/>
                      </a:lnTo>
                      <a:lnTo>
                        <a:pt x="181" y="213"/>
                      </a:lnTo>
                      <a:lnTo>
                        <a:pt x="182" y="213"/>
                      </a:lnTo>
                      <a:lnTo>
                        <a:pt x="182" y="212"/>
                      </a:lnTo>
                      <a:lnTo>
                        <a:pt x="182" y="211"/>
                      </a:lnTo>
                      <a:lnTo>
                        <a:pt x="181" y="211"/>
                      </a:lnTo>
                      <a:lnTo>
                        <a:pt x="180" y="211"/>
                      </a:lnTo>
                      <a:lnTo>
                        <a:pt x="179" y="211"/>
                      </a:lnTo>
                      <a:lnTo>
                        <a:pt x="178" y="211"/>
                      </a:lnTo>
                      <a:lnTo>
                        <a:pt x="177" y="210"/>
                      </a:lnTo>
                      <a:lnTo>
                        <a:pt x="177" y="209"/>
                      </a:lnTo>
                      <a:lnTo>
                        <a:pt x="176" y="209"/>
                      </a:lnTo>
                      <a:lnTo>
                        <a:pt x="176" y="208"/>
                      </a:lnTo>
                      <a:lnTo>
                        <a:pt x="176" y="207"/>
                      </a:lnTo>
                      <a:lnTo>
                        <a:pt x="176" y="206"/>
                      </a:lnTo>
                      <a:lnTo>
                        <a:pt x="177" y="205"/>
                      </a:lnTo>
                      <a:lnTo>
                        <a:pt x="177" y="204"/>
                      </a:lnTo>
                      <a:lnTo>
                        <a:pt x="179" y="203"/>
                      </a:lnTo>
                      <a:lnTo>
                        <a:pt x="182" y="202"/>
                      </a:lnTo>
                      <a:lnTo>
                        <a:pt x="183" y="202"/>
                      </a:lnTo>
                      <a:lnTo>
                        <a:pt x="185" y="201"/>
                      </a:lnTo>
                      <a:lnTo>
                        <a:pt x="187" y="201"/>
                      </a:lnTo>
                      <a:lnTo>
                        <a:pt x="188" y="201"/>
                      </a:lnTo>
                      <a:lnTo>
                        <a:pt x="190" y="203"/>
                      </a:lnTo>
                      <a:lnTo>
                        <a:pt x="193" y="203"/>
                      </a:lnTo>
                      <a:lnTo>
                        <a:pt x="196" y="205"/>
                      </a:lnTo>
                      <a:lnTo>
                        <a:pt x="198" y="206"/>
                      </a:lnTo>
                      <a:lnTo>
                        <a:pt x="199" y="207"/>
                      </a:lnTo>
                      <a:lnTo>
                        <a:pt x="201" y="208"/>
                      </a:lnTo>
                      <a:lnTo>
                        <a:pt x="202" y="209"/>
                      </a:lnTo>
                      <a:lnTo>
                        <a:pt x="203" y="209"/>
                      </a:lnTo>
                      <a:lnTo>
                        <a:pt x="205" y="208"/>
                      </a:lnTo>
                      <a:lnTo>
                        <a:pt x="205" y="207"/>
                      </a:lnTo>
                      <a:lnTo>
                        <a:pt x="205" y="206"/>
                      </a:lnTo>
                      <a:lnTo>
                        <a:pt x="205" y="205"/>
                      </a:lnTo>
                      <a:lnTo>
                        <a:pt x="205" y="204"/>
                      </a:lnTo>
                      <a:lnTo>
                        <a:pt x="204" y="203"/>
                      </a:lnTo>
                      <a:lnTo>
                        <a:pt x="203" y="201"/>
                      </a:lnTo>
                      <a:lnTo>
                        <a:pt x="202" y="199"/>
                      </a:lnTo>
                      <a:lnTo>
                        <a:pt x="201" y="198"/>
                      </a:lnTo>
                      <a:lnTo>
                        <a:pt x="199" y="197"/>
                      </a:lnTo>
                      <a:lnTo>
                        <a:pt x="197" y="196"/>
                      </a:lnTo>
                      <a:lnTo>
                        <a:pt x="195" y="196"/>
                      </a:lnTo>
                      <a:lnTo>
                        <a:pt x="194" y="194"/>
                      </a:lnTo>
                      <a:lnTo>
                        <a:pt x="193" y="193"/>
                      </a:lnTo>
                      <a:lnTo>
                        <a:pt x="192" y="192"/>
                      </a:lnTo>
                      <a:lnTo>
                        <a:pt x="192" y="190"/>
                      </a:lnTo>
                      <a:lnTo>
                        <a:pt x="192" y="190"/>
                      </a:lnTo>
                      <a:lnTo>
                        <a:pt x="193" y="190"/>
                      </a:lnTo>
                      <a:lnTo>
                        <a:pt x="194" y="190"/>
                      </a:lnTo>
                      <a:lnTo>
                        <a:pt x="196" y="190"/>
                      </a:lnTo>
                      <a:lnTo>
                        <a:pt x="197" y="190"/>
                      </a:lnTo>
                      <a:lnTo>
                        <a:pt x="198" y="189"/>
                      </a:lnTo>
                      <a:lnTo>
                        <a:pt x="198" y="188"/>
                      </a:lnTo>
                      <a:lnTo>
                        <a:pt x="198" y="187"/>
                      </a:lnTo>
                      <a:lnTo>
                        <a:pt x="198" y="186"/>
                      </a:lnTo>
                      <a:lnTo>
                        <a:pt x="196" y="185"/>
                      </a:lnTo>
                      <a:lnTo>
                        <a:pt x="195" y="184"/>
                      </a:lnTo>
                      <a:lnTo>
                        <a:pt x="194" y="183"/>
                      </a:lnTo>
                      <a:lnTo>
                        <a:pt x="194" y="182"/>
                      </a:lnTo>
                      <a:lnTo>
                        <a:pt x="194" y="180"/>
                      </a:lnTo>
                      <a:lnTo>
                        <a:pt x="194" y="178"/>
                      </a:lnTo>
                      <a:lnTo>
                        <a:pt x="194" y="175"/>
                      </a:lnTo>
                      <a:lnTo>
                        <a:pt x="195" y="174"/>
                      </a:lnTo>
                      <a:lnTo>
                        <a:pt x="196" y="173"/>
                      </a:lnTo>
                      <a:lnTo>
                        <a:pt x="196" y="173"/>
                      </a:lnTo>
                      <a:lnTo>
                        <a:pt x="198" y="173"/>
                      </a:lnTo>
                      <a:lnTo>
                        <a:pt x="198" y="173"/>
                      </a:lnTo>
                      <a:lnTo>
                        <a:pt x="199" y="174"/>
                      </a:lnTo>
                      <a:lnTo>
                        <a:pt x="199" y="175"/>
                      </a:lnTo>
                      <a:lnTo>
                        <a:pt x="201" y="176"/>
                      </a:lnTo>
                      <a:lnTo>
                        <a:pt x="201" y="176"/>
                      </a:lnTo>
                      <a:lnTo>
                        <a:pt x="202" y="176"/>
                      </a:lnTo>
                      <a:lnTo>
                        <a:pt x="205" y="175"/>
                      </a:lnTo>
                      <a:lnTo>
                        <a:pt x="207" y="173"/>
                      </a:lnTo>
                      <a:lnTo>
                        <a:pt x="209" y="173"/>
                      </a:lnTo>
                      <a:lnTo>
                        <a:pt x="211" y="171"/>
                      </a:lnTo>
                      <a:lnTo>
                        <a:pt x="213" y="169"/>
                      </a:lnTo>
                      <a:lnTo>
                        <a:pt x="215" y="167"/>
                      </a:lnTo>
                      <a:lnTo>
                        <a:pt x="215" y="166"/>
                      </a:lnTo>
                      <a:lnTo>
                        <a:pt x="215" y="165"/>
                      </a:lnTo>
                      <a:lnTo>
                        <a:pt x="215" y="163"/>
                      </a:lnTo>
                      <a:lnTo>
                        <a:pt x="215" y="159"/>
                      </a:lnTo>
                      <a:lnTo>
                        <a:pt x="214" y="156"/>
                      </a:lnTo>
                      <a:lnTo>
                        <a:pt x="213" y="154"/>
                      </a:lnTo>
                      <a:lnTo>
                        <a:pt x="213" y="152"/>
                      </a:lnTo>
                      <a:lnTo>
                        <a:pt x="211" y="152"/>
                      </a:lnTo>
                      <a:lnTo>
                        <a:pt x="210" y="151"/>
                      </a:lnTo>
                      <a:lnTo>
                        <a:pt x="209" y="150"/>
                      </a:lnTo>
                      <a:lnTo>
                        <a:pt x="208" y="150"/>
                      </a:lnTo>
                      <a:lnTo>
                        <a:pt x="208" y="149"/>
                      </a:lnTo>
                      <a:lnTo>
                        <a:pt x="208" y="148"/>
                      </a:lnTo>
                      <a:lnTo>
                        <a:pt x="210" y="144"/>
                      </a:lnTo>
                      <a:lnTo>
                        <a:pt x="211" y="141"/>
                      </a:lnTo>
                      <a:lnTo>
                        <a:pt x="212" y="140"/>
                      </a:lnTo>
                      <a:lnTo>
                        <a:pt x="213" y="138"/>
                      </a:lnTo>
                      <a:lnTo>
                        <a:pt x="213" y="138"/>
                      </a:lnTo>
                      <a:lnTo>
                        <a:pt x="213" y="138"/>
                      </a:lnTo>
                      <a:lnTo>
                        <a:pt x="215" y="138"/>
                      </a:lnTo>
                      <a:lnTo>
                        <a:pt x="215" y="138"/>
                      </a:lnTo>
                      <a:lnTo>
                        <a:pt x="217" y="140"/>
                      </a:lnTo>
                      <a:lnTo>
                        <a:pt x="220" y="144"/>
                      </a:lnTo>
                      <a:lnTo>
                        <a:pt x="221" y="147"/>
                      </a:lnTo>
                      <a:lnTo>
                        <a:pt x="222" y="150"/>
                      </a:lnTo>
                      <a:lnTo>
                        <a:pt x="222" y="151"/>
                      </a:lnTo>
                      <a:lnTo>
                        <a:pt x="222" y="152"/>
                      </a:lnTo>
                      <a:lnTo>
                        <a:pt x="223" y="153"/>
                      </a:lnTo>
                      <a:lnTo>
                        <a:pt x="224" y="154"/>
                      </a:lnTo>
                      <a:lnTo>
                        <a:pt x="226" y="153"/>
                      </a:lnTo>
                      <a:lnTo>
                        <a:pt x="228" y="152"/>
                      </a:lnTo>
                      <a:lnTo>
                        <a:pt x="230" y="150"/>
                      </a:lnTo>
                      <a:lnTo>
                        <a:pt x="231" y="149"/>
                      </a:lnTo>
                      <a:lnTo>
                        <a:pt x="232" y="146"/>
                      </a:lnTo>
                      <a:lnTo>
                        <a:pt x="232" y="144"/>
                      </a:lnTo>
                      <a:lnTo>
                        <a:pt x="232" y="142"/>
                      </a:lnTo>
                      <a:lnTo>
                        <a:pt x="232" y="140"/>
                      </a:lnTo>
                      <a:lnTo>
                        <a:pt x="230" y="138"/>
                      </a:lnTo>
                      <a:lnTo>
                        <a:pt x="230" y="136"/>
                      </a:lnTo>
                      <a:lnTo>
                        <a:pt x="228" y="134"/>
                      </a:lnTo>
                      <a:lnTo>
                        <a:pt x="227" y="132"/>
                      </a:lnTo>
                      <a:lnTo>
                        <a:pt x="226" y="131"/>
                      </a:lnTo>
                      <a:lnTo>
                        <a:pt x="226" y="130"/>
                      </a:lnTo>
                      <a:lnTo>
                        <a:pt x="226" y="129"/>
                      </a:lnTo>
                      <a:lnTo>
                        <a:pt x="228" y="129"/>
                      </a:lnTo>
                      <a:lnTo>
                        <a:pt x="229" y="129"/>
                      </a:lnTo>
                      <a:lnTo>
                        <a:pt x="232" y="130"/>
                      </a:lnTo>
                      <a:lnTo>
                        <a:pt x="234" y="130"/>
                      </a:lnTo>
                      <a:lnTo>
                        <a:pt x="235" y="131"/>
                      </a:lnTo>
                      <a:lnTo>
                        <a:pt x="236" y="131"/>
                      </a:lnTo>
                      <a:lnTo>
                        <a:pt x="238" y="131"/>
                      </a:lnTo>
                      <a:lnTo>
                        <a:pt x="239" y="131"/>
                      </a:lnTo>
                      <a:lnTo>
                        <a:pt x="240" y="130"/>
                      </a:lnTo>
                      <a:lnTo>
                        <a:pt x="239" y="129"/>
                      </a:lnTo>
                      <a:lnTo>
                        <a:pt x="238" y="129"/>
                      </a:lnTo>
                      <a:lnTo>
                        <a:pt x="236" y="129"/>
                      </a:lnTo>
                      <a:lnTo>
                        <a:pt x="236" y="128"/>
                      </a:lnTo>
                      <a:lnTo>
                        <a:pt x="235" y="126"/>
                      </a:lnTo>
                      <a:lnTo>
                        <a:pt x="236" y="123"/>
                      </a:lnTo>
                      <a:lnTo>
                        <a:pt x="237" y="121"/>
                      </a:lnTo>
                      <a:lnTo>
                        <a:pt x="238" y="119"/>
                      </a:lnTo>
                      <a:lnTo>
                        <a:pt x="239" y="115"/>
                      </a:lnTo>
                      <a:lnTo>
                        <a:pt x="241" y="115"/>
                      </a:lnTo>
                      <a:lnTo>
                        <a:pt x="242" y="115"/>
                      </a:lnTo>
                      <a:lnTo>
                        <a:pt x="243" y="115"/>
                      </a:lnTo>
                      <a:lnTo>
                        <a:pt x="245" y="115"/>
                      </a:lnTo>
                      <a:lnTo>
                        <a:pt x="246" y="115"/>
                      </a:lnTo>
                      <a:lnTo>
                        <a:pt x="247" y="114"/>
                      </a:lnTo>
                      <a:lnTo>
                        <a:pt x="248" y="114"/>
                      </a:lnTo>
                      <a:lnTo>
                        <a:pt x="249" y="112"/>
                      </a:lnTo>
                      <a:lnTo>
                        <a:pt x="249" y="111"/>
                      </a:lnTo>
                      <a:lnTo>
                        <a:pt x="250" y="106"/>
                      </a:lnTo>
                      <a:lnTo>
                        <a:pt x="251" y="102"/>
                      </a:lnTo>
                      <a:lnTo>
                        <a:pt x="251" y="98"/>
                      </a:lnTo>
                      <a:lnTo>
                        <a:pt x="251" y="95"/>
                      </a:lnTo>
                      <a:lnTo>
                        <a:pt x="251" y="91"/>
                      </a:lnTo>
                      <a:lnTo>
                        <a:pt x="252" y="89"/>
                      </a:lnTo>
                      <a:lnTo>
                        <a:pt x="253" y="88"/>
                      </a:lnTo>
                      <a:lnTo>
                        <a:pt x="255" y="87"/>
                      </a:lnTo>
                      <a:lnTo>
                        <a:pt x="258" y="85"/>
                      </a:lnTo>
                      <a:lnTo>
                        <a:pt x="259" y="83"/>
                      </a:lnTo>
                      <a:lnTo>
                        <a:pt x="260" y="81"/>
                      </a:lnTo>
                      <a:lnTo>
                        <a:pt x="259" y="80"/>
                      </a:lnTo>
                      <a:lnTo>
                        <a:pt x="258" y="79"/>
                      </a:lnTo>
                      <a:lnTo>
                        <a:pt x="255" y="79"/>
                      </a:lnTo>
                      <a:lnTo>
                        <a:pt x="254" y="80"/>
                      </a:lnTo>
                      <a:lnTo>
                        <a:pt x="252" y="81"/>
                      </a:lnTo>
                      <a:lnTo>
                        <a:pt x="251" y="82"/>
                      </a:lnTo>
                      <a:lnTo>
                        <a:pt x="249" y="82"/>
                      </a:lnTo>
                      <a:lnTo>
                        <a:pt x="247" y="82"/>
                      </a:lnTo>
                      <a:lnTo>
                        <a:pt x="245" y="81"/>
                      </a:lnTo>
                      <a:lnTo>
                        <a:pt x="243" y="79"/>
                      </a:lnTo>
                      <a:lnTo>
                        <a:pt x="243" y="78"/>
                      </a:lnTo>
                      <a:lnTo>
                        <a:pt x="245" y="77"/>
                      </a:lnTo>
                      <a:lnTo>
                        <a:pt x="246" y="76"/>
                      </a:lnTo>
                      <a:lnTo>
                        <a:pt x="249" y="74"/>
                      </a:lnTo>
                      <a:lnTo>
                        <a:pt x="251" y="72"/>
                      </a:lnTo>
                      <a:lnTo>
                        <a:pt x="255" y="71"/>
                      </a:lnTo>
                      <a:lnTo>
                        <a:pt x="260" y="68"/>
                      </a:lnTo>
                      <a:lnTo>
                        <a:pt x="263" y="67"/>
                      </a:lnTo>
                      <a:lnTo>
                        <a:pt x="266" y="65"/>
                      </a:lnTo>
                      <a:lnTo>
                        <a:pt x="268" y="64"/>
                      </a:lnTo>
                      <a:lnTo>
                        <a:pt x="269" y="64"/>
                      </a:lnTo>
                      <a:lnTo>
                        <a:pt x="271" y="64"/>
                      </a:lnTo>
                      <a:lnTo>
                        <a:pt x="273" y="64"/>
                      </a:lnTo>
                      <a:lnTo>
                        <a:pt x="277" y="66"/>
                      </a:lnTo>
                      <a:lnTo>
                        <a:pt x="280" y="68"/>
                      </a:lnTo>
                      <a:lnTo>
                        <a:pt x="283" y="70"/>
                      </a:lnTo>
                      <a:lnTo>
                        <a:pt x="285" y="71"/>
                      </a:lnTo>
                      <a:lnTo>
                        <a:pt x="288" y="72"/>
                      </a:lnTo>
                      <a:lnTo>
                        <a:pt x="291" y="72"/>
                      </a:lnTo>
                      <a:lnTo>
                        <a:pt x="294" y="72"/>
                      </a:lnTo>
                      <a:lnTo>
                        <a:pt x="298" y="73"/>
                      </a:lnTo>
                      <a:lnTo>
                        <a:pt x="300" y="73"/>
                      </a:lnTo>
                      <a:lnTo>
                        <a:pt x="302" y="73"/>
                      </a:lnTo>
                      <a:lnTo>
                        <a:pt x="302" y="72"/>
                      </a:lnTo>
                      <a:lnTo>
                        <a:pt x="302" y="70"/>
                      </a:lnTo>
                      <a:lnTo>
                        <a:pt x="302" y="65"/>
                      </a:lnTo>
                      <a:lnTo>
                        <a:pt x="302" y="62"/>
                      </a:lnTo>
                      <a:lnTo>
                        <a:pt x="302" y="60"/>
                      </a:lnTo>
                      <a:lnTo>
                        <a:pt x="298" y="55"/>
                      </a:lnTo>
                      <a:lnTo>
                        <a:pt x="294" y="53"/>
                      </a:lnTo>
                      <a:lnTo>
                        <a:pt x="291" y="51"/>
                      </a:lnTo>
                      <a:lnTo>
                        <a:pt x="288" y="49"/>
                      </a:lnTo>
                      <a:lnTo>
                        <a:pt x="287" y="49"/>
                      </a:lnTo>
                      <a:lnTo>
                        <a:pt x="287" y="47"/>
                      </a:lnTo>
                      <a:lnTo>
                        <a:pt x="288" y="45"/>
                      </a:lnTo>
                      <a:lnTo>
                        <a:pt x="290" y="41"/>
                      </a:lnTo>
                      <a:lnTo>
                        <a:pt x="292" y="38"/>
                      </a:lnTo>
                      <a:lnTo>
                        <a:pt x="294" y="36"/>
                      </a:lnTo>
                      <a:lnTo>
                        <a:pt x="296" y="35"/>
                      </a:lnTo>
                      <a:lnTo>
                        <a:pt x="297" y="34"/>
                      </a:lnTo>
                      <a:lnTo>
                        <a:pt x="298" y="34"/>
                      </a:lnTo>
                      <a:lnTo>
                        <a:pt x="300" y="36"/>
                      </a:lnTo>
                      <a:lnTo>
                        <a:pt x="301" y="37"/>
                      </a:lnTo>
                      <a:lnTo>
                        <a:pt x="303" y="39"/>
                      </a:lnTo>
                      <a:lnTo>
                        <a:pt x="304" y="42"/>
                      </a:lnTo>
                      <a:lnTo>
                        <a:pt x="306" y="45"/>
                      </a:lnTo>
                      <a:lnTo>
                        <a:pt x="307" y="47"/>
                      </a:lnTo>
                      <a:lnTo>
                        <a:pt x="308" y="49"/>
                      </a:lnTo>
                      <a:lnTo>
                        <a:pt x="310" y="49"/>
                      </a:lnTo>
                      <a:lnTo>
                        <a:pt x="312" y="49"/>
                      </a:lnTo>
                      <a:lnTo>
                        <a:pt x="315" y="47"/>
                      </a:lnTo>
                      <a:lnTo>
                        <a:pt x="319" y="45"/>
                      </a:lnTo>
                      <a:lnTo>
                        <a:pt x="323" y="43"/>
                      </a:lnTo>
                      <a:lnTo>
                        <a:pt x="327" y="42"/>
                      </a:lnTo>
                      <a:lnTo>
                        <a:pt x="333" y="39"/>
                      </a:lnTo>
                      <a:lnTo>
                        <a:pt x="336" y="36"/>
                      </a:lnTo>
                      <a:lnTo>
                        <a:pt x="338" y="32"/>
                      </a:lnTo>
                      <a:lnTo>
                        <a:pt x="341" y="24"/>
                      </a:lnTo>
                      <a:lnTo>
                        <a:pt x="340" y="22"/>
                      </a:lnTo>
                      <a:lnTo>
                        <a:pt x="339" y="20"/>
                      </a:lnTo>
                      <a:lnTo>
                        <a:pt x="338" y="18"/>
                      </a:lnTo>
                      <a:lnTo>
                        <a:pt x="335" y="14"/>
                      </a:lnTo>
                      <a:lnTo>
                        <a:pt x="332" y="9"/>
                      </a:lnTo>
                      <a:lnTo>
                        <a:pt x="332" y="9"/>
                      </a:lnTo>
                      <a:lnTo>
                        <a:pt x="332" y="7"/>
                      </a:lnTo>
                      <a:lnTo>
                        <a:pt x="332" y="6"/>
                      </a:lnTo>
                      <a:lnTo>
                        <a:pt x="332" y="5"/>
                      </a:lnTo>
                      <a:lnTo>
                        <a:pt x="332" y="5"/>
                      </a:lnTo>
                      <a:lnTo>
                        <a:pt x="333" y="3"/>
                      </a:lnTo>
                      <a:lnTo>
                        <a:pt x="334" y="2"/>
                      </a:lnTo>
                      <a:lnTo>
                        <a:pt x="335" y="1"/>
                      </a:lnTo>
                      <a:lnTo>
                        <a:pt x="336" y="1"/>
                      </a:lnTo>
                      <a:lnTo>
                        <a:pt x="338" y="1"/>
                      </a:lnTo>
                      <a:lnTo>
                        <a:pt x="344" y="1"/>
                      </a:lnTo>
                      <a:lnTo>
                        <a:pt x="345" y="1"/>
                      </a:lnTo>
                      <a:lnTo>
                        <a:pt x="349" y="1"/>
                      </a:lnTo>
                      <a:lnTo>
                        <a:pt x="355" y="1"/>
                      </a:lnTo>
                      <a:lnTo>
                        <a:pt x="359" y="1"/>
                      </a:lnTo>
                      <a:lnTo>
                        <a:pt x="359" y="1"/>
                      </a:lnTo>
                      <a:lnTo>
                        <a:pt x="36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0" name="Freeform 11">
                  <a:extLst>
                    <a:ext uri="{FF2B5EF4-FFF2-40B4-BE49-F238E27FC236}">
                      <a16:creationId xmlns:a16="http://schemas.microsoft.com/office/drawing/2014/main" xmlns="" id="{E636ADC1-39DD-F5C2-5E14-6174F2F4493E}"/>
                    </a:ext>
                  </a:extLst>
                </p:cNvPr>
                <p:cNvSpPr>
                  <a:spLocks/>
                </p:cNvSpPr>
                <p:nvPr/>
              </p:nvSpPr>
              <p:spPr bwMode="auto">
                <a:xfrm>
                  <a:off x="2978" y="911"/>
                  <a:ext cx="65" cy="48"/>
                </a:xfrm>
                <a:custGeom>
                  <a:avLst/>
                  <a:gdLst>
                    <a:gd name="T0" fmla="*/ 1 w 65"/>
                    <a:gd name="T1" fmla="*/ 48 h 48"/>
                    <a:gd name="T2" fmla="*/ 1 w 65"/>
                    <a:gd name="T3" fmla="*/ 46 h 48"/>
                    <a:gd name="T4" fmla="*/ 1 w 65"/>
                    <a:gd name="T5" fmla="*/ 44 h 48"/>
                    <a:gd name="T6" fmla="*/ 2 w 65"/>
                    <a:gd name="T7" fmla="*/ 43 h 48"/>
                    <a:gd name="T8" fmla="*/ 3 w 65"/>
                    <a:gd name="T9" fmla="*/ 42 h 48"/>
                    <a:gd name="T10" fmla="*/ 9 w 65"/>
                    <a:gd name="T11" fmla="*/ 42 h 48"/>
                    <a:gd name="T12" fmla="*/ 11 w 65"/>
                    <a:gd name="T13" fmla="*/ 41 h 48"/>
                    <a:gd name="T14" fmla="*/ 12 w 65"/>
                    <a:gd name="T15" fmla="*/ 40 h 48"/>
                    <a:gd name="T16" fmla="*/ 14 w 65"/>
                    <a:gd name="T17" fmla="*/ 37 h 48"/>
                    <a:gd name="T18" fmla="*/ 15 w 65"/>
                    <a:gd name="T19" fmla="*/ 36 h 48"/>
                    <a:gd name="T20" fmla="*/ 19 w 65"/>
                    <a:gd name="T21" fmla="*/ 34 h 48"/>
                    <a:gd name="T22" fmla="*/ 21 w 65"/>
                    <a:gd name="T23" fmla="*/ 33 h 48"/>
                    <a:gd name="T24" fmla="*/ 23 w 65"/>
                    <a:gd name="T25" fmla="*/ 33 h 48"/>
                    <a:gd name="T26" fmla="*/ 24 w 65"/>
                    <a:gd name="T27" fmla="*/ 32 h 48"/>
                    <a:gd name="T28" fmla="*/ 28 w 65"/>
                    <a:gd name="T29" fmla="*/ 32 h 48"/>
                    <a:gd name="T30" fmla="*/ 33 w 65"/>
                    <a:gd name="T31" fmla="*/ 30 h 48"/>
                    <a:gd name="T32" fmla="*/ 35 w 65"/>
                    <a:gd name="T33" fmla="*/ 26 h 48"/>
                    <a:gd name="T34" fmla="*/ 37 w 65"/>
                    <a:gd name="T35" fmla="*/ 21 h 48"/>
                    <a:gd name="T36" fmla="*/ 37 w 65"/>
                    <a:gd name="T37" fmla="*/ 16 h 48"/>
                    <a:gd name="T38" fmla="*/ 38 w 65"/>
                    <a:gd name="T39" fmla="*/ 15 h 48"/>
                    <a:gd name="T40" fmla="*/ 41 w 65"/>
                    <a:gd name="T41" fmla="*/ 13 h 48"/>
                    <a:gd name="T42" fmla="*/ 43 w 65"/>
                    <a:gd name="T43" fmla="*/ 11 h 48"/>
                    <a:gd name="T44" fmla="*/ 47 w 65"/>
                    <a:gd name="T45" fmla="*/ 9 h 48"/>
                    <a:gd name="T46" fmla="*/ 50 w 65"/>
                    <a:gd name="T47" fmla="*/ 9 h 48"/>
                    <a:gd name="T48" fmla="*/ 52 w 65"/>
                    <a:gd name="T49" fmla="*/ 9 h 48"/>
                    <a:gd name="T50" fmla="*/ 54 w 65"/>
                    <a:gd name="T51" fmla="*/ 9 h 48"/>
                    <a:gd name="T52" fmla="*/ 57 w 65"/>
                    <a:gd name="T53" fmla="*/ 9 h 48"/>
                    <a:gd name="T54" fmla="*/ 59 w 65"/>
                    <a:gd name="T55" fmla="*/ 7 h 48"/>
                    <a:gd name="T56" fmla="*/ 60 w 65"/>
                    <a:gd name="T57" fmla="*/ 5 h 48"/>
                    <a:gd name="T58" fmla="*/ 60 w 65"/>
                    <a:gd name="T59" fmla="*/ 4 h 48"/>
                    <a:gd name="T60" fmla="*/ 60 w 65"/>
                    <a:gd name="T61" fmla="*/ 2 h 48"/>
                    <a:gd name="T62" fmla="*/ 61 w 65"/>
                    <a:gd name="T63" fmla="*/ 0 h 48"/>
                    <a:gd name="T64" fmla="*/ 63 w 65"/>
                    <a:gd name="T65" fmla="*/ 2 h 48"/>
                    <a:gd name="T66" fmla="*/ 64 w 65"/>
                    <a:gd name="T67" fmla="*/ 6 h 48"/>
                    <a:gd name="T68" fmla="*/ 65 w 65"/>
                    <a:gd name="T69"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48">
                      <a:moveTo>
                        <a:pt x="0" y="48"/>
                      </a:moveTo>
                      <a:lnTo>
                        <a:pt x="1" y="48"/>
                      </a:lnTo>
                      <a:lnTo>
                        <a:pt x="1" y="47"/>
                      </a:lnTo>
                      <a:lnTo>
                        <a:pt x="1" y="46"/>
                      </a:lnTo>
                      <a:lnTo>
                        <a:pt x="1" y="44"/>
                      </a:lnTo>
                      <a:lnTo>
                        <a:pt x="1" y="44"/>
                      </a:lnTo>
                      <a:lnTo>
                        <a:pt x="1" y="44"/>
                      </a:lnTo>
                      <a:lnTo>
                        <a:pt x="2" y="43"/>
                      </a:lnTo>
                      <a:lnTo>
                        <a:pt x="3" y="42"/>
                      </a:lnTo>
                      <a:lnTo>
                        <a:pt x="3" y="42"/>
                      </a:lnTo>
                      <a:lnTo>
                        <a:pt x="7" y="42"/>
                      </a:lnTo>
                      <a:lnTo>
                        <a:pt x="9" y="42"/>
                      </a:lnTo>
                      <a:lnTo>
                        <a:pt x="10" y="42"/>
                      </a:lnTo>
                      <a:lnTo>
                        <a:pt x="11" y="41"/>
                      </a:lnTo>
                      <a:lnTo>
                        <a:pt x="12" y="41"/>
                      </a:lnTo>
                      <a:lnTo>
                        <a:pt x="12" y="40"/>
                      </a:lnTo>
                      <a:lnTo>
                        <a:pt x="14" y="38"/>
                      </a:lnTo>
                      <a:lnTo>
                        <a:pt x="14" y="37"/>
                      </a:lnTo>
                      <a:lnTo>
                        <a:pt x="14" y="37"/>
                      </a:lnTo>
                      <a:lnTo>
                        <a:pt x="15" y="36"/>
                      </a:lnTo>
                      <a:lnTo>
                        <a:pt x="18" y="34"/>
                      </a:lnTo>
                      <a:lnTo>
                        <a:pt x="19" y="34"/>
                      </a:lnTo>
                      <a:lnTo>
                        <a:pt x="20" y="34"/>
                      </a:lnTo>
                      <a:lnTo>
                        <a:pt x="21" y="33"/>
                      </a:lnTo>
                      <a:lnTo>
                        <a:pt x="22" y="33"/>
                      </a:lnTo>
                      <a:lnTo>
                        <a:pt x="23" y="33"/>
                      </a:lnTo>
                      <a:lnTo>
                        <a:pt x="24" y="33"/>
                      </a:lnTo>
                      <a:lnTo>
                        <a:pt x="24" y="32"/>
                      </a:lnTo>
                      <a:lnTo>
                        <a:pt x="25" y="32"/>
                      </a:lnTo>
                      <a:lnTo>
                        <a:pt x="28" y="32"/>
                      </a:lnTo>
                      <a:lnTo>
                        <a:pt x="31" y="31"/>
                      </a:lnTo>
                      <a:lnTo>
                        <a:pt x="33" y="30"/>
                      </a:lnTo>
                      <a:lnTo>
                        <a:pt x="34" y="27"/>
                      </a:lnTo>
                      <a:lnTo>
                        <a:pt x="35" y="26"/>
                      </a:lnTo>
                      <a:lnTo>
                        <a:pt x="35" y="24"/>
                      </a:lnTo>
                      <a:lnTo>
                        <a:pt x="37" y="21"/>
                      </a:lnTo>
                      <a:lnTo>
                        <a:pt x="37" y="17"/>
                      </a:lnTo>
                      <a:lnTo>
                        <a:pt x="37" y="16"/>
                      </a:lnTo>
                      <a:lnTo>
                        <a:pt x="37" y="15"/>
                      </a:lnTo>
                      <a:lnTo>
                        <a:pt x="38" y="15"/>
                      </a:lnTo>
                      <a:lnTo>
                        <a:pt x="39" y="13"/>
                      </a:lnTo>
                      <a:lnTo>
                        <a:pt x="41" y="13"/>
                      </a:lnTo>
                      <a:lnTo>
                        <a:pt x="41" y="12"/>
                      </a:lnTo>
                      <a:lnTo>
                        <a:pt x="43" y="11"/>
                      </a:lnTo>
                      <a:lnTo>
                        <a:pt x="45" y="10"/>
                      </a:lnTo>
                      <a:lnTo>
                        <a:pt x="47" y="9"/>
                      </a:lnTo>
                      <a:lnTo>
                        <a:pt x="48" y="9"/>
                      </a:lnTo>
                      <a:lnTo>
                        <a:pt x="50" y="9"/>
                      </a:lnTo>
                      <a:lnTo>
                        <a:pt x="50" y="9"/>
                      </a:lnTo>
                      <a:lnTo>
                        <a:pt x="52" y="9"/>
                      </a:lnTo>
                      <a:lnTo>
                        <a:pt x="53" y="10"/>
                      </a:lnTo>
                      <a:lnTo>
                        <a:pt x="54" y="9"/>
                      </a:lnTo>
                      <a:lnTo>
                        <a:pt x="56" y="9"/>
                      </a:lnTo>
                      <a:lnTo>
                        <a:pt x="57" y="9"/>
                      </a:lnTo>
                      <a:lnTo>
                        <a:pt x="58" y="8"/>
                      </a:lnTo>
                      <a:lnTo>
                        <a:pt x="59" y="7"/>
                      </a:lnTo>
                      <a:lnTo>
                        <a:pt x="60" y="6"/>
                      </a:lnTo>
                      <a:lnTo>
                        <a:pt x="60" y="5"/>
                      </a:lnTo>
                      <a:lnTo>
                        <a:pt x="60" y="4"/>
                      </a:lnTo>
                      <a:lnTo>
                        <a:pt x="60" y="4"/>
                      </a:lnTo>
                      <a:lnTo>
                        <a:pt x="60" y="3"/>
                      </a:lnTo>
                      <a:lnTo>
                        <a:pt x="60" y="2"/>
                      </a:lnTo>
                      <a:lnTo>
                        <a:pt x="60" y="2"/>
                      </a:lnTo>
                      <a:lnTo>
                        <a:pt x="61" y="0"/>
                      </a:lnTo>
                      <a:lnTo>
                        <a:pt x="62" y="0"/>
                      </a:lnTo>
                      <a:lnTo>
                        <a:pt x="63" y="2"/>
                      </a:lnTo>
                      <a:lnTo>
                        <a:pt x="64" y="4"/>
                      </a:lnTo>
                      <a:lnTo>
                        <a:pt x="64" y="6"/>
                      </a:lnTo>
                      <a:lnTo>
                        <a:pt x="65" y="7"/>
                      </a:lnTo>
                      <a:lnTo>
                        <a:pt x="65" y="9"/>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1" name="Freeform 12">
                  <a:extLst>
                    <a:ext uri="{FF2B5EF4-FFF2-40B4-BE49-F238E27FC236}">
                      <a16:creationId xmlns:a16="http://schemas.microsoft.com/office/drawing/2014/main" xmlns="" id="{DD71E257-21EF-9AE5-AE4A-0F7F856F1324}"/>
                    </a:ext>
                  </a:extLst>
                </p:cNvPr>
                <p:cNvSpPr>
                  <a:spLocks/>
                </p:cNvSpPr>
                <p:nvPr/>
              </p:nvSpPr>
              <p:spPr bwMode="auto">
                <a:xfrm>
                  <a:off x="2994" y="3025"/>
                  <a:ext cx="399" cy="164"/>
                </a:xfrm>
                <a:custGeom>
                  <a:avLst/>
                  <a:gdLst>
                    <a:gd name="T0" fmla="*/ 14 w 399"/>
                    <a:gd name="T1" fmla="*/ 2 h 164"/>
                    <a:gd name="T2" fmla="*/ 26 w 399"/>
                    <a:gd name="T3" fmla="*/ 9 h 164"/>
                    <a:gd name="T4" fmla="*/ 34 w 399"/>
                    <a:gd name="T5" fmla="*/ 7 h 164"/>
                    <a:gd name="T6" fmla="*/ 42 w 399"/>
                    <a:gd name="T7" fmla="*/ 8 h 164"/>
                    <a:gd name="T8" fmla="*/ 51 w 399"/>
                    <a:gd name="T9" fmla="*/ 10 h 164"/>
                    <a:gd name="T10" fmla="*/ 59 w 399"/>
                    <a:gd name="T11" fmla="*/ 12 h 164"/>
                    <a:gd name="T12" fmla="*/ 67 w 399"/>
                    <a:gd name="T13" fmla="*/ 14 h 164"/>
                    <a:gd name="T14" fmla="*/ 76 w 399"/>
                    <a:gd name="T15" fmla="*/ 18 h 164"/>
                    <a:gd name="T16" fmla="*/ 83 w 399"/>
                    <a:gd name="T17" fmla="*/ 14 h 164"/>
                    <a:gd name="T18" fmla="*/ 82 w 399"/>
                    <a:gd name="T19" fmla="*/ 23 h 164"/>
                    <a:gd name="T20" fmla="*/ 89 w 399"/>
                    <a:gd name="T21" fmla="*/ 20 h 164"/>
                    <a:gd name="T22" fmla="*/ 93 w 399"/>
                    <a:gd name="T23" fmla="*/ 30 h 164"/>
                    <a:gd name="T24" fmla="*/ 97 w 399"/>
                    <a:gd name="T25" fmla="*/ 37 h 164"/>
                    <a:gd name="T26" fmla="*/ 105 w 399"/>
                    <a:gd name="T27" fmla="*/ 39 h 164"/>
                    <a:gd name="T28" fmla="*/ 107 w 399"/>
                    <a:gd name="T29" fmla="*/ 50 h 164"/>
                    <a:gd name="T30" fmla="*/ 105 w 399"/>
                    <a:gd name="T31" fmla="*/ 60 h 164"/>
                    <a:gd name="T32" fmla="*/ 112 w 399"/>
                    <a:gd name="T33" fmla="*/ 63 h 164"/>
                    <a:gd name="T34" fmla="*/ 121 w 399"/>
                    <a:gd name="T35" fmla="*/ 65 h 164"/>
                    <a:gd name="T36" fmla="*/ 129 w 399"/>
                    <a:gd name="T37" fmla="*/ 63 h 164"/>
                    <a:gd name="T38" fmla="*/ 135 w 399"/>
                    <a:gd name="T39" fmla="*/ 67 h 164"/>
                    <a:gd name="T40" fmla="*/ 142 w 399"/>
                    <a:gd name="T41" fmla="*/ 72 h 164"/>
                    <a:gd name="T42" fmla="*/ 149 w 399"/>
                    <a:gd name="T43" fmla="*/ 76 h 164"/>
                    <a:gd name="T44" fmla="*/ 156 w 399"/>
                    <a:gd name="T45" fmla="*/ 81 h 164"/>
                    <a:gd name="T46" fmla="*/ 157 w 399"/>
                    <a:gd name="T47" fmla="*/ 73 h 164"/>
                    <a:gd name="T48" fmla="*/ 156 w 399"/>
                    <a:gd name="T49" fmla="*/ 66 h 164"/>
                    <a:gd name="T50" fmla="*/ 160 w 399"/>
                    <a:gd name="T51" fmla="*/ 60 h 164"/>
                    <a:gd name="T52" fmla="*/ 165 w 399"/>
                    <a:gd name="T53" fmla="*/ 53 h 164"/>
                    <a:gd name="T54" fmla="*/ 171 w 399"/>
                    <a:gd name="T55" fmla="*/ 49 h 164"/>
                    <a:gd name="T56" fmla="*/ 178 w 399"/>
                    <a:gd name="T57" fmla="*/ 46 h 164"/>
                    <a:gd name="T58" fmla="*/ 184 w 399"/>
                    <a:gd name="T59" fmla="*/ 41 h 164"/>
                    <a:gd name="T60" fmla="*/ 190 w 399"/>
                    <a:gd name="T61" fmla="*/ 35 h 164"/>
                    <a:gd name="T62" fmla="*/ 199 w 399"/>
                    <a:gd name="T63" fmla="*/ 30 h 164"/>
                    <a:gd name="T64" fmla="*/ 206 w 399"/>
                    <a:gd name="T65" fmla="*/ 29 h 164"/>
                    <a:gd name="T66" fmla="*/ 215 w 399"/>
                    <a:gd name="T67" fmla="*/ 30 h 164"/>
                    <a:gd name="T68" fmla="*/ 220 w 399"/>
                    <a:gd name="T69" fmla="*/ 38 h 164"/>
                    <a:gd name="T70" fmla="*/ 230 w 399"/>
                    <a:gd name="T71" fmla="*/ 41 h 164"/>
                    <a:gd name="T72" fmla="*/ 239 w 399"/>
                    <a:gd name="T73" fmla="*/ 42 h 164"/>
                    <a:gd name="T74" fmla="*/ 246 w 399"/>
                    <a:gd name="T75" fmla="*/ 43 h 164"/>
                    <a:gd name="T76" fmla="*/ 253 w 399"/>
                    <a:gd name="T77" fmla="*/ 52 h 164"/>
                    <a:gd name="T78" fmla="*/ 256 w 399"/>
                    <a:gd name="T79" fmla="*/ 60 h 164"/>
                    <a:gd name="T80" fmla="*/ 262 w 399"/>
                    <a:gd name="T81" fmla="*/ 67 h 164"/>
                    <a:gd name="T82" fmla="*/ 272 w 399"/>
                    <a:gd name="T83" fmla="*/ 73 h 164"/>
                    <a:gd name="T84" fmla="*/ 281 w 399"/>
                    <a:gd name="T85" fmla="*/ 78 h 164"/>
                    <a:gd name="T86" fmla="*/ 291 w 399"/>
                    <a:gd name="T87" fmla="*/ 77 h 164"/>
                    <a:gd name="T88" fmla="*/ 303 w 399"/>
                    <a:gd name="T89" fmla="*/ 75 h 164"/>
                    <a:gd name="T90" fmla="*/ 310 w 399"/>
                    <a:gd name="T91" fmla="*/ 67 h 164"/>
                    <a:gd name="T92" fmla="*/ 323 w 399"/>
                    <a:gd name="T93" fmla="*/ 64 h 164"/>
                    <a:gd name="T94" fmla="*/ 329 w 399"/>
                    <a:gd name="T95" fmla="*/ 64 h 164"/>
                    <a:gd name="T96" fmla="*/ 334 w 399"/>
                    <a:gd name="T97" fmla="*/ 76 h 164"/>
                    <a:gd name="T98" fmla="*/ 342 w 399"/>
                    <a:gd name="T99" fmla="*/ 81 h 164"/>
                    <a:gd name="T100" fmla="*/ 340 w 399"/>
                    <a:gd name="T101" fmla="*/ 99 h 164"/>
                    <a:gd name="T102" fmla="*/ 348 w 399"/>
                    <a:gd name="T103" fmla="*/ 113 h 164"/>
                    <a:gd name="T104" fmla="*/ 352 w 399"/>
                    <a:gd name="T105" fmla="*/ 121 h 164"/>
                    <a:gd name="T106" fmla="*/ 361 w 399"/>
                    <a:gd name="T107" fmla="*/ 126 h 164"/>
                    <a:gd name="T108" fmla="*/ 366 w 399"/>
                    <a:gd name="T109" fmla="*/ 134 h 164"/>
                    <a:gd name="T110" fmla="*/ 370 w 399"/>
                    <a:gd name="T111" fmla="*/ 146 h 164"/>
                    <a:gd name="T112" fmla="*/ 373 w 399"/>
                    <a:gd name="T113" fmla="*/ 153 h 164"/>
                    <a:gd name="T114" fmla="*/ 383 w 399"/>
                    <a:gd name="T115" fmla="*/ 155 h 164"/>
                    <a:gd name="T116" fmla="*/ 393 w 399"/>
                    <a:gd name="T117" fmla="*/ 156 h 164"/>
                    <a:gd name="T118" fmla="*/ 397 w 399"/>
                    <a:gd name="T1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9" h="164">
                      <a:moveTo>
                        <a:pt x="0" y="0"/>
                      </a:moveTo>
                      <a:lnTo>
                        <a:pt x="0" y="0"/>
                      </a:lnTo>
                      <a:lnTo>
                        <a:pt x="1" y="0"/>
                      </a:lnTo>
                      <a:lnTo>
                        <a:pt x="2" y="0"/>
                      </a:lnTo>
                      <a:lnTo>
                        <a:pt x="3" y="0"/>
                      </a:lnTo>
                      <a:lnTo>
                        <a:pt x="4" y="1"/>
                      </a:lnTo>
                      <a:lnTo>
                        <a:pt x="5" y="1"/>
                      </a:lnTo>
                      <a:lnTo>
                        <a:pt x="6" y="1"/>
                      </a:lnTo>
                      <a:lnTo>
                        <a:pt x="6" y="2"/>
                      </a:lnTo>
                      <a:lnTo>
                        <a:pt x="6" y="2"/>
                      </a:lnTo>
                      <a:lnTo>
                        <a:pt x="7" y="2"/>
                      </a:lnTo>
                      <a:lnTo>
                        <a:pt x="8" y="2"/>
                      </a:lnTo>
                      <a:lnTo>
                        <a:pt x="8" y="2"/>
                      </a:lnTo>
                      <a:lnTo>
                        <a:pt x="9" y="2"/>
                      </a:lnTo>
                      <a:lnTo>
                        <a:pt x="10" y="2"/>
                      </a:lnTo>
                      <a:lnTo>
                        <a:pt x="13" y="2"/>
                      </a:lnTo>
                      <a:lnTo>
                        <a:pt x="14" y="2"/>
                      </a:lnTo>
                      <a:lnTo>
                        <a:pt x="15" y="2"/>
                      </a:lnTo>
                      <a:lnTo>
                        <a:pt x="17" y="2"/>
                      </a:lnTo>
                      <a:lnTo>
                        <a:pt x="17" y="2"/>
                      </a:lnTo>
                      <a:lnTo>
                        <a:pt x="19" y="3"/>
                      </a:lnTo>
                      <a:lnTo>
                        <a:pt x="19" y="3"/>
                      </a:lnTo>
                      <a:lnTo>
                        <a:pt x="20" y="4"/>
                      </a:lnTo>
                      <a:lnTo>
                        <a:pt x="20" y="5"/>
                      </a:lnTo>
                      <a:lnTo>
                        <a:pt x="21" y="5"/>
                      </a:lnTo>
                      <a:lnTo>
                        <a:pt x="21" y="5"/>
                      </a:lnTo>
                      <a:lnTo>
                        <a:pt x="22" y="6"/>
                      </a:lnTo>
                      <a:lnTo>
                        <a:pt x="23" y="6"/>
                      </a:lnTo>
                      <a:lnTo>
                        <a:pt x="23" y="6"/>
                      </a:lnTo>
                      <a:lnTo>
                        <a:pt x="24" y="7"/>
                      </a:lnTo>
                      <a:lnTo>
                        <a:pt x="25" y="7"/>
                      </a:lnTo>
                      <a:lnTo>
                        <a:pt x="25" y="8"/>
                      </a:lnTo>
                      <a:lnTo>
                        <a:pt x="25" y="8"/>
                      </a:lnTo>
                      <a:lnTo>
                        <a:pt x="26" y="9"/>
                      </a:lnTo>
                      <a:lnTo>
                        <a:pt x="27" y="9"/>
                      </a:lnTo>
                      <a:lnTo>
                        <a:pt x="27" y="9"/>
                      </a:lnTo>
                      <a:lnTo>
                        <a:pt x="28" y="9"/>
                      </a:lnTo>
                      <a:lnTo>
                        <a:pt x="28" y="10"/>
                      </a:lnTo>
                      <a:lnTo>
                        <a:pt x="29" y="10"/>
                      </a:lnTo>
                      <a:lnTo>
                        <a:pt x="29" y="9"/>
                      </a:lnTo>
                      <a:lnTo>
                        <a:pt x="29" y="9"/>
                      </a:lnTo>
                      <a:lnTo>
                        <a:pt x="30" y="9"/>
                      </a:lnTo>
                      <a:lnTo>
                        <a:pt x="31" y="8"/>
                      </a:lnTo>
                      <a:lnTo>
                        <a:pt x="31" y="8"/>
                      </a:lnTo>
                      <a:lnTo>
                        <a:pt x="31" y="7"/>
                      </a:lnTo>
                      <a:lnTo>
                        <a:pt x="31" y="6"/>
                      </a:lnTo>
                      <a:lnTo>
                        <a:pt x="32" y="6"/>
                      </a:lnTo>
                      <a:lnTo>
                        <a:pt x="32" y="6"/>
                      </a:lnTo>
                      <a:lnTo>
                        <a:pt x="33" y="6"/>
                      </a:lnTo>
                      <a:lnTo>
                        <a:pt x="33" y="7"/>
                      </a:lnTo>
                      <a:lnTo>
                        <a:pt x="34" y="7"/>
                      </a:lnTo>
                      <a:lnTo>
                        <a:pt x="34" y="7"/>
                      </a:lnTo>
                      <a:lnTo>
                        <a:pt x="35" y="7"/>
                      </a:lnTo>
                      <a:lnTo>
                        <a:pt x="36" y="7"/>
                      </a:lnTo>
                      <a:lnTo>
                        <a:pt x="36" y="6"/>
                      </a:lnTo>
                      <a:lnTo>
                        <a:pt x="36" y="5"/>
                      </a:lnTo>
                      <a:lnTo>
                        <a:pt x="37" y="5"/>
                      </a:lnTo>
                      <a:lnTo>
                        <a:pt x="38" y="5"/>
                      </a:lnTo>
                      <a:lnTo>
                        <a:pt x="38" y="5"/>
                      </a:lnTo>
                      <a:lnTo>
                        <a:pt x="39" y="5"/>
                      </a:lnTo>
                      <a:lnTo>
                        <a:pt x="39" y="5"/>
                      </a:lnTo>
                      <a:lnTo>
                        <a:pt x="40" y="5"/>
                      </a:lnTo>
                      <a:lnTo>
                        <a:pt x="40" y="6"/>
                      </a:lnTo>
                      <a:lnTo>
                        <a:pt x="40" y="6"/>
                      </a:lnTo>
                      <a:lnTo>
                        <a:pt x="41" y="6"/>
                      </a:lnTo>
                      <a:lnTo>
                        <a:pt x="41" y="7"/>
                      </a:lnTo>
                      <a:lnTo>
                        <a:pt x="42" y="7"/>
                      </a:lnTo>
                      <a:lnTo>
                        <a:pt x="42" y="8"/>
                      </a:lnTo>
                      <a:lnTo>
                        <a:pt x="42" y="8"/>
                      </a:lnTo>
                      <a:lnTo>
                        <a:pt x="43" y="8"/>
                      </a:lnTo>
                      <a:lnTo>
                        <a:pt x="44" y="8"/>
                      </a:lnTo>
                      <a:lnTo>
                        <a:pt x="44" y="8"/>
                      </a:lnTo>
                      <a:lnTo>
                        <a:pt x="45" y="8"/>
                      </a:lnTo>
                      <a:lnTo>
                        <a:pt x="46" y="8"/>
                      </a:lnTo>
                      <a:lnTo>
                        <a:pt x="46" y="8"/>
                      </a:lnTo>
                      <a:lnTo>
                        <a:pt x="47" y="8"/>
                      </a:lnTo>
                      <a:lnTo>
                        <a:pt x="48" y="8"/>
                      </a:lnTo>
                      <a:lnTo>
                        <a:pt x="48" y="8"/>
                      </a:lnTo>
                      <a:lnTo>
                        <a:pt x="48" y="8"/>
                      </a:lnTo>
                      <a:lnTo>
                        <a:pt x="48" y="8"/>
                      </a:lnTo>
                      <a:lnTo>
                        <a:pt x="49" y="8"/>
                      </a:lnTo>
                      <a:lnTo>
                        <a:pt x="50" y="8"/>
                      </a:lnTo>
                      <a:lnTo>
                        <a:pt x="50" y="9"/>
                      </a:lnTo>
                      <a:lnTo>
                        <a:pt x="50" y="10"/>
                      </a:lnTo>
                      <a:lnTo>
                        <a:pt x="51" y="10"/>
                      </a:lnTo>
                      <a:lnTo>
                        <a:pt x="51" y="11"/>
                      </a:lnTo>
                      <a:lnTo>
                        <a:pt x="52" y="11"/>
                      </a:lnTo>
                      <a:lnTo>
                        <a:pt x="53" y="11"/>
                      </a:lnTo>
                      <a:lnTo>
                        <a:pt x="53" y="10"/>
                      </a:lnTo>
                      <a:lnTo>
                        <a:pt x="53" y="10"/>
                      </a:lnTo>
                      <a:lnTo>
                        <a:pt x="54" y="10"/>
                      </a:lnTo>
                      <a:lnTo>
                        <a:pt x="55" y="9"/>
                      </a:lnTo>
                      <a:lnTo>
                        <a:pt x="55" y="9"/>
                      </a:lnTo>
                      <a:lnTo>
                        <a:pt x="55" y="10"/>
                      </a:lnTo>
                      <a:lnTo>
                        <a:pt x="56" y="10"/>
                      </a:lnTo>
                      <a:lnTo>
                        <a:pt x="57" y="10"/>
                      </a:lnTo>
                      <a:lnTo>
                        <a:pt x="57" y="11"/>
                      </a:lnTo>
                      <a:lnTo>
                        <a:pt x="57" y="11"/>
                      </a:lnTo>
                      <a:lnTo>
                        <a:pt x="58" y="11"/>
                      </a:lnTo>
                      <a:lnTo>
                        <a:pt x="59" y="11"/>
                      </a:lnTo>
                      <a:lnTo>
                        <a:pt x="59" y="11"/>
                      </a:lnTo>
                      <a:lnTo>
                        <a:pt x="59" y="12"/>
                      </a:lnTo>
                      <a:lnTo>
                        <a:pt x="60" y="12"/>
                      </a:lnTo>
                      <a:lnTo>
                        <a:pt x="60" y="12"/>
                      </a:lnTo>
                      <a:lnTo>
                        <a:pt x="61" y="12"/>
                      </a:lnTo>
                      <a:lnTo>
                        <a:pt x="61" y="12"/>
                      </a:lnTo>
                      <a:lnTo>
                        <a:pt x="62" y="13"/>
                      </a:lnTo>
                      <a:lnTo>
                        <a:pt x="63" y="13"/>
                      </a:lnTo>
                      <a:lnTo>
                        <a:pt x="63" y="14"/>
                      </a:lnTo>
                      <a:lnTo>
                        <a:pt x="63" y="14"/>
                      </a:lnTo>
                      <a:lnTo>
                        <a:pt x="63" y="13"/>
                      </a:lnTo>
                      <a:lnTo>
                        <a:pt x="64" y="13"/>
                      </a:lnTo>
                      <a:lnTo>
                        <a:pt x="64" y="14"/>
                      </a:lnTo>
                      <a:lnTo>
                        <a:pt x="65" y="14"/>
                      </a:lnTo>
                      <a:lnTo>
                        <a:pt x="65" y="14"/>
                      </a:lnTo>
                      <a:lnTo>
                        <a:pt x="65" y="15"/>
                      </a:lnTo>
                      <a:lnTo>
                        <a:pt x="66" y="15"/>
                      </a:lnTo>
                      <a:lnTo>
                        <a:pt x="67" y="14"/>
                      </a:lnTo>
                      <a:lnTo>
                        <a:pt x="67" y="14"/>
                      </a:lnTo>
                      <a:lnTo>
                        <a:pt x="68" y="14"/>
                      </a:lnTo>
                      <a:lnTo>
                        <a:pt x="69" y="14"/>
                      </a:lnTo>
                      <a:lnTo>
                        <a:pt x="69" y="14"/>
                      </a:lnTo>
                      <a:lnTo>
                        <a:pt x="70" y="14"/>
                      </a:lnTo>
                      <a:lnTo>
                        <a:pt x="70" y="15"/>
                      </a:lnTo>
                      <a:lnTo>
                        <a:pt x="70" y="15"/>
                      </a:lnTo>
                      <a:lnTo>
                        <a:pt x="70" y="16"/>
                      </a:lnTo>
                      <a:lnTo>
                        <a:pt x="71" y="16"/>
                      </a:lnTo>
                      <a:lnTo>
                        <a:pt x="72" y="16"/>
                      </a:lnTo>
                      <a:lnTo>
                        <a:pt x="72" y="16"/>
                      </a:lnTo>
                      <a:lnTo>
                        <a:pt x="73" y="16"/>
                      </a:lnTo>
                      <a:lnTo>
                        <a:pt x="74" y="16"/>
                      </a:lnTo>
                      <a:lnTo>
                        <a:pt x="74" y="17"/>
                      </a:lnTo>
                      <a:lnTo>
                        <a:pt x="74" y="18"/>
                      </a:lnTo>
                      <a:lnTo>
                        <a:pt x="75" y="17"/>
                      </a:lnTo>
                      <a:lnTo>
                        <a:pt x="75" y="18"/>
                      </a:lnTo>
                      <a:lnTo>
                        <a:pt x="76" y="18"/>
                      </a:lnTo>
                      <a:lnTo>
                        <a:pt x="76" y="18"/>
                      </a:lnTo>
                      <a:lnTo>
                        <a:pt x="77" y="17"/>
                      </a:lnTo>
                      <a:lnTo>
                        <a:pt x="78" y="17"/>
                      </a:lnTo>
                      <a:lnTo>
                        <a:pt x="78" y="16"/>
                      </a:lnTo>
                      <a:lnTo>
                        <a:pt x="78" y="16"/>
                      </a:lnTo>
                      <a:lnTo>
                        <a:pt x="78" y="15"/>
                      </a:lnTo>
                      <a:lnTo>
                        <a:pt x="78" y="14"/>
                      </a:lnTo>
                      <a:lnTo>
                        <a:pt x="78" y="14"/>
                      </a:lnTo>
                      <a:lnTo>
                        <a:pt x="78" y="13"/>
                      </a:lnTo>
                      <a:lnTo>
                        <a:pt x="79" y="13"/>
                      </a:lnTo>
                      <a:lnTo>
                        <a:pt x="79" y="12"/>
                      </a:lnTo>
                      <a:lnTo>
                        <a:pt x="80" y="13"/>
                      </a:lnTo>
                      <a:lnTo>
                        <a:pt x="80" y="14"/>
                      </a:lnTo>
                      <a:lnTo>
                        <a:pt x="82" y="14"/>
                      </a:lnTo>
                      <a:lnTo>
                        <a:pt x="82" y="14"/>
                      </a:lnTo>
                      <a:lnTo>
                        <a:pt x="82" y="14"/>
                      </a:lnTo>
                      <a:lnTo>
                        <a:pt x="83" y="14"/>
                      </a:lnTo>
                      <a:lnTo>
                        <a:pt x="83" y="15"/>
                      </a:lnTo>
                      <a:lnTo>
                        <a:pt x="82" y="16"/>
                      </a:lnTo>
                      <a:lnTo>
                        <a:pt x="82" y="16"/>
                      </a:lnTo>
                      <a:lnTo>
                        <a:pt x="82" y="17"/>
                      </a:lnTo>
                      <a:lnTo>
                        <a:pt x="82" y="17"/>
                      </a:lnTo>
                      <a:lnTo>
                        <a:pt x="82" y="17"/>
                      </a:lnTo>
                      <a:lnTo>
                        <a:pt x="82" y="18"/>
                      </a:lnTo>
                      <a:lnTo>
                        <a:pt x="82" y="18"/>
                      </a:lnTo>
                      <a:lnTo>
                        <a:pt x="82" y="19"/>
                      </a:lnTo>
                      <a:lnTo>
                        <a:pt x="82" y="20"/>
                      </a:lnTo>
                      <a:lnTo>
                        <a:pt x="82" y="20"/>
                      </a:lnTo>
                      <a:lnTo>
                        <a:pt x="82" y="20"/>
                      </a:lnTo>
                      <a:lnTo>
                        <a:pt x="82" y="21"/>
                      </a:lnTo>
                      <a:lnTo>
                        <a:pt x="82" y="22"/>
                      </a:lnTo>
                      <a:lnTo>
                        <a:pt x="82" y="22"/>
                      </a:lnTo>
                      <a:lnTo>
                        <a:pt x="82" y="22"/>
                      </a:lnTo>
                      <a:lnTo>
                        <a:pt x="82" y="23"/>
                      </a:lnTo>
                      <a:lnTo>
                        <a:pt x="83" y="23"/>
                      </a:lnTo>
                      <a:lnTo>
                        <a:pt x="84" y="23"/>
                      </a:lnTo>
                      <a:lnTo>
                        <a:pt x="84" y="24"/>
                      </a:lnTo>
                      <a:lnTo>
                        <a:pt x="84" y="23"/>
                      </a:lnTo>
                      <a:lnTo>
                        <a:pt x="84" y="22"/>
                      </a:lnTo>
                      <a:lnTo>
                        <a:pt x="85" y="22"/>
                      </a:lnTo>
                      <a:lnTo>
                        <a:pt x="86" y="22"/>
                      </a:lnTo>
                      <a:lnTo>
                        <a:pt x="86" y="21"/>
                      </a:lnTo>
                      <a:lnTo>
                        <a:pt x="86" y="20"/>
                      </a:lnTo>
                      <a:lnTo>
                        <a:pt x="86" y="20"/>
                      </a:lnTo>
                      <a:lnTo>
                        <a:pt x="86" y="20"/>
                      </a:lnTo>
                      <a:lnTo>
                        <a:pt x="87" y="19"/>
                      </a:lnTo>
                      <a:lnTo>
                        <a:pt x="88" y="19"/>
                      </a:lnTo>
                      <a:lnTo>
                        <a:pt x="89" y="19"/>
                      </a:lnTo>
                      <a:lnTo>
                        <a:pt x="89" y="20"/>
                      </a:lnTo>
                      <a:lnTo>
                        <a:pt x="89" y="20"/>
                      </a:lnTo>
                      <a:lnTo>
                        <a:pt x="89" y="20"/>
                      </a:lnTo>
                      <a:lnTo>
                        <a:pt x="90" y="20"/>
                      </a:lnTo>
                      <a:lnTo>
                        <a:pt x="90" y="21"/>
                      </a:lnTo>
                      <a:lnTo>
                        <a:pt x="91" y="21"/>
                      </a:lnTo>
                      <a:lnTo>
                        <a:pt x="91" y="22"/>
                      </a:lnTo>
                      <a:lnTo>
                        <a:pt x="91" y="22"/>
                      </a:lnTo>
                      <a:lnTo>
                        <a:pt x="92" y="22"/>
                      </a:lnTo>
                      <a:lnTo>
                        <a:pt x="92" y="23"/>
                      </a:lnTo>
                      <a:lnTo>
                        <a:pt x="92" y="24"/>
                      </a:lnTo>
                      <a:lnTo>
                        <a:pt x="93" y="24"/>
                      </a:lnTo>
                      <a:lnTo>
                        <a:pt x="93" y="25"/>
                      </a:lnTo>
                      <a:lnTo>
                        <a:pt x="93" y="26"/>
                      </a:lnTo>
                      <a:lnTo>
                        <a:pt x="93" y="26"/>
                      </a:lnTo>
                      <a:lnTo>
                        <a:pt x="93" y="27"/>
                      </a:lnTo>
                      <a:lnTo>
                        <a:pt x="93" y="28"/>
                      </a:lnTo>
                      <a:lnTo>
                        <a:pt x="93" y="29"/>
                      </a:lnTo>
                      <a:lnTo>
                        <a:pt x="93" y="29"/>
                      </a:lnTo>
                      <a:lnTo>
                        <a:pt x="93" y="30"/>
                      </a:lnTo>
                      <a:lnTo>
                        <a:pt x="93" y="31"/>
                      </a:lnTo>
                      <a:lnTo>
                        <a:pt x="93" y="31"/>
                      </a:lnTo>
                      <a:lnTo>
                        <a:pt x="93" y="31"/>
                      </a:lnTo>
                      <a:lnTo>
                        <a:pt x="93" y="32"/>
                      </a:lnTo>
                      <a:lnTo>
                        <a:pt x="93" y="32"/>
                      </a:lnTo>
                      <a:lnTo>
                        <a:pt x="93" y="33"/>
                      </a:lnTo>
                      <a:lnTo>
                        <a:pt x="94" y="33"/>
                      </a:lnTo>
                      <a:lnTo>
                        <a:pt x="94" y="33"/>
                      </a:lnTo>
                      <a:lnTo>
                        <a:pt x="94" y="34"/>
                      </a:lnTo>
                      <a:lnTo>
                        <a:pt x="94" y="35"/>
                      </a:lnTo>
                      <a:lnTo>
                        <a:pt x="95" y="35"/>
                      </a:lnTo>
                      <a:lnTo>
                        <a:pt x="95" y="35"/>
                      </a:lnTo>
                      <a:lnTo>
                        <a:pt x="95" y="35"/>
                      </a:lnTo>
                      <a:lnTo>
                        <a:pt x="95" y="36"/>
                      </a:lnTo>
                      <a:lnTo>
                        <a:pt x="96" y="36"/>
                      </a:lnTo>
                      <a:lnTo>
                        <a:pt x="96" y="37"/>
                      </a:lnTo>
                      <a:lnTo>
                        <a:pt x="97" y="37"/>
                      </a:lnTo>
                      <a:lnTo>
                        <a:pt x="97" y="37"/>
                      </a:lnTo>
                      <a:lnTo>
                        <a:pt x="98" y="37"/>
                      </a:lnTo>
                      <a:lnTo>
                        <a:pt x="99" y="36"/>
                      </a:lnTo>
                      <a:lnTo>
                        <a:pt x="99" y="36"/>
                      </a:lnTo>
                      <a:lnTo>
                        <a:pt x="100" y="36"/>
                      </a:lnTo>
                      <a:lnTo>
                        <a:pt x="101" y="36"/>
                      </a:lnTo>
                      <a:lnTo>
                        <a:pt x="101" y="35"/>
                      </a:lnTo>
                      <a:lnTo>
                        <a:pt x="102" y="35"/>
                      </a:lnTo>
                      <a:lnTo>
                        <a:pt x="103" y="35"/>
                      </a:lnTo>
                      <a:lnTo>
                        <a:pt x="103" y="35"/>
                      </a:lnTo>
                      <a:lnTo>
                        <a:pt x="104" y="35"/>
                      </a:lnTo>
                      <a:lnTo>
                        <a:pt x="105" y="35"/>
                      </a:lnTo>
                      <a:lnTo>
                        <a:pt x="105" y="36"/>
                      </a:lnTo>
                      <a:lnTo>
                        <a:pt x="105" y="37"/>
                      </a:lnTo>
                      <a:lnTo>
                        <a:pt x="105" y="37"/>
                      </a:lnTo>
                      <a:lnTo>
                        <a:pt x="105" y="38"/>
                      </a:lnTo>
                      <a:lnTo>
                        <a:pt x="105" y="39"/>
                      </a:lnTo>
                      <a:lnTo>
                        <a:pt x="105" y="39"/>
                      </a:lnTo>
                      <a:lnTo>
                        <a:pt x="105" y="40"/>
                      </a:lnTo>
                      <a:lnTo>
                        <a:pt x="105" y="41"/>
                      </a:lnTo>
                      <a:lnTo>
                        <a:pt x="105" y="41"/>
                      </a:lnTo>
                      <a:lnTo>
                        <a:pt x="105" y="42"/>
                      </a:lnTo>
                      <a:lnTo>
                        <a:pt x="105" y="43"/>
                      </a:lnTo>
                      <a:lnTo>
                        <a:pt x="105" y="43"/>
                      </a:lnTo>
                      <a:lnTo>
                        <a:pt x="105" y="43"/>
                      </a:lnTo>
                      <a:lnTo>
                        <a:pt x="105" y="44"/>
                      </a:lnTo>
                      <a:lnTo>
                        <a:pt x="106" y="45"/>
                      </a:lnTo>
                      <a:lnTo>
                        <a:pt x="106" y="45"/>
                      </a:lnTo>
                      <a:lnTo>
                        <a:pt x="106" y="46"/>
                      </a:lnTo>
                      <a:lnTo>
                        <a:pt x="107" y="47"/>
                      </a:lnTo>
                      <a:lnTo>
                        <a:pt x="107" y="48"/>
                      </a:lnTo>
                      <a:lnTo>
                        <a:pt x="107" y="48"/>
                      </a:lnTo>
                      <a:lnTo>
                        <a:pt x="107" y="49"/>
                      </a:lnTo>
                      <a:lnTo>
                        <a:pt x="107" y="50"/>
                      </a:lnTo>
                      <a:lnTo>
                        <a:pt x="107" y="50"/>
                      </a:lnTo>
                      <a:lnTo>
                        <a:pt x="107" y="51"/>
                      </a:lnTo>
                      <a:lnTo>
                        <a:pt x="106" y="52"/>
                      </a:lnTo>
                      <a:lnTo>
                        <a:pt x="106" y="52"/>
                      </a:lnTo>
                      <a:lnTo>
                        <a:pt x="105" y="52"/>
                      </a:lnTo>
                      <a:lnTo>
                        <a:pt x="105" y="53"/>
                      </a:lnTo>
                      <a:lnTo>
                        <a:pt x="105" y="54"/>
                      </a:lnTo>
                      <a:lnTo>
                        <a:pt x="105" y="55"/>
                      </a:lnTo>
                      <a:lnTo>
                        <a:pt x="105" y="55"/>
                      </a:lnTo>
                      <a:lnTo>
                        <a:pt x="105" y="56"/>
                      </a:lnTo>
                      <a:lnTo>
                        <a:pt x="105" y="56"/>
                      </a:lnTo>
                      <a:lnTo>
                        <a:pt x="105" y="57"/>
                      </a:lnTo>
                      <a:lnTo>
                        <a:pt x="105" y="58"/>
                      </a:lnTo>
                      <a:lnTo>
                        <a:pt x="105" y="58"/>
                      </a:lnTo>
                      <a:lnTo>
                        <a:pt x="105" y="59"/>
                      </a:lnTo>
                      <a:lnTo>
                        <a:pt x="105" y="59"/>
                      </a:lnTo>
                      <a:lnTo>
                        <a:pt x="105" y="60"/>
                      </a:lnTo>
                      <a:lnTo>
                        <a:pt x="105" y="60"/>
                      </a:lnTo>
                      <a:lnTo>
                        <a:pt x="105" y="60"/>
                      </a:lnTo>
                      <a:lnTo>
                        <a:pt x="104" y="61"/>
                      </a:lnTo>
                      <a:lnTo>
                        <a:pt x="105" y="61"/>
                      </a:lnTo>
                      <a:lnTo>
                        <a:pt x="105" y="62"/>
                      </a:lnTo>
                      <a:lnTo>
                        <a:pt x="105" y="62"/>
                      </a:lnTo>
                      <a:lnTo>
                        <a:pt x="105" y="63"/>
                      </a:lnTo>
                      <a:lnTo>
                        <a:pt x="106" y="64"/>
                      </a:lnTo>
                      <a:lnTo>
                        <a:pt x="107" y="64"/>
                      </a:lnTo>
                      <a:lnTo>
                        <a:pt x="108" y="64"/>
                      </a:lnTo>
                      <a:lnTo>
                        <a:pt x="108" y="64"/>
                      </a:lnTo>
                      <a:lnTo>
                        <a:pt x="109" y="64"/>
                      </a:lnTo>
                      <a:lnTo>
                        <a:pt x="110" y="64"/>
                      </a:lnTo>
                      <a:lnTo>
                        <a:pt x="110" y="64"/>
                      </a:lnTo>
                      <a:lnTo>
                        <a:pt x="111" y="64"/>
                      </a:lnTo>
                      <a:lnTo>
                        <a:pt x="112" y="64"/>
                      </a:lnTo>
                      <a:lnTo>
                        <a:pt x="112" y="63"/>
                      </a:lnTo>
                      <a:lnTo>
                        <a:pt x="113" y="63"/>
                      </a:lnTo>
                      <a:lnTo>
                        <a:pt x="113" y="64"/>
                      </a:lnTo>
                      <a:lnTo>
                        <a:pt x="114" y="64"/>
                      </a:lnTo>
                      <a:lnTo>
                        <a:pt x="114" y="64"/>
                      </a:lnTo>
                      <a:lnTo>
                        <a:pt x="115" y="65"/>
                      </a:lnTo>
                      <a:lnTo>
                        <a:pt x="115" y="66"/>
                      </a:lnTo>
                      <a:lnTo>
                        <a:pt x="115" y="67"/>
                      </a:lnTo>
                      <a:lnTo>
                        <a:pt x="116" y="67"/>
                      </a:lnTo>
                      <a:lnTo>
                        <a:pt x="116" y="67"/>
                      </a:lnTo>
                      <a:lnTo>
                        <a:pt x="117" y="67"/>
                      </a:lnTo>
                      <a:lnTo>
                        <a:pt x="118" y="67"/>
                      </a:lnTo>
                      <a:lnTo>
                        <a:pt x="118" y="66"/>
                      </a:lnTo>
                      <a:lnTo>
                        <a:pt x="118" y="66"/>
                      </a:lnTo>
                      <a:lnTo>
                        <a:pt x="119" y="66"/>
                      </a:lnTo>
                      <a:lnTo>
                        <a:pt x="120" y="65"/>
                      </a:lnTo>
                      <a:lnTo>
                        <a:pt x="120" y="65"/>
                      </a:lnTo>
                      <a:lnTo>
                        <a:pt x="121" y="65"/>
                      </a:lnTo>
                      <a:lnTo>
                        <a:pt x="122" y="65"/>
                      </a:lnTo>
                      <a:lnTo>
                        <a:pt x="122" y="65"/>
                      </a:lnTo>
                      <a:lnTo>
                        <a:pt x="123" y="65"/>
                      </a:lnTo>
                      <a:lnTo>
                        <a:pt x="123" y="64"/>
                      </a:lnTo>
                      <a:lnTo>
                        <a:pt x="124" y="64"/>
                      </a:lnTo>
                      <a:lnTo>
                        <a:pt x="124" y="64"/>
                      </a:lnTo>
                      <a:lnTo>
                        <a:pt x="124" y="64"/>
                      </a:lnTo>
                      <a:lnTo>
                        <a:pt x="124" y="63"/>
                      </a:lnTo>
                      <a:lnTo>
                        <a:pt x="125" y="63"/>
                      </a:lnTo>
                      <a:lnTo>
                        <a:pt x="126" y="63"/>
                      </a:lnTo>
                      <a:lnTo>
                        <a:pt x="127" y="63"/>
                      </a:lnTo>
                      <a:lnTo>
                        <a:pt x="127" y="63"/>
                      </a:lnTo>
                      <a:lnTo>
                        <a:pt x="127" y="64"/>
                      </a:lnTo>
                      <a:lnTo>
                        <a:pt x="128" y="64"/>
                      </a:lnTo>
                      <a:lnTo>
                        <a:pt x="129" y="64"/>
                      </a:lnTo>
                      <a:lnTo>
                        <a:pt x="129" y="63"/>
                      </a:lnTo>
                      <a:lnTo>
                        <a:pt x="129" y="63"/>
                      </a:lnTo>
                      <a:lnTo>
                        <a:pt x="129" y="62"/>
                      </a:lnTo>
                      <a:lnTo>
                        <a:pt x="130" y="62"/>
                      </a:lnTo>
                      <a:lnTo>
                        <a:pt x="130" y="62"/>
                      </a:lnTo>
                      <a:lnTo>
                        <a:pt x="131" y="62"/>
                      </a:lnTo>
                      <a:lnTo>
                        <a:pt x="130" y="62"/>
                      </a:lnTo>
                      <a:lnTo>
                        <a:pt x="130" y="63"/>
                      </a:lnTo>
                      <a:lnTo>
                        <a:pt x="130" y="64"/>
                      </a:lnTo>
                      <a:lnTo>
                        <a:pt x="130" y="64"/>
                      </a:lnTo>
                      <a:lnTo>
                        <a:pt x="131" y="64"/>
                      </a:lnTo>
                      <a:lnTo>
                        <a:pt x="131" y="65"/>
                      </a:lnTo>
                      <a:lnTo>
                        <a:pt x="132" y="65"/>
                      </a:lnTo>
                      <a:lnTo>
                        <a:pt x="132" y="66"/>
                      </a:lnTo>
                      <a:lnTo>
                        <a:pt x="133" y="66"/>
                      </a:lnTo>
                      <a:lnTo>
                        <a:pt x="133" y="67"/>
                      </a:lnTo>
                      <a:lnTo>
                        <a:pt x="134" y="67"/>
                      </a:lnTo>
                      <a:lnTo>
                        <a:pt x="135" y="67"/>
                      </a:lnTo>
                      <a:lnTo>
                        <a:pt x="135" y="67"/>
                      </a:lnTo>
                      <a:lnTo>
                        <a:pt x="135" y="68"/>
                      </a:lnTo>
                      <a:lnTo>
                        <a:pt x="136" y="68"/>
                      </a:lnTo>
                      <a:lnTo>
                        <a:pt x="136" y="69"/>
                      </a:lnTo>
                      <a:lnTo>
                        <a:pt x="136" y="69"/>
                      </a:lnTo>
                      <a:lnTo>
                        <a:pt x="137" y="69"/>
                      </a:lnTo>
                      <a:lnTo>
                        <a:pt x="137" y="69"/>
                      </a:lnTo>
                      <a:lnTo>
                        <a:pt x="137" y="69"/>
                      </a:lnTo>
                      <a:lnTo>
                        <a:pt x="138" y="69"/>
                      </a:lnTo>
                      <a:lnTo>
                        <a:pt x="139" y="69"/>
                      </a:lnTo>
                      <a:lnTo>
                        <a:pt x="139" y="70"/>
                      </a:lnTo>
                      <a:lnTo>
                        <a:pt x="140" y="70"/>
                      </a:lnTo>
                      <a:lnTo>
                        <a:pt x="141" y="70"/>
                      </a:lnTo>
                      <a:lnTo>
                        <a:pt x="141" y="71"/>
                      </a:lnTo>
                      <a:lnTo>
                        <a:pt x="141" y="71"/>
                      </a:lnTo>
                      <a:lnTo>
                        <a:pt x="141" y="71"/>
                      </a:lnTo>
                      <a:lnTo>
                        <a:pt x="142" y="71"/>
                      </a:lnTo>
                      <a:lnTo>
                        <a:pt x="142" y="72"/>
                      </a:lnTo>
                      <a:lnTo>
                        <a:pt x="141" y="73"/>
                      </a:lnTo>
                      <a:lnTo>
                        <a:pt x="142" y="73"/>
                      </a:lnTo>
                      <a:lnTo>
                        <a:pt x="142" y="73"/>
                      </a:lnTo>
                      <a:lnTo>
                        <a:pt x="142" y="74"/>
                      </a:lnTo>
                      <a:lnTo>
                        <a:pt x="143" y="74"/>
                      </a:lnTo>
                      <a:lnTo>
                        <a:pt x="143" y="75"/>
                      </a:lnTo>
                      <a:lnTo>
                        <a:pt x="143" y="75"/>
                      </a:lnTo>
                      <a:lnTo>
                        <a:pt x="143" y="75"/>
                      </a:lnTo>
                      <a:lnTo>
                        <a:pt x="144" y="75"/>
                      </a:lnTo>
                      <a:lnTo>
                        <a:pt x="145" y="75"/>
                      </a:lnTo>
                      <a:lnTo>
                        <a:pt x="145" y="76"/>
                      </a:lnTo>
                      <a:lnTo>
                        <a:pt x="146" y="76"/>
                      </a:lnTo>
                      <a:lnTo>
                        <a:pt x="146" y="76"/>
                      </a:lnTo>
                      <a:lnTo>
                        <a:pt x="147" y="76"/>
                      </a:lnTo>
                      <a:lnTo>
                        <a:pt x="148" y="75"/>
                      </a:lnTo>
                      <a:lnTo>
                        <a:pt x="148" y="76"/>
                      </a:lnTo>
                      <a:lnTo>
                        <a:pt x="149" y="76"/>
                      </a:lnTo>
                      <a:lnTo>
                        <a:pt x="149" y="77"/>
                      </a:lnTo>
                      <a:lnTo>
                        <a:pt x="150" y="77"/>
                      </a:lnTo>
                      <a:lnTo>
                        <a:pt x="150" y="77"/>
                      </a:lnTo>
                      <a:lnTo>
                        <a:pt x="150" y="77"/>
                      </a:lnTo>
                      <a:lnTo>
                        <a:pt x="151" y="78"/>
                      </a:lnTo>
                      <a:lnTo>
                        <a:pt x="151" y="79"/>
                      </a:lnTo>
                      <a:lnTo>
                        <a:pt x="152" y="79"/>
                      </a:lnTo>
                      <a:lnTo>
                        <a:pt x="152" y="79"/>
                      </a:lnTo>
                      <a:lnTo>
                        <a:pt x="152" y="79"/>
                      </a:lnTo>
                      <a:lnTo>
                        <a:pt x="152" y="80"/>
                      </a:lnTo>
                      <a:lnTo>
                        <a:pt x="153" y="80"/>
                      </a:lnTo>
                      <a:lnTo>
                        <a:pt x="154" y="80"/>
                      </a:lnTo>
                      <a:lnTo>
                        <a:pt x="154" y="79"/>
                      </a:lnTo>
                      <a:lnTo>
                        <a:pt x="155" y="79"/>
                      </a:lnTo>
                      <a:lnTo>
                        <a:pt x="155" y="80"/>
                      </a:lnTo>
                      <a:lnTo>
                        <a:pt x="155" y="81"/>
                      </a:lnTo>
                      <a:lnTo>
                        <a:pt x="156" y="81"/>
                      </a:lnTo>
                      <a:lnTo>
                        <a:pt x="156" y="81"/>
                      </a:lnTo>
                      <a:lnTo>
                        <a:pt x="156" y="81"/>
                      </a:lnTo>
                      <a:lnTo>
                        <a:pt x="157" y="81"/>
                      </a:lnTo>
                      <a:lnTo>
                        <a:pt x="157" y="81"/>
                      </a:lnTo>
                      <a:lnTo>
                        <a:pt x="158" y="81"/>
                      </a:lnTo>
                      <a:lnTo>
                        <a:pt x="158" y="80"/>
                      </a:lnTo>
                      <a:lnTo>
                        <a:pt x="158" y="79"/>
                      </a:lnTo>
                      <a:lnTo>
                        <a:pt x="159" y="79"/>
                      </a:lnTo>
                      <a:lnTo>
                        <a:pt x="159" y="78"/>
                      </a:lnTo>
                      <a:lnTo>
                        <a:pt x="159" y="77"/>
                      </a:lnTo>
                      <a:lnTo>
                        <a:pt x="158" y="77"/>
                      </a:lnTo>
                      <a:lnTo>
                        <a:pt x="158" y="76"/>
                      </a:lnTo>
                      <a:lnTo>
                        <a:pt x="158" y="75"/>
                      </a:lnTo>
                      <a:lnTo>
                        <a:pt x="158" y="75"/>
                      </a:lnTo>
                      <a:lnTo>
                        <a:pt x="158" y="74"/>
                      </a:lnTo>
                      <a:lnTo>
                        <a:pt x="158" y="73"/>
                      </a:lnTo>
                      <a:lnTo>
                        <a:pt x="157" y="73"/>
                      </a:lnTo>
                      <a:lnTo>
                        <a:pt x="157" y="73"/>
                      </a:lnTo>
                      <a:lnTo>
                        <a:pt x="156" y="73"/>
                      </a:lnTo>
                      <a:lnTo>
                        <a:pt x="156" y="73"/>
                      </a:lnTo>
                      <a:lnTo>
                        <a:pt x="156" y="73"/>
                      </a:lnTo>
                      <a:lnTo>
                        <a:pt x="155" y="73"/>
                      </a:lnTo>
                      <a:lnTo>
                        <a:pt x="155" y="72"/>
                      </a:lnTo>
                      <a:lnTo>
                        <a:pt x="155" y="71"/>
                      </a:lnTo>
                      <a:lnTo>
                        <a:pt x="155" y="71"/>
                      </a:lnTo>
                      <a:lnTo>
                        <a:pt x="155" y="70"/>
                      </a:lnTo>
                      <a:lnTo>
                        <a:pt x="155" y="69"/>
                      </a:lnTo>
                      <a:lnTo>
                        <a:pt x="155" y="69"/>
                      </a:lnTo>
                      <a:lnTo>
                        <a:pt x="154" y="69"/>
                      </a:lnTo>
                      <a:lnTo>
                        <a:pt x="154" y="68"/>
                      </a:lnTo>
                      <a:lnTo>
                        <a:pt x="154" y="67"/>
                      </a:lnTo>
                      <a:lnTo>
                        <a:pt x="155" y="67"/>
                      </a:lnTo>
                      <a:lnTo>
                        <a:pt x="156" y="67"/>
                      </a:lnTo>
                      <a:lnTo>
                        <a:pt x="156" y="66"/>
                      </a:lnTo>
                      <a:lnTo>
                        <a:pt x="156" y="65"/>
                      </a:lnTo>
                      <a:lnTo>
                        <a:pt x="155" y="64"/>
                      </a:lnTo>
                      <a:lnTo>
                        <a:pt x="155" y="64"/>
                      </a:lnTo>
                      <a:lnTo>
                        <a:pt x="155" y="63"/>
                      </a:lnTo>
                      <a:lnTo>
                        <a:pt x="156" y="63"/>
                      </a:lnTo>
                      <a:lnTo>
                        <a:pt x="156" y="63"/>
                      </a:lnTo>
                      <a:lnTo>
                        <a:pt x="157" y="62"/>
                      </a:lnTo>
                      <a:lnTo>
                        <a:pt x="157" y="62"/>
                      </a:lnTo>
                      <a:lnTo>
                        <a:pt x="158" y="62"/>
                      </a:lnTo>
                      <a:lnTo>
                        <a:pt x="158" y="61"/>
                      </a:lnTo>
                      <a:lnTo>
                        <a:pt x="158" y="60"/>
                      </a:lnTo>
                      <a:lnTo>
                        <a:pt x="158" y="60"/>
                      </a:lnTo>
                      <a:lnTo>
                        <a:pt x="158" y="60"/>
                      </a:lnTo>
                      <a:lnTo>
                        <a:pt x="158" y="59"/>
                      </a:lnTo>
                      <a:lnTo>
                        <a:pt x="159" y="59"/>
                      </a:lnTo>
                      <a:lnTo>
                        <a:pt x="160" y="59"/>
                      </a:lnTo>
                      <a:lnTo>
                        <a:pt x="160" y="60"/>
                      </a:lnTo>
                      <a:lnTo>
                        <a:pt x="161" y="60"/>
                      </a:lnTo>
                      <a:lnTo>
                        <a:pt x="162" y="60"/>
                      </a:lnTo>
                      <a:lnTo>
                        <a:pt x="162" y="59"/>
                      </a:lnTo>
                      <a:lnTo>
                        <a:pt x="162" y="58"/>
                      </a:lnTo>
                      <a:lnTo>
                        <a:pt x="161" y="58"/>
                      </a:lnTo>
                      <a:lnTo>
                        <a:pt x="162" y="58"/>
                      </a:lnTo>
                      <a:lnTo>
                        <a:pt x="162" y="57"/>
                      </a:lnTo>
                      <a:lnTo>
                        <a:pt x="162" y="56"/>
                      </a:lnTo>
                      <a:lnTo>
                        <a:pt x="162" y="56"/>
                      </a:lnTo>
                      <a:lnTo>
                        <a:pt x="162" y="55"/>
                      </a:lnTo>
                      <a:lnTo>
                        <a:pt x="163" y="55"/>
                      </a:lnTo>
                      <a:lnTo>
                        <a:pt x="163" y="55"/>
                      </a:lnTo>
                      <a:lnTo>
                        <a:pt x="163" y="54"/>
                      </a:lnTo>
                      <a:lnTo>
                        <a:pt x="163" y="54"/>
                      </a:lnTo>
                      <a:lnTo>
                        <a:pt x="164" y="54"/>
                      </a:lnTo>
                      <a:lnTo>
                        <a:pt x="165" y="53"/>
                      </a:lnTo>
                      <a:lnTo>
                        <a:pt x="165" y="53"/>
                      </a:lnTo>
                      <a:lnTo>
                        <a:pt x="166" y="52"/>
                      </a:lnTo>
                      <a:lnTo>
                        <a:pt x="166" y="52"/>
                      </a:lnTo>
                      <a:lnTo>
                        <a:pt x="167" y="52"/>
                      </a:lnTo>
                      <a:lnTo>
                        <a:pt x="167" y="51"/>
                      </a:lnTo>
                      <a:lnTo>
                        <a:pt x="167" y="50"/>
                      </a:lnTo>
                      <a:lnTo>
                        <a:pt x="167" y="50"/>
                      </a:lnTo>
                      <a:lnTo>
                        <a:pt x="167" y="49"/>
                      </a:lnTo>
                      <a:lnTo>
                        <a:pt x="167" y="49"/>
                      </a:lnTo>
                      <a:lnTo>
                        <a:pt x="168" y="49"/>
                      </a:lnTo>
                      <a:lnTo>
                        <a:pt x="168" y="48"/>
                      </a:lnTo>
                      <a:lnTo>
                        <a:pt x="169" y="48"/>
                      </a:lnTo>
                      <a:lnTo>
                        <a:pt x="169" y="49"/>
                      </a:lnTo>
                      <a:lnTo>
                        <a:pt x="169" y="49"/>
                      </a:lnTo>
                      <a:lnTo>
                        <a:pt x="169" y="50"/>
                      </a:lnTo>
                      <a:lnTo>
                        <a:pt x="170" y="50"/>
                      </a:lnTo>
                      <a:lnTo>
                        <a:pt x="170" y="49"/>
                      </a:lnTo>
                      <a:lnTo>
                        <a:pt x="171" y="49"/>
                      </a:lnTo>
                      <a:lnTo>
                        <a:pt x="171" y="50"/>
                      </a:lnTo>
                      <a:lnTo>
                        <a:pt x="171" y="49"/>
                      </a:lnTo>
                      <a:lnTo>
                        <a:pt x="172" y="49"/>
                      </a:lnTo>
                      <a:lnTo>
                        <a:pt x="173" y="49"/>
                      </a:lnTo>
                      <a:lnTo>
                        <a:pt x="173" y="49"/>
                      </a:lnTo>
                      <a:lnTo>
                        <a:pt x="173" y="48"/>
                      </a:lnTo>
                      <a:lnTo>
                        <a:pt x="174" y="48"/>
                      </a:lnTo>
                      <a:lnTo>
                        <a:pt x="174" y="48"/>
                      </a:lnTo>
                      <a:lnTo>
                        <a:pt x="175" y="48"/>
                      </a:lnTo>
                      <a:lnTo>
                        <a:pt x="175" y="48"/>
                      </a:lnTo>
                      <a:lnTo>
                        <a:pt x="175" y="48"/>
                      </a:lnTo>
                      <a:lnTo>
                        <a:pt x="176" y="48"/>
                      </a:lnTo>
                      <a:lnTo>
                        <a:pt x="177" y="48"/>
                      </a:lnTo>
                      <a:lnTo>
                        <a:pt x="177" y="48"/>
                      </a:lnTo>
                      <a:lnTo>
                        <a:pt x="177" y="47"/>
                      </a:lnTo>
                      <a:lnTo>
                        <a:pt x="178" y="47"/>
                      </a:lnTo>
                      <a:lnTo>
                        <a:pt x="178" y="46"/>
                      </a:lnTo>
                      <a:lnTo>
                        <a:pt x="177" y="46"/>
                      </a:lnTo>
                      <a:lnTo>
                        <a:pt x="177" y="45"/>
                      </a:lnTo>
                      <a:lnTo>
                        <a:pt x="177" y="45"/>
                      </a:lnTo>
                      <a:lnTo>
                        <a:pt x="177" y="44"/>
                      </a:lnTo>
                      <a:lnTo>
                        <a:pt x="178" y="44"/>
                      </a:lnTo>
                      <a:lnTo>
                        <a:pt x="179" y="43"/>
                      </a:lnTo>
                      <a:lnTo>
                        <a:pt x="179" y="43"/>
                      </a:lnTo>
                      <a:lnTo>
                        <a:pt x="179" y="43"/>
                      </a:lnTo>
                      <a:lnTo>
                        <a:pt x="180" y="43"/>
                      </a:lnTo>
                      <a:lnTo>
                        <a:pt x="180" y="42"/>
                      </a:lnTo>
                      <a:lnTo>
                        <a:pt x="181" y="42"/>
                      </a:lnTo>
                      <a:lnTo>
                        <a:pt x="182" y="42"/>
                      </a:lnTo>
                      <a:lnTo>
                        <a:pt x="182" y="41"/>
                      </a:lnTo>
                      <a:lnTo>
                        <a:pt x="182" y="41"/>
                      </a:lnTo>
                      <a:lnTo>
                        <a:pt x="183" y="41"/>
                      </a:lnTo>
                      <a:lnTo>
                        <a:pt x="183" y="41"/>
                      </a:lnTo>
                      <a:lnTo>
                        <a:pt x="184" y="41"/>
                      </a:lnTo>
                      <a:lnTo>
                        <a:pt x="184" y="40"/>
                      </a:lnTo>
                      <a:lnTo>
                        <a:pt x="184" y="39"/>
                      </a:lnTo>
                      <a:lnTo>
                        <a:pt x="184" y="39"/>
                      </a:lnTo>
                      <a:lnTo>
                        <a:pt x="184" y="38"/>
                      </a:lnTo>
                      <a:lnTo>
                        <a:pt x="184" y="38"/>
                      </a:lnTo>
                      <a:lnTo>
                        <a:pt x="184" y="37"/>
                      </a:lnTo>
                      <a:lnTo>
                        <a:pt x="185" y="37"/>
                      </a:lnTo>
                      <a:lnTo>
                        <a:pt x="186" y="37"/>
                      </a:lnTo>
                      <a:lnTo>
                        <a:pt x="186" y="37"/>
                      </a:lnTo>
                      <a:lnTo>
                        <a:pt x="186" y="37"/>
                      </a:lnTo>
                      <a:lnTo>
                        <a:pt x="187" y="37"/>
                      </a:lnTo>
                      <a:lnTo>
                        <a:pt x="188" y="36"/>
                      </a:lnTo>
                      <a:lnTo>
                        <a:pt x="188" y="36"/>
                      </a:lnTo>
                      <a:lnTo>
                        <a:pt x="189" y="36"/>
                      </a:lnTo>
                      <a:lnTo>
                        <a:pt x="189" y="35"/>
                      </a:lnTo>
                      <a:lnTo>
                        <a:pt x="190" y="35"/>
                      </a:lnTo>
                      <a:lnTo>
                        <a:pt x="190" y="35"/>
                      </a:lnTo>
                      <a:lnTo>
                        <a:pt x="190" y="34"/>
                      </a:lnTo>
                      <a:lnTo>
                        <a:pt x="190" y="34"/>
                      </a:lnTo>
                      <a:lnTo>
                        <a:pt x="191" y="34"/>
                      </a:lnTo>
                      <a:lnTo>
                        <a:pt x="192" y="34"/>
                      </a:lnTo>
                      <a:lnTo>
                        <a:pt x="192" y="33"/>
                      </a:lnTo>
                      <a:lnTo>
                        <a:pt x="193" y="33"/>
                      </a:lnTo>
                      <a:lnTo>
                        <a:pt x="194" y="33"/>
                      </a:lnTo>
                      <a:lnTo>
                        <a:pt x="194" y="33"/>
                      </a:lnTo>
                      <a:lnTo>
                        <a:pt x="195" y="33"/>
                      </a:lnTo>
                      <a:lnTo>
                        <a:pt x="196" y="32"/>
                      </a:lnTo>
                      <a:lnTo>
                        <a:pt x="196" y="31"/>
                      </a:lnTo>
                      <a:lnTo>
                        <a:pt x="196" y="31"/>
                      </a:lnTo>
                      <a:lnTo>
                        <a:pt x="197" y="31"/>
                      </a:lnTo>
                      <a:lnTo>
                        <a:pt x="198" y="31"/>
                      </a:lnTo>
                      <a:lnTo>
                        <a:pt x="198" y="30"/>
                      </a:lnTo>
                      <a:lnTo>
                        <a:pt x="198" y="30"/>
                      </a:lnTo>
                      <a:lnTo>
                        <a:pt x="199" y="30"/>
                      </a:lnTo>
                      <a:lnTo>
                        <a:pt x="199" y="31"/>
                      </a:lnTo>
                      <a:lnTo>
                        <a:pt x="199" y="31"/>
                      </a:lnTo>
                      <a:lnTo>
                        <a:pt x="200" y="31"/>
                      </a:lnTo>
                      <a:lnTo>
                        <a:pt x="200" y="31"/>
                      </a:lnTo>
                      <a:lnTo>
                        <a:pt x="201" y="31"/>
                      </a:lnTo>
                      <a:lnTo>
                        <a:pt x="201" y="31"/>
                      </a:lnTo>
                      <a:lnTo>
                        <a:pt x="202" y="31"/>
                      </a:lnTo>
                      <a:lnTo>
                        <a:pt x="202" y="31"/>
                      </a:lnTo>
                      <a:lnTo>
                        <a:pt x="203" y="30"/>
                      </a:lnTo>
                      <a:lnTo>
                        <a:pt x="203" y="29"/>
                      </a:lnTo>
                      <a:lnTo>
                        <a:pt x="203" y="29"/>
                      </a:lnTo>
                      <a:lnTo>
                        <a:pt x="203" y="30"/>
                      </a:lnTo>
                      <a:lnTo>
                        <a:pt x="204" y="30"/>
                      </a:lnTo>
                      <a:lnTo>
                        <a:pt x="205" y="30"/>
                      </a:lnTo>
                      <a:lnTo>
                        <a:pt x="205" y="30"/>
                      </a:lnTo>
                      <a:lnTo>
                        <a:pt x="205" y="29"/>
                      </a:lnTo>
                      <a:lnTo>
                        <a:pt x="206" y="29"/>
                      </a:lnTo>
                      <a:lnTo>
                        <a:pt x="206" y="29"/>
                      </a:lnTo>
                      <a:lnTo>
                        <a:pt x="207" y="29"/>
                      </a:lnTo>
                      <a:lnTo>
                        <a:pt x="207" y="29"/>
                      </a:lnTo>
                      <a:lnTo>
                        <a:pt x="208" y="29"/>
                      </a:lnTo>
                      <a:lnTo>
                        <a:pt x="208" y="29"/>
                      </a:lnTo>
                      <a:lnTo>
                        <a:pt x="209" y="29"/>
                      </a:lnTo>
                      <a:lnTo>
                        <a:pt x="209" y="30"/>
                      </a:lnTo>
                      <a:lnTo>
                        <a:pt x="209" y="30"/>
                      </a:lnTo>
                      <a:lnTo>
                        <a:pt x="210" y="30"/>
                      </a:lnTo>
                      <a:lnTo>
                        <a:pt x="211" y="30"/>
                      </a:lnTo>
                      <a:lnTo>
                        <a:pt x="211" y="30"/>
                      </a:lnTo>
                      <a:lnTo>
                        <a:pt x="212" y="30"/>
                      </a:lnTo>
                      <a:lnTo>
                        <a:pt x="213" y="30"/>
                      </a:lnTo>
                      <a:lnTo>
                        <a:pt x="213" y="30"/>
                      </a:lnTo>
                      <a:lnTo>
                        <a:pt x="214" y="30"/>
                      </a:lnTo>
                      <a:lnTo>
                        <a:pt x="215" y="30"/>
                      </a:lnTo>
                      <a:lnTo>
                        <a:pt x="215" y="30"/>
                      </a:lnTo>
                      <a:lnTo>
                        <a:pt x="216" y="30"/>
                      </a:lnTo>
                      <a:lnTo>
                        <a:pt x="216" y="31"/>
                      </a:lnTo>
                      <a:lnTo>
                        <a:pt x="217" y="31"/>
                      </a:lnTo>
                      <a:lnTo>
                        <a:pt x="217" y="31"/>
                      </a:lnTo>
                      <a:lnTo>
                        <a:pt x="218" y="32"/>
                      </a:lnTo>
                      <a:lnTo>
                        <a:pt x="218" y="33"/>
                      </a:lnTo>
                      <a:lnTo>
                        <a:pt x="218" y="33"/>
                      </a:lnTo>
                      <a:lnTo>
                        <a:pt x="218" y="34"/>
                      </a:lnTo>
                      <a:lnTo>
                        <a:pt x="219" y="35"/>
                      </a:lnTo>
                      <a:lnTo>
                        <a:pt x="220" y="35"/>
                      </a:lnTo>
                      <a:lnTo>
                        <a:pt x="220" y="35"/>
                      </a:lnTo>
                      <a:lnTo>
                        <a:pt x="220" y="36"/>
                      </a:lnTo>
                      <a:lnTo>
                        <a:pt x="220" y="37"/>
                      </a:lnTo>
                      <a:lnTo>
                        <a:pt x="221" y="37"/>
                      </a:lnTo>
                      <a:lnTo>
                        <a:pt x="221" y="37"/>
                      </a:lnTo>
                      <a:lnTo>
                        <a:pt x="221" y="38"/>
                      </a:lnTo>
                      <a:lnTo>
                        <a:pt x="220" y="38"/>
                      </a:lnTo>
                      <a:lnTo>
                        <a:pt x="221" y="39"/>
                      </a:lnTo>
                      <a:lnTo>
                        <a:pt x="221" y="39"/>
                      </a:lnTo>
                      <a:lnTo>
                        <a:pt x="222" y="39"/>
                      </a:lnTo>
                      <a:lnTo>
                        <a:pt x="223" y="40"/>
                      </a:lnTo>
                      <a:lnTo>
                        <a:pt x="224" y="40"/>
                      </a:lnTo>
                      <a:lnTo>
                        <a:pt x="224" y="40"/>
                      </a:lnTo>
                      <a:lnTo>
                        <a:pt x="225" y="40"/>
                      </a:lnTo>
                      <a:lnTo>
                        <a:pt x="225" y="41"/>
                      </a:lnTo>
                      <a:lnTo>
                        <a:pt x="225" y="40"/>
                      </a:lnTo>
                      <a:lnTo>
                        <a:pt x="226" y="40"/>
                      </a:lnTo>
                      <a:lnTo>
                        <a:pt x="226" y="40"/>
                      </a:lnTo>
                      <a:lnTo>
                        <a:pt x="227" y="40"/>
                      </a:lnTo>
                      <a:lnTo>
                        <a:pt x="227" y="41"/>
                      </a:lnTo>
                      <a:lnTo>
                        <a:pt x="228" y="41"/>
                      </a:lnTo>
                      <a:lnTo>
                        <a:pt x="228" y="41"/>
                      </a:lnTo>
                      <a:lnTo>
                        <a:pt x="229" y="41"/>
                      </a:lnTo>
                      <a:lnTo>
                        <a:pt x="230" y="41"/>
                      </a:lnTo>
                      <a:lnTo>
                        <a:pt x="230" y="42"/>
                      </a:lnTo>
                      <a:lnTo>
                        <a:pt x="231" y="42"/>
                      </a:lnTo>
                      <a:lnTo>
                        <a:pt x="231" y="41"/>
                      </a:lnTo>
                      <a:lnTo>
                        <a:pt x="232" y="41"/>
                      </a:lnTo>
                      <a:lnTo>
                        <a:pt x="232" y="42"/>
                      </a:lnTo>
                      <a:lnTo>
                        <a:pt x="233" y="42"/>
                      </a:lnTo>
                      <a:lnTo>
                        <a:pt x="234" y="43"/>
                      </a:lnTo>
                      <a:lnTo>
                        <a:pt x="234" y="43"/>
                      </a:lnTo>
                      <a:lnTo>
                        <a:pt x="234" y="42"/>
                      </a:lnTo>
                      <a:lnTo>
                        <a:pt x="235" y="42"/>
                      </a:lnTo>
                      <a:lnTo>
                        <a:pt x="236" y="41"/>
                      </a:lnTo>
                      <a:lnTo>
                        <a:pt x="236" y="41"/>
                      </a:lnTo>
                      <a:lnTo>
                        <a:pt x="236" y="42"/>
                      </a:lnTo>
                      <a:lnTo>
                        <a:pt x="237" y="42"/>
                      </a:lnTo>
                      <a:lnTo>
                        <a:pt x="238" y="42"/>
                      </a:lnTo>
                      <a:lnTo>
                        <a:pt x="239" y="42"/>
                      </a:lnTo>
                      <a:lnTo>
                        <a:pt x="239" y="42"/>
                      </a:lnTo>
                      <a:lnTo>
                        <a:pt x="240" y="42"/>
                      </a:lnTo>
                      <a:lnTo>
                        <a:pt x="241" y="42"/>
                      </a:lnTo>
                      <a:lnTo>
                        <a:pt x="241" y="43"/>
                      </a:lnTo>
                      <a:lnTo>
                        <a:pt x="241" y="43"/>
                      </a:lnTo>
                      <a:lnTo>
                        <a:pt x="242" y="43"/>
                      </a:lnTo>
                      <a:lnTo>
                        <a:pt x="242" y="42"/>
                      </a:lnTo>
                      <a:lnTo>
                        <a:pt x="242" y="41"/>
                      </a:lnTo>
                      <a:lnTo>
                        <a:pt x="243" y="41"/>
                      </a:lnTo>
                      <a:lnTo>
                        <a:pt x="243" y="40"/>
                      </a:lnTo>
                      <a:lnTo>
                        <a:pt x="243" y="40"/>
                      </a:lnTo>
                      <a:lnTo>
                        <a:pt x="244" y="41"/>
                      </a:lnTo>
                      <a:lnTo>
                        <a:pt x="244" y="41"/>
                      </a:lnTo>
                      <a:lnTo>
                        <a:pt x="244" y="42"/>
                      </a:lnTo>
                      <a:lnTo>
                        <a:pt x="244" y="43"/>
                      </a:lnTo>
                      <a:lnTo>
                        <a:pt x="245" y="43"/>
                      </a:lnTo>
                      <a:lnTo>
                        <a:pt x="245" y="43"/>
                      </a:lnTo>
                      <a:lnTo>
                        <a:pt x="246" y="43"/>
                      </a:lnTo>
                      <a:lnTo>
                        <a:pt x="247" y="43"/>
                      </a:lnTo>
                      <a:lnTo>
                        <a:pt x="247" y="43"/>
                      </a:lnTo>
                      <a:lnTo>
                        <a:pt x="247" y="43"/>
                      </a:lnTo>
                      <a:lnTo>
                        <a:pt x="247" y="44"/>
                      </a:lnTo>
                      <a:lnTo>
                        <a:pt x="247" y="45"/>
                      </a:lnTo>
                      <a:lnTo>
                        <a:pt x="248" y="45"/>
                      </a:lnTo>
                      <a:lnTo>
                        <a:pt x="248" y="45"/>
                      </a:lnTo>
                      <a:lnTo>
                        <a:pt x="248" y="46"/>
                      </a:lnTo>
                      <a:lnTo>
                        <a:pt x="249" y="47"/>
                      </a:lnTo>
                      <a:lnTo>
                        <a:pt x="249" y="48"/>
                      </a:lnTo>
                      <a:lnTo>
                        <a:pt x="249" y="48"/>
                      </a:lnTo>
                      <a:lnTo>
                        <a:pt x="249" y="49"/>
                      </a:lnTo>
                      <a:lnTo>
                        <a:pt x="249" y="50"/>
                      </a:lnTo>
                      <a:lnTo>
                        <a:pt x="250" y="50"/>
                      </a:lnTo>
                      <a:lnTo>
                        <a:pt x="251" y="50"/>
                      </a:lnTo>
                      <a:lnTo>
                        <a:pt x="252" y="51"/>
                      </a:lnTo>
                      <a:lnTo>
                        <a:pt x="253" y="52"/>
                      </a:lnTo>
                      <a:lnTo>
                        <a:pt x="254" y="51"/>
                      </a:lnTo>
                      <a:lnTo>
                        <a:pt x="254" y="52"/>
                      </a:lnTo>
                      <a:lnTo>
                        <a:pt x="255" y="52"/>
                      </a:lnTo>
                      <a:lnTo>
                        <a:pt x="255" y="53"/>
                      </a:lnTo>
                      <a:lnTo>
                        <a:pt x="255" y="54"/>
                      </a:lnTo>
                      <a:lnTo>
                        <a:pt x="257" y="54"/>
                      </a:lnTo>
                      <a:lnTo>
                        <a:pt x="257" y="55"/>
                      </a:lnTo>
                      <a:lnTo>
                        <a:pt x="257" y="56"/>
                      </a:lnTo>
                      <a:lnTo>
                        <a:pt x="258" y="56"/>
                      </a:lnTo>
                      <a:lnTo>
                        <a:pt x="258" y="56"/>
                      </a:lnTo>
                      <a:lnTo>
                        <a:pt x="257" y="56"/>
                      </a:lnTo>
                      <a:lnTo>
                        <a:pt x="257" y="57"/>
                      </a:lnTo>
                      <a:lnTo>
                        <a:pt x="256" y="57"/>
                      </a:lnTo>
                      <a:lnTo>
                        <a:pt x="256" y="58"/>
                      </a:lnTo>
                      <a:lnTo>
                        <a:pt x="256" y="58"/>
                      </a:lnTo>
                      <a:lnTo>
                        <a:pt x="256" y="59"/>
                      </a:lnTo>
                      <a:lnTo>
                        <a:pt x="256" y="60"/>
                      </a:lnTo>
                      <a:lnTo>
                        <a:pt x="257" y="60"/>
                      </a:lnTo>
                      <a:lnTo>
                        <a:pt x="257" y="60"/>
                      </a:lnTo>
                      <a:lnTo>
                        <a:pt x="258" y="60"/>
                      </a:lnTo>
                      <a:lnTo>
                        <a:pt x="258" y="60"/>
                      </a:lnTo>
                      <a:lnTo>
                        <a:pt x="259" y="60"/>
                      </a:lnTo>
                      <a:lnTo>
                        <a:pt x="259" y="60"/>
                      </a:lnTo>
                      <a:lnTo>
                        <a:pt x="259" y="61"/>
                      </a:lnTo>
                      <a:lnTo>
                        <a:pt x="260" y="62"/>
                      </a:lnTo>
                      <a:lnTo>
                        <a:pt x="260" y="62"/>
                      </a:lnTo>
                      <a:lnTo>
                        <a:pt x="260" y="63"/>
                      </a:lnTo>
                      <a:lnTo>
                        <a:pt x="260" y="64"/>
                      </a:lnTo>
                      <a:lnTo>
                        <a:pt x="261" y="64"/>
                      </a:lnTo>
                      <a:lnTo>
                        <a:pt x="262" y="64"/>
                      </a:lnTo>
                      <a:lnTo>
                        <a:pt x="262" y="65"/>
                      </a:lnTo>
                      <a:lnTo>
                        <a:pt x="262" y="66"/>
                      </a:lnTo>
                      <a:lnTo>
                        <a:pt x="262" y="67"/>
                      </a:lnTo>
                      <a:lnTo>
                        <a:pt x="262" y="67"/>
                      </a:lnTo>
                      <a:lnTo>
                        <a:pt x="263" y="67"/>
                      </a:lnTo>
                      <a:lnTo>
                        <a:pt x="263" y="68"/>
                      </a:lnTo>
                      <a:lnTo>
                        <a:pt x="264" y="69"/>
                      </a:lnTo>
                      <a:lnTo>
                        <a:pt x="264" y="69"/>
                      </a:lnTo>
                      <a:lnTo>
                        <a:pt x="265" y="69"/>
                      </a:lnTo>
                      <a:lnTo>
                        <a:pt x="266" y="69"/>
                      </a:lnTo>
                      <a:lnTo>
                        <a:pt x="266" y="70"/>
                      </a:lnTo>
                      <a:lnTo>
                        <a:pt x="266" y="71"/>
                      </a:lnTo>
                      <a:lnTo>
                        <a:pt x="267" y="71"/>
                      </a:lnTo>
                      <a:lnTo>
                        <a:pt x="268" y="70"/>
                      </a:lnTo>
                      <a:lnTo>
                        <a:pt x="268" y="70"/>
                      </a:lnTo>
                      <a:lnTo>
                        <a:pt x="269" y="70"/>
                      </a:lnTo>
                      <a:lnTo>
                        <a:pt x="270" y="71"/>
                      </a:lnTo>
                      <a:lnTo>
                        <a:pt x="270" y="71"/>
                      </a:lnTo>
                      <a:lnTo>
                        <a:pt x="271" y="72"/>
                      </a:lnTo>
                      <a:lnTo>
                        <a:pt x="272" y="73"/>
                      </a:lnTo>
                      <a:lnTo>
                        <a:pt x="272" y="73"/>
                      </a:lnTo>
                      <a:lnTo>
                        <a:pt x="273" y="73"/>
                      </a:lnTo>
                      <a:lnTo>
                        <a:pt x="274" y="73"/>
                      </a:lnTo>
                      <a:lnTo>
                        <a:pt x="274" y="73"/>
                      </a:lnTo>
                      <a:lnTo>
                        <a:pt x="275" y="73"/>
                      </a:lnTo>
                      <a:lnTo>
                        <a:pt x="276" y="74"/>
                      </a:lnTo>
                      <a:lnTo>
                        <a:pt x="277" y="74"/>
                      </a:lnTo>
                      <a:lnTo>
                        <a:pt x="277" y="75"/>
                      </a:lnTo>
                      <a:lnTo>
                        <a:pt x="277" y="75"/>
                      </a:lnTo>
                      <a:lnTo>
                        <a:pt x="277" y="76"/>
                      </a:lnTo>
                      <a:lnTo>
                        <a:pt x="278" y="76"/>
                      </a:lnTo>
                      <a:lnTo>
                        <a:pt x="278" y="77"/>
                      </a:lnTo>
                      <a:lnTo>
                        <a:pt x="278" y="77"/>
                      </a:lnTo>
                      <a:lnTo>
                        <a:pt x="279" y="78"/>
                      </a:lnTo>
                      <a:lnTo>
                        <a:pt x="279" y="79"/>
                      </a:lnTo>
                      <a:lnTo>
                        <a:pt x="279" y="78"/>
                      </a:lnTo>
                      <a:lnTo>
                        <a:pt x="280" y="78"/>
                      </a:lnTo>
                      <a:lnTo>
                        <a:pt x="281" y="78"/>
                      </a:lnTo>
                      <a:lnTo>
                        <a:pt x="281" y="79"/>
                      </a:lnTo>
                      <a:lnTo>
                        <a:pt x="282" y="78"/>
                      </a:lnTo>
                      <a:lnTo>
                        <a:pt x="283" y="78"/>
                      </a:lnTo>
                      <a:lnTo>
                        <a:pt x="283" y="79"/>
                      </a:lnTo>
                      <a:lnTo>
                        <a:pt x="283" y="79"/>
                      </a:lnTo>
                      <a:lnTo>
                        <a:pt x="284" y="79"/>
                      </a:lnTo>
                      <a:lnTo>
                        <a:pt x="285" y="79"/>
                      </a:lnTo>
                      <a:lnTo>
                        <a:pt x="285" y="79"/>
                      </a:lnTo>
                      <a:lnTo>
                        <a:pt x="286" y="79"/>
                      </a:lnTo>
                      <a:lnTo>
                        <a:pt x="287" y="79"/>
                      </a:lnTo>
                      <a:lnTo>
                        <a:pt x="288" y="79"/>
                      </a:lnTo>
                      <a:lnTo>
                        <a:pt x="289" y="79"/>
                      </a:lnTo>
                      <a:lnTo>
                        <a:pt x="289" y="79"/>
                      </a:lnTo>
                      <a:lnTo>
                        <a:pt x="289" y="78"/>
                      </a:lnTo>
                      <a:lnTo>
                        <a:pt x="289" y="77"/>
                      </a:lnTo>
                      <a:lnTo>
                        <a:pt x="290" y="77"/>
                      </a:lnTo>
                      <a:lnTo>
                        <a:pt x="291" y="77"/>
                      </a:lnTo>
                      <a:lnTo>
                        <a:pt x="291" y="77"/>
                      </a:lnTo>
                      <a:lnTo>
                        <a:pt x="292" y="77"/>
                      </a:lnTo>
                      <a:lnTo>
                        <a:pt x="293" y="77"/>
                      </a:lnTo>
                      <a:lnTo>
                        <a:pt x="293" y="77"/>
                      </a:lnTo>
                      <a:lnTo>
                        <a:pt x="294" y="77"/>
                      </a:lnTo>
                      <a:lnTo>
                        <a:pt x="295" y="77"/>
                      </a:lnTo>
                      <a:lnTo>
                        <a:pt x="296" y="77"/>
                      </a:lnTo>
                      <a:lnTo>
                        <a:pt x="297" y="77"/>
                      </a:lnTo>
                      <a:lnTo>
                        <a:pt x="298" y="77"/>
                      </a:lnTo>
                      <a:lnTo>
                        <a:pt x="298" y="77"/>
                      </a:lnTo>
                      <a:lnTo>
                        <a:pt x="299" y="77"/>
                      </a:lnTo>
                      <a:lnTo>
                        <a:pt x="300" y="77"/>
                      </a:lnTo>
                      <a:lnTo>
                        <a:pt x="300" y="77"/>
                      </a:lnTo>
                      <a:lnTo>
                        <a:pt x="301" y="77"/>
                      </a:lnTo>
                      <a:lnTo>
                        <a:pt x="302" y="76"/>
                      </a:lnTo>
                      <a:lnTo>
                        <a:pt x="302" y="75"/>
                      </a:lnTo>
                      <a:lnTo>
                        <a:pt x="303" y="75"/>
                      </a:lnTo>
                      <a:lnTo>
                        <a:pt x="304" y="73"/>
                      </a:lnTo>
                      <a:lnTo>
                        <a:pt x="304" y="73"/>
                      </a:lnTo>
                      <a:lnTo>
                        <a:pt x="305" y="73"/>
                      </a:lnTo>
                      <a:lnTo>
                        <a:pt x="306" y="73"/>
                      </a:lnTo>
                      <a:lnTo>
                        <a:pt x="306" y="73"/>
                      </a:lnTo>
                      <a:lnTo>
                        <a:pt x="307" y="73"/>
                      </a:lnTo>
                      <a:lnTo>
                        <a:pt x="308" y="72"/>
                      </a:lnTo>
                      <a:lnTo>
                        <a:pt x="308" y="72"/>
                      </a:lnTo>
                      <a:lnTo>
                        <a:pt x="309" y="71"/>
                      </a:lnTo>
                      <a:lnTo>
                        <a:pt x="309" y="71"/>
                      </a:lnTo>
                      <a:lnTo>
                        <a:pt x="309" y="70"/>
                      </a:lnTo>
                      <a:lnTo>
                        <a:pt x="309" y="69"/>
                      </a:lnTo>
                      <a:lnTo>
                        <a:pt x="310" y="69"/>
                      </a:lnTo>
                      <a:lnTo>
                        <a:pt x="310" y="68"/>
                      </a:lnTo>
                      <a:lnTo>
                        <a:pt x="310" y="67"/>
                      </a:lnTo>
                      <a:lnTo>
                        <a:pt x="310" y="67"/>
                      </a:lnTo>
                      <a:lnTo>
                        <a:pt x="310" y="67"/>
                      </a:lnTo>
                      <a:lnTo>
                        <a:pt x="311" y="67"/>
                      </a:lnTo>
                      <a:lnTo>
                        <a:pt x="311" y="66"/>
                      </a:lnTo>
                      <a:lnTo>
                        <a:pt x="312" y="66"/>
                      </a:lnTo>
                      <a:lnTo>
                        <a:pt x="312" y="66"/>
                      </a:lnTo>
                      <a:lnTo>
                        <a:pt x="313" y="66"/>
                      </a:lnTo>
                      <a:lnTo>
                        <a:pt x="314" y="66"/>
                      </a:lnTo>
                      <a:lnTo>
                        <a:pt x="315" y="66"/>
                      </a:lnTo>
                      <a:lnTo>
                        <a:pt x="315" y="66"/>
                      </a:lnTo>
                      <a:lnTo>
                        <a:pt x="316" y="65"/>
                      </a:lnTo>
                      <a:lnTo>
                        <a:pt x="319" y="64"/>
                      </a:lnTo>
                      <a:lnTo>
                        <a:pt x="319" y="64"/>
                      </a:lnTo>
                      <a:lnTo>
                        <a:pt x="320" y="64"/>
                      </a:lnTo>
                      <a:lnTo>
                        <a:pt x="320" y="64"/>
                      </a:lnTo>
                      <a:lnTo>
                        <a:pt x="321" y="64"/>
                      </a:lnTo>
                      <a:lnTo>
                        <a:pt x="321" y="64"/>
                      </a:lnTo>
                      <a:lnTo>
                        <a:pt x="322" y="64"/>
                      </a:lnTo>
                      <a:lnTo>
                        <a:pt x="323" y="64"/>
                      </a:lnTo>
                      <a:lnTo>
                        <a:pt x="323" y="64"/>
                      </a:lnTo>
                      <a:lnTo>
                        <a:pt x="324" y="64"/>
                      </a:lnTo>
                      <a:lnTo>
                        <a:pt x="325" y="64"/>
                      </a:lnTo>
                      <a:lnTo>
                        <a:pt x="325" y="64"/>
                      </a:lnTo>
                      <a:lnTo>
                        <a:pt x="325" y="64"/>
                      </a:lnTo>
                      <a:lnTo>
                        <a:pt x="326" y="64"/>
                      </a:lnTo>
                      <a:lnTo>
                        <a:pt x="327" y="64"/>
                      </a:lnTo>
                      <a:lnTo>
                        <a:pt x="327" y="64"/>
                      </a:lnTo>
                      <a:lnTo>
                        <a:pt x="327" y="64"/>
                      </a:lnTo>
                      <a:lnTo>
                        <a:pt x="327" y="63"/>
                      </a:lnTo>
                      <a:lnTo>
                        <a:pt x="327" y="62"/>
                      </a:lnTo>
                      <a:lnTo>
                        <a:pt x="328" y="62"/>
                      </a:lnTo>
                      <a:lnTo>
                        <a:pt x="329" y="62"/>
                      </a:lnTo>
                      <a:lnTo>
                        <a:pt x="328" y="63"/>
                      </a:lnTo>
                      <a:lnTo>
                        <a:pt x="329" y="63"/>
                      </a:lnTo>
                      <a:lnTo>
                        <a:pt x="329" y="64"/>
                      </a:lnTo>
                      <a:lnTo>
                        <a:pt x="329" y="64"/>
                      </a:lnTo>
                      <a:lnTo>
                        <a:pt x="329" y="65"/>
                      </a:lnTo>
                      <a:lnTo>
                        <a:pt x="329" y="66"/>
                      </a:lnTo>
                      <a:lnTo>
                        <a:pt x="329" y="67"/>
                      </a:lnTo>
                      <a:lnTo>
                        <a:pt x="329" y="67"/>
                      </a:lnTo>
                      <a:lnTo>
                        <a:pt x="329" y="68"/>
                      </a:lnTo>
                      <a:lnTo>
                        <a:pt x="329" y="69"/>
                      </a:lnTo>
                      <a:lnTo>
                        <a:pt x="330" y="70"/>
                      </a:lnTo>
                      <a:lnTo>
                        <a:pt x="331" y="71"/>
                      </a:lnTo>
                      <a:lnTo>
                        <a:pt x="331" y="71"/>
                      </a:lnTo>
                      <a:lnTo>
                        <a:pt x="331" y="72"/>
                      </a:lnTo>
                      <a:lnTo>
                        <a:pt x="331" y="73"/>
                      </a:lnTo>
                      <a:lnTo>
                        <a:pt x="331" y="73"/>
                      </a:lnTo>
                      <a:lnTo>
                        <a:pt x="332" y="74"/>
                      </a:lnTo>
                      <a:lnTo>
                        <a:pt x="332" y="75"/>
                      </a:lnTo>
                      <a:lnTo>
                        <a:pt x="333" y="75"/>
                      </a:lnTo>
                      <a:lnTo>
                        <a:pt x="334" y="76"/>
                      </a:lnTo>
                      <a:lnTo>
                        <a:pt x="334" y="76"/>
                      </a:lnTo>
                      <a:lnTo>
                        <a:pt x="335" y="76"/>
                      </a:lnTo>
                      <a:lnTo>
                        <a:pt x="336" y="76"/>
                      </a:lnTo>
                      <a:lnTo>
                        <a:pt x="336" y="75"/>
                      </a:lnTo>
                      <a:lnTo>
                        <a:pt x="337" y="75"/>
                      </a:lnTo>
                      <a:lnTo>
                        <a:pt x="337" y="76"/>
                      </a:lnTo>
                      <a:lnTo>
                        <a:pt x="338" y="77"/>
                      </a:lnTo>
                      <a:lnTo>
                        <a:pt x="338" y="77"/>
                      </a:lnTo>
                      <a:lnTo>
                        <a:pt x="339" y="76"/>
                      </a:lnTo>
                      <a:lnTo>
                        <a:pt x="340" y="76"/>
                      </a:lnTo>
                      <a:lnTo>
                        <a:pt x="340" y="76"/>
                      </a:lnTo>
                      <a:lnTo>
                        <a:pt x="341" y="77"/>
                      </a:lnTo>
                      <a:lnTo>
                        <a:pt x="341" y="77"/>
                      </a:lnTo>
                      <a:lnTo>
                        <a:pt x="341" y="78"/>
                      </a:lnTo>
                      <a:lnTo>
                        <a:pt x="341" y="79"/>
                      </a:lnTo>
                      <a:lnTo>
                        <a:pt x="341" y="79"/>
                      </a:lnTo>
                      <a:lnTo>
                        <a:pt x="341" y="80"/>
                      </a:lnTo>
                      <a:lnTo>
                        <a:pt x="342" y="81"/>
                      </a:lnTo>
                      <a:lnTo>
                        <a:pt x="342" y="82"/>
                      </a:lnTo>
                      <a:lnTo>
                        <a:pt x="342" y="83"/>
                      </a:lnTo>
                      <a:lnTo>
                        <a:pt x="342" y="85"/>
                      </a:lnTo>
                      <a:lnTo>
                        <a:pt x="342" y="85"/>
                      </a:lnTo>
                      <a:lnTo>
                        <a:pt x="341" y="88"/>
                      </a:lnTo>
                      <a:lnTo>
                        <a:pt x="341" y="89"/>
                      </a:lnTo>
                      <a:lnTo>
                        <a:pt x="340" y="90"/>
                      </a:lnTo>
                      <a:lnTo>
                        <a:pt x="339" y="92"/>
                      </a:lnTo>
                      <a:lnTo>
                        <a:pt x="340" y="94"/>
                      </a:lnTo>
                      <a:lnTo>
                        <a:pt x="340" y="95"/>
                      </a:lnTo>
                      <a:lnTo>
                        <a:pt x="340" y="96"/>
                      </a:lnTo>
                      <a:lnTo>
                        <a:pt x="341" y="96"/>
                      </a:lnTo>
                      <a:lnTo>
                        <a:pt x="342" y="98"/>
                      </a:lnTo>
                      <a:lnTo>
                        <a:pt x="342" y="98"/>
                      </a:lnTo>
                      <a:lnTo>
                        <a:pt x="341" y="98"/>
                      </a:lnTo>
                      <a:lnTo>
                        <a:pt x="340" y="99"/>
                      </a:lnTo>
                      <a:lnTo>
                        <a:pt x="340" y="99"/>
                      </a:lnTo>
                      <a:lnTo>
                        <a:pt x="340" y="100"/>
                      </a:lnTo>
                      <a:lnTo>
                        <a:pt x="340" y="100"/>
                      </a:lnTo>
                      <a:lnTo>
                        <a:pt x="340" y="100"/>
                      </a:lnTo>
                      <a:lnTo>
                        <a:pt x="340" y="101"/>
                      </a:lnTo>
                      <a:lnTo>
                        <a:pt x="342" y="101"/>
                      </a:lnTo>
                      <a:lnTo>
                        <a:pt x="342" y="101"/>
                      </a:lnTo>
                      <a:lnTo>
                        <a:pt x="343" y="102"/>
                      </a:lnTo>
                      <a:lnTo>
                        <a:pt x="344" y="102"/>
                      </a:lnTo>
                      <a:lnTo>
                        <a:pt x="346" y="104"/>
                      </a:lnTo>
                      <a:lnTo>
                        <a:pt x="346" y="105"/>
                      </a:lnTo>
                      <a:lnTo>
                        <a:pt x="348" y="107"/>
                      </a:lnTo>
                      <a:lnTo>
                        <a:pt x="348" y="108"/>
                      </a:lnTo>
                      <a:lnTo>
                        <a:pt x="348" y="109"/>
                      </a:lnTo>
                      <a:lnTo>
                        <a:pt x="348" y="110"/>
                      </a:lnTo>
                      <a:lnTo>
                        <a:pt x="348" y="111"/>
                      </a:lnTo>
                      <a:lnTo>
                        <a:pt x="348" y="112"/>
                      </a:lnTo>
                      <a:lnTo>
                        <a:pt x="348" y="113"/>
                      </a:lnTo>
                      <a:lnTo>
                        <a:pt x="348" y="115"/>
                      </a:lnTo>
                      <a:lnTo>
                        <a:pt x="348" y="115"/>
                      </a:lnTo>
                      <a:lnTo>
                        <a:pt x="347" y="115"/>
                      </a:lnTo>
                      <a:lnTo>
                        <a:pt x="347" y="116"/>
                      </a:lnTo>
                      <a:lnTo>
                        <a:pt x="346" y="117"/>
                      </a:lnTo>
                      <a:lnTo>
                        <a:pt x="347" y="117"/>
                      </a:lnTo>
                      <a:lnTo>
                        <a:pt x="347" y="118"/>
                      </a:lnTo>
                      <a:lnTo>
                        <a:pt x="348" y="118"/>
                      </a:lnTo>
                      <a:lnTo>
                        <a:pt x="348" y="118"/>
                      </a:lnTo>
                      <a:lnTo>
                        <a:pt x="348" y="119"/>
                      </a:lnTo>
                      <a:lnTo>
                        <a:pt x="348" y="119"/>
                      </a:lnTo>
                      <a:lnTo>
                        <a:pt x="349" y="120"/>
                      </a:lnTo>
                      <a:lnTo>
                        <a:pt x="350" y="120"/>
                      </a:lnTo>
                      <a:lnTo>
                        <a:pt x="350" y="121"/>
                      </a:lnTo>
                      <a:lnTo>
                        <a:pt x="350" y="121"/>
                      </a:lnTo>
                      <a:lnTo>
                        <a:pt x="351" y="121"/>
                      </a:lnTo>
                      <a:lnTo>
                        <a:pt x="352" y="121"/>
                      </a:lnTo>
                      <a:lnTo>
                        <a:pt x="353" y="121"/>
                      </a:lnTo>
                      <a:lnTo>
                        <a:pt x="353" y="121"/>
                      </a:lnTo>
                      <a:lnTo>
                        <a:pt x="354" y="121"/>
                      </a:lnTo>
                      <a:lnTo>
                        <a:pt x="355" y="121"/>
                      </a:lnTo>
                      <a:lnTo>
                        <a:pt x="355" y="121"/>
                      </a:lnTo>
                      <a:lnTo>
                        <a:pt x="355" y="121"/>
                      </a:lnTo>
                      <a:lnTo>
                        <a:pt x="356" y="122"/>
                      </a:lnTo>
                      <a:lnTo>
                        <a:pt x="357" y="123"/>
                      </a:lnTo>
                      <a:lnTo>
                        <a:pt x="357" y="123"/>
                      </a:lnTo>
                      <a:lnTo>
                        <a:pt x="358" y="123"/>
                      </a:lnTo>
                      <a:lnTo>
                        <a:pt x="358" y="124"/>
                      </a:lnTo>
                      <a:lnTo>
                        <a:pt x="359" y="125"/>
                      </a:lnTo>
                      <a:lnTo>
                        <a:pt x="359" y="126"/>
                      </a:lnTo>
                      <a:lnTo>
                        <a:pt x="359" y="126"/>
                      </a:lnTo>
                      <a:lnTo>
                        <a:pt x="360" y="127"/>
                      </a:lnTo>
                      <a:lnTo>
                        <a:pt x="361" y="126"/>
                      </a:lnTo>
                      <a:lnTo>
                        <a:pt x="361" y="126"/>
                      </a:lnTo>
                      <a:lnTo>
                        <a:pt x="361" y="127"/>
                      </a:lnTo>
                      <a:lnTo>
                        <a:pt x="362" y="127"/>
                      </a:lnTo>
                      <a:lnTo>
                        <a:pt x="362" y="128"/>
                      </a:lnTo>
                      <a:lnTo>
                        <a:pt x="362" y="128"/>
                      </a:lnTo>
                      <a:lnTo>
                        <a:pt x="363" y="129"/>
                      </a:lnTo>
                      <a:lnTo>
                        <a:pt x="363" y="130"/>
                      </a:lnTo>
                      <a:lnTo>
                        <a:pt x="364" y="130"/>
                      </a:lnTo>
                      <a:lnTo>
                        <a:pt x="364" y="131"/>
                      </a:lnTo>
                      <a:lnTo>
                        <a:pt x="363" y="131"/>
                      </a:lnTo>
                      <a:lnTo>
                        <a:pt x="363" y="132"/>
                      </a:lnTo>
                      <a:lnTo>
                        <a:pt x="364" y="132"/>
                      </a:lnTo>
                      <a:lnTo>
                        <a:pt x="365" y="132"/>
                      </a:lnTo>
                      <a:lnTo>
                        <a:pt x="365" y="132"/>
                      </a:lnTo>
                      <a:lnTo>
                        <a:pt x="366" y="132"/>
                      </a:lnTo>
                      <a:lnTo>
                        <a:pt x="366" y="133"/>
                      </a:lnTo>
                      <a:lnTo>
                        <a:pt x="366" y="134"/>
                      </a:lnTo>
                      <a:lnTo>
                        <a:pt x="366" y="134"/>
                      </a:lnTo>
                      <a:lnTo>
                        <a:pt x="366" y="135"/>
                      </a:lnTo>
                      <a:lnTo>
                        <a:pt x="366" y="136"/>
                      </a:lnTo>
                      <a:lnTo>
                        <a:pt x="367" y="136"/>
                      </a:lnTo>
                      <a:lnTo>
                        <a:pt x="367" y="137"/>
                      </a:lnTo>
                      <a:lnTo>
                        <a:pt x="368" y="138"/>
                      </a:lnTo>
                      <a:lnTo>
                        <a:pt x="369" y="138"/>
                      </a:lnTo>
                      <a:lnTo>
                        <a:pt x="369" y="139"/>
                      </a:lnTo>
                      <a:lnTo>
                        <a:pt x="369" y="140"/>
                      </a:lnTo>
                      <a:lnTo>
                        <a:pt x="369" y="140"/>
                      </a:lnTo>
                      <a:lnTo>
                        <a:pt x="369" y="141"/>
                      </a:lnTo>
                      <a:lnTo>
                        <a:pt x="369" y="142"/>
                      </a:lnTo>
                      <a:lnTo>
                        <a:pt x="369" y="142"/>
                      </a:lnTo>
                      <a:lnTo>
                        <a:pt x="370" y="143"/>
                      </a:lnTo>
                      <a:lnTo>
                        <a:pt x="370" y="144"/>
                      </a:lnTo>
                      <a:lnTo>
                        <a:pt x="371" y="144"/>
                      </a:lnTo>
                      <a:lnTo>
                        <a:pt x="370" y="145"/>
                      </a:lnTo>
                      <a:lnTo>
                        <a:pt x="370" y="146"/>
                      </a:lnTo>
                      <a:lnTo>
                        <a:pt x="369" y="147"/>
                      </a:lnTo>
                      <a:lnTo>
                        <a:pt x="369" y="147"/>
                      </a:lnTo>
                      <a:lnTo>
                        <a:pt x="369" y="148"/>
                      </a:lnTo>
                      <a:lnTo>
                        <a:pt x="370" y="148"/>
                      </a:lnTo>
                      <a:lnTo>
                        <a:pt x="370" y="147"/>
                      </a:lnTo>
                      <a:lnTo>
                        <a:pt x="371" y="147"/>
                      </a:lnTo>
                      <a:lnTo>
                        <a:pt x="371" y="148"/>
                      </a:lnTo>
                      <a:lnTo>
                        <a:pt x="372" y="149"/>
                      </a:lnTo>
                      <a:lnTo>
                        <a:pt x="371" y="149"/>
                      </a:lnTo>
                      <a:lnTo>
                        <a:pt x="371" y="150"/>
                      </a:lnTo>
                      <a:lnTo>
                        <a:pt x="371" y="151"/>
                      </a:lnTo>
                      <a:lnTo>
                        <a:pt x="372" y="151"/>
                      </a:lnTo>
                      <a:lnTo>
                        <a:pt x="372" y="151"/>
                      </a:lnTo>
                      <a:lnTo>
                        <a:pt x="372" y="151"/>
                      </a:lnTo>
                      <a:lnTo>
                        <a:pt x="373" y="151"/>
                      </a:lnTo>
                      <a:lnTo>
                        <a:pt x="373" y="152"/>
                      </a:lnTo>
                      <a:lnTo>
                        <a:pt x="373" y="153"/>
                      </a:lnTo>
                      <a:lnTo>
                        <a:pt x="374" y="153"/>
                      </a:lnTo>
                      <a:lnTo>
                        <a:pt x="374" y="153"/>
                      </a:lnTo>
                      <a:lnTo>
                        <a:pt x="375" y="153"/>
                      </a:lnTo>
                      <a:lnTo>
                        <a:pt x="376" y="153"/>
                      </a:lnTo>
                      <a:lnTo>
                        <a:pt x="376" y="153"/>
                      </a:lnTo>
                      <a:lnTo>
                        <a:pt x="376" y="154"/>
                      </a:lnTo>
                      <a:lnTo>
                        <a:pt x="377" y="155"/>
                      </a:lnTo>
                      <a:lnTo>
                        <a:pt x="378" y="155"/>
                      </a:lnTo>
                      <a:lnTo>
                        <a:pt x="378" y="155"/>
                      </a:lnTo>
                      <a:lnTo>
                        <a:pt x="379" y="155"/>
                      </a:lnTo>
                      <a:lnTo>
                        <a:pt x="380" y="155"/>
                      </a:lnTo>
                      <a:lnTo>
                        <a:pt x="380" y="155"/>
                      </a:lnTo>
                      <a:lnTo>
                        <a:pt x="381" y="155"/>
                      </a:lnTo>
                      <a:lnTo>
                        <a:pt x="382" y="155"/>
                      </a:lnTo>
                      <a:lnTo>
                        <a:pt x="382" y="155"/>
                      </a:lnTo>
                      <a:lnTo>
                        <a:pt x="383" y="155"/>
                      </a:lnTo>
                      <a:lnTo>
                        <a:pt x="383" y="155"/>
                      </a:lnTo>
                      <a:lnTo>
                        <a:pt x="384" y="155"/>
                      </a:lnTo>
                      <a:lnTo>
                        <a:pt x="384" y="155"/>
                      </a:lnTo>
                      <a:lnTo>
                        <a:pt x="384" y="155"/>
                      </a:lnTo>
                      <a:lnTo>
                        <a:pt x="385" y="155"/>
                      </a:lnTo>
                      <a:lnTo>
                        <a:pt x="386" y="155"/>
                      </a:lnTo>
                      <a:lnTo>
                        <a:pt x="386" y="155"/>
                      </a:lnTo>
                      <a:lnTo>
                        <a:pt x="387" y="154"/>
                      </a:lnTo>
                      <a:lnTo>
                        <a:pt x="388" y="154"/>
                      </a:lnTo>
                      <a:lnTo>
                        <a:pt x="388" y="155"/>
                      </a:lnTo>
                      <a:lnTo>
                        <a:pt x="388" y="155"/>
                      </a:lnTo>
                      <a:lnTo>
                        <a:pt x="389" y="155"/>
                      </a:lnTo>
                      <a:lnTo>
                        <a:pt x="390" y="156"/>
                      </a:lnTo>
                      <a:lnTo>
                        <a:pt x="391" y="156"/>
                      </a:lnTo>
                      <a:lnTo>
                        <a:pt x="391" y="157"/>
                      </a:lnTo>
                      <a:lnTo>
                        <a:pt x="391" y="156"/>
                      </a:lnTo>
                      <a:lnTo>
                        <a:pt x="392" y="156"/>
                      </a:lnTo>
                      <a:lnTo>
                        <a:pt x="393" y="156"/>
                      </a:lnTo>
                      <a:lnTo>
                        <a:pt x="393" y="157"/>
                      </a:lnTo>
                      <a:lnTo>
                        <a:pt x="394" y="157"/>
                      </a:lnTo>
                      <a:lnTo>
                        <a:pt x="395" y="157"/>
                      </a:lnTo>
                      <a:lnTo>
                        <a:pt x="395" y="158"/>
                      </a:lnTo>
                      <a:lnTo>
                        <a:pt x="395" y="159"/>
                      </a:lnTo>
                      <a:lnTo>
                        <a:pt x="395" y="159"/>
                      </a:lnTo>
                      <a:lnTo>
                        <a:pt x="395" y="160"/>
                      </a:lnTo>
                      <a:lnTo>
                        <a:pt x="395" y="160"/>
                      </a:lnTo>
                      <a:lnTo>
                        <a:pt x="395" y="161"/>
                      </a:lnTo>
                      <a:lnTo>
                        <a:pt x="396" y="161"/>
                      </a:lnTo>
                      <a:lnTo>
                        <a:pt x="397" y="161"/>
                      </a:lnTo>
                      <a:lnTo>
                        <a:pt x="397" y="161"/>
                      </a:lnTo>
                      <a:lnTo>
                        <a:pt x="398" y="161"/>
                      </a:lnTo>
                      <a:lnTo>
                        <a:pt x="397" y="162"/>
                      </a:lnTo>
                      <a:lnTo>
                        <a:pt x="397" y="163"/>
                      </a:lnTo>
                      <a:lnTo>
                        <a:pt x="397" y="163"/>
                      </a:lnTo>
                      <a:lnTo>
                        <a:pt x="397" y="164"/>
                      </a:lnTo>
                      <a:lnTo>
                        <a:pt x="398" y="164"/>
                      </a:lnTo>
                      <a:lnTo>
                        <a:pt x="398" y="163"/>
                      </a:lnTo>
                      <a:lnTo>
                        <a:pt x="399" y="163"/>
                      </a:lnTo>
                      <a:lnTo>
                        <a:pt x="399" y="163"/>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2" name="Freeform 13">
                  <a:extLst>
                    <a:ext uri="{FF2B5EF4-FFF2-40B4-BE49-F238E27FC236}">
                      <a16:creationId xmlns:a16="http://schemas.microsoft.com/office/drawing/2014/main" xmlns="" id="{060EC96C-4F0A-1BA1-677C-8D5C9F188087}"/>
                    </a:ext>
                  </a:extLst>
                </p:cNvPr>
                <p:cNvSpPr>
                  <a:spLocks/>
                </p:cNvSpPr>
                <p:nvPr/>
              </p:nvSpPr>
              <p:spPr bwMode="auto">
                <a:xfrm>
                  <a:off x="3393" y="3188"/>
                  <a:ext cx="147" cy="390"/>
                </a:xfrm>
                <a:custGeom>
                  <a:avLst/>
                  <a:gdLst>
                    <a:gd name="T0" fmla="*/ 5 w 147"/>
                    <a:gd name="T1" fmla="*/ 7 h 390"/>
                    <a:gd name="T2" fmla="*/ 7 w 147"/>
                    <a:gd name="T3" fmla="*/ 14 h 390"/>
                    <a:gd name="T4" fmla="*/ 10 w 147"/>
                    <a:gd name="T5" fmla="*/ 23 h 390"/>
                    <a:gd name="T6" fmla="*/ 13 w 147"/>
                    <a:gd name="T7" fmla="*/ 30 h 390"/>
                    <a:gd name="T8" fmla="*/ 13 w 147"/>
                    <a:gd name="T9" fmla="*/ 36 h 390"/>
                    <a:gd name="T10" fmla="*/ 17 w 147"/>
                    <a:gd name="T11" fmla="*/ 45 h 390"/>
                    <a:gd name="T12" fmla="*/ 25 w 147"/>
                    <a:gd name="T13" fmla="*/ 48 h 390"/>
                    <a:gd name="T14" fmla="*/ 34 w 147"/>
                    <a:gd name="T15" fmla="*/ 48 h 390"/>
                    <a:gd name="T16" fmla="*/ 42 w 147"/>
                    <a:gd name="T17" fmla="*/ 49 h 390"/>
                    <a:gd name="T18" fmla="*/ 44 w 147"/>
                    <a:gd name="T19" fmla="*/ 41 h 390"/>
                    <a:gd name="T20" fmla="*/ 44 w 147"/>
                    <a:gd name="T21" fmla="*/ 33 h 390"/>
                    <a:gd name="T22" fmla="*/ 44 w 147"/>
                    <a:gd name="T23" fmla="*/ 25 h 390"/>
                    <a:gd name="T24" fmla="*/ 47 w 147"/>
                    <a:gd name="T25" fmla="*/ 13 h 390"/>
                    <a:gd name="T26" fmla="*/ 49 w 147"/>
                    <a:gd name="T27" fmla="*/ 9 h 390"/>
                    <a:gd name="T28" fmla="*/ 60 w 147"/>
                    <a:gd name="T29" fmla="*/ 10 h 390"/>
                    <a:gd name="T30" fmla="*/ 66 w 147"/>
                    <a:gd name="T31" fmla="*/ 13 h 390"/>
                    <a:gd name="T32" fmla="*/ 75 w 147"/>
                    <a:gd name="T33" fmla="*/ 13 h 390"/>
                    <a:gd name="T34" fmla="*/ 80 w 147"/>
                    <a:gd name="T35" fmla="*/ 9 h 390"/>
                    <a:gd name="T36" fmla="*/ 88 w 147"/>
                    <a:gd name="T37" fmla="*/ 9 h 390"/>
                    <a:gd name="T38" fmla="*/ 93 w 147"/>
                    <a:gd name="T39" fmla="*/ 12 h 390"/>
                    <a:gd name="T40" fmla="*/ 94 w 147"/>
                    <a:gd name="T41" fmla="*/ 18 h 390"/>
                    <a:gd name="T42" fmla="*/ 93 w 147"/>
                    <a:gd name="T43" fmla="*/ 26 h 390"/>
                    <a:gd name="T44" fmla="*/ 89 w 147"/>
                    <a:gd name="T45" fmla="*/ 33 h 390"/>
                    <a:gd name="T46" fmla="*/ 87 w 147"/>
                    <a:gd name="T47" fmla="*/ 50 h 390"/>
                    <a:gd name="T48" fmla="*/ 92 w 147"/>
                    <a:gd name="T49" fmla="*/ 83 h 390"/>
                    <a:gd name="T50" fmla="*/ 91 w 147"/>
                    <a:gd name="T51" fmla="*/ 95 h 390"/>
                    <a:gd name="T52" fmla="*/ 93 w 147"/>
                    <a:gd name="T53" fmla="*/ 102 h 390"/>
                    <a:gd name="T54" fmla="*/ 93 w 147"/>
                    <a:gd name="T55" fmla="*/ 112 h 390"/>
                    <a:gd name="T56" fmla="*/ 97 w 147"/>
                    <a:gd name="T57" fmla="*/ 134 h 390"/>
                    <a:gd name="T58" fmla="*/ 95 w 147"/>
                    <a:gd name="T59" fmla="*/ 143 h 390"/>
                    <a:gd name="T60" fmla="*/ 95 w 147"/>
                    <a:gd name="T61" fmla="*/ 150 h 390"/>
                    <a:gd name="T62" fmla="*/ 99 w 147"/>
                    <a:gd name="T63" fmla="*/ 158 h 390"/>
                    <a:gd name="T64" fmla="*/ 96 w 147"/>
                    <a:gd name="T65" fmla="*/ 165 h 390"/>
                    <a:gd name="T66" fmla="*/ 97 w 147"/>
                    <a:gd name="T67" fmla="*/ 174 h 390"/>
                    <a:gd name="T68" fmla="*/ 94 w 147"/>
                    <a:gd name="T69" fmla="*/ 183 h 390"/>
                    <a:gd name="T70" fmla="*/ 93 w 147"/>
                    <a:gd name="T71" fmla="*/ 192 h 390"/>
                    <a:gd name="T72" fmla="*/ 93 w 147"/>
                    <a:gd name="T73" fmla="*/ 203 h 390"/>
                    <a:gd name="T74" fmla="*/ 93 w 147"/>
                    <a:gd name="T75" fmla="*/ 213 h 390"/>
                    <a:gd name="T76" fmla="*/ 95 w 147"/>
                    <a:gd name="T77" fmla="*/ 223 h 390"/>
                    <a:gd name="T78" fmla="*/ 94 w 147"/>
                    <a:gd name="T79" fmla="*/ 233 h 390"/>
                    <a:gd name="T80" fmla="*/ 94 w 147"/>
                    <a:gd name="T81" fmla="*/ 243 h 390"/>
                    <a:gd name="T82" fmla="*/ 94 w 147"/>
                    <a:gd name="T83" fmla="*/ 252 h 390"/>
                    <a:gd name="T84" fmla="*/ 91 w 147"/>
                    <a:gd name="T85" fmla="*/ 261 h 390"/>
                    <a:gd name="T86" fmla="*/ 91 w 147"/>
                    <a:gd name="T87" fmla="*/ 270 h 390"/>
                    <a:gd name="T88" fmla="*/ 91 w 147"/>
                    <a:gd name="T89" fmla="*/ 280 h 390"/>
                    <a:gd name="T90" fmla="*/ 91 w 147"/>
                    <a:gd name="T91" fmla="*/ 289 h 390"/>
                    <a:gd name="T92" fmla="*/ 96 w 147"/>
                    <a:gd name="T93" fmla="*/ 298 h 390"/>
                    <a:gd name="T94" fmla="*/ 101 w 147"/>
                    <a:gd name="T95" fmla="*/ 315 h 390"/>
                    <a:gd name="T96" fmla="*/ 102 w 147"/>
                    <a:gd name="T97" fmla="*/ 322 h 390"/>
                    <a:gd name="T98" fmla="*/ 98 w 147"/>
                    <a:gd name="T99" fmla="*/ 328 h 390"/>
                    <a:gd name="T100" fmla="*/ 98 w 147"/>
                    <a:gd name="T101" fmla="*/ 334 h 390"/>
                    <a:gd name="T102" fmla="*/ 99 w 147"/>
                    <a:gd name="T103" fmla="*/ 342 h 390"/>
                    <a:gd name="T104" fmla="*/ 99 w 147"/>
                    <a:gd name="T105" fmla="*/ 352 h 390"/>
                    <a:gd name="T106" fmla="*/ 100 w 147"/>
                    <a:gd name="T107" fmla="*/ 365 h 390"/>
                    <a:gd name="T108" fmla="*/ 99 w 147"/>
                    <a:gd name="T109" fmla="*/ 374 h 390"/>
                    <a:gd name="T110" fmla="*/ 113 w 147"/>
                    <a:gd name="T111" fmla="*/ 388 h 390"/>
                    <a:gd name="T112" fmla="*/ 123 w 147"/>
                    <a:gd name="T113" fmla="*/ 384 h 390"/>
                    <a:gd name="T114" fmla="*/ 129 w 147"/>
                    <a:gd name="T115" fmla="*/ 383 h 390"/>
                    <a:gd name="T116" fmla="*/ 138 w 147"/>
                    <a:gd name="T117" fmla="*/ 385 h 390"/>
                    <a:gd name="T118" fmla="*/ 146 w 147"/>
                    <a:gd name="T119" fmla="*/ 38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7" h="390">
                      <a:moveTo>
                        <a:pt x="0" y="0"/>
                      </a:moveTo>
                      <a:lnTo>
                        <a:pt x="0" y="0"/>
                      </a:lnTo>
                      <a:lnTo>
                        <a:pt x="1" y="0"/>
                      </a:lnTo>
                      <a:lnTo>
                        <a:pt x="1" y="0"/>
                      </a:lnTo>
                      <a:lnTo>
                        <a:pt x="2" y="1"/>
                      </a:lnTo>
                      <a:lnTo>
                        <a:pt x="2" y="1"/>
                      </a:lnTo>
                      <a:lnTo>
                        <a:pt x="3" y="1"/>
                      </a:lnTo>
                      <a:lnTo>
                        <a:pt x="3" y="2"/>
                      </a:lnTo>
                      <a:lnTo>
                        <a:pt x="4" y="2"/>
                      </a:lnTo>
                      <a:lnTo>
                        <a:pt x="4" y="3"/>
                      </a:lnTo>
                      <a:lnTo>
                        <a:pt x="4" y="3"/>
                      </a:lnTo>
                      <a:lnTo>
                        <a:pt x="4" y="3"/>
                      </a:lnTo>
                      <a:lnTo>
                        <a:pt x="5" y="4"/>
                      </a:lnTo>
                      <a:lnTo>
                        <a:pt x="5" y="5"/>
                      </a:lnTo>
                      <a:lnTo>
                        <a:pt x="5" y="5"/>
                      </a:lnTo>
                      <a:lnTo>
                        <a:pt x="5" y="6"/>
                      </a:lnTo>
                      <a:lnTo>
                        <a:pt x="5" y="7"/>
                      </a:lnTo>
                      <a:lnTo>
                        <a:pt x="5" y="7"/>
                      </a:lnTo>
                      <a:lnTo>
                        <a:pt x="4" y="7"/>
                      </a:lnTo>
                      <a:lnTo>
                        <a:pt x="5" y="8"/>
                      </a:lnTo>
                      <a:lnTo>
                        <a:pt x="6" y="8"/>
                      </a:lnTo>
                      <a:lnTo>
                        <a:pt x="6" y="9"/>
                      </a:lnTo>
                      <a:lnTo>
                        <a:pt x="7" y="9"/>
                      </a:lnTo>
                      <a:lnTo>
                        <a:pt x="8" y="10"/>
                      </a:lnTo>
                      <a:lnTo>
                        <a:pt x="8" y="11"/>
                      </a:lnTo>
                      <a:lnTo>
                        <a:pt x="8" y="11"/>
                      </a:lnTo>
                      <a:lnTo>
                        <a:pt x="7" y="11"/>
                      </a:lnTo>
                      <a:lnTo>
                        <a:pt x="6" y="11"/>
                      </a:lnTo>
                      <a:lnTo>
                        <a:pt x="6" y="12"/>
                      </a:lnTo>
                      <a:lnTo>
                        <a:pt x="7" y="12"/>
                      </a:lnTo>
                      <a:lnTo>
                        <a:pt x="7" y="13"/>
                      </a:lnTo>
                      <a:lnTo>
                        <a:pt x="7" y="13"/>
                      </a:lnTo>
                      <a:lnTo>
                        <a:pt x="6" y="13"/>
                      </a:lnTo>
                      <a:lnTo>
                        <a:pt x="7" y="14"/>
                      </a:lnTo>
                      <a:lnTo>
                        <a:pt x="8" y="14"/>
                      </a:lnTo>
                      <a:lnTo>
                        <a:pt x="8" y="15"/>
                      </a:lnTo>
                      <a:lnTo>
                        <a:pt x="9" y="15"/>
                      </a:lnTo>
                      <a:lnTo>
                        <a:pt x="10" y="15"/>
                      </a:lnTo>
                      <a:lnTo>
                        <a:pt x="10" y="16"/>
                      </a:lnTo>
                      <a:lnTo>
                        <a:pt x="9" y="17"/>
                      </a:lnTo>
                      <a:lnTo>
                        <a:pt x="9" y="17"/>
                      </a:lnTo>
                      <a:lnTo>
                        <a:pt x="8" y="17"/>
                      </a:lnTo>
                      <a:lnTo>
                        <a:pt x="8" y="18"/>
                      </a:lnTo>
                      <a:lnTo>
                        <a:pt x="9" y="18"/>
                      </a:lnTo>
                      <a:lnTo>
                        <a:pt x="9" y="19"/>
                      </a:lnTo>
                      <a:lnTo>
                        <a:pt x="10" y="19"/>
                      </a:lnTo>
                      <a:lnTo>
                        <a:pt x="10" y="20"/>
                      </a:lnTo>
                      <a:lnTo>
                        <a:pt x="11" y="21"/>
                      </a:lnTo>
                      <a:lnTo>
                        <a:pt x="11" y="21"/>
                      </a:lnTo>
                      <a:lnTo>
                        <a:pt x="11" y="22"/>
                      </a:lnTo>
                      <a:lnTo>
                        <a:pt x="10" y="23"/>
                      </a:lnTo>
                      <a:lnTo>
                        <a:pt x="11" y="24"/>
                      </a:lnTo>
                      <a:lnTo>
                        <a:pt x="11" y="24"/>
                      </a:lnTo>
                      <a:lnTo>
                        <a:pt x="10" y="25"/>
                      </a:lnTo>
                      <a:lnTo>
                        <a:pt x="10" y="26"/>
                      </a:lnTo>
                      <a:lnTo>
                        <a:pt x="10" y="26"/>
                      </a:lnTo>
                      <a:lnTo>
                        <a:pt x="11" y="27"/>
                      </a:lnTo>
                      <a:lnTo>
                        <a:pt x="11" y="26"/>
                      </a:lnTo>
                      <a:lnTo>
                        <a:pt x="12" y="27"/>
                      </a:lnTo>
                      <a:lnTo>
                        <a:pt x="13" y="27"/>
                      </a:lnTo>
                      <a:lnTo>
                        <a:pt x="13" y="28"/>
                      </a:lnTo>
                      <a:lnTo>
                        <a:pt x="12" y="28"/>
                      </a:lnTo>
                      <a:lnTo>
                        <a:pt x="11" y="28"/>
                      </a:lnTo>
                      <a:lnTo>
                        <a:pt x="11" y="28"/>
                      </a:lnTo>
                      <a:lnTo>
                        <a:pt x="11" y="29"/>
                      </a:lnTo>
                      <a:lnTo>
                        <a:pt x="12" y="29"/>
                      </a:lnTo>
                      <a:lnTo>
                        <a:pt x="13" y="30"/>
                      </a:lnTo>
                      <a:lnTo>
                        <a:pt x="13" y="30"/>
                      </a:lnTo>
                      <a:lnTo>
                        <a:pt x="13" y="30"/>
                      </a:lnTo>
                      <a:lnTo>
                        <a:pt x="13" y="31"/>
                      </a:lnTo>
                      <a:lnTo>
                        <a:pt x="12" y="32"/>
                      </a:lnTo>
                      <a:lnTo>
                        <a:pt x="11" y="31"/>
                      </a:lnTo>
                      <a:lnTo>
                        <a:pt x="11" y="32"/>
                      </a:lnTo>
                      <a:lnTo>
                        <a:pt x="11" y="32"/>
                      </a:lnTo>
                      <a:lnTo>
                        <a:pt x="11" y="32"/>
                      </a:lnTo>
                      <a:lnTo>
                        <a:pt x="11" y="32"/>
                      </a:lnTo>
                      <a:lnTo>
                        <a:pt x="11" y="33"/>
                      </a:lnTo>
                      <a:lnTo>
                        <a:pt x="11" y="34"/>
                      </a:lnTo>
                      <a:lnTo>
                        <a:pt x="11" y="34"/>
                      </a:lnTo>
                      <a:lnTo>
                        <a:pt x="11" y="34"/>
                      </a:lnTo>
                      <a:lnTo>
                        <a:pt x="11" y="34"/>
                      </a:lnTo>
                      <a:lnTo>
                        <a:pt x="11" y="35"/>
                      </a:lnTo>
                      <a:lnTo>
                        <a:pt x="12" y="35"/>
                      </a:lnTo>
                      <a:lnTo>
                        <a:pt x="13" y="35"/>
                      </a:lnTo>
                      <a:lnTo>
                        <a:pt x="13" y="36"/>
                      </a:lnTo>
                      <a:lnTo>
                        <a:pt x="13" y="36"/>
                      </a:lnTo>
                      <a:lnTo>
                        <a:pt x="13" y="37"/>
                      </a:lnTo>
                      <a:lnTo>
                        <a:pt x="13" y="38"/>
                      </a:lnTo>
                      <a:lnTo>
                        <a:pt x="13" y="38"/>
                      </a:lnTo>
                      <a:lnTo>
                        <a:pt x="14" y="38"/>
                      </a:lnTo>
                      <a:lnTo>
                        <a:pt x="14" y="39"/>
                      </a:lnTo>
                      <a:lnTo>
                        <a:pt x="14" y="40"/>
                      </a:lnTo>
                      <a:lnTo>
                        <a:pt x="15" y="40"/>
                      </a:lnTo>
                      <a:lnTo>
                        <a:pt x="15" y="40"/>
                      </a:lnTo>
                      <a:lnTo>
                        <a:pt x="16" y="40"/>
                      </a:lnTo>
                      <a:lnTo>
                        <a:pt x="16" y="41"/>
                      </a:lnTo>
                      <a:lnTo>
                        <a:pt x="16" y="42"/>
                      </a:lnTo>
                      <a:lnTo>
                        <a:pt x="16" y="43"/>
                      </a:lnTo>
                      <a:lnTo>
                        <a:pt x="16" y="43"/>
                      </a:lnTo>
                      <a:lnTo>
                        <a:pt x="15" y="44"/>
                      </a:lnTo>
                      <a:lnTo>
                        <a:pt x="16" y="45"/>
                      </a:lnTo>
                      <a:lnTo>
                        <a:pt x="17" y="45"/>
                      </a:lnTo>
                      <a:lnTo>
                        <a:pt x="17" y="45"/>
                      </a:lnTo>
                      <a:lnTo>
                        <a:pt x="17" y="46"/>
                      </a:lnTo>
                      <a:lnTo>
                        <a:pt x="17" y="47"/>
                      </a:lnTo>
                      <a:lnTo>
                        <a:pt x="18" y="47"/>
                      </a:lnTo>
                      <a:lnTo>
                        <a:pt x="19" y="48"/>
                      </a:lnTo>
                      <a:lnTo>
                        <a:pt x="19" y="48"/>
                      </a:lnTo>
                      <a:lnTo>
                        <a:pt x="19" y="47"/>
                      </a:lnTo>
                      <a:lnTo>
                        <a:pt x="20" y="47"/>
                      </a:lnTo>
                      <a:lnTo>
                        <a:pt x="20" y="48"/>
                      </a:lnTo>
                      <a:lnTo>
                        <a:pt x="21" y="48"/>
                      </a:lnTo>
                      <a:lnTo>
                        <a:pt x="21" y="48"/>
                      </a:lnTo>
                      <a:lnTo>
                        <a:pt x="22" y="48"/>
                      </a:lnTo>
                      <a:lnTo>
                        <a:pt x="23" y="49"/>
                      </a:lnTo>
                      <a:lnTo>
                        <a:pt x="23" y="49"/>
                      </a:lnTo>
                      <a:lnTo>
                        <a:pt x="24" y="49"/>
                      </a:lnTo>
                      <a:lnTo>
                        <a:pt x="25" y="48"/>
                      </a:lnTo>
                      <a:lnTo>
                        <a:pt x="25" y="48"/>
                      </a:lnTo>
                      <a:lnTo>
                        <a:pt x="26" y="48"/>
                      </a:lnTo>
                      <a:lnTo>
                        <a:pt x="27" y="48"/>
                      </a:lnTo>
                      <a:lnTo>
                        <a:pt x="28" y="48"/>
                      </a:lnTo>
                      <a:lnTo>
                        <a:pt x="28" y="48"/>
                      </a:lnTo>
                      <a:lnTo>
                        <a:pt x="29" y="48"/>
                      </a:lnTo>
                      <a:lnTo>
                        <a:pt x="30" y="48"/>
                      </a:lnTo>
                      <a:lnTo>
                        <a:pt x="30" y="47"/>
                      </a:lnTo>
                      <a:lnTo>
                        <a:pt x="31" y="47"/>
                      </a:lnTo>
                      <a:lnTo>
                        <a:pt x="32" y="47"/>
                      </a:lnTo>
                      <a:lnTo>
                        <a:pt x="32" y="47"/>
                      </a:lnTo>
                      <a:lnTo>
                        <a:pt x="32" y="47"/>
                      </a:lnTo>
                      <a:lnTo>
                        <a:pt x="33" y="47"/>
                      </a:lnTo>
                      <a:lnTo>
                        <a:pt x="33" y="47"/>
                      </a:lnTo>
                      <a:lnTo>
                        <a:pt x="34" y="47"/>
                      </a:lnTo>
                      <a:lnTo>
                        <a:pt x="34" y="47"/>
                      </a:lnTo>
                      <a:lnTo>
                        <a:pt x="34" y="47"/>
                      </a:lnTo>
                      <a:lnTo>
                        <a:pt x="34" y="48"/>
                      </a:lnTo>
                      <a:lnTo>
                        <a:pt x="35" y="48"/>
                      </a:lnTo>
                      <a:lnTo>
                        <a:pt x="35" y="49"/>
                      </a:lnTo>
                      <a:lnTo>
                        <a:pt x="36" y="49"/>
                      </a:lnTo>
                      <a:lnTo>
                        <a:pt x="36" y="48"/>
                      </a:lnTo>
                      <a:lnTo>
                        <a:pt x="36" y="47"/>
                      </a:lnTo>
                      <a:lnTo>
                        <a:pt x="37" y="48"/>
                      </a:lnTo>
                      <a:lnTo>
                        <a:pt x="37" y="47"/>
                      </a:lnTo>
                      <a:lnTo>
                        <a:pt x="38" y="47"/>
                      </a:lnTo>
                      <a:lnTo>
                        <a:pt x="38" y="47"/>
                      </a:lnTo>
                      <a:lnTo>
                        <a:pt x="39" y="47"/>
                      </a:lnTo>
                      <a:lnTo>
                        <a:pt x="39" y="48"/>
                      </a:lnTo>
                      <a:lnTo>
                        <a:pt x="39" y="49"/>
                      </a:lnTo>
                      <a:lnTo>
                        <a:pt x="40" y="49"/>
                      </a:lnTo>
                      <a:lnTo>
                        <a:pt x="40" y="49"/>
                      </a:lnTo>
                      <a:lnTo>
                        <a:pt x="41" y="49"/>
                      </a:lnTo>
                      <a:lnTo>
                        <a:pt x="42" y="49"/>
                      </a:lnTo>
                      <a:lnTo>
                        <a:pt x="42" y="49"/>
                      </a:lnTo>
                      <a:lnTo>
                        <a:pt x="42" y="48"/>
                      </a:lnTo>
                      <a:lnTo>
                        <a:pt x="42" y="47"/>
                      </a:lnTo>
                      <a:lnTo>
                        <a:pt x="41" y="47"/>
                      </a:lnTo>
                      <a:lnTo>
                        <a:pt x="40" y="47"/>
                      </a:lnTo>
                      <a:lnTo>
                        <a:pt x="40" y="47"/>
                      </a:lnTo>
                      <a:lnTo>
                        <a:pt x="41" y="47"/>
                      </a:lnTo>
                      <a:lnTo>
                        <a:pt x="41" y="46"/>
                      </a:lnTo>
                      <a:lnTo>
                        <a:pt x="41" y="45"/>
                      </a:lnTo>
                      <a:lnTo>
                        <a:pt x="42" y="45"/>
                      </a:lnTo>
                      <a:lnTo>
                        <a:pt x="42" y="45"/>
                      </a:lnTo>
                      <a:lnTo>
                        <a:pt x="43" y="44"/>
                      </a:lnTo>
                      <a:lnTo>
                        <a:pt x="44" y="44"/>
                      </a:lnTo>
                      <a:lnTo>
                        <a:pt x="44" y="43"/>
                      </a:lnTo>
                      <a:lnTo>
                        <a:pt x="44" y="43"/>
                      </a:lnTo>
                      <a:lnTo>
                        <a:pt x="44" y="43"/>
                      </a:lnTo>
                      <a:lnTo>
                        <a:pt x="44" y="42"/>
                      </a:lnTo>
                      <a:lnTo>
                        <a:pt x="44" y="41"/>
                      </a:lnTo>
                      <a:lnTo>
                        <a:pt x="44" y="41"/>
                      </a:lnTo>
                      <a:lnTo>
                        <a:pt x="43" y="40"/>
                      </a:lnTo>
                      <a:lnTo>
                        <a:pt x="43" y="40"/>
                      </a:lnTo>
                      <a:lnTo>
                        <a:pt x="44" y="40"/>
                      </a:lnTo>
                      <a:lnTo>
                        <a:pt x="44" y="39"/>
                      </a:lnTo>
                      <a:lnTo>
                        <a:pt x="44" y="38"/>
                      </a:lnTo>
                      <a:lnTo>
                        <a:pt x="44" y="38"/>
                      </a:lnTo>
                      <a:lnTo>
                        <a:pt x="44" y="37"/>
                      </a:lnTo>
                      <a:lnTo>
                        <a:pt x="44" y="36"/>
                      </a:lnTo>
                      <a:lnTo>
                        <a:pt x="44" y="36"/>
                      </a:lnTo>
                      <a:lnTo>
                        <a:pt x="44" y="36"/>
                      </a:lnTo>
                      <a:lnTo>
                        <a:pt x="44" y="35"/>
                      </a:lnTo>
                      <a:lnTo>
                        <a:pt x="43" y="35"/>
                      </a:lnTo>
                      <a:lnTo>
                        <a:pt x="43" y="34"/>
                      </a:lnTo>
                      <a:lnTo>
                        <a:pt x="44" y="34"/>
                      </a:lnTo>
                      <a:lnTo>
                        <a:pt x="44" y="34"/>
                      </a:lnTo>
                      <a:lnTo>
                        <a:pt x="44" y="33"/>
                      </a:lnTo>
                      <a:lnTo>
                        <a:pt x="44" y="32"/>
                      </a:lnTo>
                      <a:lnTo>
                        <a:pt x="44" y="32"/>
                      </a:lnTo>
                      <a:lnTo>
                        <a:pt x="44" y="31"/>
                      </a:lnTo>
                      <a:lnTo>
                        <a:pt x="44" y="30"/>
                      </a:lnTo>
                      <a:lnTo>
                        <a:pt x="45" y="30"/>
                      </a:lnTo>
                      <a:lnTo>
                        <a:pt x="45" y="30"/>
                      </a:lnTo>
                      <a:lnTo>
                        <a:pt x="45" y="29"/>
                      </a:lnTo>
                      <a:lnTo>
                        <a:pt x="45" y="28"/>
                      </a:lnTo>
                      <a:lnTo>
                        <a:pt x="44" y="28"/>
                      </a:lnTo>
                      <a:lnTo>
                        <a:pt x="44" y="28"/>
                      </a:lnTo>
                      <a:lnTo>
                        <a:pt x="44" y="28"/>
                      </a:lnTo>
                      <a:lnTo>
                        <a:pt x="44" y="27"/>
                      </a:lnTo>
                      <a:lnTo>
                        <a:pt x="44" y="26"/>
                      </a:lnTo>
                      <a:lnTo>
                        <a:pt x="45" y="26"/>
                      </a:lnTo>
                      <a:lnTo>
                        <a:pt x="45" y="26"/>
                      </a:lnTo>
                      <a:lnTo>
                        <a:pt x="45" y="25"/>
                      </a:lnTo>
                      <a:lnTo>
                        <a:pt x="44" y="25"/>
                      </a:lnTo>
                      <a:lnTo>
                        <a:pt x="44" y="24"/>
                      </a:lnTo>
                      <a:lnTo>
                        <a:pt x="44" y="24"/>
                      </a:lnTo>
                      <a:lnTo>
                        <a:pt x="44" y="23"/>
                      </a:lnTo>
                      <a:lnTo>
                        <a:pt x="44" y="22"/>
                      </a:lnTo>
                      <a:lnTo>
                        <a:pt x="44" y="21"/>
                      </a:lnTo>
                      <a:lnTo>
                        <a:pt x="44" y="21"/>
                      </a:lnTo>
                      <a:lnTo>
                        <a:pt x="44" y="20"/>
                      </a:lnTo>
                      <a:lnTo>
                        <a:pt x="44" y="19"/>
                      </a:lnTo>
                      <a:lnTo>
                        <a:pt x="44" y="18"/>
                      </a:lnTo>
                      <a:lnTo>
                        <a:pt x="44" y="17"/>
                      </a:lnTo>
                      <a:lnTo>
                        <a:pt x="44" y="16"/>
                      </a:lnTo>
                      <a:lnTo>
                        <a:pt x="44" y="15"/>
                      </a:lnTo>
                      <a:lnTo>
                        <a:pt x="44" y="15"/>
                      </a:lnTo>
                      <a:lnTo>
                        <a:pt x="44" y="13"/>
                      </a:lnTo>
                      <a:lnTo>
                        <a:pt x="45" y="13"/>
                      </a:lnTo>
                      <a:lnTo>
                        <a:pt x="46" y="13"/>
                      </a:lnTo>
                      <a:lnTo>
                        <a:pt x="47" y="13"/>
                      </a:lnTo>
                      <a:lnTo>
                        <a:pt x="47" y="13"/>
                      </a:lnTo>
                      <a:lnTo>
                        <a:pt x="47" y="12"/>
                      </a:lnTo>
                      <a:lnTo>
                        <a:pt x="47" y="11"/>
                      </a:lnTo>
                      <a:lnTo>
                        <a:pt x="47" y="11"/>
                      </a:lnTo>
                      <a:lnTo>
                        <a:pt x="46" y="11"/>
                      </a:lnTo>
                      <a:lnTo>
                        <a:pt x="46" y="10"/>
                      </a:lnTo>
                      <a:lnTo>
                        <a:pt x="45" y="10"/>
                      </a:lnTo>
                      <a:lnTo>
                        <a:pt x="46" y="9"/>
                      </a:lnTo>
                      <a:lnTo>
                        <a:pt x="46" y="9"/>
                      </a:lnTo>
                      <a:lnTo>
                        <a:pt x="47" y="9"/>
                      </a:lnTo>
                      <a:lnTo>
                        <a:pt x="47" y="9"/>
                      </a:lnTo>
                      <a:lnTo>
                        <a:pt x="47" y="9"/>
                      </a:lnTo>
                      <a:lnTo>
                        <a:pt x="47" y="10"/>
                      </a:lnTo>
                      <a:lnTo>
                        <a:pt x="48" y="10"/>
                      </a:lnTo>
                      <a:lnTo>
                        <a:pt x="48" y="9"/>
                      </a:lnTo>
                      <a:lnTo>
                        <a:pt x="49" y="9"/>
                      </a:lnTo>
                      <a:lnTo>
                        <a:pt x="49" y="9"/>
                      </a:lnTo>
                      <a:lnTo>
                        <a:pt x="49" y="8"/>
                      </a:lnTo>
                      <a:lnTo>
                        <a:pt x="50" y="8"/>
                      </a:lnTo>
                      <a:lnTo>
                        <a:pt x="51" y="8"/>
                      </a:lnTo>
                      <a:lnTo>
                        <a:pt x="51" y="9"/>
                      </a:lnTo>
                      <a:lnTo>
                        <a:pt x="52" y="9"/>
                      </a:lnTo>
                      <a:lnTo>
                        <a:pt x="53" y="9"/>
                      </a:lnTo>
                      <a:lnTo>
                        <a:pt x="53" y="10"/>
                      </a:lnTo>
                      <a:lnTo>
                        <a:pt x="54" y="10"/>
                      </a:lnTo>
                      <a:lnTo>
                        <a:pt x="55" y="11"/>
                      </a:lnTo>
                      <a:lnTo>
                        <a:pt x="55" y="10"/>
                      </a:lnTo>
                      <a:lnTo>
                        <a:pt x="56" y="10"/>
                      </a:lnTo>
                      <a:lnTo>
                        <a:pt x="57" y="10"/>
                      </a:lnTo>
                      <a:lnTo>
                        <a:pt x="57" y="10"/>
                      </a:lnTo>
                      <a:lnTo>
                        <a:pt x="58" y="10"/>
                      </a:lnTo>
                      <a:lnTo>
                        <a:pt x="59" y="10"/>
                      </a:lnTo>
                      <a:lnTo>
                        <a:pt x="59" y="10"/>
                      </a:lnTo>
                      <a:lnTo>
                        <a:pt x="60" y="10"/>
                      </a:lnTo>
                      <a:lnTo>
                        <a:pt x="60" y="11"/>
                      </a:lnTo>
                      <a:lnTo>
                        <a:pt x="61" y="11"/>
                      </a:lnTo>
                      <a:lnTo>
                        <a:pt x="61" y="11"/>
                      </a:lnTo>
                      <a:lnTo>
                        <a:pt x="61" y="11"/>
                      </a:lnTo>
                      <a:lnTo>
                        <a:pt x="61" y="11"/>
                      </a:lnTo>
                      <a:lnTo>
                        <a:pt x="61" y="12"/>
                      </a:lnTo>
                      <a:lnTo>
                        <a:pt x="61" y="13"/>
                      </a:lnTo>
                      <a:lnTo>
                        <a:pt x="61" y="13"/>
                      </a:lnTo>
                      <a:lnTo>
                        <a:pt x="62" y="13"/>
                      </a:lnTo>
                      <a:lnTo>
                        <a:pt x="63" y="13"/>
                      </a:lnTo>
                      <a:lnTo>
                        <a:pt x="63" y="14"/>
                      </a:lnTo>
                      <a:lnTo>
                        <a:pt x="63" y="14"/>
                      </a:lnTo>
                      <a:lnTo>
                        <a:pt x="63" y="13"/>
                      </a:lnTo>
                      <a:lnTo>
                        <a:pt x="64" y="13"/>
                      </a:lnTo>
                      <a:lnTo>
                        <a:pt x="65" y="13"/>
                      </a:lnTo>
                      <a:lnTo>
                        <a:pt x="66" y="13"/>
                      </a:lnTo>
                      <a:lnTo>
                        <a:pt x="66" y="13"/>
                      </a:lnTo>
                      <a:lnTo>
                        <a:pt x="67" y="13"/>
                      </a:lnTo>
                      <a:lnTo>
                        <a:pt x="68" y="13"/>
                      </a:lnTo>
                      <a:lnTo>
                        <a:pt x="68" y="13"/>
                      </a:lnTo>
                      <a:lnTo>
                        <a:pt x="68" y="13"/>
                      </a:lnTo>
                      <a:lnTo>
                        <a:pt x="69" y="14"/>
                      </a:lnTo>
                      <a:lnTo>
                        <a:pt x="69" y="15"/>
                      </a:lnTo>
                      <a:lnTo>
                        <a:pt x="70" y="15"/>
                      </a:lnTo>
                      <a:lnTo>
                        <a:pt x="70" y="14"/>
                      </a:lnTo>
                      <a:lnTo>
                        <a:pt x="71" y="13"/>
                      </a:lnTo>
                      <a:lnTo>
                        <a:pt x="71" y="13"/>
                      </a:lnTo>
                      <a:lnTo>
                        <a:pt x="72" y="13"/>
                      </a:lnTo>
                      <a:lnTo>
                        <a:pt x="72" y="12"/>
                      </a:lnTo>
                      <a:lnTo>
                        <a:pt x="73" y="12"/>
                      </a:lnTo>
                      <a:lnTo>
                        <a:pt x="73" y="11"/>
                      </a:lnTo>
                      <a:lnTo>
                        <a:pt x="74" y="12"/>
                      </a:lnTo>
                      <a:lnTo>
                        <a:pt x="74" y="12"/>
                      </a:lnTo>
                      <a:lnTo>
                        <a:pt x="75" y="13"/>
                      </a:lnTo>
                      <a:lnTo>
                        <a:pt x="76" y="13"/>
                      </a:lnTo>
                      <a:lnTo>
                        <a:pt x="76" y="13"/>
                      </a:lnTo>
                      <a:lnTo>
                        <a:pt x="76" y="13"/>
                      </a:lnTo>
                      <a:lnTo>
                        <a:pt x="77" y="13"/>
                      </a:lnTo>
                      <a:lnTo>
                        <a:pt x="77" y="13"/>
                      </a:lnTo>
                      <a:lnTo>
                        <a:pt x="77" y="12"/>
                      </a:lnTo>
                      <a:lnTo>
                        <a:pt x="77" y="11"/>
                      </a:lnTo>
                      <a:lnTo>
                        <a:pt x="76" y="11"/>
                      </a:lnTo>
                      <a:lnTo>
                        <a:pt x="76" y="11"/>
                      </a:lnTo>
                      <a:lnTo>
                        <a:pt x="76" y="10"/>
                      </a:lnTo>
                      <a:lnTo>
                        <a:pt x="77" y="10"/>
                      </a:lnTo>
                      <a:lnTo>
                        <a:pt x="77" y="9"/>
                      </a:lnTo>
                      <a:lnTo>
                        <a:pt x="78" y="9"/>
                      </a:lnTo>
                      <a:lnTo>
                        <a:pt x="78" y="9"/>
                      </a:lnTo>
                      <a:lnTo>
                        <a:pt x="78" y="9"/>
                      </a:lnTo>
                      <a:lnTo>
                        <a:pt x="79" y="9"/>
                      </a:lnTo>
                      <a:lnTo>
                        <a:pt x="80" y="9"/>
                      </a:lnTo>
                      <a:lnTo>
                        <a:pt x="80" y="9"/>
                      </a:lnTo>
                      <a:lnTo>
                        <a:pt x="80" y="9"/>
                      </a:lnTo>
                      <a:lnTo>
                        <a:pt x="81" y="9"/>
                      </a:lnTo>
                      <a:lnTo>
                        <a:pt x="81" y="10"/>
                      </a:lnTo>
                      <a:lnTo>
                        <a:pt x="82" y="10"/>
                      </a:lnTo>
                      <a:lnTo>
                        <a:pt x="82" y="10"/>
                      </a:lnTo>
                      <a:lnTo>
                        <a:pt x="83" y="10"/>
                      </a:lnTo>
                      <a:lnTo>
                        <a:pt x="84" y="10"/>
                      </a:lnTo>
                      <a:lnTo>
                        <a:pt x="84" y="11"/>
                      </a:lnTo>
                      <a:lnTo>
                        <a:pt x="85" y="11"/>
                      </a:lnTo>
                      <a:lnTo>
                        <a:pt x="85" y="11"/>
                      </a:lnTo>
                      <a:lnTo>
                        <a:pt x="86" y="11"/>
                      </a:lnTo>
                      <a:lnTo>
                        <a:pt x="87" y="11"/>
                      </a:lnTo>
                      <a:lnTo>
                        <a:pt x="87" y="11"/>
                      </a:lnTo>
                      <a:lnTo>
                        <a:pt x="88" y="11"/>
                      </a:lnTo>
                      <a:lnTo>
                        <a:pt x="88" y="10"/>
                      </a:lnTo>
                      <a:lnTo>
                        <a:pt x="88" y="9"/>
                      </a:lnTo>
                      <a:lnTo>
                        <a:pt x="88" y="9"/>
                      </a:lnTo>
                      <a:lnTo>
                        <a:pt x="87" y="9"/>
                      </a:lnTo>
                      <a:lnTo>
                        <a:pt x="88" y="9"/>
                      </a:lnTo>
                      <a:lnTo>
                        <a:pt x="89" y="8"/>
                      </a:lnTo>
                      <a:lnTo>
                        <a:pt x="89" y="8"/>
                      </a:lnTo>
                      <a:lnTo>
                        <a:pt x="89" y="9"/>
                      </a:lnTo>
                      <a:lnTo>
                        <a:pt x="90" y="9"/>
                      </a:lnTo>
                      <a:lnTo>
                        <a:pt x="91" y="9"/>
                      </a:lnTo>
                      <a:lnTo>
                        <a:pt x="91" y="10"/>
                      </a:lnTo>
                      <a:lnTo>
                        <a:pt x="91" y="11"/>
                      </a:lnTo>
                      <a:lnTo>
                        <a:pt x="91" y="11"/>
                      </a:lnTo>
                      <a:lnTo>
                        <a:pt x="91" y="12"/>
                      </a:lnTo>
                      <a:lnTo>
                        <a:pt x="91" y="13"/>
                      </a:lnTo>
                      <a:lnTo>
                        <a:pt x="92" y="13"/>
                      </a:lnTo>
                      <a:lnTo>
                        <a:pt x="92" y="12"/>
                      </a:lnTo>
                      <a:lnTo>
                        <a:pt x="93" y="12"/>
                      </a:lnTo>
                      <a:lnTo>
                        <a:pt x="93" y="12"/>
                      </a:lnTo>
                      <a:lnTo>
                        <a:pt x="94" y="12"/>
                      </a:lnTo>
                      <a:lnTo>
                        <a:pt x="95" y="12"/>
                      </a:lnTo>
                      <a:lnTo>
                        <a:pt x="95" y="11"/>
                      </a:lnTo>
                      <a:lnTo>
                        <a:pt x="95" y="11"/>
                      </a:lnTo>
                      <a:lnTo>
                        <a:pt x="95" y="12"/>
                      </a:lnTo>
                      <a:lnTo>
                        <a:pt x="95" y="13"/>
                      </a:lnTo>
                      <a:lnTo>
                        <a:pt x="95" y="13"/>
                      </a:lnTo>
                      <a:lnTo>
                        <a:pt x="95" y="13"/>
                      </a:lnTo>
                      <a:lnTo>
                        <a:pt x="95" y="13"/>
                      </a:lnTo>
                      <a:lnTo>
                        <a:pt x="95" y="14"/>
                      </a:lnTo>
                      <a:lnTo>
                        <a:pt x="95" y="15"/>
                      </a:lnTo>
                      <a:lnTo>
                        <a:pt x="95" y="15"/>
                      </a:lnTo>
                      <a:lnTo>
                        <a:pt x="95" y="16"/>
                      </a:lnTo>
                      <a:lnTo>
                        <a:pt x="95" y="17"/>
                      </a:lnTo>
                      <a:lnTo>
                        <a:pt x="95" y="17"/>
                      </a:lnTo>
                      <a:lnTo>
                        <a:pt x="94" y="17"/>
                      </a:lnTo>
                      <a:lnTo>
                        <a:pt x="94" y="18"/>
                      </a:lnTo>
                      <a:lnTo>
                        <a:pt x="94" y="19"/>
                      </a:lnTo>
                      <a:lnTo>
                        <a:pt x="93" y="19"/>
                      </a:lnTo>
                      <a:lnTo>
                        <a:pt x="94" y="19"/>
                      </a:lnTo>
                      <a:lnTo>
                        <a:pt x="94" y="20"/>
                      </a:lnTo>
                      <a:lnTo>
                        <a:pt x="94" y="21"/>
                      </a:lnTo>
                      <a:lnTo>
                        <a:pt x="94" y="21"/>
                      </a:lnTo>
                      <a:lnTo>
                        <a:pt x="93" y="21"/>
                      </a:lnTo>
                      <a:lnTo>
                        <a:pt x="93" y="22"/>
                      </a:lnTo>
                      <a:lnTo>
                        <a:pt x="93" y="23"/>
                      </a:lnTo>
                      <a:lnTo>
                        <a:pt x="93" y="23"/>
                      </a:lnTo>
                      <a:lnTo>
                        <a:pt x="93" y="24"/>
                      </a:lnTo>
                      <a:lnTo>
                        <a:pt x="93" y="24"/>
                      </a:lnTo>
                      <a:lnTo>
                        <a:pt x="93" y="24"/>
                      </a:lnTo>
                      <a:lnTo>
                        <a:pt x="93" y="24"/>
                      </a:lnTo>
                      <a:lnTo>
                        <a:pt x="93" y="24"/>
                      </a:lnTo>
                      <a:lnTo>
                        <a:pt x="93" y="25"/>
                      </a:lnTo>
                      <a:lnTo>
                        <a:pt x="93" y="26"/>
                      </a:lnTo>
                      <a:lnTo>
                        <a:pt x="93" y="26"/>
                      </a:lnTo>
                      <a:lnTo>
                        <a:pt x="92" y="26"/>
                      </a:lnTo>
                      <a:lnTo>
                        <a:pt x="92" y="26"/>
                      </a:lnTo>
                      <a:lnTo>
                        <a:pt x="92" y="27"/>
                      </a:lnTo>
                      <a:lnTo>
                        <a:pt x="92" y="28"/>
                      </a:lnTo>
                      <a:lnTo>
                        <a:pt x="92" y="28"/>
                      </a:lnTo>
                      <a:lnTo>
                        <a:pt x="92" y="29"/>
                      </a:lnTo>
                      <a:lnTo>
                        <a:pt x="92" y="30"/>
                      </a:lnTo>
                      <a:lnTo>
                        <a:pt x="92" y="30"/>
                      </a:lnTo>
                      <a:lnTo>
                        <a:pt x="92" y="31"/>
                      </a:lnTo>
                      <a:lnTo>
                        <a:pt x="91" y="31"/>
                      </a:lnTo>
                      <a:lnTo>
                        <a:pt x="91" y="32"/>
                      </a:lnTo>
                      <a:lnTo>
                        <a:pt x="91" y="32"/>
                      </a:lnTo>
                      <a:lnTo>
                        <a:pt x="91" y="32"/>
                      </a:lnTo>
                      <a:lnTo>
                        <a:pt x="90" y="32"/>
                      </a:lnTo>
                      <a:lnTo>
                        <a:pt x="90" y="33"/>
                      </a:lnTo>
                      <a:lnTo>
                        <a:pt x="89" y="33"/>
                      </a:lnTo>
                      <a:lnTo>
                        <a:pt x="89" y="34"/>
                      </a:lnTo>
                      <a:lnTo>
                        <a:pt x="89" y="34"/>
                      </a:lnTo>
                      <a:lnTo>
                        <a:pt x="88" y="35"/>
                      </a:lnTo>
                      <a:lnTo>
                        <a:pt x="88" y="36"/>
                      </a:lnTo>
                      <a:lnTo>
                        <a:pt x="88" y="38"/>
                      </a:lnTo>
                      <a:lnTo>
                        <a:pt x="88" y="39"/>
                      </a:lnTo>
                      <a:lnTo>
                        <a:pt x="87" y="39"/>
                      </a:lnTo>
                      <a:lnTo>
                        <a:pt x="87" y="41"/>
                      </a:lnTo>
                      <a:lnTo>
                        <a:pt x="86" y="43"/>
                      </a:lnTo>
                      <a:lnTo>
                        <a:pt x="86" y="44"/>
                      </a:lnTo>
                      <a:lnTo>
                        <a:pt x="86" y="45"/>
                      </a:lnTo>
                      <a:lnTo>
                        <a:pt x="86" y="45"/>
                      </a:lnTo>
                      <a:lnTo>
                        <a:pt x="85" y="47"/>
                      </a:lnTo>
                      <a:lnTo>
                        <a:pt x="86" y="48"/>
                      </a:lnTo>
                      <a:lnTo>
                        <a:pt x="86" y="49"/>
                      </a:lnTo>
                      <a:lnTo>
                        <a:pt x="86" y="49"/>
                      </a:lnTo>
                      <a:lnTo>
                        <a:pt x="87" y="50"/>
                      </a:lnTo>
                      <a:lnTo>
                        <a:pt x="87" y="51"/>
                      </a:lnTo>
                      <a:lnTo>
                        <a:pt x="87" y="52"/>
                      </a:lnTo>
                      <a:lnTo>
                        <a:pt x="87" y="53"/>
                      </a:lnTo>
                      <a:lnTo>
                        <a:pt x="88" y="54"/>
                      </a:lnTo>
                      <a:lnTo>
                        <a:pt x="88" y="55"/>
                      </a:lnTo>
                      <a:lnTo>
                        <a:pt x="87" y="55"/>
                      </a:lnTo>
                      <a:lnTo>
                        <a:pt x="87" y="55"/>
                      </a:lnTo>
                      <a:lnTo>
                        <a:pt x="87" y="57"/>
                      </a:lnTo>
                      <a:lnTo>
                        <a:pt x="88" y="58"/>
                      </a:lnTo>
                      <a:lnTo>
                        <a:pt x="90" y="60"/>
                      </a:lnTo>
                      <a:lnTo>
                        <a:pt x="91" y="62"/>
                      </a:lnTo>
                      <a:lnTo>
                        <a:pt x="91" y="64"/>
                      </a:lnTo>
                      <a:lnTo>
                        <a:pt x="91" y="67"/>
                      </a:lnTo>
                      <a:lnTo>
                        <a:pt x="93" y="69"/>
                      </a:lnTo>
                      <a:lnTo>
                        <a:pt x="93" y="72"/>
                      </a:lnTo>
                      <a:lnTo>
                        <a:pt x="92" y="74"/>
                      </a:lnTo>
                      <a:lnTo>
                        <a:pt x="92" y="83"/>
                      </a:lnTo>
                      <a:lnTo>
                        <a:pt x="93" y="84"/>
                      </a:lnTo>
                      <a:lnTo>
                        <a:pt x="92" y="85"/>
                      </a:lnTo>
                      <a:lnTo>
                        <a:pt x="92" y="89"/>
                      </a:lnTo>
                      <a:lnTo>
                        <a:pt x="92" y="89"/>
                      </a:lnTo>
                      <a:lnTo>
                        <a:pt x="91" y="89"/>
                      </a:lnTo>
                      <a:lnTo>
                        <a:pt x="91" y="90"/>
                      </a:lnTo>
                      <a:lnTo>
                        <a:pt x="91" y="90"/>
                      </a:lnTo>
                      <a:lnTo>
                        <a:pt x="91" y="91"/>
                      </a:lnTo>
                      <a:lnTo>
                        <a:pt x="91" y="91"/>
                      </a:lnTo>
                      <a:lnTo>
                        <a:pt x="91" y="91"/>
                      </a:lnTo>
                      <a:lnTo>
                        <a:pt x="91" y="91"/>
                      </a:lnTo>
                      <a:lnTo>
                        <a:pt x="91" y="92"/>
                      </a:lnTo>
                      <a:lnTo>
                        <a:pt x="90" y="92"/>
                      </a:lnTo>
                      <a:lnTo>
                        <a:pt x="90" y="93"/>
                      </a:lnTo>
                      <a:lnTo>
                        <a:pt x="90" y="93"/>
                      </a:lnTo>
                      <a:lnTo>
                        <a:pt x="91" y="94"/>
                      </a:lnTo>
                      <a:lnTo>
                        <a:pt x="91" y="95"/>
                      </a:lnTo>
                      <a:lnTo>
                        <a:pt x="91" y="95"/>
                      </a:lnTo>
                      <a:lnTo>
                        <a:pt x="91" y="96"/>
                      </a:lnTo>
                      <a:lnTo>
                        <a:pt x="91" y="97"/>
                      </a:lnTo>
                      <a:lnTo>
                        <a:pt x="91" y="97"/>
                      </a:lnTo>
                      <a:lnTo>
                        <a:pt x="92" y="97"/>
                      </a:lnTo>
                      <a:lnTo>
                        <a:pt x="92" y="97"/>
                      </a:lnTo>
                      <a:lnTo>
                        <a:pt x="93" y="97"/>
                      </a:lnTo>
                      <a:lnTo>
                        <a:pt x="93" y="98"/>
                      </a:lnTo>
                      <a:lnTo>
                        <a:pt x="93" y="98"/>
                      </a:lnTo>
                      <a:lnTo>
                        <a:pt x="93" y="99"/>
                      </a:lnTo>
                      <a:lnTo>
                        <a:pt x="93" y="99"/>
                      </a:lnTo>
                      <a:lnTo>
                        <a:pt x="94" y="99"/>
                      </a:lnTo>
                      <a:lnTo>
                        <a:pt x="94" y="100"/>
                      </a:lnTo>
                      <a:lnTo>
                        <a:pt x="93" y="100"/>
                      </a:lnTo>
                      <a:lnTo>
                        <a:pt x="93" y="101"/>
                      </a:lnTo>
                      <a:lnTo>
                        <a:pt x="93" y="101"/>
                      </a:lnTo>
                      <a:lnTo>
                        <a:pt x="93" y="102"/>
                      </a:lnTo>
                      <a:lnTo>
                        <a:pt x="92" y="102"/>
                      </a:lnTo>
                      <a:lnTo>
                        <a:pt x="92" y="102"/>
                      </a:lnTo>
                      <a:lnTo>
                        <a:pt x="92" y="103"/>
                      </a:lnTo>
                      <a:lnTo>
                        <a:pt x="91" y="103"/>
                      </a:lnTo>
                      <a:lnTo>
                        <a:pt x="91" y="104"/>
                      </a:lnTo>
                      <a:lnTo>
                        <a:pt x="91" y="104"/>
                      </a:lnTo>
                      <a:lnTo>
                        <a:pt x="92" y="105"/>
                      </a:lnTo>
                      <a:lnTo>
                        <a:pt x="93" y="106"/>
                      </a:lnTo>
                      <a:lnTo>
                        <a:pt x="93" y="106"/>
                      </a:lnTo>
                      <a:lnTo>
                        <a:pt x="93" y="107"/>
                      </a:lnTo>
                      <a:lnTo>
                        <a:pt x="93" y="108"/>
                      </a:lnTo>
                      <a:lnTo>
                        <a:pt x="93" y="109"/>
                      </a:lnTo>
                      <a:lnTo>
                        <a:pt x="93" y="110"/>
                      </a:lnTo>
                      <a:lnTo>
                        <a:pt x="92" y="110"/>
                      </a:lnTo>
                      <a:lnTo>
                        <a:pt x="92" y="111"/>
                      </a:lnTo>
                      <a:lnTo>
                        <a:pt x="93" y="112"/>
                      </a:lnTo>
                      <a:lnTo>
                        <a:pt x="93" y="112"/>
                      </a:lnTo>
                      <a:lnTo>
                        <a:pt x="93" y="113"/>
                      </a:lnTo>
                      <a:lnTo>
                        <a:pt x="93" y="114"/>
                      </a:lnTo>
                      <a:lnTo>
                        <a:pt x="93" y="116"/>
                      </a:lnTo>
                      <a:lnTo>
                        <a:pt x="93" y="116"/>
                      </a:lnTo>
                      <a:lnTo>
                        <a:pt x="93" y="118"/>
                      </a:lnTo>
                      <a:lnTo>
                        <a:pt x="94" y="119"/>
                      </a:lnTo>
                      <a:lnTo>
                        <a:pt x="96" y="125"/>
                      </a:lnTo>
                      <a:lnTo>
                        <a:pt x="95" y="125"/>
                      </a:lnTo>
                      <a:lnTo>
                        <a:pt x="95" y="126"/>
                      </a:lnTo>
                      <a:lnTo>
                        <a:pt x="97" y="128"/>
                      </a:lnTo>
                      <a:lnTo>
                        <a:pt x="97" y="129"/>
                      </a:lnTo>
                      <a:lnTo>
                        <a:pt x="96" y="130"/>
                      </a:lnTo>
                      <a:lnTo>
                        <a:pt x="96" y="131"/>
                      </a:lnTo>
                      <a:lnTo>
                        <a:pt x="96" y="132"/>
                      </a:lnTo>
                      <a:lnTo>
                        <a:pt x="96" y="133"/>
                      </a:lnTo>
                      <a:lnTo>
                        <a:pt x="96" y="133"/>
                      </a:lnTo>
                      <a:lnTo>
                        <a:pt x="97" y="134"/>
                      </a:lnTo>
                      <a:lnTo>
                        <a:pt x="96" y="134"/>
                      </a:lnTo>
                      <a:lnTo>
                        <a:pt x="95" y="135"/>
                      </a:lnTo>
                      <a:lnTo>
                        <a:pt x="95" y="135"/>
                      </a:lnTo>
                      <a:lnTo>
                        <a:pt x="95" y="135"/>
                      </a:lnTo>
                      <a:lnTo>
                        <a:pt x="95" y="136"/>
                      </a:lnTo>
                      <a:lnTo>
                        <a:pt x="95" y="137"/>
                      </a:lnTo>
                      <a:lnTo>
                        <a:pt x="95" y="137"/>
                      </a:lnTo>
                      <a:lnTo>
                        <a:pt x="95" y="137"/>
                      </a:lnTo>
                      <a:lnTo>
                        <a:pt x="95" y="138"/>
                      </a:lnTo>
                      <a:lnTo>
                        <a:pt x="95" y="139"/>
                      </a:lnTo>
                      <a:lnTo>
                        <a:pt x="95" y="139"/>
                      </a:lnTo>
                      <a:lnTo>
                        <a:pt x="95" y="140"/>
                      </a:lnTo>
                      <a:lnTo>
                        <a:pt x="95" y="141"/>
                      </a:lnTo>
                      <a:lnTo>
                        <a:pt x="95" y="142"/>
                      </a:lnTo>
                      <a:lnTo>
                        <a:pt x="95" y="142"/>
                      </a:lnTo>
                      <a:lnTo>
                        <a:pt x="95" y="142"/>
                      </a:lnTo>
                      <a:lnTo>
                        <a:pt x="95" y="143"/>
                      </a:lnTo>
                      <a:lnTo>
                        <a:pt x="95" y="143"/>
                      </a:lnTo>
                      <a:lnTo>
                        <a:pt x="95" y="144"/>
                      </a:lnTo>
                      <a:lnTo>
                        <a:pt x="95" y="144"/>
                      </a:lnTo>
                      <a:lnTo>
                        <a:pt x="95" y="145"/>
                      </a:lnTo>
                      <a:lnTo>
                        <a:pt x="95" y="144"/>
                      </a:lnTo>
                      <a:lnTo>
                        <a:pt x="95" y="145"/>
                      </a:lnTo>
                      <a:lnTo>
                        <a:pt x="94" y="145"/>
                      </a:lnTo>
                      <a:lnTo>
                        <a:pt x="94" y="146"/>
                      </a:lnTo>
                      <a:lnTo>
                        <a:pt x="94" y="146"/>
                      </a:lnTo>
                      <a:lnTo>
                        <a:pt x="95" y="146"/>
                      </a:lnTo>
                      <a:lnTo>
                        <a:pt x="95" y="147"/>
                      </a:lnTo>
                      <a:lnTo>
                        <a:pt x="94" y="147"/>
                      </a:lnTo>
                      <a:lnTo>
                        <a:pt x="95" y="148"/>
                      </a:lnTo>
                      <a:lnTo>
                        <a:pt x="95" y="148"/>
                      </a:lnTo>
                      <a:lnTo>
                        <a:pt x="95" y="149"/>
                      </a:lnTo>
                      <a:lnTo>
                        <a:pt x="95" y="150"/>
                      </a:lnTo>
                      <a:lnTo>
                        <a:pt x="95" y="150"/>
                      </a:lnTo>
                      <a:lnTo>
                        <a:pt x="95" y="151"/>
                      </a:lnTo>
                      <a:lnTo>
                        <a:pt x="95" y="152"/>
                      </a:lnTo>
                      <a:lnTo>
                        <a:pt x="95" y="152"/>
                      </a:lnTo>
                      <a:lnTo>
                        <a:pt x="95" y="152"/>
                      </a:lnTo>
                      <a:lnTo>
                        <a:pt x="96" y="152"/>
                      </a:lnTo>
                      <a:lnTo>
                        <a:pt x="96" y="153"/>
                      </a:lnTo>
                      <a:lnTo>
                        <a:pt x="96" y="154"/>
                      </a:lnTo>
                      <a:lnTo>
                        <a:pt x="97" y="154"/>
                      </a:lnTo>
                      <a:lnTo>
                        <a:pt x="97" y="154"/>
                      </a:lnTo>
                      <a:lnTo>
                        <a:pt x="97" y="155"/>
                      </a:lnTo>
                      <a:lnTo>
                        <a:pt x="97" y="156"/>
                      </a:lnTo>
                      <a:lnTo>
                        <a:pt x="98" y="156"/>
                      </a:lnTo>
                      <a:lnTo>
                        <a:pt x="98" y="156"/>
                      </a:lnTo>
                      <a:lnTo>
                        <a:pt x="99" y="156"/>
                      </a:lnTo>
                      <a:lnTo>
                        <a:pt x="99" y="157"/>
                      </a:lnTo>
                      <a:lnTo>
                        <a:pt x="99" y="157"/>
                      </a:lnTo>
                      <a:lnTo>
                        <a:pt x="99" y="158"/>
                      </a:lnTo>
                      <a:lnTo>
                        <a:pt x="99" y="158"/>
                      </a:lnTo>
                      <a:lnTo>
                        <a:pt x="99" y="158"/>
                      </a:lnTo>
                      <a:lnTo>
                        <a:pt x="99" y="159"/>
                      </a:lnTo>
                      <a:lnTo>
                        <a:pt x="99" y="160"/>
                      </a:lnTo>
                      <a:lnTo>
                        <a:pt x="98" y="160"/>
                      </a:lnTo>
                      <a:lnTo>
                        <a:pt x="98" y="159"/>
                      </a:lnTo>
                      <a:lnTo>
                        <a:pt x="98" y="160"/>
                      </a:lnTo>
                      <a:lnTo>
                        <a:pt x="97" y="160"/>
                      </a:lnTo>
                      <a:lnTo>
                        <a:pt x="97" y="161"/>
                      </a:lnTo>
                      <a:lnTo>
                        <a:pt x="97" y="161"/>
                      </a:lnTo>
                      <a:lnTo>
                        <a:pt x="97" y="162"/>
                      </a:lnTo>
                      <a:lnTo>
                        <a:pt x="96" y="162"/>
                      </a:lnTo>
                      <a:lnTo>
                        <a:pt x="96" y="163"/>
                      </a:lnTo>
                      <a:lnTo>
                        <a:pt x="96" y="163"/>
                      </a:lnTo>
                      <a:lnTo>
                        <a:pt x="96" y="164"/>
                      </a:lnTo>
                      <a:lnTo>
                        <a:pt x="96" y="165"/>
                      </a:lnTo>
                      <a:lnTo>
                        <a:pt x="96" y="165"/>
                      </a:lnTo>
                      <a:lnTo>
                        <a:pt x="96" y="166"/>
                      </a:lnTo>
                      <a:lnTo>
                        <a:pt x="96" y="167"/>
                      </a:lnTo>
                      <a:lnTo>
                        <a:pt x="96" y="167"/>
                      </a:lnTo>
                      <a:lnTo>
                        <a:pt x="96" y="168"/>
                      </a:lnTo>
                      <a:lnTo>
                        <a:pt x="96" y="169"/>
                      </a:lnTo>
                      <a:lnTo>
                        <a:pt x="95" y="169"/>
                      </a:lnTo>
                      <a:lnTo>
                        <a:pt x="96" y="169"/>
                      </a:lnTo>
                      <a:lnTo>
                        <a:pt x="96" y="169"/>
                      </a:lnTo>
                      <a:lnTo>
                        <a:pt x="96" y="170"/>
                      </a:lnTo>
                      <a:lnTo>
                        <a:pt x="97" y="170"/>
                      </a:lnTo>
                      <a:lnTo>
                        <a:pt x="97" y="171"/>
                      </a:lnTo>
                      <a:lnTo>
                        <a:pt x="97" y="171"/>
                      </a:lnTo>
                      <a:lnTo>
                        <a:pt x="97" y="171"/>
                      </a:lnTo>
                      <a:lnTo>
                        <a:pt x="97" y="172"/>
                      </a:lnTo>
                      <a:lnTo>
                        <a:pt x="97" y="173"/>
                      </a:lnTo>
                      <a:lnTo>
                        <a:pt x="97" y="173"/>
                      </a:lnTo>
                      <a:lnTo>
                        <a:pt x="97" y="174"/>
                      </a:lnTo>
                      <a:lnTo>
                        <a:pt x="97" y="175"/>
                      </a:lnTo>
                      <a:lnTo>
                        <a:pt x="96" y="175"/>
                      </a:lnTo>
                      <a:lnTo>
                        <a:pt x="96" y="175"/>
                      </a:lnTo>
                      <a:lnTo>
                        <a:pt x="96" y="176"/>
                      </a:lnTo>
                      <a:lnTo>
                        <a:pt x="96" y="177"/>
                      </a:lnTo>
                      <a:lnTo>
                        <a:pt x="95" y="177"/>
                      </a:lnTo>
                      <a:lnTo>
                        <a:pt x="95" y="177"/>
                      </a:lnTo>
                      <a:lnTo>
                        <a:pt x="95" y="177"/>
                      </a:lnTo>
                      <a:lnTo>
                        <a:pt x="95" y="178"/>
                      </a:lnTo>
                      <a:lnTo>
                        <a:pt x="95" y="179"/>
                      </a:lnTo>
                      <a:lnTo>
                        <a:pt x="95" y="179"/>
                      </a:lnTo>
                      <a:lnTo>
                        <a:pt x="95" y="180"/>
                      </a:lnTo>
                      <a:lnTo>
                        <a:pt x="94" y="180"/>
                      </a:lnTo>
                      <a:lnTo>
                        <a:pt x="94" y="181"/>
                      </a:lnTo>
                      <a:lnTo>
                        <a:pt x="94" y="182"/>
                      </a:lnTo>
                      <a:lnTo>
                        <a:pt x="94" y="182"/>
                      </a:lnTo>
                      <a:lnTo>
                        <a:pt x="94" y="183"/>
                      </a:lnTo>
                      <a:lnTo>
                        <a:pt x="94" y="184"/>
                      </a:lnTo>
                      <a:lnTo>
                        <a:pt x="94" y="184"/>
                      </a:lnTo>
                      <a:lnTo>
                        <a:pt x="93" y="184"/>
                      </a:lnTo>
                      <a:lnTo>
                        <a:pt x="93" y="185"/>
                      </a:lnTo>
                      <a:lnTo>
                        <a:pt x="93" y="186"/>
                      </a:lnTo>
                      <a:lnTo>
                        <a:pt x="93" y="186"/>
                      </a:lnTo>
                      <a:lnTo>
                        <a:pt x="93" y="187"/>
                      </a:lnTo>
                      <a:lnTo>
                        <a:pt x="93" y="188"/>
                      </a:lnTo>
                      <a:lnTo>
                        <a:pt x="93" y="188"/>
                      </a:lnTo>
                      <a:lnTo>
                        <a:pt x="93" y="188"/>
                      </a:lnTo>
                      <a:lnTo>
                        <a:pt x="93" y="189"/>
                      </a:lnTo>
                      <a:lnTo>
                        <a:pt x="93" y="190"/>
                      </a:lnTo>
                      <a:lnTo>
                        <a:pt x="93" y="190"/>
                      </a:lnTo>
                      <a:lnTo>
                        <a:pt x="93" y="190"/>
                      </a:lnTo>
                      <a:lnTo>
                        <a:pt x="93" y="191"/>
                      </a:lnTo>
                      <a:lnTo>
                        <a:pt x="93" y="192"/>
                      </a:lnTo>
                      <a:lnTo>
                        <a:pt x="93" y="192"/>
                      </a:lnTo>
                      <a:lnTo>
                        <a:pt x="93" y="192"/>
                      </a:lnTo>
                      <a:lnTo>
                        <a:pt x="93" y="193"/>
                      </a:lnTo>
                      <a:lnTo>
                        <a:pt x="93" y="194"/>
                      </a:lnTo>
                      <a:lnTo>
                        <a:pt x="93" y="194"/>
                      </a:lnTo>
                      <a:lnTo>
                        <a:pt x="93" y="195"/>
                      </a:lnTo>
                      <a:lnTo>
                        <a:pt x="93" y="196"/>
                      </a:lnTo>
                      <a:lnTo>
                        <a:pt x="93" y="196"/>
                      </a:lnTo>
                      <a:lnTo>
                        <a:pt x="93" y="197"/>
                      </a:lnTo>
                      <a:lnTo>
                        <a:pt x="93" y="198"/>
                      </a:lnTo>
                      <a:lnTo>
                        <a:pt x="93" y="198"/>
                      </a:lnTo>
                      <a:lnTo>
                        <a:pt x="92" y="198"/>
                      </a:lnTo>
                      <a:lnTo>
                        <a:pt x="92" y="199"/>
                      </a:lnTo>
                      <a:lnTo>
                        <a:pt x="92" y="200"/>
                      </a:lnTo>
                      <a:lnTo>
                        <a:pt x="93" y="201"/>
                      </a:lnTo>
                      <a:lnTo>
                        <a:pt x="93" y="201"/>
                      </a:lnTo>
                      <a:lnTo>
                        <a:pt x="93" y="202"/>
                      </a:lnTo>
                      <a:lnTo>
                        <a:pt x="93" y="203"/>
                      </a:lnTo>
                      <a:lnTo>
                        <a:pt x="93" y="203"/>
                      </a:lnTo>
                      <a:lnTo>
                        <a:pt x="93" y="204"/>
                      </a:lnTo>
                      <a:lnTo>
                        <a:pt x="93" y="205"/>
                      </a:lnTo>
                      <a:lnTo>
                        <a:pt x="93" y="205"/>
                      </a:lnTo>
                      <a:lnTo>
                        <a:pt x="93" y="206"/>
                      </a:lnTo>
                      <a:lnTo>
                        <a:pt x="93" y="207"/>
                      </a:lnTo>
                      <a:lnTo>
                        <a:pt x="93" y="207"/>
                      </a:lnTo>
                      <a:lnTo>
                        <a:pt x="93" y="208"/>
                      </a:lnTo>
                      <a:lnTo>
                        <a:pt x="93" y="209"/>
                      </a:lnTo>
                      <a:lnTo>
                        <a:pt x="93" y="209"/>
                      </a:lnTo>
                      <a:lnTo>
                        <a:pt x="93" y="210"/>
                      </a:lnTo>
                      <a:lnTo>
                        <a:pt x="93" y="211"/>
                      </a:lnTo>
                      <a:lnTo>
                        <a:pt x="93" y="211"/>
                      </a:lnTo>
                      <a:lnTo>
                        <a:pt x="93" y="211"/>
                      </a:lnTo>
                      <a:lnTo>
                        <a:pt x="93" y="212"/>
                      </a:lnTo>
                      <a:lnTo>
                        <a:pt x="93" y="213"/>
                      </a:lnTo>
                      <a:lnTo>
                        <a:pt x="93" y="213"/>
                      </a:lnTo>
                      <a:lnTo>
                        <a:pt x="93" y="214"/>
                      </a:lnTo>
                      <a:lnTo>
                        <a:pt x="93" y="215"/>
                      </a:lnTo>
                      <a:lnTo>
                        <a:pt x="93" y="215"/>
                      </a:lnTo>
                      <a:lnTo>
                        <a:pt x="93" y="216"/>
                      </a:lnTo>
                      <a:lnTo>
                        <a:pt x="93" y="216"/>
                      </a:lnTo>
                      <a:lnTo>
                        <a:pt x="93" y="217"/>
                      </a:lnTo>
                      <a:lnTo>
                        <a:pt x="93" y="217"/>
                      </a:lnTo>
                      <a:lnTo>
                        <a:pt x="93" y="218"/>
                      </a:lnTo>
                      <a:lnTo>
                        <a:pt x="93" y="219"/>
                      </a:lnTo>
                      <a:lnTo>
                        <a:pt x="94" y="219"/>
                      </a:lnTo>
                      <a:lnTo>
                        <a:pt x="94" y="220"/>
                      </a:lnTo>
                      <a:lnTo>
                        <a:pt x="94" y="220"/>
                      </a:lnTo>
                      <a:lnTo>
                        <a:pt x="95" y="220"/>
                      </a:lnTo>
                      <a:lnTo>
                        <a:pt x="95" y="221"/>
                      </a:lnTo>
                      <a:lnTo>
                        <a:pt x="95" y="222"/>
                      </a:lnTo>
                      <a:lnTo>
                        <a:pt x="95" y="222"/>
                      </a:lnTo>
                      <a:lnTo>
                        <a:pt x="95" y="223"/>
                      </a:lnTo>
                      <a:lnTo>
                        <a:pt x="95" y="224"/>
                      </a:lnTo>
                      <a:lnTo>
                        <a:pt x="95" y="224"/>
                      </a:lnTo>
                      <a:lnTo>
                        <a:pt x="95" y="225"/>
                      </a:lnTo>
                      <a:lnTo>
                        <a:pt x="95" y="225"/>
                      </a:lnTo>
                      <a:lnTo>
                        <a:pt x="95" y="226"/>
                      </a:lnTo>
                      <a:lnTo>
                        <a:pt x="95" y="226"/>
                      </a:lnTo>
                      <a:lnTo>
                        <a:pt x="95" y="227"/>
                      </a:lnTo>
                      <a:lnTo>
                        <a:pt x="95" y="228"/>
                      </a:lnTo>
                      <a:lnTo>
                        <a:pt x="95" y="228"/>
                      </a:lnTo>
                      <a:lnTo>
                        <a:pt x="95" y="229"/>
                      </a:lnTo>
                      <a:lnTo>
                        <a:pt x="95" y="230"/>
                      </a:lnTo>
                      <a:lnTo>
                        <a:pt x="95" y="230"/>
                      </a:lnTo>
                      <a:lnTo>
                        <a:pt x="95" y="230"/>
                      </a:lnTo>
                      <a:lnTo>
                        <a:pt x="95" y="231"/>
                      </a:lnTo>
                      <a:lnTo>
                        <a:pt x="95" y="232"/>
                      </a:lnTo>
                      <a:lnTo>
                        <a:pt x="95" y="232"/>
                      </a:lnTo>
                      <a:lnTo>
                        <a:pt x="94" y="233"/>
                      </a:lnTo>
                      <a:lnTo>
                        <a:pt x="94" y="234"/>
                      </a:lnTo>
                      <a:lnTo>
                        <a:pt x="93" y="234"/>
                      </a:lnTo>
                      <a:lnTo>
                        <a:pt x="93" y="234"/>
                      </a:lnTo>
                      <a:lnTo>
                        <a:pt x="93" y="235"/>
                      </a:lnTo>
                      <a:lnTo>
                        <a:pt x="93" y="236"/>
                      </a:lnTo>
                      <a:lnTo>
                        <a:pt x="93" y="236"/>
                      </a:lnTo>
                      <a:lnTo>
                        <a:pt x="93" y="237"/>
                      </a:lnTo>
                      <a:lnTo>
                        <a:pt x="93" y="238"/>
                      </a:lnTo>
                      <a:lnTo>
                        <a:pt x="93" y="238"/>
                      </a:lnTo>
                      <a:lnTo>
                        <a:pt x="93" y="239"/>
                      </a:lnTo>
                      <a:lnTo>
                        <a:pt x="93" y="239"/>
                      </a:lnTo>
                      <a:lnTo>
                        <a:pt x="93" y="240"/>
                      </a:lnTo>
                      <a:lnTo>
                        <a:pt x="93" y="241"/>
                      </a:lnTo>
                      <a:lnTo>
                        <a:pt x="93" y="241"/>
                      </a:lnTo>
                      <a:lnTo>
                        <a:pt x="93" y="242"/>
                      </a:lnTo>
                      <a:lnTo>
                        <a:pt x="94" y="242"/>
                      </a:lnTo>
                      <a:lnTo>
                        <a:pt x="94" y="243"/>
                      </a:lnTo>
                      <a:lnTo>
                        <a:pt x="93" y="243"/>
                      </a:lnTo>
                      <a:lnTo>
                        <a:pt x="93" y="243"/>
                      </a:lnTo>
                      <a:lnTo>
                        <a:pt x="93" y="244"/>
                      </a:lnTo>
                      <a:lnTo>
                        <a:pt x="93" y="245"/>
                      </a:lnTo>
                      <a:lnTo>
                        <a:pt x="93" y="245"/>
                      </a:lnTo>
                      <a:lnTo>
                        <a:pt x="94" y="245"/>
                      </a:lnTo>
                      <a:lnTo>
                        <a:pt x="94" y="246"/>
                      </a:lnTo>
                      <a:lnTo>
                        <a:pt x="94" y="247"/>
                      </a:lnTo>
                      <a:lnTo>
                        <a:pt x="94" y="247"/>
                      </a:lnTo>
                      <a:lnTo>
                        <a:pt x="94" y="248"/>
                      </a:lnTo>
                      <a:lnTo>
                        <a:pt x="94" y="249"/>
                      </a:lnTo>
                      <a:lnTo>
                        <a:pt x="94" y="249"/>
                      </a:lnTo>
                      <a:lnTo>
                        <a:pt x="94" y="250"/>
                      </a:lnTo>
                      <a:lnTo>
                        <a:pt x="94" y="251"/>
                      </a:lnTo>
                      <a:lnTo>
                        <a:pt x="93" y="251"/>
                      </a:lnTo>
                      <a:lnTo>
                        <a:pt x="93" y="251"/>
                      </a:lnTo>
                      <a:lnTo>
                        <a:pt x="94" y="252"/>
                      </a:lnTo>
                      <a:lnTo>
                        <a:pt x="93" y="252"/>
                      </a:lnTo>
                      <a:lnTo>
                        <a:pt x="93" y="253"/>
                      </a:lnTo>
                      <a:lnTo>
                        <a:pt x="93" y="253"/>
                      </a:lnTo>
                      <a:lnTo>
                        <a:pt x="93" y="253"/>
                      </a:lnTo>
                      <a:lnTo>
                        <a:pt x="93" y="254"/>
                      </a:lnTo>
                      <a:lnTo>
                        <a:pt x="92" y="255"/>
                      </a:lnTo>
                      <a:lnTo>
                        <a:pt x="92" y="255"/>
                      </a:lnTo>
                      <a:lnTo>
                        <a:pt x="93" y="256"/>
                      </a:lnTo>
                      <a:lnTo>
                        <a:pt x="93" y="257"/>
                      </a:lnTo>
                      <a:lnTo>
                        <a:pt x="92" y="257"/>
                      </a:lnTo>
                      <a:lnTo>
                        <a:pt x="92" y="257"/>
                      </a:lnTo>
                      <a:lnTo>
                        <a:pt x="92" y="258"/>
                      </a:lnTo>
                      <a:lnTo>
                        <a:pt x="92" y="259"/>
                      </a:lnTo>
                      <a:lnTo>
                        <a:pt x="91" y="259"/>
                      </a:lnTo>
                      <a:lnTo>
                        <a:pt x="91" y="260"/>
                      </a:lnTo>
                      <a:lnTo>
                        <a:pt x="91" y="260"/>
                      </a:lnTo>
                      <a:lnTo>
                        <a:pt x="91" y="261"/>
                      </a:lnTo>
                      <a:lnTo>
                        <a:pt x="91" y="262"/>
                      </a:lnTo>
                      <a:lnTo>
                        <a:pt x="91" y="262"/>
                      </a:lnTo>
                      <a:lnTo>
                        <a:pt x="91" y="262"/>
                      </a:lnTo>
                      <a:lnTo>
                        <a:pt x="91" y="262"/>
                      </a:lnTo>
                      <a:lnTo>
                        <a:pt x="91" y="263"/>
                      </a:lnTo>
                      <a:lnTo>
                        <a:pt x="91" y="264"/>
                      </a:lnTo>
                      <a:lnTo>
                        <a:pt x="91" y="264"/>
                      </a:lnTo>
                      <a:lnTo>
                        <a:pt x="91" y="265"/>
                      </a:lnTo>
                      <a:lnTo>
                        <a:pt x="91" y="265"/>
                      </a:lnTo>
                      <a:lnTo>
                        <a:pt x="91" y="266"/>
                      </a:lnTo>
                      <a:lnTo>
                        <a:pt x="91" y="266"/>
                      </a:lnTo>
                      <a:lnTo>
                        <a:pt x="91" y="267"/>
                      </a:lnTo>
                      <a:lnTo>
                        <a:pt x="91" y="268"/>
                      </a:lnTo>
                      <a:lnTo>
                        <a:pt x="90" y="268"/>
                      </a:lnTo>
                      <a:lnTo>
                        <a:pt x="90" y="268"/>
                      </a:lnTo>
                      <a:lnTo>
                        <a:pt x="91" y="269"/>
                      </a:lnTo>
                      <a:lnTo>
                        <a:pt x="91" y="270"/>
                      </a:lnTo>
                      <a:lnTo>
                        <a:pt x="91" y="270"/>
                      </a:lnTo>
                      <a:lnTo>
                        <a:pt x="91" y="271"/>
                      </a:lnTo>
                      <a:lnTo>
                        <a:pt x="90" y="271"/>
                      </a:lnTo>
                      <a:lnTo>
                        <a:pt x="90" y="272"/>
                      </a:lnTo>
                      <a:lnTo>
                        <a:pt x="90" y="272"/>
                      </a:lnTo>
                      <a:lnTo>
                        <a:pt x="90" y="273"/>
                      </a:lnTo>
                      <a:lnTo>
                        <a:pt x="90" y="274"/>
                      </a:lnTo>
                      <a:lnTo>
                        <a:pt x="90" y="274"/>
                      </a:lnTo>
                      <a:lnTo>
                        <a:pt x="90" y="275"/>
                      </a:lnTo>
                      <a:lnTo>
                        <a:pt x="91" y="275"/>
                      </a:lnTo>
                      <a:lnTo>
                        <a:pt x="91" y="276"/>
                      </a:lnTo>
                      <a:lnTo>
                        <a:pt x="91" y="276"/>
                      </a:lnTo>
                      <a:lnTo>
                        <a:pt x="91" y="277"/>
                      </a:lnTo>
                      <a:lnTo>
                        <a:pt x="91" y="278"/>
                      </a:lnTo>
                      <a:lnTo>
                        <a:pt x="91" y="279"/>
                      </a:lnTo>
                      <a:lnTo>
                        <a:pt x="91" y="279"/>
                      </a:lnTo>
                      <a:lnTo>
                        <a:pt x="91" y="280"/>
                      </a:lnTo>
                      <a:lnTo>
                        <a:pt x="91" y="281"/>
                      </a:lnTo>
                      <a:lnTo>
                        <a:pt x="91" y="281"/>
                      </a:lnTo>
                      <a:lnTo>
                        <a:pt x="91" y="281"/>
                      </a:lnTo>
                      <a:lnTo>
                        <a:pt x="91" y="282"/>
                      </a:lnTo>
                      <a:lnTo>
                        <a:pt x="91" y="283"/>
                      </a:lnTo>
                      <a:lnTo>
                        <a:pt x="91" y="283"/>
                      </a:lnTo>
                      <a:lnTo>
                        <a:pt x="91" y="283"/>
                      </a:lnTo>
                      <a:lnTo>
                        <a:pt x="91" y="284"/>
                      </a:lnTo>
                      <a:lnTo>
                        <a:pt x="91" y="285"/>
                      </a:lnTo>
                      <a:lnTo>
                        <a:pt x="91" y="285"/>
                      </a:lnTo>
                      <a:lnTo>
                        <a:pt x="91" y="285"/>
                      </a:lnTo>
                      <a:lnTo>
                        <a:pt x="91" y="286"/>
                      </a:lnTo>
                      <a:lnTo>
                        <a:pt x="91" y="287"/>
                      </a:lnTo>
                      <a:lnTo>
                        <a:pt x="91" y="287"/>
                      </a:lnTo>
                      <a:lnTo>
                        <a:pt x="91" y="288"/>
                      </a:lnTo>
                      <a:lnTo>
                        <a:pt x="91" y="289"/>
                      </a:lnTo>
                      <a:lnTo>
                        <a:pt x="91" y="289"/>
                      </a:lnTo>
                      <a:lnTo>
                        <a:pt x="91" y="290"/>
                      </a:lnTo>
                      <a:lnTo>
                        <a:pt x="91" y="291"/>
                      </a:lnTo>
                      <a:lnTo>
                        <a:pt x="91" y="291"/>
                      </a:lnTo>
                      <a:lnTo>
                        <a:pt x="91" y="292"/>
                      </a:lnTo>
                      <a:lnTo>
                        <a:pt x="91" y="293"/>
                      </a:lnTo>
                      <a:lnTo>
                        <a:pt x="92" y="293"/>
                      </a:lnTo>
                      <a:lnTo>
                        <a:pt x="92" y="294"/>
                      </a:lnTo>
                      <a:lnTo>
                        <a:pt x="92" y="295"/>
                      </a:lnTo>
                      <a:lnTo>
                        <a:pt x="91" y="295"/>
                      </a:lnTo>
                      <a:lnTo>
                        <a:pt x="92" y="295"/>
                      </a:lnTo>
                      <a:lnTo>
                        <a:pt x="92" y="296"/>
                      </a:lnTo>
                      <a:lnTo>
                        <a:pt x="93" y="297"/>
                      </a:lnTo>
                      <a:lnTo>
                        <a:pt x="93" y="297"/>
                      </a:lnTo>
                      <a:lnTo>
                        <a:pt x="94" y="297"/>
                      </a:lnTo>
                      <a:lnTo>
                        <a:pt x="95" y="297"/>
                      </a:lnTo>
                      <a:lnTo>
                        <a:pt x="95" y="298"/>
                      </a:lnTo>
                      <a:lnTo>
                        <a:pt x="96" y="298"/>
                      </a:lnTo>
                      <a:lnTo>
                        <a:pt x="97" y="298"/>
                      </a:lnTo>
                      <a:lnTo>
                        <a:pt x="97" y="299"/>
                      </a:lnTo>
                      <a:lnTo>
                        <a:pt x="97" y="300"/>
                      </a:lnTo>
                      <a:lnTo>
                        <a:pt x="97" y="300"/>
                      </a:lnTo>
                      <a:lnTo>
                        <a:pt x="98" y="302"/>
                      </a:lnTo>
                      <a:lnTo>
                        <a:pt x="98" y="302"/>
                      </a:lnTo>
                      <a:lnTo>
                        <a:pt x="98" y="304"/>
                      </a:lnTo>
                      <a:lnTo>
                        <a:pt x="100" y="304"/>
                      </a:lnTo>
                      <a:lnTo>
                        <a:pt x="100" y="306"/>
                      </a:lnTo>
                      <a:lnTo>
                        <a:pt x="99" y="308"/>
                      </a:lnTo>
                      <a:lnTo>
                        <a:pt x="99" y="310"/>
                      </a:lnTo>
                      <a:lnTo>
                        <a:pt x="99" y="312"/>
                      </a:lnTo>
                      <a:lnTo>
                        <a:pt x="99" y="312"/>
                      </a:lnTo>
                      <a:lnTo>
                        <a:pt x="99" y="314"/>
                      </a:lnTo>
                      <a:lnTo>
                        <a:pt x="99" y="314"/>
                      </a:lnTo>
                      <a:lnTo>
                        <a:pt x="100" y="315"/>
                      </a:lnTo>
                      <a:lnTo>
                        <a:pt x="101" y="315"/>
                      </a:lnTo>
                      <a:lnTo>
                        <a:pt x="101" y="314"/>
                      </a:lnTo>
                      <a:lnTo>
                        <a:pt x="101" y="315"/>
                      </a:lnTo>
                      <a:lnTo>
                        <a:pt x="101" y="316"/>
                      </a:lnTo>
                      <a:lnTo>
                        <a:pt x="100" y="316"/>
                      </a:lnTo>
                      <a:lnTo>
                        <a:pt x="100" y="316"/>
                      </a:lnTo>
                      <a:lnTo>
                        <a:pt x="100" y="317"/>
                      </a:lnTo>
                      <a:lnTo>
                        <a:pt x="101" y="317"/>
                      </a:lnTo>
                      <a:lnTo>
                        <a:pt x="101" y="317"/>
                      </a:lnTo>
                      <a:lnTo>
                        <a:pt x="102" y="317"/>
                      </a:lnTo>
                      <a:lnTo>
                        <a:pt x="102" y="318"/>
                      </a:lnTo>
                      <a:lnTo>
                        <a:pt x="102" y="319"/>
                      </a:lnTo>
                      <a:lnTo>
                        <a:pt x="102" y="319"/>
                      </a:lnTo>
                      <a:lnTo>
                        <a:pt x="103" y="319"/>
                      </a:lnTo>
                      <a:lnTo>
                        <a:pt x="103" y="320"/>
                      </a:lnTo>
                      <a:lnTo>
                        <a:pt x="103" y="321"/>
                      </a:lnTo>
                      <a:lnTo>
                        <a:pt x="102" y="321"/>
                      </a:lnTo>
                      <a:lnTo>
                        <a:pt x="102" y="322"/>
                      </a:lnTo>
                      <a:lnTo>
                        <a:pt x="101" y="323"/>
                      </a:lnTo>
                      <a:lnTo>
                        <a:pt x="101" y="323"/>
                      </a:lnTo>
                      <a:lnTo>
                        <a:pt x="101" y="323"/>
                      </a:lnTo>
                      <a:lnTo>
                        <a:pt x="101" y="324"/>
                      </a:lnTo>
                      <a:lnTo>
                        <a:pt x="101" y="324"/>
                      </a:lnTo>
                      <a:lnTo>
                        <a:pt x="101" y="324"/>
                      </a:lnTo>
                      <a:lnTo>
                        <a:pt x="101" y="325"/>
                      </a:lnTo>
                      <a:lnTo>
                        <a:pt x="101" y="325"/>
                      </a:lnTo>
                      <a:lnTo>
                        <a:pt x="100" y="325"/>
                      </a:lnTo>
                      <a:lnTo>
                        <a:pt x="100" y="326"/>
                      </a:lnTo>
                      <a:lnTo>
                        <a:pt x="99" y="326"/>
                      </a:lnTo>
                      <a:lnTo>
                        <a:pt x="99" y="327"/>
                      </a:lnTo>
                      <a:lnTo>
                        <a:pt x="99" y="327"/>
                      </a:lnTo>
                      <a:lnTo>
                        <a:pt x="99" y="328"/>
                      </a:lnTo>
                      <a:lnTo>
                        <a:pt x="99" y="329"/>
                      </a:lnTo>
                      <a:lnTo>
                        <a:pt x="99" y="328"/>
                      </a:lnTo>
                      <a:lnTo>
                        <a:pt x="98" y="328"/>
                      </a:lnTo>
                      <a:lnTo>
                        <a:pt x="99" y="329"/>
                      </a:lnTo>
                      <a:lnTo>
                        <a:pt x="99" y="329"/>
                      </a:lnTo>
                      <a:lnTo>
                        <a:pt x="98" y="329"/>
                      </a:lnTo>
                      <a:lnTo>
                        <a:pt x="97" y="330"/>
                      </a:lnTo>
                      <a:lnTo>
                        <a:pt x="97" y="331"/>
                      </a:lnTo>
                      <a:lnTo>
                        <a:pt x="97" y="331"/>
                      </a:lnTo>
                      <a:lnTo>
                        <a:pt x="97" y="331"/>
                      </a:lnTo>
                      <a:lnTo>
                        <a:pt x="96" y="331"/>
                      </a:lnTo>
                      <a:lnTo>
                        <a:pt x="96" y="332"/>
                      </a:lnTo>
                      <a:lnTo>
                        <a:pt x="96" y="333"/>
                      </a:lnTo>
                      <a:lnTo>
                        <a:pt x="97" y="333"/>
                      </a:lnTo>
                      <a:lnTo>
                        <a:pt x="97" y="333"/>
                      </a:lnTo>
                      <a:lnTo>
                        <a:pt x="97" y="333"/>
                      </a:lnTo>
                      <a:lnTo>
                        <a:pt x="97" y="333"/>
                      </a:lnTo>
                      <a:lnTo>
                        <a:pt x="97" y="333"/>
                      </a:lnTo>
                      <a:lnTo>
                        <a:pt x="97" y="334"/>
                      </a:lnTo>
                      <a:lnTo>
                        <a:pt x="98" y="334"/>
                      </a:lnTo>
                      <a:lnTo>
                        <a:pt x="98" y="335"/>
                      </a:lnTo>
                      <a:lnTo>
                        <a:pt x="98" y="335"/>
                      </a:lnTo>
                      <a:lnTo>
                        <a:pt x="97" y="335"/>
                      </a:lnTo>
                      <a:lnTo>
                        <a:pt x="98" y="336"/>
                      </a:lnTo>
                      <a:lnTo>
                        <a:pt x="98" y="337"/>
                      </a:lnTo>
                      <a:lnTo>
                        <a:pt x="99" y="337"/>
                      </a:lnTo>
                      <a:lnTo>
                        <a:pt x="99" y="337"/>
                      </a:lnTo>
                      <a:lnTo>
                        <a:pt x="99" y="338"/>
                      </a:lnTo>
                      <a:lnTo>
                        <a:pt x="99" y="338"/>
                      </a:lnTo>
                      <a:lnTo>
                        <a:pt x="99" y="338"/>
                      </a:lnTo>
                      <a:lnTo>
                        <a:pt x="99" y="339"/>
                      </a:lnTo>
                      <a:lnTo>
                        <a:pt x="98" y="339"/>
                      </a:lnTo>
                      <a:lnTo>
                        <a:pt x="98" y="340"/>
                      </a:lnTo>
                      <a:lnTo>
                        <a:pt x="98" y="340"/>
                      </a:lnTo>
                      <a:lnTo>
                        <a:pt x="98" y="341"/>
                      </a:lnTo>
                      <a:lnTo>
                        <a:pt x="98" y="342"/>
                      </a:lnTo>
                      <a:lnTo>
                        <a:pt x="99" y="342"/>
                      </a:lnTo>
                      <a:lnTo>
                        <a:pt x="99" y="343"/>
                      </a:lnTo>
                      <a:lnTo>
                        <a:pt x="99" y="344"/>
                      </a:lnTo>
                      <a:lnTo>
                        <a:pt x="99" y="344"/>
                      </a:lnTo>
                      <a:lnTo>
                        <a:pt x="99" y="345"/>
                      </a:lnTo>
                      <a:lnTo>
                        <a:pt x="99" y="346"/>
                      </a:lnTo>
                      <a:lnTo>
                        <a:pt x="99" y="346"/>
                      </a:lnTo>
                      <a:lnTo>
                        <a:pt x="99" y="347"/>
                      </a:lnTo>
                      <a:lnTo>
                        <a:pt x="99" y="348"/>
                      </a:lnTo>
                      <a:lnTo>
                        <a:pt x="99" y="350"/>
                      </a:lnTo>
                      <a:lnTo>
                        <a:pt x="99" y="350"/>
                      </a:lnTo>
                      <a:lnTo>
                        <a:pt x="99" y="350"/>
                      </a:lnTo>
                      <a:lnTo>
                        <a:pt x="99" y="351"/>
                      </a:lnTo>
                      <a:lnTo>
                        <a:pt x="99" y="351"/>
                      </a:lnTo>
                      <a:lnTo>
                        <a:pt x="99" y="351"/>
                      </a:lnTo>
                      <a:lnTo>
                        <a:pt x="99" y="352"/>
                      </a:lnTo>
                      <a:lnTo>
                        <a:pt x="99" y="352"/>
                      </a:lnTo>
                      <a:lnTo>
                        <a:pt x="99" y="352"/>
                      </a:lnTo>
                      <a:lnTo>
                        <a:pt x="99" y="353"/>
                      </a:lnTo>
                      <a:lnTo>
                        <a:pt x="99" y="354"/>
                      </a:lnTo>
                      <a:lnTo>
                        <a:pt x="100" y="355"/>
                      </a:lnTo>
                      <a:lnTo>
                        <a:pt x="100" y="356"/>
                      </a:lnTo>
                      <a:lnTo>
                        <a:pt x="100" y="356"/>
                      </a:lnTo>
                      <a:lnTo>
                        <a:pt x="100" y="357"/>
                      </a:lnTo>
                      <a:lnTo>
                        <a:pt x="100" y="359"/>
                      </a:lnTo>
                      <a:lnTo>
                        <a:pt x="100" y="361"/>
                      </a:lnTo>
                      <a:lnTo>
                        <a:pt x="100" y="362"/>
                      </a:lnTo>
                      <a:lnTo>
                        <a:pt x="100" y="363"/>
                      </a:lnTo>
                      <a:lnTo>
                        <a:pt x="99" y="363"/>
                      </a:lnTo>
                      <a:lnTo>
                        <a:pt x="100" y="363"/>
                      </a:lnTo>
                      <a:lnTo>
                        <a:pt x="99" y="363"/>
                      </a:lnTo>
                      <a:lnTo>
                        <a:pt x="99" y="363"/>
                      </a:lnTo>
                      <a:lnTo>
                        <a:pt x="100" y="363"/>
                      </a:lnTo>
                      <a:lnTo>
                        <a:pt x="100" y="364"/>
                      </a:lnTo>
                      <a:lnTo>
                        <a:pt x="100" y="365"/>
                      </a:lnTo>
                      <a:lnTo>
                        <a:pt x="100" y="365"/>
                      </a:lnTo>
                      <a:lnTo>
                        <a:pt x="100" y="366"/>
                      </a:lnTo>
                      <a:lnTo>
                        <a:pt x="100" y="367"/>
                      </a:lnTo>
                      <a:lnTo>
                        <a:pt x="100" y="367"/>
                      </a:lnTo>
                      <a:lnTo>
                        <a:pt x="100" y="368"/>
                      </a:lnTo>
                      <a:lnTo>
                        <a:pt x="99" y="369"/>
                      </a:lnTo>
                      <a:lnTo>
                        <a:pt x="99" y="369"/>
                      </a:lnTo>
                      <a:lnTo>
                        <a:pt x="99" y="370"/>
                      </a:lnTo>
                      <a:lnTo>
                        <a:pt x="99" y="371"/>
                      </a:lnTo>
                      <a:lnTo>
                        <a:pt x="99" y="371"/>
                      </a:lnTo>
                      <a:lnTo>
                        <a:pt x="99" y="372"/>
                      </a:lnTo>
                      <a:lnTo>
                        <a:pt x="99" y="373"/>
                      </a:lnTo>
                      <a:lnTo>
                        <a:pt x="100" y="373"/>
                      </a:lnTo>
                      <a:lnTo>
                        <a:pt x="99" y="373"/>
                      </a:lnTo>
                      <a:lnTo>
                        <a:pt x="100" y="373"/>
                      </a:lnTo>
                      <a:lnTo>
                        <a:pt x="100" y="374"/>
                      </a:lnTo>
                      <a:lnTo>
                        <a:pt x="99" y="374"/>
                      </a:lnTo>
                      <a:lnTo>
                        <a:pt x="99" y="375"/>
                      </a:lnTo>
                      <a:lnTo>
                        <a:pt x="100" y="375"/>
                      </a:lnTo>
                      <a:lnTo>
                        <a:pt x="100" y="375"/>
                      </a:lnTo>
                      <a:lnTo>
                        <a:pt x="100" y="376"/>
                      </a:lnTo>
                      <a:lnTo>
                        <a:pt x="100" y="377"/>
                      </a:lnTo>
                      <a:lnTo>
                        <a:pt x="100" y="378"/>
                      </a:lnTo>
                      <a:lnTo>
                        <a:pt x="101" y="378"/>
                      </a:lnTo>
                      <a:lnTo>
                        <a:pt x="101" y="378"/>
                      </a:lnTo>
                      <a:lnTo>
                        <a:pt x="100" y="380"/>
                      </a:lnTo>
                      <a:lnTo>
                        <a:pt x="101" y="383"/>
                      </a:lnTo>
                      <a:lnTo>
                        <a:pt x="102" y="388"/>
                      </a:lnTo>
                      <a:lnTo>
                        <a:pt x="104" y="388"/>
                      </a:lnTo>
                      <a:lnTo>
                        <a:pt x="106" y="390"/>
                      </a:lnTo>
                      <a:lnTo>
                        <a:pt x="107" y="390"/>
                      </a:lnTo>
                      <a:lnTo>
                        <a:pt x="110" y="390"/>
                      </a:lnTo>
                      <a:lnTo>
                        <a:pt x="111" y="388"/>
                      </a:lnTo>
                      <a:lnTo>
                        <a:pt x="113" y="388"/>
                      </a:lnTo>
                      <a:lnTo>
                        <a:pt x="114" y="387"/>
                      </a:lnTo>
                      <a:lnTo>
                        <a:pt x="116" y="388"/>
                      </a:lnTo>
                      <a:lnTo>
                        <a:pt x="117" y="388"/>
                      </a:lnTo>
                      <a:lnTo>
                        <a:pt x="118" y="388"/>
                      </a:lnTo>
                      <a:lnTo>
                        <a:pt x="118" y="388"/>
                      </a:lnTo>
                      <a:lnTo>
                        <a:pt x="118" y="387"/>
                      </a:lnTo>
                      <a:lnTo>
                        <a:pt x="119" y="387"/>
                      </a:lnTo>
                      <a:lnTo>
                        <a:pt x="120" y="387"/>
                      </a:lnTo>
                      <a:lnTo>
                        <a:pt x="120" y="387"/>
                      </a:lnTo>
                      <a:lnTo>
                        <a:pt x="120" y="386"/>
                      </a:lnTo>
                      <a:lnTo>
                        <a:pt x="121" y="386"/>
                      </a:lnTo>
                      <a:lnTo>
                        <a:pt x="121" y="386"/>
                      </a:lnTo>
                      <a:lnTo>
                        <a:pt x="122" y="386"/>
                      </a:lnTo>
                      <a:lnTo>
                        <a:pt x="123" y="386"/>
                      </a:lnTo>
                      <a:lnTo>
                        <a:pt x="123" y="385"/>
                      </a:lnTo>
                      <a:lnTo>
                        <a:pt x="123" y="385"/>
                      </a:lnTo>
                      <a:lnTo>
                        <a:pt x="123" y="384"/>
                      </a:lnTo>
                      <a:lnTo>
                        <a:pt x="124" y="384"/>
                      </a:lnTo>
                      <a:lnTo>
                        <a:pt x="124" y="385"/>
                      </a:lnTo>
                      <a:lnTo>
                        <a:pt x="124" y="384"/>
                      </a:lnTo>
                      <a:lnTo>
                        <a:pt x="125" y="384"/>
                      </a:lnTo>
                      <a:lnTo>
                        <a:pt x="125" y="384"/>
                      </a:lnTo>
                      <a:lnTo>
                        <a:pt x="125" y="383"/>
                      </a:lnTo>
                      <a:lnTo>
                        <a:pt x="125" y="383"/>
                      </a:lnTo>
                      <a:lnTo>
                        <a:pt x="126" y="382"/>
                      </a:lnTo>
                      <a:lnTo>
                        <a:pt x="126" y="383"/>
                      </a:lnTo>
                      <a:lnTo>
                        <a:pt x="126" y="382"/>
                      </a:lnTo>
                      <a:lnTo>
                        <a:pt x="127" y="382"/>
                      </a:lnTo>
                      <a:lnTo>
                        <a:pt x="127" y="382"/>
                      </a:lnTo>
                      <a:lnTo>
                        <a:pt x="127" y="382"/>
                      </a:lnTo>
                      <a:lnTo>
                        <a:pt x="127" y="382"/>
                      </a:lnTo>
                      <a:lnTo>
                        <a:pt x="128" y="382"/>
                      </a:lnTo>
                      <a:lnTo>
                        <a:pt x="128" y="383"/>
                      </a:lnTo>
                      <a:lnTo>
                        <a:pt x="129" y="383"/>
                      </a:lnTo>
                      <a:lnTo>
                        <a:pt x="129" y="383"/>
                      </a:lnTo>
                      <a:lnTo>
                        <a:pt x="130" y="383"/>
                      </a:lnTo>
                      <a:lnTo>
                        <a:pt x="131" y="384"/>
                      </a:lnTo>
                      <a:lnTo>
                        <a:pt x="131" y="384"/>
                      </a:lnTo>
                      <a:lnTo>
                        <a:pt x="132" y="384"/>
                      </a:lnTo>
                      <a:lnTo>
                        <a:pt x="133" y="384"/>
                      </a:lnTo>
                      <a:lnTo>
                        <a:pt x="133" y="384"/>
                      </a:lnTo>
                      <a:lnTo>
                        <a:pt x="133" y="384"/>
                      </a:lnTo>
                      <a:lnTo>
                        <a:pt x="134" y="384"/>
                      </a:lnTo>
                      <a:lnTo>
                        <a:pt x="135" y="384"/>
                      </a:lnTo>
                      <a:lnTo>
                        <a:pt x="135" y="384"/>
                      </a:lnTo>
                      <a:lnTo>
                        <a:pt x="135" y="384"/>
                      </a:lnTo>
                      <a:lnTo>
                        <a:pt x="136" y="384"/>
                      </a:lnTo>
                      <a:lnTo>
                        <a:pt x="137" y="384"/>
                      </a:lnTo>
                      <a:lnTo>
                        <a:pt x="137" y="384"/>
                      </a:lnTo>
                      <a:lnTo>
                        <a:pt x="137" y="384"/>
                      </a:lnTo>
                      <a:lnTo>
                        <a:pt x="138" y="385"/>
                      </a:lnTo>
                      <a:lnTo>
                        <a:pt x="138" y="384"/>
                      </a:lnTo>
                      <a:lnTo>
                        <a:pt x="139" y="384"/>
                      </a:lnTo>
                      <a:lnTo>
                        <a:pt x="139" y="385"/>
                      </a:lnTo>
                      <a:lnTo>
                        <a:pt x="140" y="386"/>
                      </a:lnTo>
                      <a:lnTo>
                        <a:pt x="140" y="385"/>
                      </a:lnTo>
                      <a:lnTo>
                        <a:pt x="141" y="385"/>
                      </a:lnTo>
                      <a:lnTo>
                        <a:pt x="142" y="386"/>
                      </a:lnTo>
                      <a:lnTo>
                        <a:pt x="142" y="386"/>
                      </a:lnTo>
                      <a:lnTo>
                        <a:pt x="142" y="386"/>
                      </a:lnTo>
                      <a:lnTo>
                        <a:pt x="143" y="386"/>
                      </a:lnTo>
                      <a:lnTo>
                        <a:pt x="144" y="386"/>
                      </a:lnTo>
                      <a:lnTo>
                        <a:pt x="144" y="386"/>
                      </a:lnTo>
                      <a:lnTo>
                        <a:pt x="144" y="387"/>
                      </a:lnTo>
                      <a:lnTo>
                        <a:pt x="145" y="387"/>
                      </a:lnTo>
                      <a:lnTo>
                        <a:pt x="145" y="386"/>
                      </a:lnTo>
                      <a:lnTo>
                        <a:pt x="145" y="386"/>
                      </a:lnTo>
                      <a:lnTo>
                        <a:pt x="146" y="386"/>
                      </a:lnTo>
                      <a:lnTo>
                        <a:pt x="146" y="385"/>
                      </a:lnTo>
                      <a:lnTo>
                        <a:pt x="146" y="385"/>
                      </a:lnTo>
                      <a:lnTo>
                        <a:pt x="147" y="386"/>
                      </a:lnTo>
                      <a:lnTo>
                        <a:pt x="147" y="38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3" name="Freeform 14">
                  <a:extLst>
                    <a:ext uri="{FF2B5EF4-FFF2-40B4-BE49-F238E27FC236}">
                      <a16:creationId xmlns:a16="http://schemas.microsoft.com/office/drawing/2014/main" xmlns="" id="{2F6455E0-9509-0E03-D414-6D2BD53B232A}"/>
                    </a:ext>
                  </a:extLst>
                </p:cNvPr>
                <p:cNvSpPr>
                  <a:spLocks/>
                </p:cNvSpPr>
                <p:nvPr/>
              </p:nvSpPr>
              <p:spPr bwMode="auto">
                <a:xfrm>
                  <a:off x="3165" y="3556"/>
                  <a:ext cx="706" cy="202"/>
                </a:xfrm>
                <a:custGeom>
                  <a:avLst/>
                  <a:gdLst>
                    <a:gd name="T0" fmla="*/ 384 w 706"/>
                    <a:gd name="T1" fmla="*/ 16 h 202"/>
                    <a:gd name="T2" fmla="*/ 394 w 706"/>
                    <a:gd name="T3" fmla="*/ 12 h 202"/>
                    <a:gd name="T4" fmla="*/ 400 w 706"/>
                    <a:gd name="T5" fmla="*/ 7 h 202"/>
                    <a:gd name="T6" fmla="*/ 406 w 706"/>
                    <a:gd name="T7" fmla="*/ 1 h 202"/>
                    <a:gd name="T8" fmla="*/ 412 w 706"/>
                    <a:gd name="T9" fmla="*/ 3 h 202"/>
                    <a:gd name="T10" fmla="*/ 412 w 706"/>
                    <a:gd name="T11" fmla="*/ 14 h 202"/>
                    <a:gd name="T12" fmla="*/ 703 w 706"/>
                    <a:gd name="T13" fmla="*/ 19 h 202"/>
                    <a:gd name="T14" fmla="*/ 684 w 706"/>
                    <a:gd name="T15" fmla="*/ 69 h 202"/>
                    <a:gd name="T16" fmla="*/ 313 w 706"/>
                    <a:gd name="T17" fmla="*/ 162 h 202"/>
                    <a:gd name="T18" fmla="*/ 251 w 706"/>
                    <a:gd name="T19" fmla="*/ 158 h 202"/>
                    <a:gd name="T20" fmla="*/ 251 w 706"/>
                    <a:gd name="T21" fmla="*/ 148 h 202"/>
                    <a:gd name="T22" fmla="*/ 242 w 706"/>
                    <a:gd name="T23" fmla="*/ 151 h 202"/>
                    <a:gd name="T24" fmla="*/ 236 w 706"/>
                    <a:gd name="T25" fmla="*/ 146 h 202"/>
                    <a:gd name="T26" fmla="*/ 228 w 706"/>
                    <a:gd name="T27" fmla="*/ 140 h 202"/>
                    <a:gd name="T28" fmla="*/ 221 w 706"/>
                    <a:gd name="T29" fmla="*/ 142 h 202"/>
                    <a:gd name="T30" fmla="*/ 213 w 706"/>
                    <a:gd name="T31" fmla="*/ 136 h 202"/>
                    <a:gd name="T32" fmla="*/ 207 w 706"/>
                    <a:gd name="T33" fmla="*/ 132 h 202"/>
                    <a:gd name="T34" fmla="*/ 206 w 706"/>
                    <a:gd name="T35" fmla="*/ 142 h 202"/>
                    <a:gd name="T36" fmla="*/ 205 w 706"/>
                    <a:gd name="T37" fmla="*/ 150 h 202"/>
                    <a:gd name="T38" fmla="*/ 205 w 706"/>
                    <a:gd name="T39" fmla="*/ 153 h 202"/>
                    <a:gd name="T40" fmla="*/ 206 w 706"/>
                    <a:gd name="T41" fmla="*/ 163 h 202"/>
                    <a:gd name="T42" fmla="*/ 208 w 706"/>
                    <a:gd name="T43" fmla="*/ 169 h 202"/>
                    <a:gd name="T44" fmla="*/ 204 w 706"/>
                    <a:gd name="T45" fmla="*/ 174 h 202"/>
                    <a:gd name="T46" fmla="*/ 205 w 706"/>
                    <a:gd name="T47" fmla="*/ 182 h 202"/>
                    <a:gd name="T48" fmla="*/ 203 w 706"/>
                    <a:gd name="T49" fmla="*/ 192 h 202"/>
                    <a:gd name="T50" fmla="*/ 199 w 706"/>
                    <a:gd name="T51" fmla="*/ 199 h 202"/>
                    <a:gd name="T52" fmla="*/ 191 w 706"/>
                    <a:gd name="T53" fmla="*/ 201 h 202"/>
                    <a:gd name="T54" fmla="*/ 183 w 706"/>
                    <a:gd name="T55" fmla="*/ 197 h 202"/>
                    <a:gd name="T56" fmla="*/ 173 w 706"/>
                    <a:gd name="T57" fmla="*/ 198 h 202"/>
                    <a:gd name="T58" fmla="*/ 165 w 706"/>
                    <a:gd name="T59" fmla="*/ 201 h 202"/>
                    <a:gd name="T60" fmla="*/ 158 w 706"/>
                    <a:gd name="T61" fmla="*/ 199 h 202"/>
                    <a:gd name="T62" fmla="*/ 152 w 706"/>
                    <a:gd name="T63" fmla="*/ 191 h 202"/>
                    <a:gd name="T64" fmla="*/ 145 w 706"/>
                    <a:gd name="T65" fmla="*/ 189 h 202"/>
                    <a:gd name="T66" fmla="*/ 137 w 706"/>
                    <a:gd name="T67" fmla="*/ 185 h 202"/>
                    <a:gd name="T68" fmla="*/ 127 w 706"/>
                    <a:gd name="T69" fmla="*/ 188 h 202"/>
                    <a:gd name="T70" fmla="*/ 119 w 706"/>
                    <a:gd name="T71" fmla="*/ 185 h 202"/>
                    <a:gd name="T72" fmla="*/ 114 w 706"/>
                    <a:gd name="T73" fmla="*/ 178 h 202"/>
                    <a:gd name="T74" fmla="*/ 110 w 706"/>
                    <a:gd name="T75" fmla="*/ 172 h 202"/>
                    <a:gd name="T76" fmla="*/ 106 w 706"/>
                    <a:gd name="T77" fmla="*/ 165 h 202"/>
                    <a:gd name="T78" fmla="*/ 99 w 706"/>
                    <a:gd name="T79" fmla="*/ 157 h 202"/>
                    <a:gd name="T80" fmla="*/ 92 w 706"/>
                    <a:gd name="T81" fmla="*/ 153 h 202"/>
                    <a:gd name="T82" fmla="*/ 85 w 706"/>
                    <a:gd name="T83" fmla="*/ 148 h 202"/>
                    <a:gd name="T84" fmla="*/ 76 w 706"/>
                    <a:gd name="T85" fmla="*/ 146 h 202"/>
                    <a:gd name="T86" fmla="*/ 70 w 706"/>
                    <a:gd name="T87" fmla="*/ 153 h 202"/>
                    <a:gd name="T88" fmla="*/ 64 w 706"/>
                    <a:gd name="T89" fmla="*/ 160 h 202"/>
                    <a:gd name="T90" fmla="*/ 61 w 706"/>
                    <a:gd name="T91" fmla="*/ 170 h 202"/>
                    <a:gd name="T92" fmla="*/ 60 w 706"/>
                    <a:gd name="T93" fmla="*/ 178 h 202"/>
                    <a:gd name="T94" fmla="*/ 55 w 706"/>
                    <a:gd name="T95" fmla="*/ 184 h 202"/>
                    <a:gd name="T96" fmla="*/ 48 w 706"/>
                    <a:gd name="T97" fmla="*/ 188 h 202"/>
                    <a:gd name="T98" fmla="*/ 42 w 706"/>
                    <a:gd name="T99" fmla="*/ 191 h 202"/>
                    <a:gd name="T100" fmla="*/ 39 w 706"/>
                    <a:gd name="T101" fmla="*/ 186 h 202"/>
                    <a:gd name="T102" fmla="*/ 30 w 706"/>
                    <a:gd name="T103" fmla="*/ 183 h 202"/>
                    <a:gd name="T104" fmla="*/ 28 w 706"/>
                    <a:gd name="T105" fmla="*/ 178 h 202"/>
                    <a:gd name="T106" fmla="*/ 23 w 706"/>
                    <a:gd name="T107" fmla="*/ 176 h 202"/>
                    <a:gd name="T108" fmla="*/ 18 w 706"/>
                    <a:gd name="T109" fmla="*/ 171 h 202"/>
                    <a:gd name="T110" fmla="*/ 17 w 706"/>
                    <a:gd name="T111" fmla="*/ 174 h 202"/>
                    <a:gd name="T112" fmla="*/ 13 w 706"/>
                    <a:gd name="T113" fmla="*/ 172 h 202"/>
                    <a:gd name="T114" fmla="*/ 9 w 706"/>
                    <a:gd name="T115" fmla="*/ 169 h 202"/>
                    <a:gd name="T116" fmla="*/ 4 w 706"/>
                    <a:gd name="T117" fmla="*/ 170 h 202"/>
                    <a:gd name="T118" fmla="*/ 0 w 706"/>
                    <a:gd name="T119" fmla="*/ 17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6" h="202">
                      <a:moveTo>
                        <a:pt x="375" y="17"/>
                      </a:moveTo>
                      <a:lnTo>
                        <a:pt x="376" y="17"/>
                      </a:lnTo>
                      <a:lnTo>
                        <a:pt x="376" y="18"/>
                      </a:lnTo>
                      <a:lnTo>
                        <a:pt x="377" y="18"/>
                      </a:lnTo>
                      <a:lnTo>
                        <a:pt x="378" y="18"/>
                      </a:lnTo>
                      <a:lnTo>
                        <a:pt x="378" y="18"/>
                      </a:lnTo>
                      <a:lnTo>
                        <a:pt x="378" y="17"/>
                      </a:lnTo>
                      <a:lnTo>
                        <a:pt x="379" y="17"/>
                      </a:lnTo>
                      <a:lnTo>
                        <a:pt x="380" y="17"/>
                      </a:lnTo>
                      <a:lnTo>
                        <a:pt x="380" y="18"/>
                      </a:lnTo>
                      <a:lnTo>
                        <a:pt x="380" y="18"/>
                      </a:lnTo>
                      <a:lnTo>
                        <a:pt x="381" y="17"/>
                      </a:lnTo>
                      <a:lnTo>
                        <a:pt x="382" y="17"/>
                      </a:lnTo>
                      <a:lnTo>
                        <a:pt x="382" y="17"/>
                      </a:lnTo>
                      <a:lnTo>
                        <a:pt x="383" y="16"/>
                      </a:lnTo>
                      <a:lnTo>
                        <a:pt x="384" y="16"/>
                      </a:lnTo>
                      <a:lnTo>
                        <a:pt x="384" y="16"/>
                      </a:lnTo>
                      <a:lnTo>
                        <a:pt x="385" y="16"/>
                      </a:lnTo>
                      <a:lnTo>
                        <a:pt x="386" y="16"/>
                      </a:lnTo>
                      <a:lnTo>
                        <a:pt x="386" y="15"/>
                      </a:lnTo>
                      <a:lnTo>
                        <a:pt x="386" y="15"/>
                      </a:lnTo>
                      <a:lnTo>
                        <a:pt x="387" y="15"/>
                      </a:lnTo>
                      <a:lnTo>
                        <a:pt x="388" y="15"/>
                      </a:lnTo>
                      <a:lnTo>
                        <a:pt x="388" y="14"/>
                      </a:lnTo>
                      <a:lnTo>
                        <a:pt x="389" y="14"/>
                      </a:lnTo>
                      <a:lnTo>
                        <a:pt x="389" y="14"/>
                      </a:lnTo>
                      <a:lnTo>
                        <a:pt x="391" y="14"/>
                      </a:lnTo>
                      <a:lnTo>
                        <a:pt x="391" y="13"/>
                      </a:lnTo>
                      <a:lnTo>
                        <a:pt x="391" y="13"/>
                      </a:lnTo>
                      <a:lnTo>
                        <a:pt x="391" y="12"/>
                      </a:lnTo>
                      <a:lnTo>
                        <a:pt x="392" y="12"/>
                      </a:lnTo>
                      <a:lnTo>
                        <a:pt x="393" y="12"/>
                      </a:lnTo>
                      <a:lnTo>
                        <a:pt x="393" y="12"/>
                      </a:lnTo>
                      <a:lnTo>
                        <a:pt x="394" y="12"/>
                      </a:lnTo>
                      <a:lnTo>
                        <a:pt x="395" y="13"/>
                      </a:lnTo>
                      <a:lnTo>
                        <a:pt x="396" y="13"/>
                      </a:lnTo>
                      <a:lnTo>
                        <a:pt x="397" y="13"/>
                      </a:lnTo>
                      <a:lnTo>
                        <a:pt x="397" y="13"/>
                      </a:lnTo>
                      <a:lnTo>
                        <a:pt x="397" y="12"/>
                      </a:lnTo>
                      <a:lnTo>
                        <a:pt x="398" y="12"/>
                      </a:lnTo>
                      <a:lnTo>
                        <a:pt x="398" y="11"/>
                      </a:lnTo>
                      <a:lnTo>
                        <a:pt x="398" y="10"/>
                      </a:lnTo>
                      <a:lnTo>
                        <a:pt x="398" y="10"/>
                      </a:lnTo>
                      <a:lnTo>
                        <a:pt x="399" y="10"/>
                      </a:lnTo>
                      <a:lnTo>
                        <a:pt x="399" y="9"/>
                      </a:lnTo>
                      <a:lnTo>
                        <a:pt x="399" y="9"/>
                      </a:lnTo>
                      <a:lnTo>
                        <a:pt x="399" y="8"/>
                      </a:lnTo>
                      <a:lnTo>
                        <a:pt x="399" y="8"/>
                      </a:lnTo>
                      <a:lnTo>
                        <a:pt x="399" y="7"/>
                      </a:lnTo>
                      <a:lnTo>
                        <a:pt x="399" y="7"/>
                      </a:lnTo>
                      <a:lnTo>
                        <a:pt x="400" y="7"/>
                      </a:lnTo>
                      <a:lnTo>
                        <a:pt x="400" y="7"/>
                      </a:lnTo>
                      <a:lnTo>
                        <a:pt x="400" y="6"/>
                      </a:lnTo>
                      <a:lnTo>
                        <a:pt x="400" y="5"/>
                      </a:lnTo>
                      <a:lnTo>
                        <a:pt x="401" y="5"/>
                      </a:lnTo>
                      <a:lnTo>
                        <a:pt x="401" y="5"/>
                      </a:lnTo>
                      <a:lnTo>
                        <a:pt x="400" y="5"/>
                      </a:lnTo>
                      <a:lnTo>
                        <a:pt x="400" y="4"/>
                      </a:lnTo>
                      <a:lnTo>
                        <a:pt x="401" y="3"/>
                      </a:lnTo>
                      <a:lnTo>
                        <a:pt x="401" y="3"/>
                      </a:lnTo>
                      <a:lnTo>
                        <a:pt x="401" y="3"/>
                      </a:lnTo>
                      <a:lnTo>
                        <a:pt x="401" y="2"/>
                      </a:lnTo>
                      <a:lnTo>
                        <a:pt x="403" y="2"/>
                      </a:lnTo>
                      <a:lnTo>
                        <a:pt x="404" y="2"/>
                      </a:lnTo>
                      <a:lnTo>
                        <a:pt x="405" y="2"/>
                      </a:lnTo>
                      <a:lnTo>
                        <a:pt x="405" y="1"/>
                      </a:lnTo>
                      <a:lnTo>
                        <a:pt x="405" y="1"/>
                      </a:lnTo>
                      <a:lnTo>
                        <a:pt x="406" y="1"/>
                      </a:lnTo>
                      <a:lnTo>
                        <a:pt x="407" y="1"/>
                      </a:lnTo>
                      <a:lnTo>
                        <a:pt x="408" y="1"/>
                      </a:lnTo>
                      <a:lnTo>
                        <a:pt x="408" y="1"/>
                      </a:lnTo>
                      <a:lnTo>
                        <a:pt x="408" y="1"/>
                      </a:lnTo>
                      <a:lnTo>
                        <a:pt x="409" y="1"/>
                      </a:lnTo>
                      <a:lnTo>
                        <a:pt x="409" y="1"/>
                      </a:lnTo>
                      <a:lnTo>
                        <a:pt x="409" y="1"/>
                      </a:lnTo>
                      <a:lnTo>
                        <a:pt x="410" y="1"/>
                      </a:lnTo>
                      <a:lnTo>
                        <a:pt x="410" y="1"/>
                      </a:lnTo>
                      <a:lnTo>
                        <a:pt x="411" y="1"/>
                      </a:lnTo>
                      <a:lnTo>
                        <a:pt x="412" y="0"/>
                      </a:lnTo>
                      <a:lnTo>
                        <a:pt x="412" y="0"/>
                      </a:lnTo>
                      <a:lnTo>
                        <a:pt x="412" y="1"/>
                      </a:lnTo>
                      <a:lnTo>
                        <a:pt x="412" y="1"/>
                      </a:lnTo>
                      <a:lnTo>
                        <a:pt x="412" y="1"/>
                      </a:lnTo>
                      <a:lnTo>
                        <a:pt x="412" y="2"/>
                      </a:lnTo>
                      <a:lnTo>
                        <a:pt x="412" y="3"/>
                      </a:lnTo>
                      <a:lnTo>
                        <a:pt x="412" y="3"/>
                      </a:lnTo>
                      <a:lnTo>
                        <a:pt x="412" y="4"/>
                      </a:lnTo>
                      <a:lnTo>
                        <a:pt x="412" y="6"/>
                      </a:lnTo>
                      <a:lnTo>
                        <a:pt x="413" y="7"/>
                      </a:lnTo>
                      <a:lnTo>
                        <a:pt x="413" y="7"/>
                      </a:lnTo>
                      <a:lnTo>
                        <a:pt x="413" y="8"/>
                      </a:lnTo>
                      <a:lnTo>
                        <a:pt x="413" y="9"/>
                      </a:lnTo>
                      <a:lnTo>
                        <a:pt x="412" y="9"/>
                      </a:lnTo>
                      <a:lnTo>
                        <a:pt x="412" y="10"/>
                      </a:lnTo>
                      <a:lnTo>
                        <a:pt x="412" y="10"/>
                      </a:lnTo>
                      <a:lnTo>
                        <a:pt x="412" y="11"/>
                      </a:lnTo>
                      <a:lnTo>
                        <a:pt x="412" y="12"/>
                      </a:lnTo>
                      <a:lnTo>
                        <a:pt x="411" y="12"/>
                      </a:lnTo>
                      <a:lnTo>
                        <a:pt x="411" y="12"/>
                      </a:lnTo>
                      <a:lnTo>
                        <a:pt x="411" y="13"/>
                      </a:lnTo>
                      <a:lnTo>
                        <a:pt x="412" y="13"/>
                      </a:lnTo>
                      <a:lnTo>
                        <a:pt x="412" y="14"/>
                      </a:lnTo>
                      <a:lnTo>
                        <a:pt x="412" y="14"/>
                      </a:lnTo>
                      <a:lnTo>
                        <a:pt x="411" y="15"/>
                      </a:lnTo>
                      <a:lnTo>
                        <a:pt x="412" y="15"/>
                      </a:lnTo>
                      <a:lnTo>
                        <a:pt x="412" y="16"/>
                      </a:lnTo>
                      <a:lnTo>
                        <a:pt x="412" y="17"/>
                      </a:lnTo>
                      <a:lnTo>
                        <a:pt x="412" y="18"/>
                      </a:lnTo>
                      <a:lnTo>
                        <a:pt x="412" y="18"/>
                      </a:lnTo>
                      <a:lnTo>
                        <a:pt x="419" y="18"/>
                      </a:lnTo>
                      <a:lnTo>
                        <a:pt x="424" y="18"/>
                      </a:lnTo>
                      <a:lnTo>
                        <a:pt x="429" y="18"/>
                      </a:lnTo>
                      <a:lnTo>
                        <a:pt x="438" y="18"/>
                      </a:lnTo>
                      <a:lnTo>
                        <a:pt x="439" y="18"/>
                      </a:lnTo>
                      <a:lnTo>
                        <a:pt x="490" y="14"/>
                      </a:lnTo>
                      <a:lnTo>
                        <a:pt x="496" y="14"/>
                      </a:lnTo>
                      <a:lnTo>
                        <a:pt x="578" y="14"/>
                      </a:lnTo>
                      <a:lnTo>
                        <a:pt x="706" y="14"/>
                      </a:lnTo>
                      <a:lnTo>
                        <a:pt x="703" y="19"/>
                      </a:lnTo>
                      <a:lnTo>
                        <a:pt x="699" y="24"/>
                      </a:lnTo>
                      <a:lnTo>
                        <a:pt x="695" y="30"/>
                      </a:lnTo>
                      <a:lnTo>
                        <a:pt x="693" y="32"/>
                      </a:lnTo>
                      <a:lnTo>
                        <a:pt x="691" y="36"/>
                      </a:lnTo>
                      <a:lnTo>
                        <a:pt x="689" y="38"/>
                      </a:lnTo>
                      <a:lnTo>
                        <a:pt x="687" y="41"/>
                      </a:lnTo>
                      <a:lnTo>
                        <a:pt x="685" y="44"/>
                      </a:lnTo>
                      <a:lnTo>
                        <a:pt x="684" y="45"/>
                      </a:lnTo>
                      <a:lnTo>
                        <a:pt x="684" y="45"/>
                      </a:lnTo>
                      <a:lnTo>
                        <a:pt x="684" y="46"/>
                      </a:lnTo>
                      <a:lnTo>
                        <a:pt x="684" y="50"/>
                      </a:lnTo>
                      <a:lnTo>
                        <a:pt x="684" y="51"/>
                      </a:lnTo>
                      <a:lnTo>
                        <a:pt x="684" y="56"/>
                      </a:lnTo>
                      <a:lnTo>
                        <a:pt x="684" y="57"/>
                      </a:lnTo>
                      <a:lnTo>
                        <a:pt x="684" y="58"/>
                      </a:lnTo>
                      <a:lnTo>
                        <a:pt x="684" y="64"/>
                      </a:lnTo>
                      <a:lnTo>
                        <a:pt x="684" y="69"/>
                      </a:lnTo>
                      <a:lnTo>
                        <a:pt x="684" y="73"/>
                      </a:lnTo>
                      <a:lnTo>
                        <a:pt x="684" y="74"/>
                      </a:lnTo>
                      <a:lnTo>
                        <a:pt x="684" y="92"/>
                      </a:lnTo>
                      <a:lnTo>
                        <a:pt x="684" y="118"/>
                      </a:lnTo>
                      <a:lnTo>
                        <a:pt x="684" y="159"/>
                      </a:lnTo>
                      <a:lnTo>
                        <a:pt x="501" y="162"/>
                      </a:lnTo>
                      <a:lnTo>
                        <a:pt x="439" y="162"/>
                      </a:lnTo>
                      <a:lnTo>
                        <a:pt x="437" y="162"/>
                      </a:lnTo>
                      <a:lnTo>
                        <a:pt x="376" y="162"/>
                      </a:lnTo>
                      <a:lnTo>
                        <a:pt x="375" y="162"/>
                      </a:lnTo>
                      <a:lnTo>
                        <a:pt x="369" y="162"/>
                      </a:lnTo>
                      <a:lnTo>
                        <a:pt x="353" y="162"/>
                      </a:lnTo>
                      <a:lnTo>
                        <a:pt x="348" y="162"/>
                      </a:lnTo>
                      <a:lnTo>
                        <a:pt x="323" y="162"/>
                      </a:lnTo>
                      <a:lnTo>
                        <a:pt x="321" y="162"/>
                      </a:lnTo>
                      <a:lnTo>
                        <a:pt x="314" y="162"/>
                      </a:lnTo>
                      <a:lnTo>
                        <a:pt x="313" y="162"/>
                      </a:lnTo>
                      <a:lnTo>
                        <a:pt x="285" y="163"/>
                      </a:lnTo>
                      <a:lnTo>
                        <a:pt x="256" y="163"/>
                      </a:lnTo>
                      <a:lnTo>
                        <a:pt x="255" y="163"/>
                      </a:lnTo>
                      <a:lnTo>
                        <a:pt x="254" y="163"/>
                      </a:lnTo>
                      <a:lnTo>
                        <a:pt x="253" y="163"/>
                      </a:lnTo>
                      <a:lnTo>
                        <a:pt x="253" y="163"/>
                      </a:lnTo>
                      <a:lnTo>
                        <a:pt x="253" y="163"/>
                      </a:lnTo>
                      <a:lnTo>
                        <a:pt x="252" y="163"/>
                      </a:lnTo>
                      <a:lnTo>
                        <a:pt x="251" y="163"/>
                      </a:lnTo>
                      <a:lnTo>
                        <a:pt x="251" y="162"/>
                      </a:lnTo>
                      <a:lnTo>
                        <a:pt x="251" y="161"/>
                      </a:lnTo>
                      <a:lnTo>
                        <a:pt x="250" y="161"/>
                      </a:lnTo>
                      <a:lnTo>
                        <a:pt x="250" y="161"/>
                      </a:lnTo>
                      <a:lnTo>
                        <a:pt x="250" y="160"/>
                      </a:lnTo>
                      <a:lnTo>
                        <a:pt x="250" y="159"/>
                      </a:lnTo>
                      <a:lnTo>
                        <a:pt x="251" y="159"/>
                      </a:lnTo>
                      <a:lnTo>
                        <a:pt x="251" y="158"/>
                      </a:lnTo>
                      <a:lnTo>
                        <a:pt x="251" y="157"/>
                      </a:lnTo>
                      <a:lnTo>
                        <a:pt x="251" y="157"/>
                      </a:lnTo>
                      <a:lnTo>
                        <a:pt x="251" y="156"/>
                      </a:lnTo>
                      <a:lnTo>
                        <a:pt x="251" y="155"/>
                      </a:lnTo>
                      <a:lnTo>
                        <a:pt x="250" y="155"/>
                      </a:lnTo>
                      <a:lnTo>
                        <a:pt x="250" y="154"/>
                      </a:lnTo>
                      <a:lnTo>
                        <a:pt x="249" y="153"/>
                      </a:lnTo>
                      <a:lnTo>
                        <a:pt x="249" y="153"/>
                      </a:lnTo>
                      <a:lnTo>
                        <a:pt x="249" y="152"/>
                      </a:lnTo>
                      <a:lnTo>
                        <a:pt x="250" y="152"/>
                      </a:lnTo>
                      <a:lnTo>
                        <a:pt x="250" y="151"/>
                      </a:lnTo>
                      <a:lnTo>
                        <a:pt x="250" y="151"/>
                      </a:lnTo>
                      <a:lnTo>
                        <a:pt x="251" y="151"/>
                      </a:lnTo>
                      <a:lnTo>
                        <a:pt x="250" y="150"/>
                      </a:lnTo>
                      <a:lnTo>
                        <a:pt x="251" y="149"/>
                      </a:lnTo>
                      <a:lnTo>
                        <a:pt x="251" y="149"/>
                      </a:lnTo>
                      <a:lnTo>
                        <a:pt x="251" y="148"/>
                      </a:lnTo>
                      <a:lnTo>
                        <a:pt x="250" y="147"/>
                      </a:lnTo>
                      <a:lnTo>
                        <a:pt x="249" y="147"/>
                      </a:lnTo>
                      <a:lnTo>
                        <a:pt x="249" y="148"/>
                      </a:lnTo>
                      <a:lnTo>
                        <a:pt x="249" y="149"/>
                      </a:lnTo>
                      <a:lnTo>
                        <a:pt x="249" y="149"/>
                      </a:lnTo>
                      <a:lnTo>
                        <a:pt x="249" y="150"/>
                      </a:lnTo>
                      <a:lnTo>
                        <a:pt x="249" y="150"/>
                      </a:lnTo>
                      <a:lnTo>
                        <a:pt x="248" y="150"/>
                      </a:lnTo>
                      <a:lnTo>
                        <a:pt x="247" y="150"/>
                      </a:lnTo>
                      <a:lnTo>
                        <a:pt x="247" y="151"/>
                      </a:lnTo>
                      <a:lnTo>
                        <a:pt x="247" y="151"/>
                      </a:lnTo>
                      <a:lnTo>
                        <a:pt x="247" y="152"/>
                      </a:lnTo>
                      <a:lnTo>
                        <a:pt x="246" y="152"/>
                      </a:lnTo>
                      <a:lnTo>
                        <a:pt x="245" y="151"/>
                      </a:lnTo>
                      <a:lnTo>
                        <a:pt x="243" y="151"/>
                      </a:lnTo>
                      <a:lnTo>
                        <a:pt x="243" y="151"/>
                      </a:lnTo>
                      <a:lnTo>
                        <a:pt x="242" y="151"/>
                      </a:lnTo>
                      <a:lnTo>
                        <a:pt x="241" y="151"/>
                      </a:lnTo>
                      <a:lnTo>
                        <a:pt x="241" y="151"/>
                      </a:lnTo>
                      <a:lnTo>
                        <a:pt x="241" y="150"/>
                      </a:lnTo>
                      <a:lnTo>
                        <a:pt x="240" y="150"/>
                      </a:lnTo>
                      <a:lnTo>
                        <a:pt x="239" y="150"/>
                      </a:lnTo>
                      <a:lnTo>
                        <a:pt x="239" y="150"/>
                      </a:lnTo>
                      <a:lnTo>
                        <a:pt x="239" y="149"/>
                      </a:lnTo>
                      <a:lnTo>
                        <a:pt x="239" y="150"/>
                      </a:lnTo>
                      <a:lnTo>
                        <a:pt x="238" y="150"/>
                      </a:lnTo>
                      <a:lnTo>
                        <a:pt x="237" y="150"/>
                      </a:lnTo>
                      <a:lnTo>
                        <a:pt x="237" y="149"/>
                      </a:lnTo>
                      <a:lnTo>
                        <a:pt x="236" y="149"/>
                      </a:lnTo>
                      <a:lnTo>
                        <a:pt x="236" y="149"/>
                      </a:lnTo>
                      <a:lnTo>
                        <a:pt x="236" y="148"/>
                      </a:lnTo>
                      <a:lnTo>
                        <a:pt x="236" y="147"/>
                      </a:lnTo>
                      <a:lnTo>
                        <a:pt x="236" y="146"/>
                      </a:lnTo>
                      <a:lnTo>
                        <a:pt x="236" y="146"/>
                      </a:lnTo>
                      <a:lnTo>
                        <a:pt x="236" y="146"/>
                      </a:lnTo>
                      <a:lnTo>
                        <a:pt x="236" y="145"/>
                      </a:lnTo>
                      <a:lnTo>
                        <a:pt x="236" y="144"/>
                      </a:lnTo>
                      <a:lnTo>
                        <a:pt x="236" y="144"/>
                      </a:lnTo>
                      <a:lnTo>
                        <a:pt x="235" y="144"/>
                      </a:lnTo>
                      <a:lnTo>
                        <a:pt x="234" y="144"/>
                      </a:lnTo>
                      <a:lnTo>
                        <a:pt x="234" y="144"/>
                      </a:lnTo>
                      <a:lnTo>
                        <a:pt x="234" y="143"/>
                      </a:lnTo>
                      <a:lnTo>
                        <a:pt x="234" y="142"/>
                      </a:lnTo>
                      <a:lnTo>
                        <a:pt x="233" y="142"/>
                      </a:lnTo>
                      <a:lnTo>
                        <a:pt x="233" y="142"/>
                      </a:lnTo>
                      <a:lnTo>
                        <a:pt x="232" y="141"/>
                      </a:lnTo>
                      <a:lnTo>
                        <a:pt x="232" y="141"/>
                      </a:lnTo>
                      <a:lnTo>
                        <a:pt x="231" y="140"/>
                      </a:lnTo>
                      <a:lnTo>
                        <a:pt x="230" y="140"/>
                      </a:lnTo>
                      <a:lnTo>
                        <a:pt x="229" y="140"/>
                      </a:lnTo>
                      <a:lnTo>
                        <a:pt x="228" y="140"/>
                      </a:lnTo>
                      <a:lnTo>
                        <a:pt x="228" y="140"/>
                      </a:lnTo>
                      <a:lnTo>
                        <a:pt x="227" y="140"/>
                      </a:lnTo>
                      <a:lnTo>
                        <a:pt x="226" y="140"/>
                      </a:lnTo>
                      <a:lnTo>
                        <a:pt x="226" y="140"/>
                      </a:lnTo>
                      <a:lnTo>
                        <a:pt x="226" y="140"/>
                      </a:lnTo>
                      <a:lnTo>
                        <a:pt x="225" y="139"/>
                      </a:lnTo>
                      <a:lnTo>
                        <a:pt x="224" y="138"/>
                      </a:lnTo>
                      <a:lnTo>
                        <a:pt x="224" y="138"/>
                      </a:lnTo>
                      <a:lnTo>
                        <a:pt x="223" y="139"/>
                      </a:lnTo>
                      <a:lnTo>
                        <a:pt x="222" y="139"/>
                      </a:lnTo>
                      <a:lnTo>
                        <a:pt x="222" y="140"/>
                      </a:lnTo>
                      <a:lnTo>
                        <a:pt x="222" y="140"/>
                      </a:lnTo>
                      <a:lnTo>
                        <a:pt x="222" y="140"/>
                      </a:lnTo>
                      <a:lnTo>
                        <a:pt x="222" y="141"/>
                      </a:lnTo>
                      <a:lnTo>
                        <a:pt x="222" y="142"/>
                      </a:lnTo>
                      <a:lnTo>
                        <a:pt x="222" y="142"/>
                      </a:lnTo>
                      <a:lnTo>
                        <a:pt x="221" y="142"/>
                      </a:lnTo>
                      <a:lnTo>
                        <a:pt x="220" y="142"/>
                      </a:lnTo>
                      <a:lnTo>
                        <a:pt x="220" y="142"/>
                      </a:lnTo>
                      <a:lnTo>
                        <a:pt x="220" y="141"/>
                      </a:lnTo>
                      <a:lnTo>
                        <a:pt x="219" y="141"/>
                      </a:lnTo>
                      <a:lnTo>
                        <a:pt x="218" y="140"/>
                      </a:lnTo>
                      <a:lnTo>
                        <a:pt x="217" y="140"/>
                      </a:lnTo>
                      <a:lnTo>
                        <a:pt x="217" y="141"/>
                      </a:lnTo>
                      <a:lnTo>
                        <a:pt x="216" y="142"/>
                      </a:lnTo>
                      <a:lnTo>
                        <a:pt x="215" y="141"/>
                      </a:lnTo>
                      <a:lnTo>
                        <a:pt x="215" y="140"/>
                      </a:lnTo>
                      <a:lnTo>
                        <a:pt x="215" y="140"/>
                      </a:lnTo>
                      <a:lnTo>
                        <a:pt x="215" y="139"/>
                      </a:lnTo>
                      <a:lnTo>
                        <a:pt x="214" y="138"/>
                      </a:lnTo>
                      <a:lnTo>
                        <a:pt x="214" y="138"/>
                      </a:lnTo>
                      <a:lnTo>
                        <a:pt x="213" y="137"/>
                      </a:lnTo>
                      <a:lnTo>
                        <a:pt x="213" y="137"/>
                      </a:lnTo>
                      <a:lnTo>
                        <a:pt x="213" y="136"/>
                      </a:lnTo>
                      <a:lnTo>
                        <a:pt x="212" y="136"/>
                      </a:lnTo>
                      <a:lnTo>
                        <a:pt x="212" y="136"/>
                      </a:lnTo>
                      <a:lnTo>
                        <a:pt x="213" y="136"/>
                      </a:lnTo>
                      <a:lnTo>
                        <a:pt x="213" y="135"/>
                      </a:lnTo>
                      <a:lnTo>
                        <a:pt x="213" y="134"/>
                      </a:lnTo>
                      <a:lnTo>
                        <a:pt x="213" y="134"/>
                      </a:lnTo>
                      <a:lnTo>
                        <a:pt x="213" y="133"/>
                      </a:lnTo>
                      <a:lnTo>
                        <a:pt x="213" y="132"/>
                      </a:lnTo>
                      <a:lnTo>
                        <a:pt x="212" y="132"/>
                      </a:lnTo>
                      <a:lnTo>
                        <a:pt x="211" y="132"/>
                      </a:lnTo>
                      <a:lnTo>
                        <a:pt x="211" y="132"/>
                      </a:lnTo>
                      <a:lnTo>
                        <a:pt x="210" y="132"/>
                      </a:lnTo>
                      <a:lnTo>
                        <a:pt x="209" y="132"/>
                      </a:lnTo>
                      <a:lnTo>
                        <a:pt x="209" y="132"/>
                      </a:lnTo>
                      <a:lnTo>
                        <a:pt x="208" y="132"/>
                      </a:lnTo>
                      <a:lnTo>
                        <a:pt x="208" y="132"/>
                      </a:lnTo>
                      <a:lnTo>
                        <a:pt x="207" y="132"/>
                      </a:lnTo>
                      <a:lnTo>
                        <a:pt x="207" y="133"/>
                      </a:lnTo>
                      <a:lnTo>
                        <a:pt x="207" y="134"/>
                      </a:lnTo>
                      <a:lnTo>
                        <a:pt x="208" y="134"/>
                      </a:lnTo>
                      <a:lnTo>
                        <a:pt x="209" y="135"/>
                      </a:lnTo>
                      <a:lnTo>
                        <a:pt x="209" y="136"/>
                      </a:lnTo>
                      <a:lnTo>
                        <a:pt x="208" y="136"/>
                      </a:lnTo>
                      <a:lnTo>
                        <a:pt x="207" y="137"/>
                      </a:lnTo>
                      <a:lnTo>
                        <a:pt x="207" y="138"/>
                      </a:lnTo>
                      <a:lnTo>
                        <a:pt x="207" y="138"/>
                      </a:lnTo>
                      <a:lnTo>
                        <a:pt x="207" y="139"/>
                      </a:lnTo>
                      <a:lnTo>
                        <a:pt x="207" y="140"/>
                      </a:lnTo>
                      <a:lnTo>
                        <a:pt x="207" y="140"/>
                      </a:lnTo>
                      <a:lnTo>
                        <a:pt x="207" y="141"/>
                      </a:lnTo>
                      <a:lnTo>
                        <a:pt x="207" y="141"/>
                      </a:lnTo>
                      <a:lnTo>
                        <a:pt x="207" y="142"/>
                      </a:lnTo>
                      <a:lnTo>
                        <a:pt x="207" y="142"/>
                      </a:lnTo>
                      <a:lnTo>
                        <a:pt x="206" y="142"/>
                      </a:lnTo>
                      <a:lnTo>
                        <a:pt x="206" y="143"/>
                      </a:lnTo>
                      <a:lnTo>
                        <a:pt x="206" y="144"/>
                      </a:lnTo>
                      <a:lnTo>
                        <a:pt x="205" y="144"/>
                      </a:lnTo>
                      <a:lnTo>
                        <a:pt x="205" y="144"/>
                      </a:lnTo>
                      <a:lnTo>
                        <a:pt x="206" y="144"/>
                      </a:lnTo>
                      <a:lnTo>
                        <a:pt x="206" y="145"/>
                      </a:lnTo>
                      <a:lnTo>
                        <a:pt x="207" y="145"/>
                      </a:lnTo>
                      <a:lnTo>
                        <a:pt x="207" y="146"/>
                      </a:lnTo>
                      <a:lnTo>
                        <a:pt x="207" y="146"/>
                      </a:lnTo>
                      <a:lnTo>
                        <a:pt x="206" y="146"/>
                      </a:lnTo>
                      <a:lnTo>
                        <a:pt x="206" y="147"/>
                      </a:lnTo>
                      <a:lnTo>
                        <a:pt x="205" y="147"/>
                      </a:lnTo>
                      <a:lnTo>
                        <a:pt x="206" y="148"/>
                      </a:lnTo>
                      <a:lnTo>
                        <a:pt x="206" y="149"/>
                      </a:lnTo>
                      <a:lnTo>
                        <a:pt x="205" y="149"/>
                      </a:lnTo>
                      <a:lnTo>
                        <a:pt x="205" y="150"/>
                      </a:lnTo>
                      <a:lnTo>
                        <a:pt x="205" y="150"/>
                      </a:lnTo>
                      <a:lnTo>
                        <a:pt x="204" y="151"/>
                      </a:lnTo>
                      <a:lnTo>
                        <a:pt x="203" y="151"/>
                      </a:lnTo>
                      <a:lnTo>
                        <a:pt x="203" y="151"/>
                      </a:lnTo>
                      <a:lnTo>
                        <a:pt x="204" y="151"/>
                      </a:lnTo>
                      <a:lnTo>
                        <a:pt x="205" y="151"/>
                      </a:lnTo>
                      <a:lnTo>
                        <a:pt x="205" y="151"/>
                      </a:lnTo>
                      <a:lnTo>
                        <a:pt x="205" y="151"/>
                      </a:lnTo>
                      <a:lnTo>
                        <a:pt x="206" y="151"/>
                      </a:lnTo>
                      <a:lnTo>
                        <a:pt x="207" y="151"/>
                      </a:lnTo>
                      <a:lnTo>
                        <a:pt x="207" y="151"/>
                      </a:lnTo>
                      <a:lnTo>
                        <a:pt x="207" y="151"/>
                      </a:lnTo>
                      <a:lnTo>
                        <a:pt x="207" y="152"/>
                      </a:lnTo>
                      <a:lnTo>
                        <a:pt x="207" y="153"/>
                      </a:lnTo>
                      <a:lnTo>
                        <a:pt x="207" y="153"/>
                      </a:lnTo>
                      <a:lnTo>
                        <a:pt x="206" y="153"/>
                      </a:lnTo>
                      <a:lnTo>
                        <a:pt x="205" y="153"/>
                      </a:lnTo>
                      <a:lnTo>
                        <a:pt x="205" y="153"/>
                      </a:lnTo>
                      <a:lnTo>
                        <a:pt x="205" y="154"/>
                      </a:lnTo>
                      <a:lnTo>
                        <a:pt x="205" y="155"/>
                      </a:lnTo>
                      <a:lnTo>
                        <a:pt x="205" y="155"/>
                      </a:lnTo>
                      <a:lnTo>
                        <a:pt x="205" y="156"/>
                      </a:lnTo>
                      <a:lnTo>
                        <a:pt x="205" y="157"/>
                      </a:lnTo>
                      <a:lnTo>
                        <a:pt x="205" y="157"/>
                      </a:lnTo>
                      <a:lnTo>
                        <a:pt x="205" y="157"/>
                      </a:lnTo>
                      <a:lnTo>
                        <a:pt x="205" y="158"/>
                      </a:lnTo>
                      <a:lnTo>
                        <a:pt x="205" y="159"/>
                      </a:lnTo>
                      <a:lnTo>
                        <a:pt x="206" y="159"/>
                      </a:lnTo>
                      <a:lnTo>
                        <a:pt x="206" y="159"/>
                      </a:lnTo>
                      <a:lnTo>
                        <a:pt x="207" y="159"/>
                      </a:lnTo>
                      <a:lnTo>
                        <a:pt x="207" y="160"/>
                      </a:lnTo>
                      <a:lnTo>
                        <a:pt x="207" y="161"/>
                      </a:lnTo>
                      <a:lnTo>
                        <a:pt x="206" y="161"/>
                      </a:lnTo>
                      <a:lnTo>
                        <a:pt x="206" y="162"/>
                      </a:lnTo>
                      <a:lnTo>
                        <a:pt x="206" y="163"/>
                      </a:lnTo>
                      <a:lnTo>
                        <a:pt x="205" y="163"/>
                      </a:lnTo>
                      <a:lnTo>
                        <a:pt x="205" y="163"/>
                      </a:lnTo>
                      <a:lnTo>
                        <a:pt x="204" y="163"/>
                      </a:lnTo>
                      <a:lnTo>
                        <a:pt x="204" y="164"/>
                      </a:lnTo>
                      <a:lnTo>
                        <a:pt x="204" y="165"/>
                      </a:lnTo>
                      <a:lnTo>
                        <a:pt x="205" y="165"/>
                      </a:lnTo>
                      <a:lnTo>
                        <a:pt x="205" y="165"/>
                      </a:lnTo>
                      <a:lnTo>
                        <a:pt x="206" y="165"/>
                      </a:lnTo>
                      <a:lnTo>
                        <a:pt x="206" y="165"/>
                      </a:lnTo>
                      <a:lnTo>
                        <a:pt x="207" y="166"/>
                      </a:lnTo>
                      <a:lnTo>
                        <a:pt x="207" y="167"/>
                      </a:lnTo>
                      <a:lnTo>
                        <a:pt x="207" y="167"/>
                      </a:lnTo>
                      <a:lnTo>
                        <a:pt x="207" y="168"/>
                      </a:lnTo>
                      <a:lnTo>
                        <a:pt x="207" y="168"/>
                      </a:lnTo>
                      <a:lnTo>
                        <a:pt x="207" y="168"/>
                      </a:lnTo>
                      <a:lnTo>
                        <a:pt x="207" y="169"/>
                      </a:lnTo>
                      <a:lnTo>
                        <a:pt x="208" y="169"/>
                      </a:lnTo>
                      <a:lnTo>
                        <a:pt x="208" y="170"/>
                      </a:lnTo>
                      <a:lnTo>
                        <a:pt x="207" y="170"/>
                      </a:lnTo>
                      <a:lnTo>
                        <a:pt x="207" y="170"/>
                      </a:lnTo>
                      <a:lnTo>
                        <a:pt x="207" y="170"/>
                      </a:lnTo>
                      <a:lnTo>
                        <a:pt x="206" y="170"/>
                      </a:lnTo>
                      <a:lnTo>
                        <a:pt x="206" y="171"/>
                      </a:lnTo>
                      <a:lnTo>
                        <a:pt x="205" y="171"/>
                      </a:lnTo>
                      <a:lnTo>
                        <a:pt x="205" y="171"/>
                      </a:lnTo>
                      <a:lnTo>
                        <a:pt x="204" y="171"/>
                      </a:lnTo>
                      <a:lnTo>
                        <a:pt x="203" y="171"/>
                      </a:lnTo>
                      <a:lnTo>
                        <a:pt x="203" y="171"/>
                      </a:lnTo>
                      <a:lnTo>
                        <a:pt x="203" y="172"/>
                      </a:lnTo>
                      <a:lnTo>
                        <a:pt x="203" y="172"/>
                      </a:lnTo>
                      <a:lnTo>
                        <a:pt x="203" y="173"/>
                      </a:lnTo>
                      <a:lnTo>
                        <a:pt x="203" y="173"/>
                      </a:lnTo>
                      <a:lnTo>
                        <a:pt x="203" y="174"/>
                      </a:lnTo>
                      <a:lnTo>
                        <a:pt x="204" y="174"/>
                      </a:lnTo>
                      <a:lnTo>
                        <a:pt x="204" y="174"/>
                      </a:lnTo>
                      <a:lnTo>
                        <a:pt x="204" y="175"/>
                      </a:lnTo>
                      <a:lnTo>
                        <a:pt x="204" y="176"/>
                      </a:lnTo>
                      <a:lnTo>
                        <a:pt x="204" y="176"/>
                      </a:lnTo>
                      <a:lnTo>
                        <a:pt x="204" y="177"/>
                      </a:lnTo>
                      <a:lnTo>
                        <a:pt x="204" y="178"/>
                      </a:lnTo>
                      <a:lnTo>
                        <a:pt x="203" y="178"/>
                      </a:lnTo>
                      <a:lnTo>
                        <a:pt x="203" y="178"/>
                      </a:lnTo>
                      <a:lnTo>
                        <a:pt x="203" y="178"/>
                      </a:lnTo>
                      <a:lnTo>
                        <a:pt x="203" y="179"/>
                      </a:lnTo>
                      <a:lnTo>
                        <a:pt x="203" y="180"/>
                      </a:lnTo>
                      <a:lnTo>
                        <a:pt x="203" y="180"/>
                      </a:lnTo>
                      <a:lnTo>
                        <a:pt x="203" y="180"/>
                      </a:lnTo>
                      <a:lnTo>
                        <a:pt x="204" y="180"/>
                      </a:lnTo>
                      <a:lnTo>
                        <a:pt x="204" y="181"/>
                      </a:lnTo>
                      <a:lnTo>
                        <a:pt x="204" y="182"/>
                      </a:lnTo>
                      <a:lnTo>
                        <a:pt x="205" y="182"/>
                      </a:lnTo>
                      <a:lnTo>
                        <a:pt x="205" y="183"/>
                      </a:lnTo>
                      <a:lnTo>
                        <a:pt x="205" y="184"/>
                      </a:lnTo>
                      <a:lnTo>
                        <a:pt x="205" y="184"/>
                      </a:lnTo>
                      <a:lnTo>
                        <a:pt x="205" y="185"/>
                      </a:lnTo>
                      <a:lnTo>
                        <a:pt x="205" y="185"/>
                      </a:lnTo>
                      <a:lnTo>
                        <a:pt x="205" y="186"/>
                      </a:lnTo>
                      <a:lnTo>
                        <a:pt x="205" y="186"/>
                      </a:lnTo>
                      <a:lnTo>
                        <a:pt x="205" y="187"/>
                      </a:lnTo>
                      <a:lnTo>
                        <a:pt x="205" y="188"/>
                      </a:lnTo>
                      <a:lnTo>
                        <a:pt x="205" y="189"/>
                      </a:lnTo>
                      <a:lnTo>
                        <a:pt x="205" y="189"/>
                      </a:lnTo>
                      <a:lnTo>
                        <a:pt x="204" y="189"/>
                      </a:lnTo>
                      <a:lnTo>
                        <a:pt x="204" y="190"/>
                      </a:lnTo>
                      <a:lnTo>
                        <a:pt x="204" y="191"/>
                      </a:lnTo>
                      <a:lnTo>
                        <a:pt x="204" y="191"/>
                      </a:lnTo>
                      <a:lnTo>
                        <a:pt x="203" y="191"/>
                      </a:lnTo>
                      <a:lnTo>
                        <a:pt x="203" y="192"/>
                      </a:lnTo>
                      <a:lnTo>
                        <a:pt x="203" y="193"/>
                      </a:lnTo>
                      <a:lnTo>
                        <a:pt x="203" y="193"/>
                      </a:lnTo>
                      <a:lnTo>
                        <a:pt x="203" y="194"/>
                      </a:lnTo>
                      <a:lnTo>
                        <a:pt x="203" y="194"/>
                      </a:lnTo>
                      <a:lnTo>
                        <a:pt x="203" y="195"/>
                      </a:lnTo>
                      <a:lnTo>
                        <a:pt x="203" y="195"/>
                      </a:lnTo>
                      <a:lnTo>
                        <a:pt x="203" y="196"/>
                      </a:lnTo>
                      <a:lnTo>
                        <a:pt x="203" y="197"/>
                      </a:lnTo>
                      <a:lnTo>
                        <a:pt x="203" y="197"/>
                      </a:lnTo>
                      <a:lnTo>
                        <a:pt x="202" y="197"/>
                      </a:lnTo>
                      <a:lnTo>
                        <a:pt x="202" y="198"/>
                      </a:lnTo>
                      <a:lnTo>
                        <a:pt x="203" y="199"/>
                      </a:lnTo>
                      <a:lnTo>
                        <a:pt x="202" y="199"/>
                      </a:lnTo>
                      <a:lnTo>
                        <a:pt x="201" y="199"/>
                      </a:lnTo>
                      <a:lnTo>
                        <a:pt x="201" y="199"/>
                      </a:lnTo>
                      <a:lnTo>
                        <a:pt x="200" y="199"/>
                      </a:lnTo>
                      <a:lnTo>
                        <a:pt x="199" y="199"/>
                      </a:lnTo>
                      <a:lnTo>
                        <a:pt x="199" y="200"/>
                      </a:lnTo>
                      <a:lnTo>
                        <a:pt x="198" y="200"/>
                      </a:lnTo>
                      <a:lnTo>
                        <a:pt x="198" y="200"/>
                      </a:lnTo>
                      <a:lnTo>
                        <a:pt x="198" y="201"/>
                      </a:lnTo>
                      <a:lnTo>
                        <a:pt x="198" y="201"/>
                      </a:lnTo>
                      <a:lnTo>
                        <a:pt x="197" y="201"/>
                      </a:lnTo>
                      <a:lnTo>
                        <a:pt x="196" y="202"/>
                      </a:lnTo>
                      <a:lnTo>
                        <a:pt x="196" y="202"/>
                      </a:lnTo>
                      <a:lnTo>
                        <a:pt x="195" y="202"/>
                      </a:lnTo>
                      <a:lnTo>
                        <a:pt x="194" y="202"/>
                      </a:lnTo>
                      <a:lnTo>
                        <a:pt x="194" y="202"/>
                      </a:lnTo>
                      <a:lnTo>
                        <a:pt x="193" y="202"/>
                      </a:lnTo>
                      <a:lnTo>
                        <a:pt x="192" y="202"/>
                      </a:lnTo>
                      <a:lnTo>
                        <a:pt x="192" y="201"/>
                      </a:lnTo>
                      <a:lnTo>
                        <a:pt x="192" y="201"/>
                      </a:lnTo>
                      <a:lnTo>
                        <a:pt x="192" y="201"/>
                      </a:lnTo>
                      <a:lnTo>
                        <a:pt x="191" y="201"/>
                      </a:lnTo>
                      <a:lnTo>
                        <a:pt x="191" y="200"/>
                      </a:lnTo>
                      <a:lnTo>
                        <a:pt x="190" y="200"/>
                      </a:lnTo>
                      <a:lnTo>
                        <a:pt x="190" y="200"/>
                      </a:lnTo>
                      <a:lnTo>
                        <a:pt x="189" y="200"/>
                      </a:lnTo>
                      <a:lnTo>
                        <a:pt x="188" y="199"/>
                      </a:lnTo>
                      <a:lnTo>
                        <a:pt x="188" y="199"/>
                      </a:lnTo>
                      <a:lnTo>
                        <a:pt x="188" y="199"/>
                      </a:lnTo>
                      <a:lnTo>
                        <a:pt x="187" y="199"/>
                      </a:lnTo>
                      <a:lnTo>
                        <a:pt x="186" y="199"/>
                      </a:lnTo>
                      <a:lnTo>
                        <a:pt x="186" y="199"/>
                      </a:lnTo>
                      <a:lnTo>
                        <a:pt x="186" y="198"/>
                      </a:lnTo>
                      <a:lnTo>
                        <a:pt x="185" y="199"/>
                      </a:lnTo>
                      <a:lnTo>
                        <a:pt x="184" y="199"/>
                      </a:lnTo>
                      <a:lnTo>
                        <a:pt x="184" y="198"/>
                      </a:lnTo>
                      <a:lnTo>
                        <a:pt x="184" y="198"/>
                      </a:lnTo>
                      <a:lnTo>
                        <a:pt x="184" y="197"/>
                      </a:lnTo>
                      <a:lnTo>
                        <a:pt x="183" y="197"/>
                      </a:lnTo>
                      <a:lnTo>
                        <a:pt x="182" y="197"/>
                      </a:lnTo>
                      <a:lnTo>
                        <a:pt x="182" y="197"/>
                      </a:lnTo>
                      <a:lnTo>
                        <a:pt x="181" y="197"/>
                      </a:lnTo>
                      <a:lnTo>
                        <a:pt x="180" y="197"/>
                      </a:lnTo>
                      <a:lnTo>
                        <a:pt x="179" y="198"/>
                      </a:lnTo>
                      <a:lnTo>
                        <a:pt x="179" y="198"/>
                      </a:lnTo>
                      <a:lnTo>
                        <a:pt x="178" y="198"/>
                      </a:lnTo>
                      <a:lnTo>
                        <a:pt x="177" y="198"/>
                      </a:lnTo>
                      <a:lnTo>
                        <a:pt x="177" y="198"/>
                      </a:lnTo>
                      <a:lnTo>
                        <a:pt x="177" y="197"/>
                      </a:lnTo>
                      <a:lnTo>
                        <a:pt x="177" y="198"/>
                      </a:lnTo>
                      <a:lnTo>
                        <a:pt x="176" y="198"/>
                      </a:lnTo>
                      <a:lnTo>
                        <a:pt x="175" y="198"/>
                      </a:lnTo>
                      <a:lnTo>
                        <a:pt x="175" y="199"/>
                      </a:lnTo>
                      <a:lnTo>
                        <a:pt x="175" y="198"/>
                      </a:lnTo>
                      <a:lnTo>
                        <a:pt x="174" y="198"/>
                      </a:lnTo>
                      <a:lnTo>
                        <a:pt x="173" y="198"/>
                      </a:lnTo>
                      <a:lnTo>
                        <a:pt x="173" y="198"/>
                      </a:lnTo>
                      <a:lnTo>
                        <a:pt x="172" y="198"/>
                      </a:lnTo>
                      <a:lnTo>
                        <a:pt x="172" y="199"/>
                      </a:lnTo>
                      <a:lnTo>
                        <a:pt x="171" y="199"/>
                      </a:lnTo>
                      <a:lnTo>
                        <a:pt x="171" y="199"/>
                      </a:lnTo>
                      <a:lnTo>
                        <a:pt x="171" y="199"/>
                      </a:lnTo>
                      <a:lnTo>
                        <a:pt x="170" y="200"/>
                      </a:lnTo>
                      <a:lnTo>
                        <a:pt x="170" y="199"/>
                      </a:lnTo>
                      <a:lnTo>
                        <a:pt x="169" y="199"/>
                      </a:lnTo>
                      <a:lnTo>
                        <a:pt x="169" y="199"/>
                      </a:lnTo>
                      <a:lnTo>
                        <a:pt x="169" y="200"/>
                      </a:lnTo>
                      <a:lnTo>
                        <a:pt x="168" y="200"/>
                      </a:lnTo>
                      <a:lnTo>
                        <a:pt x="168" y="201"/>
                      </a:lnTo>
                      <a:lnTo>
                        <a:pt x="167" y="201"/>
                      </a:lnTo>
                      <a:lnTo>
                        <a:pt x="167" y="201"/>
                      </a:lnTo>
                      <a:lnTo>
                        <a:pt x="166" y="201"/>
                      </a:lnTo>
                      <a:lnTo>
                        <a:pt x="165" y="201"/>
                      </a:lnTo>
                      <a:lnTo>
                        <a:pt x="165" y="200"/>
                      </a:lnTo>
                      <a:lnTo>
                        <a:pt x="165" y="201"/>
                      </a:lnTo>
                      <a:lnTo>
                        <a:pt x="164" y="201"/>
                      </a:lnTo>
                      <a:lnTo>
                        <a:pt x="164" y="200"/>
                      </a:lnTo>
                      <a:lnTo>
                        <a:pt x="163" y="200"/>
                      </a:lnTo>
                      <a:lnTo>
                        <a:pt x="163" y="200"/>
                      </a:lnTo>
                      <a:lnTo>
                        <a:pt x="162" y="200"/>
                      </a:lnTo>
                      <a:lnTo>
                        <a:pt x="161" y="200"/>
                      </a:lnTo>
                      <a:lnTo>
                        <a:pt x="161" y="199"/>
                      </a:lnTo>
                      <a:lnTo>
                        <a:pt x="160" y="199"/>
                      </a:lnTo>
                      <a:lnTo>
                        <a:pt x="160" y="199"/>
                      </a:lnTo>
                      <a:lnTo>
                        <a:pt x="160" y="199"/>
                      </a:lnTo>
                      <a:lnTo>
                        <a:pt x="159" y="199"/>
                      </a:lnTo>
                      <a:lnTo>
                        <a:pt x="159" y="198"/>
                      </a:lnTo>
                      <a:lnTo>
                        <a:pt x="158" y="198"/>
                      </a:lnTo>
                      <a:lnTo>
                        <a:pt x="158" y="199"/>
                      </a:lnTo>
                      <a:lnTo>
                        <a:pt x="158" y="199"/>
                      </a:lnTo>
                      <a:lnTo>
                        <a:pt x="158" y="198"/>
                      </a:lnTo>
                      <a:lnTo>
                        <a:pt x="158" y="197"/>
                      </a:lnTo>
                      <a:lnTo>
                        <a:pt x="158" y="197"/>
                      </a:lnTo>
                      <a:lnTo>
                        <a:pt x="158" y="196"/>
                      </a:lnTo>
                      <a:lnTo>
                        <a:pt x="157" y="196"/>
                      </a:lnTo>
                      <a:lnTo>
                        <a:pt x="156" y="195"/>
                      </a:lnTo>
                      <a:lnTo>
                        <a:pt x="156" y="195"/>
                      </a:lnTo>
                      <a:lnTo>
                        <a:pt x="155" y="195"/>
                      </a:lnTo>
                      <a:lnTo>
                        <a:pt x="155" y="195"/>
                      </a:lnTo>
                      <a:lnTo>
                        <a:pt x="154" y="194"/>
                      </a:lnTo>
                      <a:lnTo>
                        <a:pt x="154" y="194"/>
                      </a:lnTo>
                      <a:lnTo>
                        <a:pt x="153" y="193"/>
                      </a:lnTo>
                      <a:lnTo>
                        <a:pt x="153" y="193"/>
                      </a:lnTo>
                      <a:lnTo>
                        <a:pt x="152" y="193"/>
                      </a:lnTo>
                      <a:lnTo>
                        <a:pt x="152" y="192"/>
                      </a:lnTo>
                      <a:lnTo>
                        <a:pt x="152" y="192"/>
                      </a:lnTo>
                      <a:lnTo>
                        <a:pt x="152" y="191"/>
                      </a:lnTo>
                      <a:lnTo>
                        <a:pt x="151" y="191"/>
                      </a:lnTo>
                      <a:lnTo>
                        <a:pt x="150" y="191"/>
                      </a:lnTo>
                      <a:lnTo>
                        <a:pt x="150" y="191"/>
                      </a:lnTo>
                      <a:lnTo>
                        <a:pt x="150" y="191"/>
                      </a:lnTo>
                      <a:lnTo>
                        <a:pt x="150" y="190"/>
                      </a:lnTo>
                      <a:lnTo>
                        <a:pt x="150" y="189"/>
                      </a:lnTo>
                      <a:lnTo>
                        <a:pt x="150" y="189"/>
                      </a:lnTo>
                      <a:lnTo>
                        <a:pt x="149" y="189"/>
                      </a:lnTo>
                      <a:lnTo>
                        <a:pt x="148" y="189"/>
                      </a:lnTo>
                      <a:lnTo>
                        <a:pt x="148" y="189"/>
                      </a:lnTo>
                      <a:lnTo>
                        <a:pt x="148" y="189"/>
                      </a:lnTo>
                      <a:lnTo>
                        <a:pt x="147" y="189"/>
                      </a:lnTo>
                      <a:lnTo>
                        <a:pt x="146" y="189"/>
                      </a:lnTo>
                      <a:lnTo>
                        <a:pt x="146" y="190"/>
                      </a:lnTo>
                      <a:lnTo>
                        <a:pt x="146" y="190"/>
                      </a:lnTo>
                      <a:lnTo>
                        <a:pt x="146" y="189"/>
                      </a:lnTo>
                      <a:lnTo>
                        <a:pt x="145" y="189"/>
                      </a:lnTo>
                      <a:lnTo>
                        <a:pt x="145" y="189"/>
                      </a:lnTo>
                      <a:lnTo>
                        <a:pt x="144" y="189"/>
                      </a:lnTo>
                      <a:lnTo>
                        <a:pt x="144" y="188"/>
                      </a:lnTo>
                      <a:lnTo>
                        <a:pt x="144" y="188"/>
                      </a:lnTo>
                      <a:lnTo>
                        <a:pt x="143" y="187"/>
                      </a:lnTo>
                      <a:lnTo>
                        <a:pt x="142" y="186"/>
                      </a:lnTo>
                      <a:lnTo>
                        <a:pt x="142" y="186"/>
                      </a:lnTo>
                      <a:lnTo>
                        <a:pt x="141" y="186"/>
                      </a:lnTo>
                      <a:lnTo>
                        <a:pt x="141" y="185"/>
                      </a:lnTo>
                      <a:lnTo>
                        <a:pt x="140" y="185"/>
                      </a:lnTo>
                      <a:lnTo>
                        <a:pt x="139" y="185"/>
                      </a:lnTo>
                      <a:lnTo>
                        <a:pt x="139" y="184"/>
                      </a:lnTo>
                      <a:lnTo>
                        <a:pt x="139" y="184"/>
                      </a:lnTo>
                      <a:lnTo>
                        <a:pt x="138" y="184"/>
                      </a:lnTo>
                      <a:lnTo>
                        <a:pt x="138" y="185"/>
                      </a:lnTo>
                      <a:lnTo>
                        <a:pt x="137" y="185"/>
                      </a:lnTo>
                      <a:lnTo>
                        <a:pt x="137" y="185"/>
                      </a:lnTo>
                      <a:lnTo>
                        <a:pt x="136" y="185"/>
                      </a:lnTo>
                      <a:lnTo>
                        <a:pt x="136" y="186"/>
                      </a:lnTo>
                      <a:lnTo>
                        <a:pt x="135" y="185"/>
                      </a:lnTo>
                      <a:lnTo>
                        <a:pt x="135" y="185"/>
                      </a:lnTo>
                      <a:lnTo>
                        <a:pt x="134" y="185"/>
                      </a:lnTo>
                      <a:lnTo>
                        <a:pt x="133" y="185"/>
                      </a:lnTo>
                      <a:lnTo>
                        <a:pt x="133" y="186"/>
                      </a:lnTo>
                      <a:lnTo>
                        <a:pt x="133" y="186"/>
                      </a:lnTo>
                      <a:lnTo>
                        <a:pt x="133" y="187"/>
                      </a:lnTo>
                      <a:lnTo>
                        <a:pt x="132" y="187"/>
                      </a:lnTo>
                      <a:lnTo>
                        <a:pt x="131" y="187"/>
                      </a:lnTo>
                      <a:lnTo>
                        <a:pt x="131" y="187"/>
                      </a:lnTo>
                      <a:lnTo>
                        <a:pt x="130" y="187"/>
                      </a:lnTo>
                      <a:lnTo>
                        <a:pt x="129" y="188"/>
                      </a:lnTo>
                      <a:lnTo>
                        <a:pt x="129" y="188"/>
                      </a:lnTo>
                      <a:lnTo>
                        <a:pt x="128" y="188"/>
                      </a:lnTo>
                      <a:lnTo>
                        <a:pt x="127" y="188"/>
                      </a:lnTo>
                      <a:lnTo>
                        <a:pt x="127" y="188"/>
                      </a:lnTo>
                      <a:lnTo>
                        <a:pt x="127" y="189"/>
                      </a:lnTo>
                      <a:lnTo>
                        <a:pt x="126" y="189"/>
                      </a:lnTo>
                      <a:lnTo>
                        <a:pt x="125" y="189"/>
                      </a:lnTo>
                      <a:lnTo>
                        <a:pt x="125" y="189"/>
                      </a:lnTo>
                      <a:lnTo>
                        <a:pt x="124" y="189"/>
                      </a:lnTo>
                      <a:lnTo>
                        <a:pt x="124" y="189"/>
                      </a:lnTo>
                      <a:lnTo>
                        <a:pt x="123" y="189"/>
                      </a:lnTo>
                      <a:lnTo>
                        <a:pt x="122" y="189"/>
                      </a:lnTo>
                      <a:lnTo>
                        <a:pt x="122" y="189"/>
                      </a:lnTo>
                      <a:lnTo>
                        <a:pt x="121" y="189"/>
                      </a:lnTo>
                      <a:lnTo>
                        <a:pt x="121" y="188"/>
                      </a:lnTo>
                      <a:lnTo>
                        <a:pt x="120" y="187"/>
                      </a:lnTo>
                      <a:lnTo>
                        <a:pt x="120" y="186"/>
                      </a:lnTo>
                      <a:lnTo>
                        <a:pt x="119" y="186"/>
                      </a:lnTo>
                      <a:lnTo>
                        <a:pt x="119" y="186"/>
                      </a:lnTo>
                      <a:lnTo>
                        <a:pt x="119" y="185"/>
                      </a:lnTo>
                      <a:lnTo>
                        <a:pt x="119" y="184"/>
                      </a:lnTo>
                      <a:lnTo>
                        <a:pt x="118" y="184"/>
                      </a:lnTo>
                      <a:lnTo>
                        <a:pt x="118" y="184"/>
                      </a:lnTo>
                      <a:lnTo>
                        <a:pt x="117" y="184"/>
                      </a:lnTo>
                      <a:lnTo>
                        <a:pt x="116" y="184"/>
                      </a:lnTo>
                      <a:lnTo>
                        <a:pt x="116" y="184"/>
                      </a:lnTo>
                      <a:lnTo>
                        <a:pt x="116" y="183"/>
                      </a:lnTo>
                      <a:lnTo>
                        <a:pt x="116" y="182"/>
                      </a:lnTo>
                      <a:lnTo>
                        <a:pt x="116" y="182"/>
                      </a:lnTo>
                      <a:lnTo>
                        <a:pt x="116" y="181"/>
                      </a:lnTo>
                      <a:lnTo>
                        <a:pt x="116" y="180"/>
                      </a:lnTo>
                      <a:lnTo>
                        <a:pt x="115" y="180"/>
                      </a:lnTo>
                      <a:lnTo>
                        <a:pt x="115" y="180"/>
                      </a:lnTo>
                      <a:lnTo>
                        <a:pt x="114" y="180"/>
                      </a:lnTo>
                      <a:lnTo>
                        <a:pt x="114" y="179"/>
                      </a:lnTo>
                      <a:lnTo>
                        <a:pt x="114" y="178"/>
                      </a:lnTo>
                      <a:lnTo>
                        <a:pt x="114" y="178"/>
                      </a:lnTo>
                      <a:lnTo>
                        <a:pt x="114" y="178"/>
                      </a:lnTo>
                      <a:lnTo>
                        <a:pt x="114" y="177"/>
                      </a:lnTo>
                      <a:lnTo>
                        <a:pt x="113" y="177"/>
                      </a:lnTo>
                      <a:lnTo>
                        <a:pt x="112" y="177"/>
                      </a:lnTo>
                      <a:lnTo>
                        <a:pt x="112" y="176"/>
                      </a:lnTo>
                      <a:lnTo>
                        <a:pt x="112" y="176"/>
                      </a:lnTo>
                      <a:lnTo>
                        <a:pt x="112" y="175"/>
                      </a:lnTo>
                      <a:lnTo>
                        <a:pt x="112" y="175"/>
                      </a:lnTo>
                      <a:lnTo>
                        <a:pt x="112" y="174"/>
                      </a:lnTo>
                      <a:lnTo>
                        <a:pt x="111" y="174"/>
                      </a:lnTo>
                      <a:lnTo>
                        <a:pt x="111" y="174"/>
                      </a:lnTo>
                      <a:lnTo>
                        <a:pt x="112" y="173"/>
                      </a:lnTo>
                      <a:lnTo>
                        <a:pt x="112" y="172"/>
                      </a:lnTo>
                      <a:lnTo>
                        <a:pt x="111" y="172"/>
                      </a:lnTo>
                      <a:lnTo>
                        <a:pt x="110" y="172"/>
                      </a:lnTo>
                      <a:lnTo>
                        <a:pt x="110" y="171"/>
                      </a:lnTo>
                      <a:lnTo>
                        <a:pt x="110" y="172"/>
                      </a:lnTo>
                      <a:lnTo>
                        <a:pt x="109" y="172"/>
                      </a:lnTo>
                      <a:lnTo>
                        <a:pt x="109" y="171"/>
                      </a:lnTo>
                      <a:lnTo>
                        <a:pt x="108" y="171"/>
                      </a:lnTo>
                      <a:lnTo>
                        <a:pt x="108" y="170"/>
                      </a:lnTo>
                      <a:lnTo>
                        <a:pt x="108" y="170"/>
                      </a:lnTo>
                      <a:lnTo>
                        <a:pt x="108" y="169"/>
                      </a:lnTo>
                      <a:lnTo>
                        <a:pt x="108" y="168"/>
                      </a:lnTo>
                      <a:lnTo>
                        <a:pt x="108" y="168"/>
                      </a:lnTo>
                      <a:lnTo>
                        <a:pt x="108" y="168"/>
                      </a:lnTo>
                      <a:lnTo>
                        <a:pt x="107" y="168"/>
                      </a:lnTo>
                      <a:lnTo>
                        <a:pt x="107" y="167"/>
                      </a:lnTo>
                      <a:lnTo>
                        <a:pt x="107" y="166"/>
                      </a:lnTo>
                      <a:lnTo>
                        <a:pt x="107" y="165"/>
                      </a:lnTo>
                      <a:lnTo>
                        <a:pt x="107" y="165"/>
                      </a:lnTo>
                      <a:lnTo>
                        <a:pt x="106" y="164"/>
                      </a:lnTo>
                      <a:lnTo>
                        <a:pt x="106" y="164"/>
                      </a:lnTo>
                      <a:lnTo>
                        <a:pt x="106" y="165"/>
                      </a:lnTo>
                      <a:lnTo>
                        <a:pt x="105" y="165"/>
                      </a:lnTo>
                      <a:lnTo>
                        <a:pt x="104" y="164"/>
                      </a:lnTo>
                      <a:lnTo>
                        <a:pt x="103" y="163"/>
                      </a:lnTo>
                      <a:lnTo>
                        <a:pt x="103" y="163"/>
                      </a:lnTo>
                      <a:lnTo>
                        <a:pt x="103" y="163"/>
                      </a:lnTo>
                      <a:lnTo>
                        <a:pt x="103" y="162"/>
                      </a:lnTo>
                      <a:lnTo>
                        <a:pt x="103" y="161"/>
                      </a:lnTo>
                      <a:lnTo>
                        <a:pt x="103" y="161"/>
                      </a:lnTo>
                      <a:lnTo>
                        <a:pt x="103" y="160"/>
                      </a:lnTo>
                      <a:lnTo>
                        <a:pt x="103" y="159"/>
                      </a:lnTo>
                      <a:lnTo>
                        <a:pt x="102" y="159"/>
                      </a:lnTo>
                      <a:lnTo>
                        <a:pt x="102" y="159"/>
                      </a:lnTo>
                      <a:lnTo>
                        <a:pt x="102" y="158"/>
                      </a:lnTo>
                      <a:lnTo>
                        <a:pt x="101" y="158"/>
                      </a:lnTo>
                      <a:lnTo>
                        <a:pt x="101" y="157"/>
                      </a:lnTo>
                      <a:lnTo>
                        <a:pt x="100" y="157"/>
                      </a:lnTo>
                      <a:lnTo>
                        <a:pt x="99" y="157"/>
                      </a:lnTo>
                      <a:lnTo>
                        <a:pt x="99" y="157"/>
                      </a:lnTo>
                      <a:lnTo>
                        <a:pt x="99" y="158"/>
                      </a:lnTo>
                      <a:lnTo>
                        <a:pt x="98" y="158"/>
                      </a:lnTo>
                      <a:lnTo>
                        <a:pt x="97" y="158"/>
                      </a:lnTo>
                      <a:lnTo>
                        <a:pt x="97" y="157"/>
                      </a:lnTo>
                      <a:lnTo>
                        <a:pt x="97" y="157"/>
                      </a:lnTo>
                      <a:lnTo>
                        <a:pt x="97" y="157"/>
                      </a:lnTo>
                      <a:lnTo>
                        <a:pt x="96" y="157"/>
                      </a:lnTo>
                      <a:lnTo>
                        <a:pt x="96" y="156"/>
                      </a:lnTo>
                      <a:lnTo>
                        <a:pt x="95" y="156"/>
                      </a:lnTo>
                      <a:lnTo>
                        <a:pt x="95" y="156"/>
                      </a:lnTo>
                      <a:lnTo>
                        <a:pt x="94" y="155"/>
                      </a:lnTo>
                      <a:lnTo>
                        <a:pt x="93" y="155"/>
                      </a:lnTo>
                      <a:lnTo>
                        <a:pt x="93" y="155"/>
                      </a:lnTo>
                      <a:lnTo>
                        <a:pt x="93" y="155"/>
                      </a:lnTo>
                      <a:lnTo>
                        <a:pt x="92" y="154"/>
                      </a:lnTo>
                      <a:lnTo>
                        <a:pt x="92" y="153"/>
                      </a:lnTo>
                      <a:lnTo>
                        <a:pt x="92" y="153"/>
                      </a:lnTo>
                      <a:lnTo>
                        <a:pt x="92" y="152"/>
                      </a:lnTo>
                      <a:lnTo>
                        <a:pt x="92" y="151"/>
                      </a:lnTo>
                      <a:lnTo>
                        <a:pt x="91" y="151"/>
                      </a:lnTo>
                      <a:lnTo>
                        <a:pt x="91" y="151"/>
                      </a:lnTo>
                      <a:lnTo>
                        <a:pt x="90" y="151"/>
                      </a:lnTo>
                      <a:lnTo>
                        <a:pt x="89" y="151"/>
                      </a:lnTo>
                      <a:lnTo>
                        <a:pt x="89" y="150"/>
                      </a:lnTo>
                      <a:lnTo>
                        <a:pt x="89" y="149"/>
                      </a:lnTo>
                      <a:lnTo>
                        <a:pt x="89" y="149"/>
                      </a:lnTo>
                      <a:lnTo>
                        <a:pt x="89" y="149"/>
                      </a:lnTo>
                      <a:lnTo>
                        <a:pt x="88" y="149"/>
                      </a:lnTo>
                      <a:lnTo>
                        <a:pt x="88" y="148"/>
                      </a:lnTo>
                      <a:lnTo>
                        <a:pt x="87" y="148"/>
                      </a:lnTo>
                      <a:lnTo>
                        <a:pt x="87" y="147"/>
                      </a:lnTo>
                      <a:lnTo>
                        <a:pt x="86" y="147"/>
                      </a:lnTo>
                      <a:lnTo>
                        <a:pt x="85" y="148"/>
                      </a:lnTo>
                      <a:lnTo>
                        <a:pt x="84" y="148"/>
                      </a:lnTo>
                      <a:lnTo>
                        <a:pt x="84" y="148"/>
                      </a:lnTo>
                      <a:lnTo>
                        <a:pt x="83" y="148"/>
                      </a:lnTo>
                      <a:lnTo>
                        <a:pt x="82" y="148"/>
                      </a:lnTo>
                      <a:lnTo>
                        <a:pt x="82" y="148"/>
                      </a:lnTo>
                      <a:lnTo>
                        <a:pt x="81" y="147"/>
                      </a:lnTo>
                      <a:lnTo>
                        <a:pt x="80" y="147"/>
                      </a:lnTo>
                      <a:lnTo>
                        <a:pt x="80" y="146"/>
                      </a:lnTo>
                      <a:lnTo>
                        <a:pt x="80" y="146"/>
                      </a:lnTo>
                      <a:lnTo>
                        <a:pt x="80" y="146"/>
                      </a:lnTo>
                      <a:lnTo>
                        <a:pt x="79" y="146"/>
                      </a:lnTo>
                      <a:lnTo>
                        <a:pt x="79" y="145"/>
                      </a:lnTo>
                      <a:lnTo>
                        <a:pt x="78" y="145"/>
                      </a:lnTo>
                      <a:lnTo>
                        <a:pt x="78" y="145"/>
                      </a:lnTo>
                      <a:lnTo>
                        <a:pt x="77" y="145"/>
                      </a:lnTo>
                      <a:lnTo>
                        <a:pt x="76" y="146"/>
                      </a:lnTo>
                      <a:lnTo>
                        <a:pt x="76" y="146"/>
                      </a:lnTo>
                      <a:lnTo>
                        <a:pt x="75" y="146"/>
                      </a:lnTo>
                      <a:lnTo>
                        <a:pt x="75" y="146"/>
                      </a:lnTo>
                      <a:lnTo>
                        <a:pt x="74" y="146"/>
                      </a:lnTo>
                      <a:lnTo>
                        <a:pt x="74" y="146"/>
                      </a:lnTo>
                      <a:lnTo>
                        <a:pt x="73" y="146"/>
                      </a:lnTo>
                      <a:lnTo>
                        <a:pt x="72" y="147"/>
                      </a:lnTo>
                      <a:lnTo>
                        <a:pt x="72" y="148"/>
                      </a:lnTo>
                      <a:lnTo>
                        <a:pt x="71" y="148"/>
                      </a:lnTo>
                      <a:lnTo>
                        <a:pt x="71" y="149"/>
                      </a:lnTo>
                      <a:lnTo>
                        <a:pt x="70" y="149"/>
                      </a:lnTo>
                      <a:lnTo>
                        <a:pt x="70" y="149"/>
                      </a:lnTo>
                      <a:lnTo>
                        <a:pt x="70" y="150"/>
                      </a:lnTo>
                      <a:lnTo>
                        <a:pt x="70" y="151"/>
                      </a:lnTo>
                      <a:lnTo>
                        <a:pt x="70" y="151"/>
                      </a:lnTo>
                      <a:lnTo>
                        <a:pt x="70" y="151"/>
                      </a:lnTo>
                      <a:lnTo>
                        <a:pt x="70" y="152"/>
                      </a:lnTo>
                      <a:lnTo>
                        <a:pt x="70" y="153"/>
                      </a:lnTo>
                      <a:lnTo>
                        <a:pt x="70" y="153"/>
                      </a:lnTo>
                      <a:lnTo>
                        <a:pt x="70" y="154"/>
                      </a:lnTo>
                      <a:lnTo>
                        <a:pt x="70" y="155"/>
                      </a:lnTo>
                      <a:lnTo>
                        <a:pt x="69" y="155"/>
                      </a:lnTo>
                      <a:lnTo>
                        <a:pt x="68" y="156"/>
                      </a:lnTo>
                      <a:lnTo>
                        <a:pt x="68" y="157"/>
                      </a:lnTo>
                      <a:lnTo>
                        <a:pt x="67" y="157"/>
                      </a:lnTo>
                      <a:lnTo>
                        <a:pt x="66" y="157"/>
                      </a:lnTo>
                      <a:lnTo>
                        <a:pt x="65" y="157"/>
                      </a:lnTo>
                      <a:lnTo>
                        <a:pt x="64" y="157"/>
                      </a:lnTo>
                      <a:lnTo>
                        <a:pt x="63" y="158"/>
                      </a:lnTo>
                      <a:lnTo>
                        <a:pt x="63" y="158"/>
                      </a:lnTo>
                      <a:lnTo>
                        <a:pt x="63" y="159"/>
                      </a:lnTo>
                      <a:lnTo>
                        <a:pt x="63" y="159"/>
                      </a:lnTo>
                      <a:lnTo>
                        <a:pt x="63" y="159"/>
                      </a:lnTo>
                      <a:lnTo>
                        <a:pt x="64" y="159"/>
                      </a:lnTo>
                      <a:lnTo>
                        <a:pt x="64" y="160"/>
                      </a:lnTo>
                      <a:lnTo>
                        <a:pt x="64" y="161"/>
                      </a:lnTo>
                      <a:lnTo>
                        <a:pt x="64" y="161"/>
                      </a:lnTo>
                      <a:lnTo>
                        <a:pt x="64" y="162"/>
                      </a:lnTo>
                      <a:lnTo>
                        <a:pt x="63" y="162"/>
                      </a:lnTo>
                      <a:lnTo>
                        <a:pt x="63" y="163"/>
                      </a:lnTo>
                      <a:lnTo>
                        <a:pt x="63" y="163"/>
                      </a:lnTo>
                      <a:lnTo>
                        <a:pt x="63" y="164"/>
                      </a:lnTo>
                      <a:lnTo>
                        <a:pt x="62" y="165"/>
                      </a:lnTo>
                      <a:lnTo>
                        <a:pt x="62" y="165"/>
                      </a:lnTo>
                      <a:lnTo>
                        <a:pt x="61" y="165"/>
                      </a:lnTo>
                      <a:lnTo>
                        <a:pt x="61" y="166"/>
                      </a:lnTo>
                      <a:lnTo>
                        <a:pt x="61" y="167"/>
                      </a:lnTo>
                      <a:lnTo>
                        <a:pt x="61" y="168"/>
                      </a:lnTo>
                      <a:lnTo>
                        <a:pt x="61" y="168"/>
                      </a:lnTo>
                      <a:lnTo>
                        <a:pt x="61" y="169"/>
                      </a:lnTo>
                      <a:lnTo>
                        <a:pt x="61" y="170"/>
                      </a:lnTo>
                      <a:lnTo>
                        <a:pt x="61" y="170"/>
                      </a:lnTo>
                      <a:lnTo>
                        <a:pt x="61" y="171"/>
                      </a:lnTo>
                      <a:lnTo>
                        <a:pt x="60" y="171"/>
                      </a:lnTo>
                      <a:lnTo>
                        <a:pt x="59" y="171"/>
                      </a:lnTo>
                      <a:lnTo>
                        <a:pt x="59" y="171"/>
                      </a:lnTo>
                      <a:lnTo>
                        <a:pt x="59" y="172"/>
                      </a:lnTo>
                      <a:lnTo>
                        <a:pt x="59" y="172"/>
                      </a:lnTo>
                      <a:lnTo>
                        <a:pt x="58" y="172"/>
                      </a:lnTo>
                      <a:lnTo>
                        <a:pt x="58" y="173"/>
                      </a:lnTo>
                      <a:lnTo>
                        <a:pt x="58" y="174"/>
                      </a:lnTo>
                      <a:lnTo>
                        <a:pt x="58" y="174"/>
                      </a:lnTo>
                      <a:lnTo>
                        <a:pt x="58" y="175"/>
                      </a:lnTo>
                      <a:lnTo>
                        <a:pt x="59" y="175"/>
                      </a:lnTo>
                      <a:lnTo>
                        <a:pt x="59" y="176"/>
                      </a:lnTo>
                      <a:lnTo>
                        <a:pt x="59" y="176"/>
                      </a:lnTo>
                      <a:lnTo>
                        <a:pt x="59" y="177"/>
                      </a:lnTo>
                      <a:lnTo>
                        <a:pt x="60" y="177"/>
                      </a:lnTo>
                      <a:lnTo>
                        <a:pt x="60" y="178"/>
                      </a:lnTo>
                      <a:lnTo>
                        <a:pt x="60" y="178"/>
                      </a:lnTo>
                      <a:lnTo>
                        <a:pt x="59" y="178"/>
                      </a:lnTo>
                      <a:lnTo>
                        <a:pt x="59" y="179"/>
                      </a:lnTo>
                      <a:lnTo>
                        <a:pt x="59" y="179"/>
                      </a:lnTo>
                      <a:lnTo>
                        <a:pt x="59" y="180"/>
                      </a:lnTo>
                      <a:lnTo>
                        <a:pt x="58" y="180"/>
                      </a:lnTo>
                      <a:lnTo>
                        <a:pt x="57" y="180"/>
                      </a:lnTo>
                      <a:lnTo>
                        <a:pt x="57" y="180"/>
                      </a:lnTo>
                      <a:lnTo>
                        <a:pt x="56" y="180"/>
                      </a:lnTo>
                      <a:lnTo>
                        <a:pt x="56" y="181"/>
                      </a:lnTo>
                      <a:lnTo>
                        <a:pt x="55" y="181"/>
                      </a:lnTo>
                      <a:lnTo>
                        <a:pt x="55" y="182"/>
                      </a:lnTo>
                      <a:lnTo>
                        <a:pt x="56" y="182"/>
                      </a:lnTo>
                      <a:lnTo>
                        <a:pt x="56" y="182"/>
                      </a:lnTo>
                      <a:lnTo>
                        <a:pt x="56" y="183"/>
                      </a:lnTo>
                      <a:lnTo>
                        <a:pt x="56" y="184"/>
                      </a:lnTo>
                      <a:lnTo>
                        <a:pt x="55" y="184"/>
                      </a:lnTo>
                      <a:lnTo>
                        <a:pt x="55" y="185"/>
                      </a:lnTo>
                      <a:lnTo>
                        <a:pt x="55" y="186"/>
                      </a:lnTo>
                      <a:lnTo>
                        <a:pt x="55" y="186"/>
                      </a:lnTo>
                      <a:lnTo>
                        <a:pt x="55" y="187"/>
                      </a:lnTo>
                      <a:lnTo>
                        <a:pt x="55" y="188"/>
                      </a:lnTo>
                      <a:lnTo>
                        <a:pt x="54" y="189"/>
                      </a:lnTo>
                      <a:lnTo>
                        <a:pt x="53" y="189"/>
                      </a:lnTo>
                      <a:lnTo>
                        <a:pt x="53" y="189"/>
                      </a:lnTo>
                      <a:lnTo>
                        <a:pt x="53" y="189"/>
                      </a:lnTo>
                      <a:lnTo>
                        <a:pt x="52" y="189"/>
                      </a:lnTo>
                      <a:lnTo>
                        <a:pt x="51" y="189"/>
                      </a:lnTo>
                      <a:lnTo>
                        <a:pt x="51" y="189"/>
                      </a:lnTo>
                      <a:lnTo>
                        <a:pt x="50" y="189"/>
                      </a:lnTo>
                      <a:lnTo>
                        <a:pt x="49" y="188"/>
                      </a:lnTo>
                      <a:lnTo>
                        <a:pt x="49" y="188"/>
                      </a:lnTo>
                      <a:lnTo>
                        <a:pt x="48" y="189"/>
                      </a:lnTo>
                      <a:lnTo>
                        <a:pt x="48" y="188"/>
                      </a:lnTo>
                      <a:lnTo>
                        <a:pt x="47" y="188"/>
                      </a:lnTo>
                      <a:lnTo>
                        <a:pt x="46" y="189"/>
                      </a:lnTo>
                      <a:lnTo>
                        <a:pt x="46" y="189"/>
                      </a:lnTo>
                      <a:lnTo>
                        <a:pt x="46" y="188"/>
                      </a:lnTo>
                      <a:lnTo>
                        <a:pt x="45" y="188"/>
                      </a:lnTo>
                      <a:lnTo>
                        <a:pt x="44" y="188"/>
                      </a:lnTo>
                      <a:lnTo>
                        <a:pt x="44" y="189"/>
                      </a:lnTo>
                      <a:lnTo>
                        <a:pt x="44" y="189"/>
                      </a:lnTo>
                      <a:lnTo>
                        <a:pt x="44" y="189"/>
                      </a:lnTo>
                      <a:lnTo>
                        <a:pt x="44" y="190"/>
                      </a:lnTo>
                      <a:lnTo>
                        <a:pt x="44" y="190"/>
                      </a:lnTo>
                      <a:lnTo>
                        <a:pt x="44" y="191"/>
                      </a:lnTo>
                      <a:lnTo>
                        <a:pt x="45" y="191"/>
                      </a:lnTo>
                      <a:lnTo>
                        <a:pt x="44" y="191"/>
                      </a:lnTo>
                      <a:lnTo>
                        <a:pt x="44" y="191"/>
                      </a:lnTo>
                      <a:lnTo>
                        <a:pt x="43" y="191"/>
                      </a:lnTo>
                      <a:lnTo>
                        <a:pt x="42" y="191"/>
                      </a:lnTo>
                      <a:lnTo>
                        <a:pt x="42" y="191"/>
                      </a:lnTo>
                      <a:lnTo>
                        <a:pt x="41" y="191"/>
                      </a:lnTo>
                      <a:lnTo>
                        <a:pt x="40" y="192"/>
                      </a:lnTo>
                      <a:lnTo>
                        <a:pt x="40" y="192"/>
                      </a:lnTo>
                      <a:lnTo>
                        <a:pt x="40" y="191"/>
                      </a:lnTo>
                      <a:lnTo>
                        <a:pt x="40" y="191"/>
                      </a:lnTo>
                      <a:lnTo>
                        <a:pt x="40" y="190"/>
                      </a:lnTo>
                      <a:lnTo>
                        <a:pt x="40" y="189"/>
                      </a:lnTo>
                      <a:lnTo>
                        <a:pt x="40" y="189"/>
                      </a:lnTo>
                      <a:lnTo>
                        <a:pt x="40" y="189"/>
                      </a:lnTo>
                      <a:lnTo>
                        <a:pt x="41" y="189"/>
                      </a:lnTo>
                      <a:lnTo>
                        <a:pt x="41" y="188"/>
                      </a:lnTo>
                      <a:lnTo>
                        <a:pt x="41" y="187"/>
                      </a:lnTo>
                      <a:lnTo>
                        <a:pt x="40" y="187"/>
                      </a:lnTo>
                      <a:lnTo>
                        <a:pt x="40" y="187"/>
                      </a:lnTo>
                      <a:lnTo>
                        <a:pt x="40" y="186"/>
                      </a:lnTo>
                      <a:lnTo>
                        <a:pt x="39" y="186"/>
                      </a:lnTo>
                      <a:lnTo>
                        <a:pt x="39" y="186"/>
                      </a:lnTo>
                      <a:lnTo>
                        <a:pt x="38" y="186"/>
                      </a:lnTo>
                      <a:lnTo>
                        <a:pt x="38" y="185"/>
                      </a:lnTo>
                      <a:lnTo>
                        <a:pt x="37" y="185"/>
                      </a:lnTo>
                      <a:lnTo>
                        <a:pt x="37" y="184"/>
                      </a:lnTo>
                      <a:lnTo>
                        <a:pt x="36" y="184"/>
                      </a:lnTo>
                      <a:lnTo>
                        <a:pt x="36" y="184"/>
                      </a:lnTo>
                      <a:lnTo>
                        <a:pt x="35" y="184"/>
                      </a:lnTo>
                      <a:lnTo>
                        <a:pt x="34" y="184"/>
                      </a:lnTo>
                      <a:lnTo>
                        <a:pt x="34" y="184"/>
                      </a:lnTo>
                      <a:lnTo>
                        <a:pt x="33" y="184"/>
                      </a:lnTo>
                      <a:lnTo>
                        <a:pt x="32" y="184"/>
                      </a:lnTo>
                      <a:lnTo>
                        <a:pt x="32" y="184"/>
                      </a:lnTo>
                      <a:lnTo>
                        <a:pt x="31" y="184"/>
                      </a:lnTo>
                      <a:lnTo>
                        <a:pt x="31" y="183"/>
                      </a:lnTo>
                      <a:lnTo>
                        <a:pt x="30" y="183"/>
                      </a:lnTo>
                      <a:lnTo>
                        <a:pt x="30" y="183"/>
                      </a:lnTo>
                      <a:lnTo>
                        <a:pt x="30" y="182"/>
                      </a:lnTo>
                      <a:lnTo>
                        <a:pt x="30" y="182"/>
                      </a:lnTo>
                      <a:lnTo>
                        <a:pt x="30" y="182"/>
                      </a:lnTo>
                      <a:lnTo>
                        <a:pt x="31" y="182"/>
                      </a:lnTo>
                      <a:lnTo>
                        <a:pt x="32" y="182"/>
                      </a:lnTo>
                      <a:lnTo>
                        <a:pt x="32" y="181"/>
                      </a:lnTo>
                      <a:lnTo>
                        <a:pt x="32" y="181"/>
                      </a:lnTo>
                      <a:lnTo>
                        <a:pt x="33" y="180"/>
                      </a:lnTo>
                      <a:lnTo>
                        <a:pt x="32" y="180"/>
                      </a:lnTo>
                      <a:lnTo>
                        <a:pt x="32" y="180"/>
                      </a:lnTo>
                      <a:lnTo>
                        <a:pt x="32" y="180"/>
                      </a:lnTo>
                      <a:lnTo>
                        <a:pt x="32" y="179"/>
                      </a:lnTo>
                      <a:lnTo>
                        <a:pt x="31" y="178"/>
                      </a:lnTo>
                      <a:lnTo>
                        <a:pt x="30" y="178"/>
                      </a:lnTo>
                      <a:lnTo>
                        <a:pt x="30" y="178"/>
                      </a:lnTo>
                      <a:lnTo>
                        <a:pt x="29" y="178"/>
                      </a:lnTo>
                      <a:lnTo>
                        <a:pt x="28" y="178"/>
                      </a:lnTo>
                      <a:lnTo>
                        <a:pt x="27" y="178"/>
                      </a:lnTo>
                      <a:lnTo>
                        <a:pt x="27" y="178"/>
                      </a:lnTo>
                      <a:lnTo>
                        <a:pt x="27" y="179"/>
                      </a:lnTo>
                      <a:lnTo>
                        <a:pt x="26" y="179"/>
                      </a:lnTo>
                      <a:lnTo>
                        <a:pt x="25" y="179"/>
                      </a:lnTo>
                      <a:lnTo>
                        <a:pt x="25" y="180"/>
                      </a:lnTo>
                      <a:lnTo>
                        <a:pt x="24" y="180"/>
                      </a:lnTo>
                      <a:lnTo>
                        <a:pt x="24" y="179"/>
                      </a:lnTo>
                      <a:lnTo>
                        <a:pt x="23" y="179"/>
                      </a:lnTo>
                      <a:lnTo>
                        <a:pt x="23" y="178"/>
                      </a:lnTo>
                      <a:lnTo>
                        <a:pt x="23" y="178"/>
                      </a:lnTo>
                      <a:lnTo>
                        <a:pt x="23" y="178"/>
                      </a:lnTo>
                      <a:lnTo>
                        <a:pt x="22" y="178"/>
                      </a:lnTo>
                      <a:lnTo>
                        <a:pt x="22" y="177"/>
                      </a:lnTo>
                      <a:lnTo>
                        <a:pt x="23" y="177"/>
                      </a:lnTo>
                      <a:lnTo>
                        <a:pt x="23" y="176"/>
                      </a:lnTo>
                      <a:lnTo>
                        <a:pt x="23" y="176"/>
                      </a:lnTo>
                      <a:lnTo>
                        <a:pt x="23" y="175"/>
                      </a:lnTo>
                      <a:lnTo>
                        <a:pt x="22" y="175"/>
                      </a:lnTo>
                      <a:lnTo>
                        <a:pt x="22" y="174"/>
                      </a:lnTo>
                      <a:lnTo>
                        <a:pt x="22" y="174"/>
                      </a:lnTo>
                      <a:lnTo>
                        <a:pt x="22" y="173"/>
                      </a:lnTo>
                      <a:lnTo>
                        <a:pt x="22" y="172"/>
                      </a:lnTo>
                      <a:lnTo>
                        <a:pt x="21" y="172"/>
                      </a:lnTo>
                      <a:lnTo>
                        <a:pt x="21" y="172"/>
                      </a:lnTo>
                      <a:lnTo>
                        <a:pt x="21" y="172"/>
                      </a:lnTo>
                      <a:lnTo>
                        <a:pt x="21" y="171"/>
                      </a:lnTo>
                      <a:lnTo>
                        <a:pt x="20" y="171"/>
                      </a:lnTo>
                      <a:lnTo>
                        <a:pt x="19" y="171"/>
                      </a:lnTo>
                      <a:lnTo>
                        <a:pt x="19" y="171"/>
                      </a:lnTo>
                      <a:lnTo>
                        <a:pt x="18" y="170"/>
                      </a:lnTo>
                      <a:lnTo>
                        <a:pt x="17" y="170"/>
                      </a:lnTo>
                      <a:lnTo>
                        <a:pt x="17" y="171"/>
                      </a:lnTo>
                      <a:lnTo>
                        <a:pt x="18" y="171"/>
                      </a:lnTo>
                      <a:lnTo>
                        <a:pt x="18" y="172"/>
                      </a:lnTo>
                      <a:lnTo>
                        <a:pt x="17" y="172"/>
                      </a:lnTo>
                      <a:lnTo>
                        <a:pt x="17" y="172"/>
                      </a:lnTo>
                      <a:lnTo>
                        <a:pt x="18" y="172"/>
                      </a:lnTo>
                      <a:lnTo>
                        <a:pt x="18" y="173"/>
                      </a:lnTo>
                      <a:lnTo>
                        <a:pt x="19" y="174"/>
                      </a:lnTo>
                      <a:lnTo>
                        <a:pt x="18" y="174"/>
                      </a:lnTo>
                      <a:lnTo>
                        <a:pt x="18" y="174"/>
                      </a:lnTo>
                      <a:lnTo>
                        <a:pt x="18" y="174"/>
                      </a:lnTo>
                      <a:lnTo>
                        <a:pt x="17" y="174"/>
                      </a:lnTo>
                      <a:lnTo>
                        <a:pt x="17" y="174"/>
                      </a:lnTo>
                      <a:lnTo>
                        <a:pt x="17" y="174"/>
                      </a:lnTo>
                      <a:lnTo>
                        <a:pt x="17" y="175"/>
                      </a:lnTo>
                      <a:lnTo>
                        <a:pt x="16" y="175"/>
                      </a:lnTo>
                      <a:lnTo>
                        <a:pt x="16" y="174"/>
                      </a:lnTo>
                      <a:lnTo>
                        <a:pt x="17" y="174"/>
                      </a:lnTo>
                      <a:lnTo>
                        <a:pt x="17" y="174"/>
                      </a:lnTo>
                      <a:lnTo>
                        <a:pt x="17" y="173"/>
                      </a:lnTo>
                      <a:lnTo>
                        <a:pt x="17" y="172"/>
                      </a:lnTo>
                      <a:lnTo>
                        <a:pt x="16" y="172"/>
                      </a:lnTo>
                      <a:lnTo>
                        <a:pt x="15" y="172"/>
                      </a:lnTo>
                      <a:lnTo>
                        <a:pt x="15" y="173"/>
                      </a:lnTo>
                      <a:lnTo>
                        <a:pt x="15" y="172"/>
                      </a:lnTo>
                      <a:lnTo>
                        <a:pt x="15" y="172"/>
                      </a:lnTo>
                      <a:lnTo>
                        <a:pt x="15" y="171"/>
                      </a:lnTo>
                      <a:lnTo>
                        <a:pt x="15" y="171"/>
                      </a:lnTo>
                      <a:lnTo>
                        <a:pt x="15" y="170"/>
                      </a:lnTo>
                      <a:lnTo>
                        <a:pt x="14" y="170"/>
                      </a:lnTo>
                      <a:lnTo>
                        <a:pt x="13" y="170"/>
                      </a:lnTo>
                      <a:lnTo>
                        <a:pt x="13" y="171"/>
                      </a:lnTo>
                      <a:lnTo>
                        <a:pt x="14" y="172"/>
                      </a:lnTo>
                      <a:lnTo>
                        <a:pt x="13" y="172"/>
                      </a:lnTo>
                      <a:lnTo>
                        <a:pt x="13" y="172"/>
                      </a:lnTo>
                      <a:lnTo>
                        <a:pt x="13" y="172"/>
                      </a:lnTo>
                      <a:lnTo>
                        <a:pt x="13" y="172"/>
                      </a:lnTo>
                      <a:lnTo>
                        <a:pt x="13" y="171"/>
                      </a:lnTo>
                      <a:lnTo>
                        <a:pt x="12" y="171"/>
                      </a:lnTo>
                      <a:lnTo>
                        <a:pt x="11" y="171"/>
                      </a:lnTo>
                      <a:lnTo>
                        <a:pt x="11" y="171"/>
                      </a:lnTo>
                      <a:lnTo>
                        <a:pt x="10" y="171"/>
                      </a:lnTo>
                      <a:lnTo>
                        <a:pt x="9" y="171"/>
                      </a:lnTo>
                      <a:lnTo>
                        <a:pt x="9" y="170"/>
                      </a:lnTo>
                      <a:lnTo>
                        <a:pt x="10" y="170"/>
                      </a:lnTo>
                      <a:lnTo>
                        <a:pt x="11" y="170"/>
                      </a:lnTo>
                      <a:lnTo>
                        <a:pt x="11" y="170"/>
                      </a:lnTo>
                      <a:lnTo>
                        <a:pt x="11" y="170"/>
                      </a:lnTo>
                      <a:lnTo>
                        <a:pt x="11" y="169"/>
                      </a:lnTo>
                      <a:lnTo>
                        <a:pt x="11" y="169"/>
                      </a:lnTo>
                      <a:lnTo>
                        <a:pt x="11" y="168"/>
                      </a:lnTo>
                      <a:lnTo>
                        <a:pt x="10" y="168"/>
                      </a:lnTo>
                      <a:lnTo>
                        <a:pt x="9" y="169"/>
                      </a:lnTo>
                      <a:lnTo>
                        <a:pt x="9" y="168"/>
                      </a:lnTo>
                      <a:lnTo>
                        <a:pt x="8" y="168"/>
                      </a:lnTo>
                      <a:lnTo>
                        <a:pt x="8" y="168"/>
                      </a:lnTo>
                      <a:lnTo>
                        <a:pt x="7" y="168"/>
                      </a:lnTo>
                      <a:lnTo>
                        <a:pt x="7" y="168"/>
                      </a:lnTo>
                      <a:lnTo>
                        <a:pt x="7" y="167"/>
                      </a:lnTo>
                      <a:lnTo>
                        <a:pt x="7" y="166"/>
                      </a:lnTo>
                      <a:lnTo>
                        <a:pt x="6" y="166"/>
                      </a:lnTo>
                      <a:lnTo>
                        <a:pt x="6" y="166"/>
                      </a:lnTo>
                      <a:lnTo>
                        <a:pt x="6" y="167"/>
                      </a:lnTo>
                      <a:lnTo>
                        <a:pt x="6" y="168"/>
                      </a:lnTo>
                      <a:lnTo>
                        <a:pt x="6" y="168"/>
                      </a:lnTo>
                      <a:lnTo>
                        <a:pt x="6" y="169"/>
                      </a:lnTo>
                      <a:lnTo>
                        <a:pt x="6" y="170"/>
                      </a:lnTo>
                      <a:lnTo>
                        <a:pt x="5" y="170"/>
                      </a:lnTo>
                      <a:lnTo>
                        <a:pt x="4" y="170"/>
                      </a:lnTo>
                      <a:lnTo>
                        <a:pt x="4" y="170"/>
                      </a:lnTo>
                      <a:lnTo>
                        <a:pt x="4" y="169"/>
                      </a:lnTo>
                      <a:lnTo>
                        <a:pt x="4" y="168"/>
                      </a:lnTo>
                      <a:lnTo>
                        <a:pt x="4" y="168"/>
                      </a:lnTo>
                      <a:lnTo>
                        <a:pt x="3" y="168"/>
                      </a:lnTo>
                      <a:lnTo>
                        <a:pt x="3" y="168"/>
                      </a:lnTo>
                      <a:lnTo>
                        <a:pt x="2" y="168"/>
                      </a:lnTo>
                      <a:lnTo>
                        <a:pt x="2" y="169"/>
                      </a:lnTo>
                      <a:lnTo>
                        <a:pt x="2" y="170"/>
                      </a:lnTo>
                      <a:lnTo>
                        <a:pt x="3" y="170"/>
                      </a:lnTo>
                      <a:lnTo>
                        <a:pt x="3" y="170"/>
                      </a:lnTo>
                      <a:lnTo>
                        <a:pt x="4" y="170"/>
                      </a:lnTo>
                      <a:lnTo>
                        <a:pt x="4" y="171"/>
                      </a:lnTo>
                      <a:lnTo>
                        <a:pt x="3" y="171"/>
                      </a:lnTo>
                      <a:lnTo>
                        <a:pt x="2" y="172"/>
                      </a:lnTo>
                      <a:lnTo>
                        <a:pt x="2" y="172"/>
                      </a:lnTo>
                      <a:lnTo>
                        <a:pt x="1" y="172"/>
                      </a:lnTo>
                      <a:lnTo>
                        <a:pt x="0" y="172"/>
                      </a:lnTo>
                      <a:lnTo>
                        <a:pt x="0" y="171"/>
                      </a:lnTo>
                      <a:lnTo>
                        <a:pt x="0" y="170"/>
                      </a:lnTo>
                      <a:lnTo>
                        <a:pt x="0" y="170"/>
                      </a:lnTo>
                      <a:lnTo>
                        <a:pt x="0" y="17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4" name="Freeform 15">
                  <a:extLst>
                    <a:ext uri="{FF2B5EF4-FFF2-40B4-BE49-F238E27FC236}">
                      <a16:creationId xmlns:a16="http://schemas.microsoft.com/office/drawing/2014/main" xmlns="" id="{6B73B109-553F-C705-E57B-3FD72049EDAD}"/>
                    </a:ext>
                  </a:extLst>
                </p:cNvPr>
                <p:cNvSpPr>
                  <a:spLocks/>
                </p:cNvSpPr>
                <p:nvPr/>
              </p:nvSpPr>
              <p:spPr bwMode="auto">
                <a:xfrm>
                  <a:off x="3059" y="3547"/>
                  <a:ext cx="106" cy="311"/>
                </a:xfrm>
                <a:custGeom>
                  <a:avLst/>
                  <a:gdLst>
                    <a:gd name="T0" fmla="*/ 104 w 106"/>
                    <a:gd name="T1" fmla="*/ 176 h 311"/>
                    <a:gd name="T2" fmla="*/ 100 w 106"/>
                    <a:gd name="T3" fmla="*/ 177 h 311"/>
                    <a:gd name="T4" fmla="*/ 98 w 106"/>
                    <a:gd name="T5" fmla="*/ 173 h 311"/>
                    <a:gd name="T6" fmla="*/ 94 w 106"/>
                    <a:gd name="T7" fmla="*/ 166 h 311"/>
                    <a:gd name="T8" fmla="*/ 89 w 106"/>
                    <a:gd name="T9" fmla="*/ 163 h 311"/>
                    <a:gd name="T10" fmla="*/ 85 w 106"/>
                    <a:gd name="T11" fmla="*/ 165 h 311"/>
                    <a:gd name="T12" fmla="*/ 83 w 106"/>
                    <a:gd name="T13" fmla="*/ 166 h 311"/>
                    <a:gd name="T14" fmla="*/ 76 w 106"/>
                    <a:gd name="T15" fmla="*/ 164 h 311"/>
                    <a:gd name="T16" fmla="*/ 72 w 106"/>
                    <a:gd name="T17" fmla="*/ 164 h 311"/>
                    <a:gd name="T18" fmla="*/ 68 w 106"/>
                    <a:gd name="T19" fmla="*/ 160 h 311"/>
                    <a:gd name="T20" fmla="*/ 64 w 106"/>
                    <a:gd name="T21" fmla="*/ 164 h 311"/>
                    <a:gd name="T22" fmla="*/ 62 w 106"/>
                    <a:gd name="T23" fmla="*/ 170 h 311"/>
                    <a:gd name="T24" fmla="*/ 62 w 106"/>
                    <a:gd name="T25" fmla="*/ 179 h 311"/>
                    <a:gd name="T26" fmla="*/ 61 w 106"/>
                    <a:gd name="T27" fmla="*/ 186 h 311"/>
                    <a:gd name="T28" fmla="*/ 59 w 106"/>
                    <a:gd name="T29" fmla="*/ 196 h 311"/>
                    <a:gd name="T30" fmla="*/ 61 w 106"/>
                    <a:gd name="T31" fmla="*/ 204 h 311"/>
                    <a:gd name="T32" fmla="*/ 62 w 106"/>
                    <a:gd name="T33" fmla="*/ 210 h 311"/>
                    <a:gd name="T34" fmla="*/ 63 w 106"/>
                    <a:gd name="T35" fmla="*/ 217 h 311"/>
                    <a:gd name="T36" fmla="*/ 58 w 106"/>
                    <a:gd name="T37" fmla="*/ 224 h 311"/>
                    <a:gd name="T38" fmla="*/ 59 w 106"/>
                    <a:gd name="T39" fmla="*/ 230 h 311"/>
                    <a:gd name="T40" fmla="*/ 58 w 106"/>
                    <a:gd name="T41" fmla="*/ 237 h 311"/>
                    <a:gd name="T42" fmla="*/ 55 w 106"/>
                    <a:gd name="T43" fmla="*/ 241 h 311"/>
                    <a:gd name="T44" fmla="*/ 57 w 106"/>
                    <a:gd name="T45" fmla="*/ 246 h 311"/>
                    <a:gd name="T46" fmla="*/ 56 w 106"/>
                    <a:gd name="T47" fmla="*/ 254 h 311"/>
                    <a:gd name="T48" fmla="*/ 55 w 106"/>
                    <a:gd name="T49" fmla="*/ 261 h 311"/>
                    <a:gd name="T50" fmla="*/ 55 w 106"/>
                    <a:gd name="T51" fmla="*/ 267 h 311"/>
                    <a:gd name="T52" fmla="*/ 54 w 106"/>
                    <a:gd name="T53" fmla="*/ 276 h 311"/>
                    <a:gd name="T54" fmla="*/ 53 w 106"/>
                    <a:gd name="T55" fmla="*/ 282 h 311"/>
                    <a:gd name="T56" fmla="*/ 51 w 106"/>
                    <a:gd name="T57" fmla="*/ 290 h 311"/>
                    <a:gd name="T58" fmla="*/ 49 w 106"/>
                    <a:gd name="T59" fmla="*/ 299 h 311"/>
                    <a:gd name="T60" fmla="*/ 44 w 106"/>
                    <a:gd name="T61" fmla="*/ 304 h 311"/>
                    <a:gd name="T62" fmla="*/ 38 w 106"/>
                    <a:gd name="T63" fmla="*/ 304 h 311"/>
                    <a:gd name="T64" fmla="*/ 24 w 106"/>
                    <a:gd name="T65" fmla="*/ 307 h 311"/>
                    <a:gd name="T66" fmla="*/ 12 w 106"/>
                    <a:gd name="T67" fmla="*/ 298 h 311"/>
                    <a:gd name="T68" fmla="*/ 2 w 106"/>
                    <a:gd name="T69" fmla="*/ 288 h 311"/>
                    <a:gd name="T70" fmla="*/ 2 w 106"/>
                    <a:gd name="T71" fmla="*/ 278 h 311"/>
                    <a:gd name="T72" fmla="*/ 4 w 106"/>
                    <a:gd name="T73" fmla="*/ 269 h 311"/>
                    <a:gd name="T74" fmla="*/ 4 w 106"/>
                    <a:gd name="T75" fmla="*/ 260 h 311"/>
                    <a:gd name="T76" fmla="*/ 2 w 106"/>
                    <a:gd name="T77" fmla="*/ 250 h 311"/>
                    <a:gd name="T78" fmla="*/ 0 w 106"/>
                    <a:gd name="T79" fmla="*/ 228 h 311"/>
                    <a:gd name="T80" fmla="*/ 5 w 106"/>
                    <a:gd name="T81" fmla="*/ 221 h 311"/>
                    <a:gd name="T82" fmla="*/ 6 w 106"/>
                    <a:gd name="T83" fmla="*/ 200 h 311"/>
                    <a:gd name="T84" fmla="*/ 14 w 106"/>
                    <a:gd name="T85" fmla="*/ 143 h 311"/>
                    <a:gd name="T86" fmla="*/ 19 w 106"/>
                    <a:gd name="T87" fmla="*/ 140 h 311"/>
                    <a:gd name="T88" fmla="*/ 22 w 106"/>
                    <a:gd name="T89" fmla="*/ 135 h 311"/>
                    <a:gd name="T90" fmla="*/ 22 w 106"/>
                    <a:gd name="T91" fmla="*/ 129 h 311"/>
                    <a:gd name="T92" fmla="*/ 20 w 106"/>
                    <a:gd name="T93" fmla="*/ 122 h 311"/>
                    <a:gd name="T94" fmla="*/ 16 w 106"/>
                    <a:gd name="T95" fmla="*/ 114 h 311"/>
                    <a:gd name="T96" fmla="*/ 16 w 106"/>
                    <a:gd name="T97" fmla="*/ 107 h 311"/>
                    <a:gd name="T98" fmla="*/ 19 w 106"/>
                    <a:gd name="T99" fmla="*/ 99 h 311"/>
                    <a:gd name="T100" fmla="*/ 17 w 106"/>
                    <a:gd name="T101" fmla="*/ 90 h 311"/>
                    <a:gd name="T102" fmla="*/ 19 w 106"/>
                    <a:gd name="T103" fmla="*/ 81 h 311"/>
                    <a:gd name="T104" fmla="*/ 20 w 106"/>
                    <a:gd name="T105" fmla="*/ 71 h 311"/>
                    <a:gd name="T106" fmla="*/ 13 w 106"/>
                    <a:gd name="T107" fmla="*/ 63 h 311"/>
                    <a:gd name="T108" fmla="*/ 40 w 106"/>
                    <a:gd name="T109" fmla="*/ 35 h 311"/>
                    <a:gd name="T110" fmla="*/ 43 w 106"/>
                    <a:gd name="T111" fmla="*/ 28 h 311"/>
                    <a:gd name="T112" fmla="*/ 42 w 106"/>
                    <a:gd name="T113" fmla="*/ 21 h 311"/>
                    <a:gd name="T114" fmla="*/ 46 w 106"/>
                    <a:gd name="T115" fmla="*/ 15 h 311"/>
                    <a:gd name="T116" fmla="*/ 46 w 106"/>
                    <a:gd name="T117" fmla="*/ 8 h 311"/>
                    <a:gd name="T118" fmla="*/ 50 w 106"/>
                    <a:gd name="T119" fmla="*/ 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311">
                      <a:moveTo>
                        <a:pt x="106" y="179"/>
                      </a:moveTo>
                      <a:lnTo>
                        <a:pt x="105" y="179"/>
                      </a:lnTo>
                      <a:lnTo>
                        <a:pt x="105" y="179"/>
                      </a:lnTo>
                      <a:lnTo>
                        <a:pt x="104" y="179"/>
                      </a:lnTo>
                      <a:lnTo>
                        <a:pt x="104" y="180"/>
                      </a:lnTo>
                      <a:lnTo>
                        <a:pt x="104" y="180"/>
                      </a:lnTo>
                      <a:lnTo>
                        <a:pt x="104" y="181"/>
                      </a:lnTo>
                      <a:lnTo>
                        <a:pt x="103" y="181"/>
                      </a:lnTo>
                      <a:lnTo>
                        <a:pt x="103" y="180"/>
                      </a:lnTo>
                      <a:lnTo>
                        <a:pt x="103" y="179"/>
                      </a:lnTo>
                      <a:lnTo>
                        <a:pt x="104" y="179"/>
                      </a:lnTo>
                      <a:lnTo>
                        <a:pt x="104" y="179"/>
                      </a:lnTo>
                      <a:lnTo>
                        <a:pt x="104" y="179"/>
                      </a:lnTo>
                      <a:lnTo>
                        <a:pt x="104" y="178"/>
                      </a:lnTo>
                      <a:lnTo>
                        <a:pt x="104" y="177"/>
                      </a:lnTo>
                      <a:lnTo>
                        <a:pt x="104" y="177"/>
                      </a:lnTo>
                      <a:lnTo>
                        <a:pt x="104" y="176"/>
                      </a:lnTo>
                      <a:lnTo>
                        <a:pt x="103" y="175"/>
                      </a:lnTo>
                      <a:lnTo>
                        <a:pt x="102" y="175"/>
                      </a:lnTo>
                      <a:lnTo>
                        <a:pt x="102" y="174"/>
                      </a:lnTo>
                      <a:lnTo>
                        <a:pt x="102" y="175"/>
                      </a:lnTo>
                      <a:lnTo>
                        <a:pt x="102" y="176"/>
                      </a:lnTo>
                      <a:lnTo>
                        <a:pt x="102" y="176"/>
                      </a:lnTo>
                      <a:lnTo>
                        <a:pt x="102" y="177"/>
                      </a:lnTo>
                      <a:lnTo>
                        <a:pt x="103" y="177"/>
                      </a:lnTo>
                      <a:lnTo>
                        <a:pt x="103" y="177"/>
                      </a:lnTo>
                      <a:lnTo>
                        <a:pt x="103" y="178"/>
                      </a:lnTo>
                      <a:lnTo>
                        <a:pt x="102" y="178"/>
                      </a:lnTo>
                      <a:lnTo>
                        <a:pt x="102" y="177"/>
                      </a:lnTo>
                      <a:lnTo>
                        <a:pt x="102" y="177"/>
                      </a:lnTo>
                      <a:lnTo>
                        <a:pt x="101" y="177"/>
                      </a:lnTo>
                      <a:lnTo>
                        <a:pt x="100" y="177"/>
                      </a:lnTo>
                      <a:lnTo>
                        <a:pt x="100" y="177"/>
                      </a:lnTo>
                      <a:lnTo>
                        <a:pt x="100" y="177"/>
                      </a:lnTo>
                      <a:lnTo>
                        <a:pt x="100" y="177"/>
                      </a:lnTo>
                      <a:lnTo>
                        <a:pt x="100" y="176"/>
                      </a:lnTo>
                      <a:lnTo>
                        <a:pt x="99" y="176"/>
                      </a:lnTo>
                      <a:lnTo>
                        <a:pt x="99" y="175"/>
                      </a:lnTo>
                      <a:lnTo>
                        <a:pt x="98" y="175"/>
                      </a:lnTo>
                      <a:lnTo>
                        <a:pt x="98" y="176"/>
                      </a:lnTo>
                      <a:lnTo>
                        <a:pt x="98" y="176"/>
                      </a:lnTo>
                      <a:lnTo>
                        <a:pt x="97" y="176"/>
                      </a:lnTo>
                      <a:lnTo>
                        <a:pt x="97" y="175"/>
                      </a:lnTo>
                      <a:lnTo>
                        <a:pt x="97" y="174"/>
                      </a:lnTo>
                      <a:lnTo>
                        <a:pt x="98" y="174"/>
                      </a:lnTo>
                      <a:lnTo>
                        <a:pt x="98" y="174"/>
                      </a:lnTo>
                      <a:lnTo>
                        <a:pt x="98" y="174"/>
                      </a:lnTo>
                      <a:lnTo>
                        <a:pt x="99" y="174"/>
                      </a:lnTo>
                      <a:lnTo>
                        <a:pt x="99" y="174"/>
                      </a:lnTo>
                      <a:lnTo>
                        <a:pt x="99" y="173"/>
                      </a:lnTo>
                      <a:lnTo>
                        <a:pt x="98" y="173"/>
                      </a:lnTo>
                      <a:lnTo>
                        <a:pt x="98" y="173"/>
                      </a:lnTo>
                      <a:lnTo>
                        <a:pt x="98" y="172"/>
                      </a:lnTo>
                      <a:lnTo>
                        <a:pt x="97" y="172"/>
                      </a:lnTo>
                      <a:lnTo>
                        <a:pt x="96" y="172"/>
                      </a:lnTo>
                      <a:lnTo>
                        <a:pt x="96" y="172"/>
                      </a:lnTo>
                      <a:lnTo>
                        <a:pt x="96" y="171"/>
                      </a:lnTo>
                      <a:lnTo>
                        <a:pt x="95" y="170"/>
                      </a:lnTo>
                      <a:lnTo>
                        <a:pt x="95" y="170"/>
                      </a:lnTo>
                      <a:lnTo>
                        <a:pt x="95" y="170"/>
                      </a:lnTo>
                      <a:lnTo>
                        <a:pt x="95" y="169"/>
                      </a:lnTo>
                      <a:lnTo>
                        <a:pt x="95" y="168"/>
                      </a:lnTo>
                      <a:lnTo>
                        <a:pt x="95" y="168"/>
                      </a:lnTo>
                      <a:lnTo>
                        <a:pt x="95" y="168"/>
                      </a:lnTo>
                      <a:lnTo>
                        <a:pt x="94" y="168"/>
                      </a:lnTo>
                      <a:lnTo>
                        <a:pt x="94" y="168"/>
                      </a:lnTo>
                      <a:lnTo>
                        <a:pt x="94" y="167"/>
                      </a:lnTo>
                      <a:lnTo>
                        <a:pt x="94" y="166"/>
                      </a:lnTo>
                      <a:lnTo>
                        <a:pt x="94" y="166"/>
                      </a:lnTo>
                      <a:lnTo>
                        <a:pt x="93" y="166"/>
                      </a:lnTo>
                      <a:lnTo>
                        <a:pt x="93" y="166"/>
                      </a:lnTo>
                      <a:lnTo>
                        <a:pt x="92" y="166"/>
                      </a:lnTo>
                      <a:lnTo>
                        <a:pt x="92" y="165"/>
                      </a:lnTo>
                      <a:lnTo>
                        <a:pt x="92" y="164"/>
                      </a:lnTo>
                      <a:lnTo>
                        <a:pt x="92" y="164"/>
                      </a:lnTo>
                      <a:lnTo>
                        <a:pt x="92" y="163"/>
                      </a:lnTo>
                      <a:lnTo>
                        <a:pt x="92" y="162"/>
                      </a:lnTo>
                      <a:lnTo>
                        <a:pt x="91" y="162"/>
                      </a:lnTo>
                      <a:lnTo>
                        <a:pt x="91" y="163"/>
                      </a:lnTo>
                      <a:lnTo>
                        <a:pt x="91" y="164"/>
                      </a:lnTo>
                      <a:lnTo>
                        <a:pt x="91" y="164"/>
                      </a:lnTo>
                      <a:lnTo>
                        <a:pt x="90" y="164"/>
                      </a:lnTo>
                      <a:lnTo>
                        <a:pt x="89" y="164"/>
                      </a:lnTo>
                      <a:lnTo>
                        <a:pt x="89" y="163"/>
                      </a:lnTo>
                      <a:lnTo>
                        <a:pt x="89" y="163"/>
                      </a:lnTo>
                      <a:lnTo>
                        <a:pt x="88" y="163"/>
                      </a:lnTo>
                      <a:lnTo>
                        <a:pt x="88" y="164"/>
                      </a:lnTo>
                      <a:lnTo>
                        <a:pt x="87" y="164"/>
                      </a:lnTo>
                      <a:lnTo>
                        <a:pt x="87" y="164"/>
                      </a:lnTo>
                      <a:lnTo>
                        <a:pt x="87" y="165"/>
                      </a:lnTo>
                      <a:lnTo>
                        <a:pt x="88" y="165"/>
                      </a:lnTo>
                      <a:lnTo>
                        <a:pt x="88" y="166"/>
                      </a:lnTo>
                      <a:lnTo>
                        <a:pt x="88" y="166"/>
                      </a:lnTo>
                      <a:lnTo>
                        <a:pt x="88" y="167"/>
                      </a:lnTo>
                      <a:lnTo>
                        <a:pt x="87" y="167"/>
                      </a:lnTo>
                      <a:lnTo>
                        <a:pt x="87" y="167"/>
                      </a:lnTo>
                      <a:lnTo>
                        <a:pt x="86" y="167"/>
                      </a:lnTo>
                      <a:lnTo>
                        <a:pt x="86" y="166"/>
                      </a:lnTo>
                      <a:lnTo>
                        <a:pt x="86" y="166"/>
                      </a:lnTo>
                      <a:lnTo>
                        <a:pt x="85" y="166"/>
                      </a:lnTo>
                      <a:lnTo>
                        <a:pt x="85" y="165"/>
                      </a:lnTo>
                      <a:lnTo>
                        <a:pt x="85" y="165"/>
                      </a:lnTo>
                      <a:lnTo>
                        <a:pt x="84" y="165"/>
                      </a:lnTo>
                      <a:lnTo>
                        <a:pt x="84" y="166"/>
                      </a:lnTo>
                      <a:lnTo>
                        <a:pt x="83" y="166"/>
                      </a:lnTo>
                      <a:lnTo>
                        <a:pt x="83" y="166"/>
                      </a:lnTo>
                      <a:lnTo>
                        <a:pt x="84" y="166"/>
                      </a:lnTo>
                      <a:lnTo>
                        <a:pt x="85" y="166"/>
                      </a:lnTo>
                      <a:lnTo>
                        <a:pt x="85" y="167"/>
                      </a:lnTo>
                      <a:lnTo>
                        <a:pt x="84" y="168"/>
                      </a:lnTo>
                      <a:lnTo>
                        <a:pt x="83" y="168"/>
                      </a:lnTo>
                      <a:lnTo>
                        <a:pt x="83" y="168"/>
                      </a:lnTo>
                      <a:lnTo>
                        <a:pt x="82" y="168"/>
                      </a:lnTo>
                      <a:lnTo>
                        <a:pt x="81" y="168"/>
                      </a:lnTo>
                      <a:lnTo>
                        <a:pt x="81" y="168"/>
                      </a:lnTo>
                      <a:lnTo>
                        <a:pt x="81" y="167"/>
                      </a:lnTo>
                      <a:lnTo>
                        <a:pt x="81" y="166"/>
                      </a:lnTo>
                      <a:lnTo>
                        <a:pt x="82" y="166"/>
                      </a:lnTo>
                      <a:lnTo>
                        <a:pt x="83" y="166"/>
                      </a:lnTo>
                      <a:lnTo>
                        <a:pt x="83" y="166"/>
                      </a:lnTo>
                      <a:lnTo>
                        <a:pt x="82" y="165"/>
                      </a:lnTo>
                      <a:lnTo>
                        <a:pt x="81" y="165"/>
                      </a:lnTo>
                      <a:lnTo>
                        <a:pt x="81" y="166"/>
                      </a:lnTo>
                      <a:lnTo>
                        <a:pt x="81" y="166"/>
                      </a:lnTo>
                      <a:lnTo>
                        <a:pt x="81" y="165"/>
                      </a:lnTo>
                      <a:lnTo>
                        <a:pt x="80" y="165"/>
                      </a:lnTo>
                      <a:lnTo>
                        <a:pt x="79" y="165"/>
                      </a:lnTo>
                      <a:lnTo>
                        <a:pt x="78" y="165"/>
                      </a:lnTo>
                      <a:lnTo>
                        <a:pt x="78" y="164"/>
                      </a:lnTo>
                      <a:lnTo>
                        <a:pt x="78" y="164"/>
                      </a:lnTo>
                      <a:lnTo>
                        <a:pt x="78" y="163"/>
                      </a:lnTo>
                      <a:lnTo>
                        <a:pt x="78" y="163"/>
                      </a:lnTo>
                      <a:lnTo>
                        <a:pt x="78" y="162"/>
                      </a:lnTo>
                      <a:lnTo>
                        <a:pt x="77" y="162"/>
                      </a:lnTo>
                      <a:lnTo>
                        <a:pt x="76" y="163"/>
                      </a:lnTo>
                      <a:lnTo>
                        <a:pt x="76" y="164"/>
                      </a:lnTo>
                      <a:lnTo>
                        <a:pt x="76" y="164"/>
                      </a:lnTo>
                      <a:lnTo>
                        <a:pt x="76" y="164"/>
                      </a:lnTo>
                      <a:lnTo>
                        <a:pt x="75" y="164"/>
                      </a:lnTo>
                      <a:lnTo>
                        <a:pt x="74" y="164"/>
                      </a:lnTo>
                      <a:lnTo>
                        <a:pt x="74" y="164"/>
                      </a:lnTo>
                      <a:lnTo>
                        <a:pt x="74" y="163"/>
                      </a:lnTo>
                      <a:lnTo>
                        <a:pt x="74" y="163"/>
                      </a:lnTo>
                      <a:lnTo>
                        <a:pt x="74" y="162"/>
                      </a:lnTo>
                      <a:lnTo>
                        <a:pt x="74" y="162"/>
                      </a:lnTo>
                      <a:lnTo>
                        <a:pt x="73" y="162"/>
                      </a:lnTo>
                      <a:lnTo>
                        <a:pt x="73" y="161"/>
                      </a:lnTo>
                      <a:lnTo>
                        <a:pt x="72" y="161"/>
                      </a:lnTo>
                      <a:lnTo>
                        <a:pt x="72" y="162"/>
                      </a:lnTo>
                      <a:lnTo>
                        <a:pt x="72" y="162"/>
                      </a:lnTo>
                      <a:lnTo>
                        <a:pt x="72" y="162"/>
                      </a:lnTo>
                      <a:lnTo>
                        <a:pt x="72" y="163"/>
                      </a:lnTo>
                      <a:lnTo>
                        <a:pt x="72" y="164"/>
                      </a:lnTo>
                      <a:lnTo>
                        <a:pt x="72" y="164"/>
                      </a:lnTo>
                      <a:lnTo>
                        <a:pt x="71" y="164"/>
                      </a:lnTo>
                      <a:lnTo>
                        <a:pt x="71" y="163"/>
                      </a:lnTo>
                      <a:lnTo>
                        <a:pt x="70" y="163"/>
                      </a:lnTo>
                      <a:lnTo>
                        <a:pt x="70" y="162"/>
                      </a:lnTo>
                      <a:lnTo>
                        <a:pt x="70" y="162"/>
                      </a:lnTo>
                      <a:lnTo>
                        <a:pt x="70" y="161"/>
                      </a:lnTo>
                      <a:lnTo>
                        <a:pt x="70" y="160"/>
                      </a:lnTo>
                      <a:lnTo>
                        <a:pt x="70" y="160"/>
                      </a:lnTo>
                      <a:lnTo>
                        <a:pt x="70" y="160"/>
                      </a:lnTo>
                      <a:lnTo>
                        <a:pt x="70" y="160"/>
                      </a:lnTo>
                      <a:lnTo>
                        <a:pt x="70" y="159"/>
                      </a:lnTo>
                      <a:lnTo>
                        <a:pt x="70" y="159"/>
                      </a:lnTo>
                      <a:lnTo>
                        <a:pt x="69" y="159"/>
                      </a:lnTo>
                      <a:lnTo>
                        <a:pt x="68" y="159"/>
                      </a:lnTo>
                      <a:lnTo>
                        <a:pt x="68" y="160"/>
                      </a:lnTo>
                      <a:lnTo>
                        <a:pt x="68" y="160"/>
                      </a:lnTo>
                      <a:lnTo>
                        <a:pt x="68" y="160"/>
                      </a:lnTo>
                      <a:lnTo>
                        <a:pt x="67" y="160"/>
                      </a:lnTo>
                      <a:lnTo>
                        <a:pt x="67" y="160"/>
                      </a:lnTo>
                      <a:lnTo>
                        <a:pt x="66" y="160"/>
                      </a:lnTo>
                      <a:lnTo>
                        <a:pt x="66" y="160"/>
                      </a:lnTo>
                      <a:lnTo>
                        <a:pt x="66" y="160"/>
                      </a:lnTo>
                      <a:lnTo>
                        <a:pt x="66" y="161"/>
                      </a:lnTo>
                      <a:lnTo>
                        <a:pt x="66" y="162"/>
                      </a:lnTo>
                      <a:lnTo>
                        <a:pt x="66" y="162"/>
                      </a:lnTo>
                      <a:lnTo>
                        <a:pt x="66" y="162"/>
                      </a:lnTo>
                      <a:lnTo>
                        <a:pt x="66" y="162"/>
                      </a:lnTo>
                      <a:lnTo>
                        <a:pt x="65" y="162"/>
                      </a:lnTo>
                      <a:lnTo>
                        <a:pt x="64" y="162"/>
                      </a:lnTo>
                      <a:lnTo>
                        <a:pt x="64" y="162"/>
                      </a:lnTo>
                      <a:lnTo>
                        <a:pt x="64" y="163"/>
                      </a:lnTo>
                      <a:lnTo>
                        <a:pt x="64" y="163"/>
                      </a:lnTo>
                      <a:lnTo>
                        <a:pt x="64" y="164"/>
                      </a:lnTo>
                      <a:lnTo>
                        <a:pt x="63" y="164"/>
                      </a:lnTo>
                      <a:lnTo>
                        <a:pt x="64" y="164"/>
                      </a:lnTo>
                      <a:lnTo>
                        <a:pt x="64" y="164"/>
                      </a:lnTo>
                      <a:lnTo>
                        <a:pt x="64" y="165"/>
                      </a:lnTo>
                      <a:lnTo>
                        <a:pt x="63" y="165"/>
                      </a:lnTo>
                      <a:lnTo>
                        <a:pt x="63" y="166"/>
                      </a:lnTo>
                      <a:lnTo>
                        <a:pt x="63" y="166"/>
                      </a:lnTo>
                      <a:lnTo>
                        <a:pt x="63" y="167"/>
                      </a:lnTo>
                      <a:lnTo>
                        <a:pt x="62" y="167"/>
                      </a:lnTo>
                      <a:lnTo>
                        <a:pt x="63" y="168"/>
                      </a:lnTo>
                      <a:lnTo>
                        <a:pt x="63" y="168"/>
                      </a:lnTo>
                      <a:lnTo>
                        <a:pt x="62" y="168"/>
                      </a:lnTo>
                      <a:lnTo>
                        <a:pt x="62" y="169"/>
                      </a:lnTo>
                      <a:lnTo>
                        <a:pt x="62" y="169"/>
                      </a:lnTo>
                      <a:lnTo>
                        <a:pt x="62" y="170"/>
                      </a:lnTo>
                      <a:lnTo>
                        <a:pt x="62" y="170"/>
                      </a:lnTo>
                      <a:lnTo>
                        <a:pt x="62" y="170"/>
                      </a:lnTo>
                      <a:lnTo>
                        <a:pt x="62" y="171"/>
                      </a:lnTo>
                      <a:lnTo>
                        <a:pt x="62" y="172"/>
                      </a:lnTo>
                      <a:lnTo>
                        <a:pt x="62" y="172"/>
                      </a:lnTo>
                      <a:lnTo>
                        <a:pt x="62" y="172"/>
                      </a:lnTo>
                      <a:lnTo>
                        <a:pt x="62" y="172"/>
                      </a:lnTo>
                      <a:lnTo>
                        <a:pt x="62" y="173"/>
                      </a:lnTo>
                      <a:lnTo>
                        <a:pt x="62" y="173"/>
                      </a:lnTo>
                      <a:lnTo>
                        <a:pt x="62" y="173"/>
                      </a:lnTo>
                      <a:lnTo>
                        <a:pt x="62" y="174"/>
                      </a:lnTo>
                      <a:lnTo>
                        <a:pt x="62" y="174"/>
                      </a:lnTo>
                      <a:lnTo>
                        <a:pt x="62" y="175"/>
                      </a:lnTo>
                      <a:lnTo>
                        <a:pt x="62" y="176"/>
                      </a:lnTo>
                      <a:lnTo>
                        <a:pt x="62" y="177"/>
                      </a:lnTo>
                      <a:lnTo>
                        <a:pt x="63" y="177"/>
                      </a:lnTo>
                      <a:lnTo>
                        <a:pt x="63" y="177"/>
                      </a:lnTo>
                      <a:lnTo>
                        <a:pt x="62" y="178"/>
                      </a:lnTo>
                      <a:lnTo>
                        <a:pt x="62" y="179"/>
                      </a:lnTo>
                      <a:lnTo>
                        <a:pt x="62" y="179"/>
                      </a:lnTo>
                      <a:lnTo>
                        <a:pt x="62" y="179"/>
                      </a:lnTo>
                      <a:lnTo>
                        <a:pt x="62" y="180"/>
                      </a:lnTo>
                      <a:lnTo>
                        <a:pt x="62" y="181"/>
                      </a:lnTo>
                      <a:lnTo>
                        <a:pt x="61" y="181"/>
                      </a:lnTo>
                      <a:lnTo>
                        <a:pt x="61" y="181"/>
                      </a:lnTo>
                      <a:lnTo>
                        <a:pt x="61" y="182"/>
                      </a:lnTo>
                      <a:lnTo>
                        <a:pt x="61" y="183"/>
                      </a:lnTo>
                      <a:lnTo>
                        <a:pt x="61" y="183"/>
                      </a:lnTo>
                      <a:lnTo>
                        <a:pt x="60" y="183"/>
                      </a:lnTo>
                      <a:lnTo>
                        <a:pt x="61" y="183"/>
                      </a:lnTo>
                      <a:lnTo>
                        <a:pt x="61" y="184"/>
                      </a:lnTo>
                      <a:lnTo>
                        <a:pt x="60" y="184"/>
                      </a:lnTo>
                      <a:lnTo>
                        <a:pt x="60" y="185"/>
                      </a:lnTo>
                      <a:lnTo>
                        <a:pt x="61" y="185"/>
                      </a:lnTo>
                      <a:lnTo>
                        <a:pt x="61" y="185"/>
                      </a:lnTo>
                      <a:lnTo>
                        <a:pt x="61" y="186"/>
                      </a:lnTo>
                      <a:lnTo>
                        <a:pt x="61" y="187"/>
                      </a:lnTo>
                      <a:lnTo>
                        <a:pt x="61" y="187"/>
                      </a:lnTo>
                      <a:lnTo>
                        <a:pt x="61" y="188"/>
                      </a:lnTo>
                      <a:lnTo>
                        <a:pt x="61" y="189"/>
                      </a:lnTo>
                      <a:lnTo>
                        <a:pt x="60" y="189"/>
                      </a:lnTo>
                      <a:lnTo>
                        <a:pt x="60" y="189"/>
                      </a:lnTo>
                      <a:lnTo>
                        <a:pt x="60" y="190"/>
                      </a:lnTo>
                      <a:lnTo>
                        <a:pt x="60" y="191"/>
                      </a:lnTo>
                      <a:lnTo>
                        <a:pt x="60" y="191"/>
                      </a:lnTo>
                      <a:lnTo>
                        <a:pt x="60" y="192"/>
                      </a:lnTo>
                      <a:lnTo>
                        <a:pt x="59" y="192"/>
                      </a:lnTo>
                      <a:lnTo>
                        <a:pt x="59" y="193"/>
                      </a:lnTo>
                      <a:lnTo>
                        <a:pt x="59" y="193"/>
                      </a:lnTo>
                      <a:lnTo>
                        <a:pt x="59" y="194"/>
                      </a:lnTo>
                      <a:lnTo>
                        <a:pt x="59" y="195"/>
                      </a:lnTo>
                      <a:lnTo>
                        <a:pt x="59" y="195"/>
                      </a:lnTo>
                      <a:lnTo>
                        <a:pt x="59" y="196"/>
                      </a:lnTo>
                      <a:lnTo>
                        <a:pt x="59" y="197"/>
                      </a:lnTo>
                      <a:lnTo>
                        <a:pt x="60" y="197"/>
                      </a:lnTo>
                      <a:lnTo>
                        <a:pt x="60" y="198"/>
                      </a:lnTo>
                      <a:lnTo>
                        <a:pt x="61" y="198"/>
                      </a:lnTo>
                      <a:lnTo>
                        <a:pt x="60" y="198"/>
                      </a:lnTo>
                      <a:lnTo>
                        <a:pt x="60" y="199"/>
                      </a:lnTo>
                      <a:lnTo>
                        <a:pt x="59" y="200"/>
                      </a:lnTo>
                      <a:lnTo>
                        <a:pt x="60" y="200"/>
                      </a:lnTo>
                      <a:lnTo>
                        <a:pt x="61" y="200"/>
                      </a:lnTo>
                      <a:lnTo>
                        <a:pt x="61" y="201"/>
                      </a:lnTo>
                      <a:lnTo>
                        <a:pt x="61" y="202"/>
                      </a:lnTo>
                      <a:lnTo>
                        <a:pt x="61" y="202"/>
                      </a:lnTo>
                      <a:lnTo>
                        <a:pt x="60" y="202"/>
                      </a:lnTo>
                      <a:lnTo>
                        <a:pt x="60" y="203"/>
                      </a:lnTo>
                      <a:lnTo>
                        <a:pt x="61" y="203"/>
                      </a:lnTo>
                      <a:lnTo>
                        <a:pt x="61" y="204"/>
                      </a:lnTo>
                      <a:lnTo>
                        <a:pt x="61" y="204"/>
                      </a:lnTo>
                      <a:lnTo>
                        <a:pt x="61" y="205"/>
                      </a:lnTo>
                      <a:lnTo>
                        <a:pt x="60" y="205"/>
                      </a:lnTo>
                      <a:lnTo>
                        <a:pt x="60" y="206"/>
                      </a:lnTo>
                      <a:lnTo>
                        <a:pt x="60" y="206"/>
                      </a:lnTo>
                      <a:lnTo>
                        <a:pt x="60" y="207"/>
                      </a:lnTo>
                      <a:lnTo>
                        <a:pt x="61" y="208"/>
                      </a:lnTo>
                      <a:lnTo>
                        <a:pt x="60" y="208"/>
                      </a:lnTo>
                      <a:lnTo>
                        <a:pt x="60" y="208"/>
                      </a:lnTo>
                      <a:lnTo>
                        <a:pt x="61" y="208"/>
                      </a:lnTo>
                      <a:lnTo>
                        <a:pt x="61" y="209"/>
                      </a:lnTo>
                      <a:lnTo>
                        <a:pt x="60" y="209"/>
                      </a:lnTo>
                      <a:lnTo>
                        <a:pt x="60" y="210"/>
                      </a:lnTo>
                      <a:lnTo>
                        <a:pt x="60" y="210"/>
                      </a:lnTo>
                      <a:lnTo>
                        <a:pt x="61" y="211"/>
                      </a:lnTo>
                      <a:lnTo>
                        <a:pt x="62" y="211"/>
                      </a:lnTo>
                      <a:lnTo>
                        <a:pt x="62" y="210"/>
                      </a:lnTo>
                      <a:lnTo>
                        <a:pt x="62" y="210"/>
                      </a:lnTo>
                      <a:lnTo>
                        <a:pt x="63" y="210"/>
                      </a:lnTo>
                      <a:lnTo>
                        <a:pt x="63" y="211"/>
                      </a:lnTo>
                      <a:lnTo>
                        <a:pt x="63" y="212"/>
                      </a:lnTo>
                      <a:lnTo>
                        <a:pt x="62" y="212"/>
                      </a:lnTo>
                      <a:lnTo>
                        <a:pt x="62" y="212"/>
                      </a:lnTo>
                      <a:lnTo>
                        <a:pt x="62" y="212"/>
                      </a:lnTo>
                      <a:lnTo>
                        <a:pt x="62" y="213"/>
                      </a:lnTo>
                      <a:lnTo>
                        <a:pt x="62" y="213"/>
                      </a:lnTo>
                      <a:lnTo>
                        <a:pt x="62" y="214"/>
                      </a:lnTo>
                      <a:lnTo>
                        <a:pt x="63" y="214"/>
                      </a:lnTo>
                      <a:lnTo>
                        <a:pt x="63" y="214"/>
                      </a:lnTo>
                      <a:lnTo>
                        <a:pt x="63" y="215"/>
                      </a:lnTo>
                      <a:lnTo>
                        <a:pt x="63" y="216"/>
                      </a:lnTo>
                      <a:lnTo>
                        <a:pt x="64" y="216"/>
                      </a:lnTo>
                      <a:lnTo>
                        <a:pt x="64" y="217"/>
                      </a:lnTo>
                      <a:lnTo>
                        <a:pt x="63" y="217"/>
                      </a:lnTo>
                      <a:lnTo>
                        <a:pt x="63" y="217"/>
                      </a:lnTo>
                      <a:lnTo>
                        <a:pt x="62" y="218"/>
                      </a:lnTo>
                      <a:lnTo>
                        <a:pt x="62" y="219"/>
                      </a:lnTo>
                      <a:lnTo>
                        <a:pt x="62" y="219"/>
                      </a:lnTo>
                      <a:lnTo>
                        <a:pt x="61" y="219"/>
                      </a:lnTo>
                      <a:lnTo>
                        <a:pt x="60" y="219"/>
                      </a:lnTo>
                      <a:lnTo>
                        <a:pt x="60" y="220"/>
                      </a:lnTo>
                      <a:lnTo>
                        <a:pt x="59" y="220"/>
                      </a:lnTo>
                      <a:lnTo>
                        <a:pt x="59" y="221"/>
                      </a:lnTo>
                      <a:lnTo>
                        <a:pt x="59" y="221"/>
                      </a:lnTo>
                      <a:lnTo>
                        <a:pt x="59" y="221"/>
                      </a:lnTo>
                      <a:lnTo>
                        <a:pt x="59" y="221"/>
                      </a:lnTo>
                      <a:lnTo>
                        <a:pt x="59" y="222"/>
                      </a:lnTo>
                      <a:lnTo>
                        <a:pt x="59" y="223"/>
                      </a:lnTo>
                      <a:lnTo>
                        <a:pt x="59" y="223"/>
                      </a:lnTo>
                      <a:lnTo>
                        <a:pt x="59" y="223"/>
                      </a:lnTo>
                      <a:lnTo>
                        <a:pt x="58" y="223"/>
                      </a:lnTo>
                      <a:lnTo>
                        <a:pt x="58" y="224"/>
                      </a:lnTo>
                      <a:lnTo>
                        <a:pt x="57" y="224"/>
                      </a:lnTo>
                      <a:lnTo>
                        <a:pt x="57" y="225"/>
                      </a:lnTo>
                      <a:lnTo>
                        <a:pt x="57" y="225"/>
                      </a:lnTo>
                      <a:lnTo>
                        <a:pt x="58" y="225"/>
                      </a:lnTo>
                      <a:lnTo>
                        <a:pt x="59" y="225"/>
                      </a:lnTo>
                      <a:lnTo>
                        <a:pt x="59" y="226"/>
                      </a:lnTo>
                      <a:lnTo>
                        <a:pt x="60" y="227"/>
                      </a:lnTo>
                      <a:lnTo>
                        <a:pt x="60" y="227"/>
                      </a:lnTo>
                      <a:lnTo>
                        <a:pt x="61" y="227"/>
                      </a:lnTo>
                      <a:lnTo>
                        <a:pt x="61" y="228"/>
                      </a:lnTo>
                      <a:lnTo>
                        <a:pt x="60" y="228"/>
                      </a:lnTo>
                      <a:lnTo>
                        <a:pt x="59" y="228"/>
                      </a:lnTo>
                      <a:lnTo>
                        <a:pt x="59" y="229"/>
                      </a:lnTo>
                      <a:lnTo>
                        <a:pt x="59" y="229"/>
                      </a:lnTo>
                      <a:lnTo>
                        <a:pt x="59" y="229"/>
                      </a:lnTo>
                      <a:lnTo>
                        <a:pt x="59" y="229"/>
                      </a:lnTo>
                      <a:lnTo>
                        <a:pt x="59" y="230"/>
                      </a:lnTo>
                      <a:lnTo>
                        <a:pt x="60" y="230"/>
                      </a:lnTo>
                      <a:lnTo>
                        <a:pt x="60" y="231"/>
                      </a:lnTo>
                      <a:lnTo>
                        <a:pt x="61" y="231"/>
                      </a:lnTo>
                      <a:lnTo>
                        <a:pt x="61" y="231"/>
                      </a:lnTo>
                      <a:lnTo>
                        <a:pt x="61" y="232"/>
                      </a:lnTo>
                      <a:lnTo>
                        <a:pt x="60" y="232"/>
                      </a:lnTo>
                      <a:lnTo>
                        <a:pt x="59" y="232"/>
                      </a:lnTo>
                      <a:lnTo>
                        <a:pt x="59" y="233"/>
                      </a:lnTo>
                      <a:lnTo>
                        <a:pt x="59" y="233"/>
                      </a:lnTo>
                      <a:lnTo>
                        <a:pt x="59" y="233"/>
                      </a:lnTo>
                      <a:lnTo>
                        <a:pt x="59" y="234"/>
                      </a:lnTo>
                      <a:lnTo>
                        <a:pt x="58" y="234"/>
                      </a:lnTo>
                      <a:lnTo>
                        <a:pt x="58" y="235"/>
                      </a:lnTo>
                      <a:lnTo>
                        <a:pt x="58" y="236"/>
                      </a:lnTo>
                      <a:lnTo>
                        <a:pt x="57" y="236"/>
                      </a:lnTo>
                      <a:lnTo>
                        <a:pt x="57" y="236"/>
                      </a:lnTo>
                      <a:lnTo>
                        <a:pt x="58" y="237"/>
                      </a:lnTo>
                      <a:lnTo>
                        <a:pt x="59" y="237"/>
                      </a:lnTo>
                      <a:lnTo>
                        <a:pt x="59" y="238"/>
                      </a:lnTo>
                      <a:lnTo>
                        <a:pt x="58" y="238"/>
                      </a:lnTo>
                      <a:lnTo>
                        <a:pt x="57" y="238"/>
                      </a:lnTo>
                      <a:lnTo>
                        <a:pt x="57" y="239"/>
                      </a:lnTo>
                      <a:lnTo>
                        <a:pt x="57" y="240"/>
                      </a:lnTo>
                      <a:lnTo>
                        <a:pt x="57" y="240"/>
                      </a:lnTo>
                      <a:lnTo>
                        <a:pt x="58" y="241"/>
                      </a:lnTo>
                      <a:lnTo>
                        <a:pt x="58" y="242"/>
                      </a:lnTo>
                      <a:lnTo>
                        <a:pt x="57" y="242"/>
                      </a:lnTo>
                      <a:lnTo>
                        <a:pt x="57" y="242"/>
                      </a:lnTo>
                      <a:lnTo>
                        <a:pt x="57" y="242"/>
                      </a:lnTo>
                      <a:lnTo>
                        <a:pt x="57" y="242"/>
                      </a:lnTo>
                      <a:lnTo>
                        <a:pt x="57" y="241"/>
                      </a:lnTo>
                      <a:lnTo>
                        <a:pt x="56" y="240"/>
                      </a:lnTo>
                      <a:lnTo>
                        <a:pt x="55" y="240"/>
                      </a:lnTo>
                      <a:lnTo>
                        <a:pt x="55" y="241"/>
                      </a:lnTo>
                      <a:lnTo>
                        <a:pt x="55" y="241"/>
                      </a:lnTo>
                      <a:lnTo>
                        <a:pt x="55" y="242"/>
                      </a:lnTo>
                      <a:lnTo>
                        <a:pt x="55" y="242"/>
                      </a:lnTo>
                      <a:lnTo>
                        <a:pt x="55" y="242"/>
                      </a:lnTo>
                      <a:lnTo>
                        <a:pt x="56" y="242"/>
                      </a:lnTo>
                      <a:lnTo>
                        <a:pt x="57" y="242"/>
                      </a:lnTo>
                      <a:lnTo>
                        <a:pt x="57" y="243"/>
                      </a:lnTo>
                      <a:lnTo>
                        <a:pt x="57" y="244"/>
                      </a:lnTo>
                      <a:lnTo>
                        <a:pt x="56" y="244"/>
                      </a:lnTo>
                      <a:lnTo>
                        <a:pt x="56" y="243"/>
                      </a:lnTo>
                      <a:lnTo>
                        <a:pt x="56" y="244"/>
                      </a:lnTo>
                      <a:lnTo>
                        <a:pt x="56" y="244"/>
                      </a:lnTo>
                      <a:lnTo>
                        <a:pt x="56" y="245"/>
                      </a:lnTo>
                      <a:lnTo>
                        <a:pt x="56" y="246"/>
                      </a:lnTo>
                      <a:lnTo>
                        <a:pt x="57" y="246"/>
                      </a:lnTo>
                      <a:lnTo>
                        <a:pt x="57" y="246"/>
                      </a:lnTo>
                      <a:lnTo>
                        <a:pt x="57" y="246"/>
                      </a:lnTo>
                      <a:lnTo>
                        <a:pt x="57" y="247"/>
                      </a:lnTo>
                      <a:lnTo>
                        <a:pt x="57" y="248"/>
                      </a:lnTo>
                      <a:lnTo>
                        <a:pt x="57" y="248"/>
                      </a:lnTo>
                      <a:lnTo>
                        <a:pt x="57" y="248"/>
                      </a:lnTo>
                      <a:lnTo>
                        <a:pt x="57" y="249"/>
                      </a:lnTo>
                      <a:lnTo>
                        <a:pt x="57" y="250"/>
                      </a:lnTo>
                      <a:lnTo>
                        <a:pt x="57" y="250"/>
                      </a:lnTo>
                      <a:lnTo>
                        <a:pt x="57" y="250"/>
                      </a:lnTo>
                      <a:lnTo>
                        <a:pt x="58" y="250"/>
                      </a:lnTo>
                      <a:lnTo>
                        <a:pt x="58" y="251"/>
                      </a:lnTo>
                      <a:lnTo>
                        <a:pt x="57" y="251"/>
                      </a:lnTo>
                      <a:lnTo>
                        <a:pt x="57" y="252"/>
                      </a:lnTo>
                      <a:lnTo>
                        <a:pt x="57" y="252"/>
                      </a:lnTo>
                      <a:lnTo>
                        <a:pt x="57" y="252"/>
                      </a:lnTo>
                      <a:lnTo>
                        <a:pt x="57" y="253"/>
                      </a:lnTo>
                      <a:lnTo>
                        <a:pt x="56" y="253"/>
                      </a:lnTo>
                      <a:lnTo>
                        <a:pt x="56" y="254"/>
                      </a:lnTo>
                      <a:lnTo>
                        <a:pt x="57" y="254"/>
                      </a:lnTo>
                      <a:lnTo>
                        <a:pt x="57" y="254"/>
                      </a:lnTo>
                      <a:lnTo>
                        <a:pt x="57" y="255"/>
                      </a:lnTo>
                      <a:lnTo>
                        <a:pt x="56" y="255"/>
                      </a:lnTo>
                      <a:lnTo>
                        <a:pt x="57" y="255"/>
                      </a:lnTo>
                      <a:lnTo>
                        <a:pt x="57" y="256"/>
                      </a:lnTo>
                      <a:lnTo>
                        <a:pt x="57" y="257"/>
                      </a:lnTo>
                      <a:lnTo>
                        <a:pt x="56" y="257"/>
                      </a:lnTo>
                      <a:lnTo>
                        <a:pt x="56" y="257"/>
                      </a:lnTo>
                      <a:lnTo>
                        <a:pt x="56" y="258"/>
                      </a:lnTo>
                      <a:lnTo>
                        <a:pt x="57" y="258"/>
                      </a:lnTo>
                      <a:lnTo>
                        <a:pt x="57" y="259"/>
                      </a:lnTo>
                      <a:lnTo>
                        <a:pt x="56" y="259"/>
                      </a:lnTo>
                      <a:lnTo>
                        <a:pt x="56" y="259"/>
                      </a:lnTo>
                      <a:lnTo>
                        <a:pt x="55" y="259"/>
                      </a:lnTo>
                      <a:lnTo>
                        <a:pt x="55" y="260"/>
                      </a:lnTo>
                      <a:lnTo>
                        <a:pt x="55" y="261"/>
                      </a:lnTo>
                      <a:lnTo>
                        <a:pt x="55" y="261"/>
                      </a:lnTo>
                      <a:lnTo>
                        <a:pt x="56" y="261"/>
                      </a:lnTo>
                      <a:lnTo>
                        <a:pt x="56" y="261"/>
                      </a:lnTo>
                      <a:lnTo>
                        <a:pt x="56" y="262"/>
                      </a:lnTo>
                      <a:lnTo>
                        <a:pt x="56" y="263"/>
                      </a:lnTo>
                      <a:lnTo>
                        <a:pt x="55" y="263"/>
                      </a:lnTo>
                      <a:lnTo>
                        <a:pt x="55" y="263"/>
                      </a:lnTo>
                      <a:lnTo>
                        <a:pt x="54" y="263"/>
                      </a:lnTo>
                      <a:lnTo>
                        <a:pt x="54" y="263"/>
                      </a:lnTo>
                      <a:lnTo>
                        <a:pt x="55" y="263"/>
                      </a:lnTo>
                      <a:lnTo>
                        <a:pt x="55" y="264"/>
                      </a:lnTo>
                      <a:lnTo>
                        <a:pt x="54" y="264"/>
                      </a:lnTo>
                      <a:lnTo>
                        <a:pt x="54" y="265"/>
                      </a:lnTo>
                      <a:lnTo>
                        <a:pt x="54" y="265"/>
                      </a:lnTo>
                      <a:lnTo>
                        <a:pt x="55" y="266"/>
                      </a:lnTo>
                      <a:lnTo>
                        <a:pt x="55" y="267"/>
                      </a:lnTo>
                      <a:lnTo>
                        <a:pt x="55" y="267"/>
                      </a:lnTo>
                      <a:lnTo>
                        <a:pt x="55" y="267"/>
                      </a:lnTo>
                      <a:lnTo>
                        <a:pt x="55" y="268"/>
                      </a:lnTo>
                      <a:lnTo>
                        <a:pt x="55" y="268"/>
                      </a:lnTo>
                      <a:lnTo>
                        <a:pt x="54" y="269"/>
                      </a:lnTo>
                      <a:lnTo>
                        <a:pt x="55" y="269"/>
                      </a:lnTo>
                      <a:lnTo>
                        <a:pt x="54" y="269"/>
                      </a:lnTo>
                      <a:lnTo>
                        <a:pt x="54" y="270"/>
                      </a:lnTo>
                      <a:lnTo>
                        <a:pt x="54" y="271"/>
                      </a:lnTo>
                      <a:lnTo>
                        <a:pt x="53" y="271"/>
                      </a:lnTo>
                      <a:lnTo>
                        <a:pt x="53" y="271"/>
                      </a:lnTo>
                      <a:lnTo>
                        <a:pt x="53" y="272"/>
                      </a:lnTo>
                      <a:lnTo>
                        <a:pt x="53" y="273"/>
                      </a:lnTo>
                      <a:lnTo>
                        <a:pt x="53" y="273"/>
                      </a:lnTo>
                      <a:lnTo>
                        <a:pt x="53" y="274"/>
                      </a:lnTo>
                      <a:lnTo>
                        <a:pt x="53" y="275"/>
                      </a:lnTo>
                      <a:lnTo>
                        <a:pt x="53" y="276"/>
                      </a:lnTo>
                      <a:lnTo>
                        <a:pt x="54" y="276"/>
                      </a:lnTo>
                      <a:lnTo>
                        <a:pt x="54" y="276"/>
                      </a:lnTo>
                      <a:lnTo>
                        <a:pt x="53" y="276"/>
                      </a:lnTo>
                      <a:lnTo>
                        <a:pt x="53" y="277"/>
                      </a:lnTo>
                      <a:lnTo>
                        <a:pt x="53" y="277"/>
                      </a:lnTo>
                      <a:lnTo>
                        <a:pt x="53" y="278"/>
                      </a:lnTo>
                      <a:lnTo>
                        <a:pt x="53" y="278"/>
                      </a:lnTo>
                      <a:lnTo>
                        <a:pt x="53" y="278"/>
                      </a:lnTo>
                      <a:lnTo>
                        <a:pt x="53" y="279"/>
                      </a:lnTo>
                      <a:lnTo>
                        <a:pt x="54" y="279"/>
                      </a:lnTo>
                      <a:lnTo>
                        <a:pt x="53" y="280"/>
                      </a:lnTo>
                      <a:lnTo>
                        <a:pt x="54" y="280"/>
                      </a:lnTo>
                      <a:lnTo>
                        <a:pt x="53" y="280"/>
                      </a:lnTo>
                      <a:lnTo>
                        <a:pt x="53" y="281"/>
                      </a:lnTo>
                      <a:lnTo>
                        <a:pt x="52" y="281"/>
                      </a:lnTo>
                      <a:lnTo>
                        <a:pt x="52" y="282"/>
                      </a:lnTo>
                      <a:lnTo>
                        <a:pt x="53" y="282"/>
                      </a:lnTo>
                      <a:lnTo>
                        <a:pt x="53" y="282"/>
                      </a:lnTo>
                      <a:lnTo>
                        <a:pt x="53" y="283"/>
                      </a:lnTo>
                      <a:lnTo>
                        <a:pt x="52" y="283"/>
                      </a:lnTo>
                      <a:lnTo>
                        <a:pt x="52" y="284"/>
                      </a:lnTo>
                      <a:lnTo>
                        <a:pt x="52" y="284"/>
                      </a:lnTo>
                      <a:lnTo>
                        <a:pt x="53" y="284"/>
                      </a:lnTo>
                      <a:lnTo>
                        <a:pt x="52" y="285"/>
                      </a:lnTo>
                      <a:lnTo>
                        <a:pt x="53" y="285"/>
                      </a:lnTo>
                      <a:lnTo>
                        <a:pt x="53" y="286"/>
                      </a:lnTo>
                      <a:lnTo>
                        <a:pt x="53" y="286"/>
                      </a:lnTo>
                      <a:lnTo>
                        <a:pt x="53" y="287"/>
                      </a:lnTo>
                      <a:lnTo>
                        <a:pt x="52" y="287"/>
                      </a:lnTo>
                      <a:lnTo>
                        <a:pt x="51" y="288"/>
                      </a:lnTo>
                      <a:lnTo>
                        <a:pt x="51" y="288"/>
                      </a:lnTo>
                      <a:lnTo>
                        <a:pt x="51" y="288"/>
                      </a:lnTo>
                      <a:lnTo>
                        <a:pt x="51" y="289"/>
                      </a:lnTo>
                      <a:lnTo>
                        <a:pt x="51" y="290"/>
                      </a:lnTo>
                      <a:lnTo>
                        <a:pt x="51" y="290"/>
                      </a:lnTo>
                      <a:lnTo>
                        <a:pt x="51" y="291"/>
                      </a:lnTo>
                      <a:lnTo>
                        <a:pt x="51" y="291"/>
                      </a:lnTo>
                      <a:lnTo>
                        <a:pt x="51" y="292"/>
                      </a:lnTo>
                      <a:lnTo>
                        <a:pt x="51" y="292"/>
                      </a:lnTo>
                      <a:lnTo>
                        <a:pt x="51" y="293"/>
                      </a:lnTo>
                      <a:lnTo>
                        <a:pt x="51" y="294"/>
                      </a:lnTo>
                      <a:lnTo>
                        <a:pt x="51" y="294"/>
                      </a:lnTo>
                      <a:lnTo>
                        <a:pt x="51" y="295"/>
                      </a:lnTo>
                      <a:lnTo>
                        <a:pt x="51" y="295"/>
                      </a:lnTo>
                      <a:lnTo>
                        <a:pt x="51" y="296"/>
                      </a:lnTo>
                      <a:lnTo>
                        <a:pt x="51" y="297"/>
                      </a:lnTo>
                      <a:lnTo>
                        <a:pt x="51" y="297"/>
                      </a:lnTo>
                      <a:lnTo>
                        <a:pt x="50" y="297"/>
                      </a:lnTo>
                      <a:lnTo>
                        <a:pt x="49" y="297"/>
                      </a:lnTo>
                      <a:lnTo>
                        <a:pt x="49" y="298"/>
                      </a:lnTo>
                      <a:lnTo>
                        <a:pt x="49" y="299"/>
                      </a:lnTo>
                      <a:lnTo>
                        <a:pt x="49" y="299"/>
                      </a:lnTo>
                      <a:lnTo>
                        <a:pt x="50" y="299"/>
                      </a:lnTo>
                      <a:lnTo>
                        <a:pt x="50" y="300"/>
                      </a:lnTo>
                      <a:lnTo>
                        <a:pt x="50" y="301"/>
                      </a:lnTo>
                      <a:lnTo>
                        <a:pt x="50" y="301"/>
                      </a:lnTo>
                      <a:lnTo>
                        <a:pt x="49" y="301"/>
                      </a:lnTo>
                      <a:lnTo>
                        <a:pt x="49" y="301"/>
                      </a:lnTo>
                      <a:lnTo>
                        <a:pt x="48" y="301"/>
                      </a:lnTo>
                      <a:lnTo>
                        <a:pt x="47" y="301"/>
                      </a:lnTo>
                      <a:lnTo>
                        <a:pt x="47" y="301"/>
                      </a:lnTo>
                      <a:lnTo>
                        <a:pt x="47" y="302"/>
                      </a:lnTo>
                      <a:lnTo>
                        <a:pt x="46" y="302"/>
                      </a:lnTo>
                      <a:lnTo>
                        <a:pt x="46" y="303"/>
                      </a:lnTo>
                      <a:lnTo>
                        <a:pt x="46" y="303"/>
                      </a:lnTo>
                      <a:lnTo>
                        <a:pt x="45" y="303"/>
                      </a:lnTo>
                      <a:lnTo>
                        <a:pt x="45" y="303"/>
                      </a:lnTo>
                      <a:lnTo>
                        <a:pt x="44" y="303"/>
                      </a:lnTo>
                      <a:lnTo>
                        <a:pt x="44" y="304"/>
                      </a:lnTo>
                      <a:lnTo>
                        <a:pt x="43" y="304"/>
                      </a:lnTo>
                      <a:lnTo>
                        <a:pt x="43" y="305"/>
                      </a:lnTo>
                      <a:lnTo>
                        <a:pt x="43" y="305"/>
                      </a:lnTo>
                      <a:lnTo>
                        <a:pt x="43" y="304"/>
                      </a:lnTo>
                      <a:lnTo>
                        <a:pt x="42" y="304"/>
                      </a:lnTo>
                      <a:lnTo>
                        <a:pt x="41" y="304"/>
                      </a:lnTo>
                      <a:lnTo>
                        <a:pt x="41" y="305"/>
                      </a:lnTo>
                      <a:lnTo>
                        <a:pt x="40" y="305"/>
                      </a:lnTo>
                      <a:lnTo>
                        <a:pt x="40" y="305"/>
                      </a:lnTo>
                      <a:lnTo>
                        <a:pt x="40" y="304"/>
                      </a:lnTo>
                      <a:lnTo>
                        <a:pt x="40" y="305"/>
                      </a:lnTo>
                      <a:lnTo>
                        <a:pt x="40" y="304"/>
                      </a:lnTo>
                      <a:lnTo>
                        <a:pt x="39" y="304"/>
                      </a:lnTo>
                      <a:lnTo>
                        <a:pt x="38" y="304"/>
                      </a:lnTo>
                      <a:lnTo>
                        <a:pt x="38" y="303"/>
                      </a:lnTo>
                      <a:lnTo>
                        <a:pt x="38" y="303"/>
                      </a:lnTo>
                      <a:lnTo>
                        <a:pt x="38" y="304"/>
                      </a:lnTo>
                      <a:lnTo>
                        <a:pt x="38" y="303"/>
                      </a:lnTo>
                      <a:lnTo>
                        <a:pt x="37" y="303"/>
                      </a:lnTo>
                      <a:lnTo>
                        <a:pt x="37" y="303"/>
                      </a:lnTo>
                      <a:lnTo>
                        <a:pt x="36" y="303"/>
                      </a:lnTo>
                      <a:lnTo>
                        <a:pt x="36" y="303"/>
                      </a:lnTo>
                      <a:lnTo>
                        <a:pt x="36" y="302"/>
                      </a:lnTo>
                      <a:lnTo>
                        <a:pt x="35" y="302"/>
                      </a:lnTo>
                      <a:lnTo>
                        <a:pt x="34" y="303"/>
                      </a:lnTo>
                      <a:lnTo>
                        <a:pt x="34" y="303"/>
                      </a:lnTo>
                      <a:lnTo>
                        <a:pt x="34" y="303"/>
                      </a:lnTo>
                      <a:lnTo>
                        <a:pt x="34" y="304"/>
                      </a:lnTo>
                      <a:lnTo>
                        <a:pt x="34" y="305"/>
                      </a:lnTo>
                      <a:lnTo>
                        <a:pt x="33" y="305"/>
                      </a:lnTo>
                      <a:lnTo>
                        <a:pt x="34" y="305"/>
                      </a:lnTo>
                      <a:lnTo>
                        <a:pt x="32" y="311"/>
                      </a:lnTo>
                      <a:lnTo>
                        <a:pt x="30" y="309"/>
                      </a:lnTo>
                      <a:lnTo>
                        <a:pt x="24" y="307"/>
                      </a:lnTo>
                      <a:lnTo>
                        <a:pt x="15" y="311"/>
                      </a:lnTo>
                      <a:lnTo>
                        <a:pt x="15" y="311"/>
                      </a:lnTo>
                      <a:lnTo>
                        <a:pt x="14" y="310"/>
                      </a:lnTo>
                      <a:lnTo>
                        <a:pt x="13" y="309"/>
                      </a:lnTo>
                      <a:lnTo>
                        <a:pt x="12" y="308"/>
                      </a:lnTo>
                      <a:lnTo>
                        <a:pt x="11" y="307"/>
                      </a:lnTo>
                      <a:lnTo>
                        <a:pt x="11" y="306"/>
                      </a:lnTo>
                      <a:lnTo>
                        <a:pt x="12" y="305"/>
                      </a:lnTo>
                      <a:lnTo>
                        <a:pt x="12" y="304"/>
                      </a:lnTo>
                      <a:lnTo>
                        <a:pt x="11" y="303"/>
                      </a:lnTo>
                      <a:lnTo>
                        <a:pt x="11" y="303"/>
                      </a:lnTo>
                      <a:lnTo>
                        <a:pt x="12" y="303"/>
                      </a:lnTo>
                      <a:lnTo>
                        <a:pt x="12" y="302"/>
                      </a:lnTo>
                      <a:lnTo>
                        <a:pt x="13" y="301"/>
                      </a:lnTo>
                      <a:lnTo>
                        <a:pt x="12" y="301"/>
                      </a:lnTo>
                      <a:lnTo>
                        <a:pt x="12" y="300"/>
                      </a:lnTo>
                      <a:lnTo>
                        <a:pt x="12" y="298"/>
                      </a:lnTo>
                      <a:lnTo>
                        <a:pt x="12" y="297"/>
                      </a:lnTo>
                      <a:lnTo>
                        <a:pt x="12" y="297"/>
                      </a:lnTo>
                      <a:lnTo>
                        <a:pt x="12" y="296"/>
                      </a:lnTo>
                      <a:lnTo>
                        <a:pt x="12" y="295"/>
                      </a:lnTo>
                      <a:lnTo>
                        <a:pt x="12" y="294"/>
                      </a:lnTo>
                      <a:lnTo>
                        <a:pt x="11" y="294"/>
                      </a:lnTo>
                      <a:lnTo>
                        <a:pt x="11" y="294"/>
                      </a:lnTo>
                      <a:lnTo>
                        <a:pt x="11" y="293"/>
                      </a:lnTo>
                      <a:lnTo>
                        <a:pt x="11" y="292"/>
                      </a:lnTo>
                      <a:lnTo>
                        <a:pt x="10" y="292"/>
                      </a:lnTo>
                      <a:lnTo>
                        <a:pt x="10" y="291"/>
                      </a:lnTo>
                      <a:lnTo>
                        <a:pt x="10" y="290"/>
                      </a:lnTo>
                      <a:lnTo>
                        <a:pt x="9" y="290"/>
                      </a:lnTo>
                      <a:lnTo>
                        <a:pt x="9" y="290"/>
                      </a:lnTo>
                      <a:lnTo>
                        <a:pt x="10" y="289"/>
                      </a:lnTo>
                      <a:lnTo>
                        <a:pt x="8" y="288"/>
                      </a:lnTo>
                      <a:lnTo>
                        <a:pt x="2" y="288"/>
                      </a:lnTo>
                      <a:lnTo>
                        <a:pt x="2" y="287"/>
                      </a:lnTo>
                      <a:lnTo>
                        <a:pt x="2" y="286"/>
                      </a:lnTo>
                      <a:lnTo>
                        <a:pt x="2" y="286"/>
                      </a:lnTo>
                      <a:lnTo>
                        <a:pt x="3" y="286"/>
                      </a:lnTo>
                      <a:lnTo>
                        <a:pt x="3" y="285"/>
                      </a:lnTo>
                      <a:lnTo>
                        <a:pt x="3" y="284"/>
                      </a:lnTo>
                      <a:lnTo>
                        <a:pt x="3" y="284"/>
                      </a:lnTo>
                      <a:lnTo>
                        <a:pt x="2" y="283"/>
                      </a:lnTo>
                      <a:lnTo>
                        <a:pt x="3" y="283"/>
                      </a:lnTo>
                      <a:lnTo>
                        <a:pt x="3" y="282"/>
                      </a:lnTo>
                      <a:lnTo>
                        <a:pt x="3" y="282"/>
                      </a:lnTo>
                      <a:lnTo>
                        <a:pt x="3" y="281"/>
                      </a:lnTo>
                      <a:lnTo>
                        <a:pt x="3" y="280"/>
                      </a:lnTo>
                      <a:lnTo>
                        <a:pt x="3" y="280"/>
                      </a:lnTo>
                      <a:lnTo>
                        <a:pt x="2" y="280"/>
                      </a:lnTo>
                      <a:lnTo>
                        <a:pt x="2" y="279"/>
                      </a:lnTo>
                      <a:lnTo>
                        <a:pt x="2" y="278"/>
                      </a:lnTo>
                      <a:lnTo>
                        <a:pt x="3" y="278"/>
                      </a:lnTo>
                      <a:lnTo>
                        <a:pt x="3" y="277"/>
                      </a:lnTo>
                      <a:lnTo>
                        <a:pt x="3" y="276"/>
                      </a:lnTo>
                      <a:lnTo>
                        <a:pt x="3" y="276"/>
                      </a:lnTo>
                      <a:lnTo>
                        <a:pt x="3" y="275"/>
                      </a:lnTo>
                      <a:lnTo>
                        <a:pt x="3" y="274"/>
                      </a:lnTo>
                      <a:lnTo>
                        <a:pt x="3" y="273"/>
                      </a:lnTo>
                      <a:lnTo>
                        <a:pt x="3" y="272"/>
                      </a:lnTo>
                      <a:lnTo>
                        <a:pt x="4" y="272"/>
                      </a:lnTo>
                      <a:lnTo>
                        <a:pt x="4" y="271"/>
                      </a:lnTo>
                      <a:lnTo>
                        <a:pt x="4" y="271"/>
                      </a:lnTo>
                      <a:lnTo>
                        <a:pt x="4" y="270"/>
                      </a:lnTo>
                      <a:lnTo>
                        <a:pt x="5" y="270"/>
                      </a:lnTo>
                      <a:lnTo>
                        <a:pt x="4" y="270"/>
                      </a:lnTo>
                      <a:lnTo>
                        <a:pt x="4" y="269"/>
                      </a:lnTo>
                      <a:lnTo>
                        <a:pt x="3" y="269"/>
                      </a:lnTo>
                      <a:lnTo>
                        <a:pt x="4" y="269"/>
                      </a:lnTo>
                      <a:lnTo>
                        <a:pt x="4" y="269"/>
                      </a:lnTo>
                      <a:lnTo>
                        <a:pt x="3" y="269"/>
                      </a:lnTo>
                      <a:lnTo>
                        <a:pt x="3" y="268"/>
                      </a:lnTo>
                      <a:lnTo>
                        <a:pt x="2" y="268"/>
                      </a:lnTo>
                      <a:lnTo>
                        <a:pt x="2" y="267"/>
                      </a:lnTo>
                      <a:lnTo>
                        <a:pt x="2" y="267"/>
                      </a:lnTo>
                      <a:lnTo>
                        <a:pt x="2" y="265"/>
                      </a:lnTo>
                      <a:lnTo>
                        <a:pt x="2" y="265"/>
                      </a:lnTo>
                      <a:lnTo>
                        <a:pt x="2" y="264"/>
                      </a:lnTo>
                      <a:lnTo>
                        <a:pt x="3" y="264"/>
                      </a:lnTo>
                      <a:lnTo>
                        <a:pt x="3" y="263"/>
                      </a:lnTo>
                      <a:lnTo>
                        <a:pt x="3" y="263"/>
                      </a:lnTo>
                      <a:lnTo>
                        <a:pt x="3" y="262"/>
                      </a:lnTo>
                      <a:lnTo>
                        <a:pt x="3" y="261"/>
                      </a:lnTo>
                      <a:lnTo>
                        <a:pt x="3" y="261"/>
                      </a:lnTo>
                      <a:lnTo>
                        <a:pt x="3" y="260"/>
                      </a:lnTo>
                      <a:lnTo>
                        <a:pt x="4" y="260"/>
                      </a:lnTo>
                      <a:lnTo>
                        <a:pt x="4" y="259"/>
                      </a:lnTo>
                      <a:lnTo>
                        <a:pt x="4" y="259"/>
                      </a:lnTo>
                      <a:lnTo>
                        <a:pt x="4" y="258"/>
                      </a:lnTo>
                      <a:lnTo>
                        <a:pt x="4" y="257"/>
                      </a:lnTo>
                      <a:lnTo>
                        <a:pt x="4" y="257"/>
                      </a:lnTo>
                      <a:lnTo>
                        <a:pt x="4" y="256"/>
                      </a:lnTo>
                      <a:lnTo>
                        <a:pt x="3" y="256"/>
                      </a:lnTo>
                      <a:lnTo>
                        <a:pt x="3" y="255"/>
                      </a:lnTo>
                      <a:lnTo>
                        <a:pt x="3" y="254"/>
                      </a:lnTo>
                      <a:lnTo>
                        <a:pt x="3" y="254"/>
                      </a:lnTo>
                      <a:lnTo>
                        <a:pt x="3" y="253"/>
                      </a:lnTo>
                      <a:lnTo>
                        <a:pt x="3" y="252"/>
                      </a:lnTo>
                      <a:lnTo>
                        <a:pt x="3" y="252"/>
                      </a:lnTo>
                      <a:lnTo>
                        <a:pt x="3" y="251"/>
                      </a:lnTo>
                      <a:lnTo>
                        <a:pt x="3" y="250"/>
                      </a:lnTo>
                      <a:lnTo>
                        <a:pt x="3" y="250"/>
                      </a:lnTo>
                      <a:lnTo>
                        <a:pt x="2" y="250"/>
                      </a:lnTo>
                      <a:lnTo>
                        <a:pt x="2" y="249"/>
                      </a:lnTo>
                      <a:lnTo>
                        <a:pt x="2" y="248"/>
                      </a:lnTo>
                      <a:lnTo>
                        <a:pt x="2" y="248"/>
                      </a:lnTo>
                      <a:lnTo>
                        <a:pt x="2" y="248"/>
                      </a:lnTo>
                      <a:lnTo>
                        <a:pt x="2" y="248"/>
                      </a:lnTo>
                      <a:lnTo>
                        <a:pt x="2" y="247"/>
                      </a:lnTo>
                      <a:lnTo>
                        <a:pt x="2" y="246"/>
                      </a:lnTo>
                      <a:lnTo>
                        <a:pt x="2" y="246"/>
                      </a:lnTo>
                      <a:lnTo>
                        <a:pt x="2" y="245"/>
                      </a:lnTo>
                      <a:lnTo>
                        <a:pt x="2" y="243"/>
                      </a:lnTo>
                      <a:lnTo>
                        <a:pt x="0" y="231"/>
                      </a:lnTo>
                      <a:lnTo>
                        <a:pt x="0" y="230"/>
                      </a:lnTo>
                      <a:lnTo>
                        <a:pt x="0" y="229"/>
                      </a:lnTo>
                      <a:lnTo>
                        <a:pt x="1" y="229"/>
                      </a:lnTo>
                      <a:lnTo>
                        <a:pt x="1" y="229"/>
                      </a:lnTo>
                      <a:lnTo>
                        <a:pt x="0" y="229"/>
                      </a:lnTo>
                      <a:lnTo>
                        <a:pt x="0" y="228"/>
                      </a:lnTo>
                      <a:lnTo>
                        <a:pt x="0" y="227"/>
                      </a:lnTo>
                      <a:lnTo>
                        <a:pt x="1" y="227"/>
                      </a:lnTo>
                      <a:lnTo>
                        <a:pt x="1" y="227"/>
                      </a:lnTo>
                      <a:lnTo>
                        <a:pt x="0" y="227"/>
                      </a:lnTo>
                      <a:lnTo>
                        <a:pt x="0" y="226"/>
                      </a:lnTo>
                      <a:lnTo>
                        <a:pt x="0" y="225"/>
                      </a:lnTo>
                      <a:lnTo>
                        <a:pt x="0" y="225"/>
                      </a:lnTo>
                      <a:lnTo>
                        <a:pt x="0" y="224"/>
                      </a:lnTo>
                      <a:lnTo>
                        <a:pt x="0" y="223"/>
                      </a:lnTo>
                      <a:lnTo>
                        <a:pt x="1" y="223"/>
                      </a:lnTo>
                      <a:lnTo>
                        <a:pt x="2" y="223"/>
                      </a:lnTo>
                      <a:lnTo>
                        <a:pt x="2" y="222"/>
                      </a:lnTo>
                      <a:lnTo>
                        <a:pt x="2" y="221"/>
                      </a:lnTo>
                      <a:lnTo>
                        <a:pt x="3" y="221"/>
                      </a:lnTo>
                      <a:lnTo>
                        <a:pt x="4" y="221"/>
                      </a:lnTo>
                      <a:lnTo>
                        <a:pt x="5" y="221"/>
                      </a:lnTo>
                      <a:lnTo>
                        <a:pt x="5" y="221"/>
                      </a:lnTo>
                      <a:lnTo>
                        <a:pt x="6" y="220"/>
                      </a:lnTo>
                      <a:lnTo>
                        <a:pt x="7" y="220"/>
                      </a:lnTo>
                      <a:lnTo>
                        <a:pt x="7" y="219"/>
                      </a:lnTo>
                      <a:lnTo>
                        <a:pt x="7" y="219"/>
                      </a:lnTo>
                      <a:lnTo>
                        <a:pt x="7" y="220"/>
                      </a:lnTo>
                      <a:lnTo>
                        <a:pt x="8" y="220"/>
                      </a:lnTo>
                      <a:lnTo>
                        <a:pt x="9" y="220"/>
                      </a:lnTo>
                      <a:lnTo>
                        <a:pt x="9" y="219"/>
                      </a:lnTo>
                      <a:lnTo>
                        <a:pt x="9" y="219"/>
                      </a:lnTo>
                      <a:lnTo>
                        <a:pt x="9" y="219"/>
                      </a:lnTo>
                      <a:lnTo>
                        <a:pt x="9" y="218"/>
                      </a:lnTo>
                      <a:lnTo>
                        <a:pt x="10" y="218"/>
                      </a:lnTo>
                      <a:lnTo>
                        <a:pt x="10" y="217"/>
                      </a:lnTo>
                      <a:lnTo>
                        <a:pt x="10" y="217"/>
                      </a:lnTo>
                      <a:lnTo>
                        <a:pt x="9" y="212"/>
                      </a:lnTo>
                      <a:lnTo>
                        <a:pt x="9" y="207"/>
                      </a:lnTo>
                      <a:lnTo>
                        <a:pt x="6" y="200"/>
                      </a:lnTo>
                      <a:lnTo>
                        <a:pt x="6" y="195"/>
                      </a:lnTo>
                      <a:lnTo>
                        <a:pt x="5" y="191"/>
                      </a:lnTo>
                      <a:lnTo>
                        <a:pt x="8" y="181"/>
                      </a:lnTo>
                      <a:lnTo>
                        <a:pt x="10" y="177"/>
                      </a:lnTo>
                      <a:lnTo>
                        <a:pt x="11" y="166"/>
                      </a:lnTo>
                      <a:lnTo>
                        <a:pt x="9" y="160"/>
                      </a:lnTo>
                      <a:lnTo>
                        <a:pt x="12" y="147"/>
                      </a:lnTo>
                      <a:lnTo>
                        <a:pt x="11" y="146"/>
                      </a:lnTo>
                      <a:lnTo>
                        <a:pt x="11" y="146"/>
                      </a:lnTo>
                      <a:lnTo>
                        <a:pt x="11" y="145"/>
                      </a:lnTo>
                      <a:lnTo>
                        <a:pt x="12" y="145"/>
                      </a:lnTo>
                      <a:lnTo>
                        <a:pt x="12" y="145"/>
                      </a:lnTo>
                      <a:lnTo>
                        <a:pt x="13" y="145"/>
                      </a:lnTo>
                      <a:lnTo>
                        <a:pt x="13" y="144"/>
                      </a:lnTo>
                      <a:lnTo>
                        <a:pt x="13" y="144"/>
                      </a:lnTo>
                      <a:lnTo>
                        <a:pt x="13" y="143"/>
                      </a:lnTo>
                      <a:lnTo>
                        <a:pt x="14" y="143"/>
                      </a:lnTo>
                      <a:lnTo>
                        <a:pt x="14" y="143"/>
                      </a:lnTo>
                      <a:lnTo>
                        <a:pt x="15" y="143"/>
                      </a:lnTo>
                      <a:lnTo>
                        <a:pt x="15" y="142"/>
                      </a:lnTo>
                      <a:lnTo>
                        <a:pt x="15" y="141"/>
                      </a:lnTo>
                      <a:lnTo>
                        <a:pt x="15" y="141"/>
                      </a:lnTo>
                      <a:lnTo>
                        <a:pt x="15" y="141"/>
                      </a:lnTo>
                      <a:lnTo>
                        <a:pt x="15" y="140"/>
                      </a:lnTo>
                      <a:lnTo>
                        <a:pt x="16" y="139"/>
                      </a:lnTo>
                      <a:lnTo>
                        <a:pt x="17" y="139"/>
                      </a:lnTo>
                      <a:lnTo>
                        <a:pt x="17" y="140"/>
                      </a:lnTo>
                      <a:lnTo>
                        <a:pt x="17" y="139"/>
                      </a:lnTo>
                      <a:lnTo>
                        <a:pt x="17" y="139"/>
                      </a:lnTo>
                      <a:lnTo>
                        <a:pt x="18" y="140"/>
                      </a:lnTo>
                      <a:lnTo>
                        <a:pt x="19" y="140"/>
                      </a:lnTo>
                      <a:lnTo>
                        <a:pt x="19" y="141"/>
                      </a:lnTo>
                      <a:lnTo>
                        <a:pt x="19" y="141"/>
                      </a:lnTo>
                      <a:lnTo>
                        <a:pt x="19" y="140"/>
                      </a:lnTo>
                      <a:lnTo>
                        <a:pt x="19" y="141"/>
                      </a:lnTo>
                      <a:lnTo>
                        <a:pt x="20" y="141"/>
                      </a:lnTo>
                      <a:lnTo>
                        <a:pt x="21" y="141"/>
                      </a:lnTo>
                      <a:lnTo>
                        <a:pt x="21" y="141"/>
                      </a:lnTo>
                      <a:lnTo>
                        <a:pt x="21" y="140"/>
                      </a:lnTo>
                      <a:lnTo>
                        <a:pt x="21" y="139"/>
                      </a:lnTo>
                      <a:lnTo>
                        <a:pt x="21" y="139"/>
                      </a:lnTo>
                      <a:lnTo>
                        <a:pt x="22" y="139"/>
                      </a:lnTo>
                      <a:lnTo>
                        <a:pt x="23" y="139"/>
                      </a:lnTo>
                      <a:lnTo>
                        <a:pt x="23" y="138"/>
                      </a:lnTo>
                      <a:lnTo>
                        <a:pt x="23" y="137"/>
                      </a:lnTo>
                      <a:lnTo>
                        <a:pt x="23" y="136"/>
                      </a:lnTo>
                      <a:lnTo>
                        <a:pt x="22" y="136"/>
                      </a:lnTo>
                      <a:lnTo>
                        <a:pt x="22" y="136"/>
                      </a:lnTo>
                      <a:lnTo>
                        <a:pt x="23" y="136"/>
                      </a:lnTo>
                      <a:lnTo>
                        <a:pt x="22" y="136"/>
                      </a:lnTo>
                      <a:lnTo>
                        <a:pt x="22" y="135"/>
                      </a:lnTo>
                      <a:lnTo>
                        <a:pt x="21" y="135"/>
                      </a:lnTo>
                      <a:lnTo>
                        <a:pt x="22" y="135"/>
                      </a:lnTo>
                      <a:lnTo>
                        <a:pt x="22" y="134"/>
                      </a:lnTo>
                      <a:lnTo>
                        <a:pt x="22" y="134"/>
                      </a:lnTo>
                      <a:lnTo>
                        <a:pt x="21" y="134"/>
                      </a:lnTo>
                      <a:lnTo>
                        <a:pt x="21" y="133"/>
                      </a:lnTo>
                      <a:lnTo>
                        <a:pt x="22" y="133"/>
                      </a:lnTo>
                      <a:lnTo>
                        <a:pt x="21" y="133"/>
                      </a:lnTo>
                      <a:lnTo>
                        <a:pt x="21" y="132"/>
                      </a:lnTo>
                      <a:lnTo>
                        <a:pt x="22" y="132"/>
                      </a:lnTo>
                      <a:lnTo>
                        <a:pt x="22" y="132"/>
                      </a:lnTo>
                      <a:lnTo>
                        <a:pt x="22" y="131"/>
                      </a:lnTo>
                      <a:lnTo>
                        <a:pt x="22" y="130"/>
                      </a:lnTo>
                      <a:lnTo>
                        <a:pt x="22" y="130"/>
                      </a:lnTo>
                      <a:lnTo>
                        <a:pt x="23" y="130"/>
                      </a:lnTo>
                      <a:lnTo>
                        <a:pt x="23" y="129"/>
                      </a:lnTo>
                      <a:lnTo>
                        <a:pt x="22" y="129"/>
                      </a:lnTo>
                      <a:lnTo>
                        <a:pt x="22" y="128"/>
                      </a:lnTo>
                      <a:lnTo>
                        <a:pt x="22" y="128"/>
                      </a:lnTo>
                      <a:lnTo>
                        <a:pt x="22" y="127"/>
                      </a:lnTo>
                      <a:lnTo>
                        <a:pt x="22" y="126"/>
                      </a:lnTo>
                      <a:lnTo>
                        <a:pt x="21" y="126"/>
                      </a:lnTo>
                      <a:lnTo>
                        <a:pt x="21" y="126"/>
                      </a:lnTo>
                      <a:lnTo>
                        <a:pt x="21" y="125"/>
                      </a:lnTo>
                      <a:lnTo>
                        <a:pt x="21" y="125"/>
                      </a:lnTo>
                      <a:lnTo>
                        <a:pt x="21" y="125"/>
                      </a:lnTo>
                      <a:lnTo>
                        <a:pt x="21" y="124"/>
                      </a:lnTo>
                      <a:lnTo>
                        <a:pt x="21" y="124"/>
                      </a:lnTo>
                      <a:lnTo>
                        <a:pt x="21" y="124"/>
                      </a:lnTo>
                      <a:lnTo>
                        <a:pt x="20" y="124"/>
                      </a:lnTo>
                      <a:lnTo>
                        <a:pt x="20" y="123"/>
                      </a:lnTo>
                      <a:lnTo>
                        <a:pt x="19" y="123"/>
                      </a:lnTo>
                      <a:lnTo>
                        <a:pt x="19" y="122"/>
                      </a:lnTo>
                      <a:lnTo>
                        <a:pt x="20" y="122"/>
                      </a:lnTo>
                      <a:lnTo>
                        <a:pt x="20" y="122"/>
                      </a:lnTo>
                      <a:lnTo>
                        <a:pt x="19" y="121"/>
                      </a:lnTo>
                      <a:lnTo>
                        <a:pt x="19" y="121"/>
                      </a:lnTo>
                      <a:lnTo>
                        <a:pt x="19" y="120"/>
                      </a:lnTo>
                      <a:lnTo>
                        <a:pt x="19" y="120"/>
                      </a:lnTo>
                      <a:lnTo>
                        <a:pt x="18" y="120"/>
                      </a:lnTo>
                      <a:lnTo>
                        <a:pt x="18" y="119"/>
                      </a:lnTo>
                      <a:lnTo>
                        <a:pt x="18" y="118"/>
                      </a:lnTo>
                      <a:lnTo>
                        <a:pt x="18" y="118"/>
                      </a:lnTo>
                      <a:lnTo>
                        <a:pt x="17" y="118"/>
                      </a:lnTo>
                      <a:lnTo>
                        <a:pt x="17" y="117"/>
                      </a:lnTo>
                      <a:lnTo>
                        <a:pt x="17" y="116"/>
                      </a:lnTo>
                      <a:lnTo>
                        <a:pt x="17" y="115"/>
                      </a:lnTo>
                      <a:lnTo>
                        <a:pt x="17" y="115"/>
                      </a:lnTo>
                      <a:lnTo>
                        <a:pt x="17" y="115"/>
                      </a:lnTo>
                      <a:lnTo>
                        <a:pt x="17" y="114"/>
                      </a:lnTo>
                      <a:lnTo>
                        <a:pt x="16" y="114"/>
                      </a:lnTo>
                      <a:lnTo>
                        <a:pt x="16" y="113"/>
                      </a:lnTo>
                      <a:lnTo>
                        <a:pt x="17" y="113"/>
                      </a:lnTo>
                      <a:lnTo>
                        <a:pt x="17" y="113"/>
                      </a:lnTo>
                      <a:lnTo>
                        <a:pt x="17" y="112"/>
                      </a:lnTo>
                      <a:lnTo>
                        <a:pt x="17" y="111"/>
                      </a:lnTo>
                      <a:lnTo>
                        <a:pt x="16" y="111"/>
                      </a:lnTo>
                      <a:lnTo>
                        <a:pt x="16" y="111"/>
                      </a:lnTo>
                      <a:lnTo>
                        <a:pt x="16" y="110"/>
                      </a:lnTo>
                      <a:lnTo>
                        <a:pt x="16" y="109"/>
                      </a:lnTo>
                      <a:lnTo>
                        <a:pt x="16" y="109"/>
                      </a:lnTo>
                      <a:lnTo>
                        <a:pt x="15" y="109"/>
                      </a:lnTo>
                      <a:lnTo>
                        <a:pt x="15" y="109"/>
                      </a:lnTo>
                      <a:lnTo>
                        <a:pt x="15" y="108"/>
                      </a:lnTo>
                      <a:lnTo>
                        <a:pt x="15" y="108"/>
                      </a:lnTo>
                      <a:lnTo>
                        <a:pt x="15" y="107"/>
                      </a:lnTo>
                      <a:lnTo>
                        <a:pt x="15" y="107"/>
                      </a:lnTo>
                      <a:lnTo>
                        <a:pt x="16" y="107"/>
                      </a:lnTo>
                      <a:lnTo>
                        <a:pt x="16" y="106"/>
                      </a:lnTo>
                      <a:lnTo>
                        <a:pt x="17" y="105"/>
                      </a:lnTo>
                      <a:lnTo>
                        <a:pt x="17" y="105"/>
                      </a:lnTo>
                      <a:lnTo>
                        <a:pt x="17" y="105"/>
                      </a:lnTo>
                      <a:lnTo>
                        <a:pt x="17" y="104"/>
                      </a:lnTo>
                      <a:lnTo>
                        <a:pt x="18" y="104"/>
                      </a:lnTo>
                      <a:lnTo>
                        <a:pt x="18" y="103"/>
                      </a:lnTo>
                      <a:lnTo>
                        <a:pt x="19" y="103"/>
                      </a:lnTo>
                      <a:lnTo>
                        <a:pt x="19" y="103"/>
                      </a:lnTo>
                      <a:lnTo>
                        <a:pt x="19" y="103"/>
                      </a:lnTo>
                      <a:lnTo>
                        <a:pt x="19" y="102"/>
                      </a:lnTo>
                      <a:lnTo>
                        <a:pt x="19" y="101"/>
                      </a:lnTo>
                      <a:lnTo>
                        <a:pt x="19" y="101"/>
                      </a:lnTo>
                      <a:lnTo>
                        <a:pt x="19" y="100"/>
                      </a:lnTo>
                      <a:lnTo>
                        <a:pt x="19" y="99"/>
                      </a:lnTo>
                      <a:lnTo>
                        <a:pt x="19" y="99"/>
                      </a:lnTo>
                      <a:lnTo>
                        <a:pt x="19" y="99"/>
                      </a:lnTo>
                      <a:lnTo>
                        <a:pt x="19" y="98"/>
                      </a:lnTo>
                      <a:lnTo>
                        <a:pt x="18" y="98"/>
                      </a:lnTo>
                      <a:lnTo>
                        <a:pt x="18" y="97"/>
                      </a:lnTo>
                      <a:lnTo>
                        <a:pt x="18" y="96"/>
                      </a:lnTo>
                      <a:lnTo>
                        <a:pt x="18" y="96"/>
                      </a:lnTo>
                      <a:lnTo>
                        <a:pt x="18" y="95"/>
                      </a:lnTo>
                      <a:lnTo>
                        <a:pt x="18" y="94"/>
                      </a:lnTo>
                      <a:lnTo>
                        <a:pt x="18" y="94"/>
                      </a:lnTo>
                      <a:lnTo>
                        <a:pt x="18" y="93"/>
                      </a:lnTo>
                      <a:lnTo>
                        <a:pt x="18" y="92"/>
                      </a:lnTo>
                      <a:lnTo>
                        <a:pt x="18" y="92"/>
                      </a:lnTo>
                      <a:lnTo>
                        <a:pt x="17" y="92"/>
                      </a:lnTo>
                      <a:lnTo>
                        <a:pt x="17" y="91"/>
                      </a:lnTo>
                      <a:lnTo>
                        <a:pt x="18" y="91"/>
                      </a:lnTo>
                      <a:lnTo>
                        <a:pt x="18" y="90"/>
                      </a:lnTo>
                      <a:lnTo>
                        <a:pt x="18" y="90"/>
                      </a:lnTo>
                      <a:lnTo>
                        <a:pt x="17" y="90"/>
                      </a:lnTo>
                      <a:lnTo>
                        <a:pt x="18" y="90"/>
                      </a:lnTo>
                      <a:lnTo>
                        <a:pt x="18" y="89"/>
                      </a:lnTo>
                      <a:lnTo>
                        <a:pt x="17" y="89"/>
                      </a:lnTo>
                      <a:lnTo>
                        <a:pt x="18" y="88"/>
                      </a:lnTo>
                      <a:lnTo>
                        <a:pt x="18" y="88"/>
                      </a:lnTo>
                      <a:lnTo>
                        <a:pt x="18" y="87"/>
                      </a:lnTo>
                      <a:lnTo>
                        <a:pt x="18" y="86"/>
                      </a:lnTo>
                      <a:lnTo>
                        <a:pt x="19" y="86"/>
                      </a:lnTo>
                      <a:lnTo>
                        <a:pt x="19" y="86"/>
                      </a:lnTo>
                      <a:lnTo>
                        <a:pt x="19" y="86"/>
                      </a:lnTo>
                      <a:lnTo>
                        <a:pt x="19" y="85"/>
                      </a:lnTo>
                      <a:lnTo>
                        <a:pt x="19" y="84"/>
                      </a:lnTo>
                      <a:lnTo>
                        <a:pt x="19" y="84"/>
                      </a:lnTo>
                      <a:lnTo>
                        <a:pt x="19" y="83"/>
                      </a:lnTo>
                      <a:lnTo>
                        <a:pt x="19" y="82"/>
                      </a:lnTo>
                      <a:lnTo>
                        <a:pt x="19" y="82"/>
                      </a:lnTo>
                      <a:lnTo>
                        <a:pt x="19" y="81"/>
                      </a:lnTo>
                      <a:lnTo>
                        <a:pt x="19" y="80"/>
                      </a:lnTo>
                      <a:lnTo>
                        <a:pt x="19" y="80"/>
                      </a:lnTo>
                      <a:lnTo>
                        <a:pt x="19" y="79"/>
                      </a:lnTo>
                      <a:lnTo>
                        <a:pt x="20" y="78"/>
                      </a:lnTo>
                      <a:lnTo>
                        <a:pt x="20" y="78"/>
                      </a:lnTo>
                      <a:lnTo>
                        <a:pt x="20" y="77"/>
                      </a:lnTo>
                      <a:lnTo>
                        <a:pt x="21" y="77"/>
                      </a:lnTo>
                      <a:lnTo>
                        <a:pt x="21" y="76"/>
                      </a:lnTo>
                      <a:lnTo>
                        <a:pt x="21" y="75"/>
                      </a:lnTo>
                      <a:lnTo>
                        <a:pt x="21" y="75"/>
                      </a:lnTo>
                      <a:lnTo>
                        <a:pt x="21" y="74"/>
                      </a:lnTo>
                      <a:lnTo>
                        <a:pt x="21" y="73"/>
                      </a:lnTo>
                      <a:lnTo>
                        <a:pt x="21" y="73"/>
                      </a:lnTo>
                      <a:lnTo>
                        <a:pt x="21" y="73"/>
                      </a:lnTo>
                      <a:lnTo>
                        <a:pt x="21" y="72"/>
                      </a:lnTo>
                      <a:lnTo>
                        <a:pt x="21" y="71"/>
                      </a:lnTo>
                      <a:lnTo>
                        <a:pt x="20" y="71"/>
                      </a:lnTo>
                      <a:lnTo>
                        <a:pt x="20" y="71"/>
                      </a:lnTo>
                      <a:lnTo>
                        <a:pt x="20" y="70"/>
                      </a:lnTo>
                      <a:lnTo>
                        <a:pt x="19" y="70"/>
                      </a:lnTo>
                      <a:lnTo>
                        <a:pt x="19" y="69"/>
                      </a:lnTo>
                      <a:lnTo>
                        <a:pt x="20" y="69"/>
                      </a:lnTo>
                      <a:lnTo>
                        <a:pt x="20" y="69"/>
                      </a:lnTo>
                      <a:lnTo>
                        <a:pt x="19" y="69"/>
                      </a:lnTo>
                      <a:lnTo>
                        <a:pt x="19" y="68"/>
                      </a:lnTo>
                      <a:lnTo>
                        <a:pt x="18" y="68"/>
                      </a:lnTo>
                      <a:lnTo>
                        <a:pt x="17" y="68"/>
                      </a:lnTo>
                      <a:lnTo>
                        <a:pt x="17" y="68"/>
                      </a:lnTo>
                      <a:lnTo>
                        <a:pt x="16" y="67"/>
                      </a:lnTo>
                      <a:lnTo>
                        <a:pt x="15" y="66"/>
                      </a:lnTo>
                      <a:lnTo>
                        <a:pt x="15" y="65"/>
                      </a:lnTo>
                      <a:lnTo>
                        <a:pt x="14" y="65"/>
                      </a:lnTo>
                      <a:lnTo>
                        <a:pt x="13" y="64"/>
                      </a:lnTo>
                      <a:lnTo>
                        <a:pt x="13" y="63"/>
                      </a:lnTo>
                      <a:lnTo>
                        <a:pt x="13" y="63"/>
                      </a:lnTo>
                      <a:lnTo>
                        <a:pt x="13" y="62"/>
                      </a:lnTo>
                      <a:lnTo>
                        <a:pt x="13" y="61"/>
                      </a:lnTo>
                      <a:lnTo>
                        <a:pt x="13" y="61"/>
                      </a:lnTo>
                      <a:lnTo>
                        <a:pt x="11" y="57"/>
                      </a:lnTo>
                      <a:lnTo>
                        <a:pt x="13" y="57"/>
                      </a:lnTo>
                      <a:lnTo>
                        <a:pt x="16" y="56"/>
                      </a:lnTo>
                      <a:lnTo>
                        <a:pt x="21" y="54"/>
                      </a:lnTo>
                      <a:lnTo>
                        <a:pt x="26" y="45"/>
                      </a:lnTo>
                      <a:lnTo>
                        <a:pt x="41" y="43"/>
                      </a:lnTo>
                      <a:lnTo>
                        <a:pt x="41" y="42"/>
                      </a:lnTo>
                      <a:lnTo>
                        <a:pt x="41" y="41"/>
                      </a:lnTo>
                      <a:lnTo>
                        <a:pt x="41" y="40"/>
                      </a:lnTo>
                      <a:lnTo>
                        <a:pt x="41" y="40"/>
                      </a:lnTo>
                      <a:lnTo>
                        <a:pt x="40" y="39"/>
                      </a:lnTo>
                      <a:lnTo>
                        <a:pt x="41" y="36"/>
                      </a:lnTo>
                      <a:lnTo>
                        <a:pt x="40" y="35"/>
                      </a:lnTo>
                      <a:lnTo>
                        <a:pt x="40" y="35"/>
                      </a:lnTo>
                      <a:lnTo>
                        <a:pt x="40" y="34"/>
                      </a:lnTo>
                      <a:lnTo>
                        <a:pt x="40" y="33"/>
                      </a:lnTo>
                      <a:lnTo>
                        <a:pt x="40" y="33"/>
                      </a:lnTo>
                      <a:lnTo>
                        <a:pt x="40" y="32"/>
                      </a:lnTo>
                      <a:lnTo>
                        <a:pt x="40" y="31"/>
                      </a:lnTo>
                      <a:lnTo>
                        <a:pt x="40" y="31"/>
                      </a:lnTo>
                      <a:lnTo>
                        <a:pt x="40" y="31"/>
                      </a:lnTo>
                      <a:lnTo>
                        <a:pt x="40" y="30"/>
                      </a:lnTo>
                      <a:lnTo>
                        <a:pt x="40" y="30"/>
                      </a:lnTo>
                      <a:lnTo>
                        <a:pt x="40" y="29"/>
                      </a:lnTo>
                      <a:lnTo>
                        <a:pt x="41" y="29"/>
                      </a:lnTo>
                      <a:lnTo>
                        <a:pt x="41" y="29"/>
                      </a:lnTo>
                      <a:lnTo>
                        <a:pt x="42" y="29"/>
                      </a:lnTo>
                      <a:lnTo>
                        <a:pt x="43" y="29"/>
                      </a:lnTo>
                      <a:lnTo>
                        <a:pt x="43" y="28"/>
                      </a:lnTo>
                      <a:lnTo>
                        <a:pt x="43" y="28"/>
                      </a:lnTo>
                      <a:lnTo>
                        <a:pt x="43" y="29"/>
                      </a:lnTo>
                      <a:lnTo>
                        <a:pt x="43" y="28"/>
                      </a:lnTo>
                      <a:lnTo>
                        <a:pt x="43" y="27"/>
                      </a:lnTo>
                      <a:lnTo>
                        <a:pt x="44" y="27"/>
                      </a:lnTo>
                      <a:lnTo>
                        <a:pt x="43" y="27"/>
                      </a:lnTo>
                      <a:lnTo>
                        <a:pt x="43" y="27"/>
                      </a:lnTo>
                      <a:lnTo>
                        <a:pt x="44" y="27"/>
                      </a:lnTo>
                      <a:lnTo>
                        <a:pt x="44" y="26"/>
                      </a:lnTo>
                      <a:lnTo>
                        <a:pt x="43" y="26"/>
                      </a:lnTo>
                      <a:lnTo>
                        <a:pt x="43" y="25"/>
                      </a:lnTo>
                      <a:lnTo>
                        <a:pt x="43" y="25"/>
                      </a:lnTo>
                      <a:lnTo>
                        <a:pt x="43" y="24"/>
                      </a:lnTo>
                      <a:lnTo>
                        <a:pt x="43" y="23"/>
                      </a:lnTo>
                      <a:lnTo>
                        <a:pt x="42" y="23"/>
                      </a:lnTo>
                      <a:lnTo>
                        <a:pt x="42" y="23"/>
                      </a:lnTo>
                      <a:lnTo>
                        <a:pt x="42" y="22"/>
                      </a:lnTo>
                      <a:lnTo>
                        <a:pt x="42" y="21"/>
                      </a:lnTo>
                      <a:lnTo>
                        <a:pt x="43" y="21"/>
                      </a:lnTo>
                      <a:lnTo>
                        <a:pt x="43" y="21"/>
                      </a:lnTo>
                      <a:lnTo>
                        <a:pt x="44" y="21"/>
                      </a:lnTo>
                      <a:lnTo>
                        <a:pt x="45" y="21"/>
                      </a:lnTo>
                      <a:lnTo>
                        <a:pt x="45" y="21"/>
                      </a:lnTo>
                      <a:lnTo>
                        <a:pt x="45" y="20"/>
                      </a:lnTo>
                      <a:lnTo>
                        <a:pt x="46" y="20"/>
                      </a:lnTo>
                      <a:lnTo>
                        <a:pt x="47" y="20"/>
                      </a:lnTo>
                      <a:lnTo>
                        <a:pt x="47" y="19"/>
                      </a:lnTo>
                      <a:lnTo>
                        <a:pt x="47" y="19"/>
                      </a:lnTo>
                      <a:lnTo>
                        <a:pt x="47" y="18"/>
                      </a:lnTo>
                      <a:lnTo>
                        <a:pt x="46" y="18"/>
                      </a:lnTo>
                      <a:lnTo>
                        <a:pt x="46" y="17"/>
                      </a:lnTo>
                      <a:lnTo>
                        <a:pt x="47" y="17"/>
                      </a:lnTo>
                      <a:lnTo>
                        <a:pt x="46" y="16"/>
                      </a:lnTo>
                      <a:lnTo>
                        <a:pt x="46" y="16"/>
                      </a:lnTo>
                      <a:lnTo>
                        <a:pt x="46" y="15"/>
                      </a:lnTo>
                      <a:lnTo>
                        <a:pt x="46" y="14"/>
                      </a:lnTo>
                      <a:lnTo>
                        <a:pt x="46" y="14"/>
                      </a:lnTo>
                      <a:lnTo>
                        <a:pt x="45" y="14"/>
                      </a:lnTo>
                      <a:lnTo>
                        <a:pt x="45" y="13"/>
                      </a:lnTo>
                      <a:lnTo>
                        <a:pt x="45" y="12"/>
                      </a:lnTo>
                      <a:lnTo>
                        <a:pt x="45" y="12"/>
                      </a:lnTo>
                      <a:lnTo>
                        <a:pt x="45" y="12"/>
                      </a:lnTo>
                      <a:lnTo>
                        <a:pt x="45" y="11"/>
                      </a:lnTo>
                      <a:lnTo>
                        <a:pt x="45" y="11"/>
                      </a:lnTo>
                      <a:lnTo>
                        <a:pt x="45" y="10"/>
                      </a:lnTo>
                      <a:lnTo>
                        <a:pt x="45" y="10"/>
                      </a:lnTo>
                      <a:lnTo>
                        <a:pt x="45" y="10"/>
                      </a:lnTo>
                      <a:lnTo>
                        <a:pt x="45" y="10"/>
                      </a:lnTo>
                      <a:lnTo>
                        <a:pt x="45" y="9"/>
                      </a:lnTo>
                      <a:lnTo>
                        <a:pt x="46" y="9"/>
                      </a:lnTo>
                      <a:lnTo>
                        <a:pt x="46" y="8"/>
                      </a:lnTo>
                      <a:lnTo>
                        <a:pt x="46" y="8"/>
                      </a:lnTo>
                      <a:lnTo>
                        <a:pt x="46" y="7"/>
                      </a:lnTo>
                      <a:lnTo>
                        <a:pt x="47" y="7"/>
                      </a:lnTo>
                      <a:lnTo>
                        <a:pt x="47" y="6"/>
                      </a:lnTo>
                      <a:lnTo>
                        <a:pt x="47" y="6"/>
                      </a:lnTo>
                      <a:lnTo>
                        <a:pt x="48" y="6"/>
                      </a:lnTo>
                      <a:lnTo>
                        <a:pt x="47" y="6"/>
                      </a:lnTo>
                      <a:lnTo>
                        <a:pt x="47" y="5"/>
                      </a:lnTo>
                      <a:lnTo>
                        <a:pt x="48" y="5"/>
                      </a:lnTo>
                      <a:lnTo>
                        <a:pt x="48" y="4"/>
                      </a:lnTo>
                      <a:lnTo>
                        <a:pt x="48" y="4"/>
                      </a:lnTo>
                      <a:lnTo>
                        <a:pt x="49" y="4"/>
                      </a:lnTo>
                      <a:lnTo>
                        <a:pt x="49" y="3"/>
                      </a:lnTo>
                      <a:lnTo>
                        <a:pt x="50" y="3"/>
                      </a:lnTo>
                      <a:lnTo>
                        <a:pt x="50" y="2"/>
                      </a:lnTo>
                      <a:lnTo>
                        <a:pt x="51" y="2"/>
                      </a:lnTo>
                      <a:lnTo>
                        <a:pt x="50" y="2"/>
                      </a:lnTo>
                      <a:lnTo>
                        <a:pt x="50" y="2"/>
                      </a:lnTo>
                      <a:lnTo>
                        <a:pt x="50" y="1"/>
                      </a:lnTo>
                      <a:lnTo>
                        <a:pt x="49" y="1"/>
                      </a:lnTo>
                      <a:lnTo>
                        <a:pt x="49" y="0"/>
                      </a:lnTo>
                      <a:lnTo>
                        <a:pt x="49"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 name="Freeform 16">
                  <a:extLst>
                    <a:ext uri="{FF2B5EF4-FFF2-40B4-BE49-F238E27FC236}">
                      <a16:creationId xmlns:a16="http://schemas.microsoft.com/office/drawing/2014/main" xmlns="" id="{F5722C20-83A5-415E-C68B-19D3B07EB02F}"/>
                    </a:ext>
                  </a:extLst>
                </p:cNvPr>
                <p:cNvSpPr>
                  <a:spLocks/>
                </p:cNvSpPr>
                <p:nvPr/>
              </p:nvSpPr>
              <p:spPr bwMode="auto">
                <a:xfrm>
                  <a:off x="3080" y="3264"/>
                  <a:ext cx="157" cy="283"/>
                </a:xfrm>
                <a:custGeom>
                  <a:avLst/>
                  <a:gdLst>
                    <a:gd name="T0" fmla="*/ 31 w 157"/>
                    <a:gd name="T1" fmla="*/ 275 h 283"/>
                    <a:gd name="T2" fmla="*/ 15 w 157"/>
                    <a:gd name="T3" fmla="*/ 254 h 283"/>
                    <a:gd name="T4" fmla="*/ 12 w 157"/>
                    <a:gd name="T5" fmla="*/ 238 h 283"/>
                    <a:gd name="T6" fmla="*/ 28 w 157"/>
                    <a:gd name="T7" fmla="*/ 230 h 283"/>
                    <a:gd name="T8" fmla="*/ 19 w 157"/>
                    <a:gd name="T9" fmla="*/ 217 h 283"/>
                    <a:gd name="T10" fmla="*/ 13 w 157"/>
                    <a:gd name="T11" fmla="*/ 207 h 283"/>
                    <a:gd name="T12" fmla="*/ 13 w 157"/>
                    <a:gd name="T13" fmla="*/ 193 h 283"/>
                    <a:gd name="T14" fmla="*/ 22 w 157"/>
                    <a:gd name="T15" fmla="*/ 186 h 283"/>
                    <a:gd name="T16" fmla="*/ 28 w 157"/>
                    <a:gd name="T17" fmla="*/ 178 h 283"/>
                    <a:gd name="T18" fmla="*/ 47 w 157"/>
                    <a:gd name="T19" fmla="*/ 195 h 283"/>
                    <a:gd name="T20" fmla="*/ 66 w 157"/>
                    <a:gd name="T21" fmla="*/ 188 h 283"/>
                    <a:gd name="T22" fmla="*/ 69 w 157"/>
                    <a:gd name="T23" fmla="*/ 180 h 283"/>
                    <a:gd name="T24" fmla="*/ 66 w 157"/>
                    <a:gd name="T25" fmla="*/ 175 h 283"/>
                    <a:gd name="T26" fmla="*/ 66 w 157"/>
                    <a:gd name="T27" fmla="*/ 166 h 283"/>
                    <a:gd name="T28" fmla="*/ 69 w 157"/>
                    <a:gd name="T29" fmla="*/ 157 h 283"/>
                    <a:gd name="T30" fmla="*/ 71 w 157"/>
                    <a:gd name="T31" fmla="*/ 144 h 283"/>
                    <a:gd name="T32" fmla="*/ 79 w 157"/>
                    <a:gd name="T33" fmla="*/ 139 h 283"/>
                    <a:gd name="T34" fmla="*/ 83 w 157"/>
                    <a:gd name="T35" fmla="*/ 145 h 283"/>
                    <a:gd name="T36" fmla="*/ 87 w 157"/>
                    <a:gd name="T37" fmla="*/ 148 h 283"/>
                    <a:gd name="T38" fmla="*/ 87 w 157"/>
                    <a:gd name="T39" fmla="*/ 150 h 283"/>
                    <a:gd name="T40" fmla="*/ 89 w 157"/>
                    <a:gd name="T41" fmla="*/ 153 h 283"/>
                    <a:gd name="T42" fmla="*/ 105 w 157"/>
                    <a:gd name="T43" fmla="*/ 149 h 283"/>
                    <a:gd name="T44" fmla="*/ 105 w 157"/>
                    <a:gd name="T45" fmla="*/ 154 h 283"/>
                    <a:gd name="T46" fmla="*/ 108 w 157"/>
                    <a:gd name="T47" fmla="*/ 164 h 283"/>
                    <a:gd name="T48" fmla="*/ 112 w 157"/>
                    <a:gd name="T49" fmla="*/ 172 h 283"/>
                    <a:gd name="T50" fmla="*/ 112 w 157"/>
                    <a:gd name="T51" fmla="*/ 179 h 283"/>
                    <a:gd name="T52" fmla="*/ 117 w 157"/>
                    <a:gd name="T53" fmla="*/ 186 h 283"/>
                    <a:gd name="T54" fmla="*/ 124 w 157"/>
                    <a:gd name="T55" fmla="*/ 184 h 283"/>
                    <a:gd name="T56" fmla="*/ 126 w 157"/>
                    <a:gd name="T57" fmla="*/ 178 h 283"/>
                    <a:gd name="T58" fmla="*/ 131 w 157"/>
                    <a:gd name="T59" fmla="*/ 173 h 283"/>
                    <a:gd name="T60" fmla="*/ 136 w 157"/>
                    <a:gd name="T61" fmla="*/ 165 h 283"/>
                    <a:gd name="T62" fmla="*/ 138 w 157"/>
                    <a:gd name="T63" fmla="*/ 156 h 283"/>
                    <a:gd name="T64" fmla="*/ 142 w 157"/>
                    <a:gd name="T65" fmla="*/ 146 h 283"/>
                    <a:gd name="T66" fmla="*/ 148 w 157"/>
                    <a:gd name="T67" fmla="*/ 138 h 283"/>
                    <a:gd name="T68" fmla="*/ 156 w 157"/>
                    <a:gd name="T69" fmla="*/ 133 h 283"/>
                    <a:gd name="T70" fmla="*/ 153 w 157"/>
                    <a:gd name="T71" fmla="*/ 125 h 283"/>
                    <a:gd name="T72" fmla="*/ 149 w 157"/>
                    <a:gd name="T73" fmla="*/ 116 h 283"/>
                    <a:gd name="T74" fmla="*/ 144 w 157"/>
                    <a:gd name="T75" fmla="*/ 107 h 283"/>
                    <a:gd name="T76" fmla="*/ 138 w 157"/>
                    <a:gd name="T77" fmla="*/ 98 h 283"/>
                    <a:gd name="T78" fmla="*/ 131 w 157"/>
                    <a:gd name="T79" fmla="*/ 91 h 283"/>
                    <a:gd name="T80" fmla="*/ 126 w 157"/>
                    <a:gd name="T81" fmla="*/ 85 h 283"/>
                    <a:gd name="T82" fmla="*/ 126 w 157"/>
                    <a:gd name="T83" fmla="*/ 74 h 283"/>
                    <a:gd name="T84" fmla="*/ 129 w 157"/>
                    <a:gd name="T85" fmla="*/ 59 h 283"/>
                    <a:gd name="T86" fmla="*/ 125 w 157"/>
                    <a:gd name="T87" fmla="*/ 51 h 283"/>
                    <a:gd name="T88" fmla="*/ 122 w 157"/>
                    <a:gd name="T89" fmla="*/ 41 h 283"/>
                    <a:gd name="T90" fmla="*/ 119 w 157"/>
                    <a:gd name="T91" fmla="*/ 34 h 283"/>
                    <a:gd name="T92" fmla="*/ 110 w 157"/>
                    <a:gd name="T93" fmla="*/ 32 h 283"/>
                    <a:gd name="T94" fmla="*/ 106 w 157"/>
                    <a:gd name="T95" fmla="*/ 25 h 283"/>
                    <a:gd name="T96" fmla="*/ 101 w 157"/>
                    <a:gd name="T97" fmla="*/ 22 h 283"/>
                    <a:gd name="T98" fmla="*/ 91 w 157"/>
                    <a:gd name="T99" fmla="*/ 18 h 283"/>
                    <a:gd name="T100" fmla="*/ 79 w 157"/>
                    <a:gd name="T101" fmla="*/ 22 h 283"/>
                    <a:gd name="T102" fmla="*/ 72 w 157"/>
                    <a:gd name="T103" fmla="*/ 28 h 283"/>
                    <a:gd name="T104" fmla="*/ 63 w 157"/>
                    <a:gd name="T105" fmla="*/ 26 h 283"/>
                    <a:gd name="T106" fmla="*/ 54 w 157"/>
                    <a:gd name="T107" fmla="*/ 26 h 283"/>
                    <a:gd name="T108" fmla="*/ 45 w 157"/>
                    <a:gd name="T109" fmla="*/ 26 h 283"/>
                    <a:gd name="T110" fmla="*/ 37 w 157"/>
                    <a:gd name="T111" fmla="*/ 21 h 283"/>
                    <a:gd name="T112" fmla="*/ 28 w 157"/>
                    <a:gd name="T113" fmla="*/ 16 h 283"/>
                    <a:gd name="T114" fmla="*/ 19 w 157"/>
                    <a:gd name="T115" fmla="*/ 11 h 283"/>
                    <a:gd name="T116" fmla="*/ 9 w 157"/>
                    <a:gd name="T117" fmla="*/ 9 h 283"/>
                    <a:gd name="T118" fmla="*/ 2 w 157"/>
                    <a:gd name="T119" fmla="*/ 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283">
                      <a:moveTo>
                        <a:pt x="28" y="283"/>
                      </a:moveTo>
                      <a:lnTo>
                        <a:pt x="28" y="282"/>
                      </a:lnTo>
                      <a:lnTo>
                        <a:pt x="28" y="281"/>
                      </a:lnTo>
                      <a:lnTo>
                        <a:pt x="29" y="281"/>
                      </a:lnTo>
                      <a:lnTo>
                        <a:pt x="29" y="280"/>
                      </a:lnTo>
                      <a:lnTo>
                        <a:pt x="28" y="280"/>
                      </a:lnTo>
                      <a:lnTo>
                        <a:pt x="28" y="280"/>
                      </a:lnTo>
                      <a:lnTo>
                        <a:pt x="29" y="280"/>
                      </a:lnTo>
                      <a:lnTo>
                        <a:pt x="29" y="279"/>
                      </a:lnTo>
                      <a:lnTo>
                        <a:pt x="30" y="279"/>
                      </a:lnTo>
                      <a:lnTo>
                        <a:pt x="30" y="278"/>
                      </a:lnTo>
                      <a:lnTo>
                        <a:pt x="30" y="278"/>
                      </a:lnTo>
                      <a:lnTo>
                        <a:pt x="30" y="278"/>
                      </a:lnTo>
                      <a:lnTo>
                        <a:pt x="31" y="277"/>
                      </a:lnTo>
                      <a:lnTo>
                        <a:pt x="31" y="276"/>
                      </a:lnTo>
                      <a:lnTo>
                        <a:pt x="31" y="276"/>
                      </a:lnTo>
                      <a:lnTo>
                        <a:pt x="31" y="275"/>
                      </a:lnTo>
                      <a:lnTo>
                        <a:pt x="27" y="268"/>
                      </a:lnTo>
                      <a:lnTo>
                        <a:pt x="25" y="265"/>
                      </a:lnTo>
                      <a:lnTo>
                        <a:pt x="20" y="260"/>
                      </a:lnTo>
                      <a:lnTo>
                        <a:pt x="19" y="260"/>
                      </a:lnTo>
                      <a:lnTo>
                        <a:pt x="19" y="259"/>
                      </a:lnTo>
                      <a:lnTo>
                        <a:pt x="19" y="259"/>
                      </a:lnTo>
                      <a:lnTo>
                        <a:pt x="18" y="259"/>
                      </a:lnTo>
                      <a:lnTo>
                        <a:pt x="18" y="258"/>
                      </a:lnTo>
                      <a:lnTo>
                        <a:pt x="17" y="258"/>
                      </a:lnTo>
                      <a:lnTo>
                        <a:pt x="17" y="257"/>
                      </a:lnTo>
                      <a:lnTo>
                        <a:pt x="17" y="257"/>
                      </a:lnTo>
                      <a:lnTo>
                        <a:pt x="17" y="256"/>
                      </a:lnTo>
                      <a:lnTo>
                        <a:pt x="16" y="256"/>
                      </a:lnTo>
                      <a:lnTo>
                        <a:pt x="16" y="255"/>
                      </a:lnTo>
                      <a:lnTo>
                        <a:pt x="16" y="255"/>
                      </a:lnTo>
                      <a:lnTo>
                        <a:pt x="15" y="255"/>
                      </a:lnTo>
                      <a:lnTo>
                        <a:pt x="15" y="254"/>
                      </a:lnTo>
                      <a:lnTo>
                        <a:pt x="15" y="253"/>
                      </a:lnTo>
                      <a:lnTo>
                        <a:pt x="15" y="253"/>
                      </a:lnTo>
                      <a:lnTo>
                        <a:pt x="13" y="253"/>
                      </a:lnTo>
                      <a:lnTo>
                        <a:pt x="10" y="253"/>
                      </a:lnTo>
                      <a:lnTo>
                        <a:pt x="8" y="253"/>
                      </a:lnTo>
                      <a:lnTo>
                        <a:pt x="7" y="252"/>
                      </a:lnTo>
                      <a:lnTo>
                        <a:pt x="7" y="249"/>
                      </a:lnTo>
                      <a:lnTo>
                        <a:pt x="8" y="247"/>
                      </a:lnTo>
                      <a:lnTo>
                        <a:pt x="8" y="247"/>
                      </a:lnTo>
                      <a:lnTo>
                        <a:pt x="7" y="247"/>
                      </a:lnTo>
                      <a:lnTo>
                        <a:pt x="7" y="246"/>
                      </a:lnTo>
                      <a:lnTo>
                        <a:pt x="7" y="245"/>
                      </a:lnTo>
                      <a:lnTo>
                        <a:pt x="7" y="244"/>
                      </a:lnTo>
                      <a:lnTo>
                        <a:pt x="7" y="243"/>
                      </a:lnTo>
                      <a:lnTo>
                        <a:pt x="9" y="242"/>
                      </a:lnTo>
                      <a:lnTo>
                        <a:pt x="11" y="239"/>
                      </a:lnTo>
                      <a:lnTo>
                        <a:pt x="12" y="238"/>
                      </a:lnTo>
                      <a:lnTo>
                        <a:pt x="13" y="238"/>
                      </a:lnTo>
                      <a:lnTo>
                        <a:pt x="13" y="237"/>
                      </a:lnTo>
                      <a:lnTo>
                        <a:pt x="14" y="237"/>
                      </a:lnTo>
                      <a:lnTo>
                        <a:pt x="15" y="237"/>
                      </a:lnTo>
                      <a:lnTo>
                        <a:pt x="15" y="236"/>
                      </a:lnTo>
                      <a:lnTo>
                        <a:pt x="15" y="236"/>
                      </a:lnTo>
                      <a:lnTo>
                        <a:pt x="15" y="236"/>
                      </a:lnTo>
                      <a:lnTo>
                        <a:pt x="16" y="236"/>
                      </a:lnTo>
                      <a:lnTo>
                        <a:pt x="16" y="235"/>
                      </a:lnTo>
                      <a:lnTo>
                        <a:pt x="18" y="232"/>
                      </a:lnTo>
                      <a:lnTo>
                        <a:pt x="19" y="233"/>
                      </a:lnTo>
                      <a:lnTo>
                        <a:pt x="19" y="234"/>
                      </a:lnTo>
                      <a:lnTo>
                        <a:pt x="22" y="234"/>
                      </a:lnTo>
                      <a:lnTo>
                        <a:pt x="23" y="234"/>
                      </a:lnTo>
                      <a:lnTo>
                        <a:pt x="27" y="231"/>
                      </a:lnTo>
                      <a:lnTo>
                        <a:pt x="27" y="230"/>
                      </a:lnTo>
                      <a:lnTo>
                        <a:pt x="28" y="230"/>
                      </a:lnTo>
                      <a:lnTo>
                        <a:pt x="28" y="229"/>
                      </a:lnTo>
                      <a:lnTo>
                        <a:pt x="28" y="227"/>
                      </a:lnTo>
                      <a:lnTo>
                        <a:pt x="26" y="225"/>
                      </a:lnTo>
                      <a:lnTo>
                        <a:pt x="26" y="224"/>
                      </a:lnTo>
                      <a:lnTo>
                        <a:pt x="26" y="224"/>
                      </a:lnTo>
                      <a:lnTo>
                        <a:pt x="26" y="223"/>
                      </a:lnTo>
                      <a:lnTo>
                        <a:pt x="26" y="222"/>
                      </a:lnTo>
                      <a:lnTo>
                        <a:pt x="25" y="222"/>
                      </a:lnTo>
                      <a:lnTo>
                        <a:pt x="24" y="221"/>
                      </a:lnTo>
                      <a:lnTo>
                        <a:pt x="24" y="221"/>
                      </a:lnTo>
                      <a:lnTo>
                        <a:pt x="24" y="220"/>
                      </a:lnTo>
                      <a:lnTo>
                        <a:pt x="24" y="219"/>
                      </a:lnTo>
                      <a:lnTo>
                        <a:pt x="22" y="219"/>
                      </a:lnTo>
                      <a:lnTo>
                        <a:pt x="21" y="219"/>
                      </a:lnTo>
                      <a:lnTo>
                        <a:pt x="21" y="218"/>
                      </a:lnTo>
                      <a:lnTo>
                        <a:pt x="20" y="218"/>
                      </a:lnTo>
                      <a:lnTo>
                        <a:pt x="19" y="217"/>
                      </a:lnTo>
                      <a:lnTo>
                        <a:pt x="18" y="217"/>
                      </a:lnTo>
                      <a:lnTo>
                        <a:pt x="18" y="216"/>
                      </a:lnTo>
                      <a:lnTo>
                        <a:pt x="18" y="215"/>
                      </a:lnTo>
                      <a:lnTo>
                        <a:pt x="18" y="215"/>
                      </a:lnTo>
                      <a:lnTo>
                        <a:pt x="17" y="215"/>
                      </a:lnTo>
                      <a:lnTo>
                        <a:pt x="17" y="214"/>
                      </a:lnTo>
                      <a:lnTo>
                        <a:pt x="17" y="213"/>
                      </a:lnTo>
                      <a:lnTo>
                        <a:pt x="17" y="213"/>
                      </a:lnTo>
                      <a:lnTo>
                        <a:pt x="17" y="213"/>
                      </a:lnTo>
                      <a:lnTo>
                        <a:pt x="17" y="212"/>
                      </a:lnTo>
                      <a:lnTo>
                        <a:pt x="15" y="211"/>
                      </a:lnTo>
                      <a:lnTo>
                        <a:pt x="15" y="209"/>
                      </a:lnTo>
                      <a:lnTo>
                        <a:pt x="15" y="208"/>
                      </a:lnTo>
                      <a:lnTo>
                        <a:pt x="15" y="207"/>
                      </a:lnTo>
                      <a:lnTo>
                        <a:pt x="15" y="207"/>
                      </a:lnTo>
                      <a:lnTo>
                        <a:pt x="15" y="206"/>
                      </a:lnTo>
                      <a:lnTo>
                        <a:pt x="13" y="207"/>
                      </a:lnTo>
                      <a:lnTo>
                        <a:pt x="12" y="205"/>
                      </a:lnTo>
                      <a:lnTo>
                        <a:pt x="11" y="204"/>
                      </a:lnTo>
                      <a:lnTo>
                        <a:pt x="11" y="202"/>
                      </a:lnTo>
                      <a:lnTo>
                        <a:pt x="10" y="201"/>
                      </a:lnTo>
                      <a:lnTo>
                        <a:pt x="9" y="199"/>
                      </a:lnTo>
                      <a:lnTo>
                        <a:pt x="9" y="198"/>
                      </a:lnTo>
                      <a:lnTo>
                        <a:pt x="9" y="198"/>
                      </a:lnTo>
                      <a:lnTo>
                        <a:pt x="9" y="195"/>
                      </a:lnTo>
                      <a:lnTo>
                        <a:pt x="9" y="194"/>
                      </a:lnTo>
                      <a:lnTo>
                        <a:pt x="10" y="195"/>
                      </a:lnTo>
                      <a:lnTo>
                        <a:pt x="11" y="195"/>
                      </a:lnTo>
                      <a:lnTo>
                        <a:pt x="11" y="194"/>
                      </a:lnTo>
                      <a:lnTo>
                        <a:pt x="12" y="194"/>
                      </a:lnTo>
                      <a:lnTo>
                        <a:pt x="12" y="194"/>
                      </a:lnTo>
                      <a:lnTo>
                        <a:pt x="13" y="194"/>
                      </a:lnTo>
                      <a:lnTo>
                        <a:pt x="13" y="194"/>
                      </a:lnTo>
                      <a:lnTo>
                        <a:pt x="13" y="193"/>
                      </a:lnTo>
                      <a:lnTo>
                        <a:pt x="14" y="193"/>
                      </a:lnTo>
                      <a:lnTo>
                        <a:pt x="15" y="193"/>
                      </a:lnTo>
                      <a:lnTo>
                        <a:pt x="15" y="194"/>
                      </a:lnTo>
                      <a:lnTo>
                        <a:pt x="15" y="194"/>
                      </a:lnTo>
                      <a:lnTo>
                        <a:pt x="16" y="194"/>
                      </a:lnTo>
                      <a:lnTo>
                        <a:pt x="17" y="194"/>
                      </a:lnTo>
                      <a:lnTo>
                        <a:pt x="17" y="193"/>
                      </a:lnTo>
                      <a:lnTo>
                        <a:pt x="17" y="192"/>
                      </a:lnTo>
                      <a:lnTo>
                        <a:pt x="17" y="191"/>
                      </a:lnTo>
                      <a:lnTo>
                        <a:pt x="17" y="190"/>
                      </a:lnTo>
                      <a:lnTo>
                        <a:pt x="18" y="190"/>
                      </a:lnTo>
                      <a:lnTo>
                        <a:pt x="18" y="190"/>
                      </a:lnTo>
                      <a:lnTo>
                        <a:pt x="19" y="189"/>
                      </a:lnTo>
                      <a:lnTo>
                        <a:pt x="19" y="188"/>
                      </a:lnTo>
                      <a:lnTo>
                        <a:pt x="20" y="188"/>
                      </a:lnTo>
                      <a:lnTo>
                        <a:pt x="22" y="186"/>
                      </a:lnTo>
                      <a:lnTo>
                        <a:pt x="22" y="186"/>
                      </a:lnTo>
                      <a:lnTo>
                        <a:pt x="23" y="186"/>
                      </a:lnTo>
                      <a:lnTo>
                        <a:pt x="23" y="185"/>
                      </a:lnTo>
                      <a:lnTo>
                        <a:pt x="24" y="185"/>
                      </a:lnTo>
                      <a:lnTo>
                        <a:pt x="24" y="184"/>
                      </a:lnTo>
                      <a:lnTo>
                        <a:pt x="24" y="184"/>
                      </a:lnTo>
                      <a:lnTo>
                        <a:pt x="24" y="183"/>
                      </a:lnTo>
                      <a:lnTo>
                        <a:pt x="25" y="183"/>
                      </a:lnTo>
                      <a:lnTo>
                        <a:pt x="25" y="182"/>
                      </a:lnTo>
                      <a:lnTo>
                        <a:pt x="26" y="181"/>
                      </a:lnTo>
                      <a:lnTo>
                        <a:pt x="26" y="181"/>
                      </a:lnTo>
                      <a:lnTo>
                        <a:pt x="26" y="181"/>
                      </a:lnTo>
                      <a:lnTo>
                        <a:pt x="27" y="180"/>
                      </a:lnTo>
                      <a:lnTo>
                        <a:pt x="27" y="179"/>
                      </a:lnTo>
                      <a:lnTo>
                        <a:pt x="27" y="179"/>
                      </a:lnTo>
                      <a:lnTo>
                        <a:pt x="28" y="179"/>
                      </a:lnTo>
                      <a:lnTo>
                        <a:pt x="28" y="178"/>
                      </a:lnTo>
                      <a:lnTo>
                        <a:pt x="28" y="178"/>
                      </a:lnTo>
                      <a:lnTo>
                        <a:pt x="28" y="177"/>
                      </a:lnTo>
                      <a:lnTo>
                        <a:pt x="29" y="177"/>
                      </a:lnTo>
                      <a:lnTo>
                        <a:pt x="29" y="177"/>
                      </a:lnTo>
                      <a:lnTo>
                        <a:pt x="30" y="176"/>
                      </a:lnTo>
                      <a:lnTo>
                        <a:pt x="29" y="176"/>
                      </a:lnTo>
                      <a:lnTo>
                        <a:pt x="30" y="176"/>
                      </a:lnTo>
                      <a:lnTo>
                        <a:pt x="30" y="175"/>
                      </a:lnTo>
                      <a:lnTo>
                        <a:pt x="30" y="175"/>
                      </a:lnTo>
                      <a:lnTo>
                        <a:pt x="32" y="176"/>
                      </a:lnTo>
                      <a:lnTo>
                        <a:pt x="33" y="176"/>
                      </a:lnTo>
                      <a:lnTo>
                        <a:pt x="34" y="175"/>
                      </a:lnTo>
                      <a:lnTo>
                        <a:pt x="35" y="177"/>
                      </a:lnTo>
                      <a:lnTo>
                        <a:pt x="37" y="181"/>
                      </a:lnTo>
                      <a:lnTo>
                        <a:pt x="43" y="191"/>
                      </a:lnTo>
                      <a:lnTo>
                        <a:pt x="45" y="193"/>
                      </a:lnTo>
                      <a:lnTo>
                        <a:pt x="47" y="194"/>
                      </a:lnTo>
                      <a:lnTo>
                        <a:pt x="47" y="195"/>
                      </a:lnTo>
                      <a:lnTo>
                        <a:pt x="49" y="194"/>
                      </a:lnTo>
                      <a:lnTo>
                        <a:pt x="53" y="196"/>
                      </a:lnTo>
                      <a:lnTo>
                        <a:pt x="59" y="196"/>
                      </a:lnTo>
                      <a:lnTo>
                        <a:pt x="60" y="196"/>
                      </a:lnTo>
                      <a:lnTo>
                        <a:pt x="60" y="196"/>
                      </a:lnTo>
                      <a:lnTo>
                        <a:pt x="60" y="195"/>
                      </a:lnTo>
                      <a:lnTo>
                        <a:pt x="61" y="195"/>
                      </a:lnTo>
                      <a:lnTo>
                        <a:pt x="61" y="194"/>
                      </a:lnTo>
                      <a:lnTo>
                        <a:pt x="62" y="194"/>
                      </a:lnTo>
                      <a:lnTo>
                        <a:pt x="62" y="194"/>
                      </a:lnTo>
                      <a:lnTo>
                        <a:pt x="63" y="194"/>
                      </a:lnTo>
                      <a:lnTo>
                        <a:pt x="64" y="190"/>
                      </a:lnTo>
                      <a:lnTo>
                        <a:pt x="64" y="190"/>
                      </a:lnTo>
                      <a:lnTo>
                        <a:pt x="65" y="190"/>
                      </a:lnTo>
                      <a:lnTo>
                        <a:pt x="66" y="189"/>
                      </a:lnTo>
                      <a:lnTo>
                        <a:pt x="66" y="188"/>
                      </a:lnTo>
                      <a:lnTo>
                        <a:pt x="66" y="188"/>
                      </a:lnTo>
                      <a:lnTo>
                        <a:pt x="66" y="188"/>
                      </a:lnTo>
                      <a:lnTo>
                        <a:pt x="66" y="187"/>
                      </a:lnTo>
                      <a:lnTo>
                        <a:pt x="66" y="186"/>
                      </a:lnTo>
                      <a:lnTo>
                        <a:pt x="66" y="186"/>
                      </a:lnTo>
                      <a:lnTo>
                        <a:pt x="66" y="186"/>
                      </a:lnTo>
                      <a:lnTo>
                        <a:pt x="66" y="185"/>
                      </a:lnTo>
                      <a:lnTo>
                        <a:pt x="66" y="184"/>
                      </a:lnTo>
                      <a:lnTo>
                        <a:pt x="67" y="184"/>
                      </a:lnTo>
                      <a:lnTo>
                        <a:pt x="67" y="184"/>
                      </a:lnTo>
                      <a:lnTo>
                        <a:pt x="68" y="184"/>
                      </a:lnTo>
                      <a:lnTo>
                        <a:pt x="68" y="183"/>
                      </a:lnTo>
                      <a:lnTo>
                        <a:pt x="68" y="182"/>
                      </a:lnTo>
                      <a:lnTo>
                        <a:pt x="68" y="182"/>
                      </a:lnTo>
                      <a:lnTo>
                        <a:pt x="69" y="182"/>
                      </a:lnTo>
                      <a:lnTo>
                        <a:pt x="69" y="181"/>
                      </a:lnTo>
                      <a:lnTo>
                        <a:pt x="69" y="181"/>
                      </a:lnTo>
                      <a:lnTo>
                        <a:pt x="69" y="180"/>
                      </a:lnTo>
                      <a:lnTo>
                        <a:pt x="70" y="180"/>
                      </a:lnTo>
                      <a:lnTo>
                        <a:pt x="70" y="179"/>
                      </a:lnTo>
                      <a:lnTo>
                        <a:pt x="70" y="179"/>
                      </a:lnTo>
                      <a:lnTo>
                        <a:pt x="70" y="179"/>
                      </a:lnTo>
                      <a:lnTo>
                        <a:pt x="70" y="178"/>
                      </a:lnTo>
                      <a:lnTo>
                        <a:pt x="70" y="178"/>
                      </a:lnTo>
                      <a:lnTo>
                        <a:pt x="69" y="178"/>
                      </a:lnTo>
                      <a:lnTo>
                        <a:pt x="70" y="177"/>
                      </a:lnTo>
                      <a:lnTo>
                        <a:pt x="69" y="177"/>
                      </a:lnTo>
                      <a:lnTo>
                        <a:pt x="69" y="177"/>
                      </a:lnTo>
                      <a:lnTo>
                        <a:pt x="68" y="177"/>
                      </a:lnTo>
                      <a:lnTo>
                        <a:pt x="68" y="176"/>
                      </a:lnTo>
                      <a:lnTo>
                        <a:pt x="68" y="175"/>
                      </a:lnTo>
                      <a:lnTo>
                        <a:pt x="67" y="175"/>
                      </a:lnTo>
                      <a:lnTo>
                        <a:pt x="66" y="175"/>
                      </a:lnTo>
                      <a:lnTo>
                        <a:pt x="66" y="175"/>
                      </a:lnTo>
                      <a:lnTo>
                        <a:pt x="66" y="175"/>
                      </a:lnTo>
                      <a:lnTo>
                        <a:pt x="65" y="175"/>
                      </a:lnTo>
                      <a:lnTo>
                        <a:pt x="65" y="174"/>
                      </a:lnTo>
                      <a:lnTo>
                        <a:pt x="64" y="174"/>
                      </a:lnTo>
                      <a:lnTo>
                        <a:pt x="64" y="173"/>
                      </a:lnTo>
                      <a:lnTo>
                        <a:pt x="64" y="173"/>
                      </a:lnTo>
                      <a:lnTo>
                        <a:pt x="65" y="173"/>
                      </a:lnTo>
                      <a:lnTo>
                        <a:pt x="65" y="172"/>
                      </a:lnTo>
                      <a:lnTo>
                        <a:pt x="65" y="171"/>
                      </a:lnTo>
                      <a:lnTo>
                        <a:pt x="66" y="171"/>
                      </a:lnTo>
                      <a:lnTo>
                        <a:pt x="66" y="171"/>
                      </a:lnTo>
                      <a:lnTo>
                        <a:pt x="66" y="170"/>
                      </a:lnTo>
                      <a:lnTo>
                        <a:pt x="66" y="169"/>
                      </a:lnTo>
                      <a:lnTo>
                        <a:pt x="66" y="169"/>
                      </a:lnTo>
                      <a:lnTo>
                        <a:pt x="66" y="168"/>
                      </a:lnTo>
                      <a:lnTo>
                        <a:pt x="66" y="167"/>
                      </a:lnTo>
                      <a:lnTo>
                        <a:pt x="66" y="167"/>
                      </a:lnTo>
                      <a:lnTo>
                        <a:pt x="66" y="166"/>
                      </a:lnTo>
                      <a:lnTo>
                        <a:pt x="66" y="165"/>
                      </a:lnTo>
                      <a:lnTo>
                        <a:pt x="66" y="165"/>
                      </a:lnTo>
                      <a:lnTo>
                        <a:pt x="66" y="164"/>
                      </a:lnTo>
                      <a:lnTo>
                        <a:pt x="66" y="163"/>
                      </a:lnTo>
                      <a:lnTo>
                        <a:pt x="67" y="163"/>
                      </a:lnTo>
                      <a:lnTo>
                        <a:pt x="67" y="162"/>
                      </a:lnTo>
                      <a:lnTo>
                        <a:pt x="67" y="162"/>
                      </a:lnTo>
                      <a:lnTo>
                        <a:pt x="67" y="161"/>
                      </a:lnTo>
                      <a:lnTo>
                        <a:pt x="67" y="160"/>
                      </a:lnTo>
                      <a:lnTo>
                        <a:pt x="68" y="160"/>
                      </a:lnTo>
                      <a:lnTo>
                        <a:pt x="68" y="160"/>
                      </a:lnTo>
                      <a:lnTo>
                        <a:pt x="68" y="159"/>
                      </a:lnTo>
                      <a:lnTo>
                        <a:pt x="68" y="158"/>
                      </a:lnTo>
                      <a:lnTo>
                        <a:pt x="68" y="158"/>
                      </a:lnTo>
                      <a:lnTo>
                        <a:pt x="68" y="158"/>
                      </a:lnTo>
                      <a:lnTo>
                        <a:pt x="68" y="157"/>
                      </a:lnTo>
                      <a:lnTo>
                        <a:pt x="69" y="157"/>
                      </a:lnTo>
                      <a:lnTo>
                        <a:pt x="68" y="156"/>
                      </a:lnTo>
                      <a:lnTo>
                        <a:pt x="69" y="156"/>
                      </a:lnTo>
                      <a:lnTo>
                        <a:pt x="69" y="156"/>
                      </a:lnTo>
                      <a:lnTo>
                        <a:pt x="70" y="155"/>
                      </a:lnTo>
                      <a:lnTo>
                        <a:pt x="70" y="152"/>
                      </a:lnTo>
                      <a:lnTo>
                        <a:pt x="70" y="151"/>
                      </a:lnTo>
                      <a:lnTo>
                        <a:pt x="70" y="150"/>
                      </a:lnTo>
                      <a:lnTo>
                        <a:pt x="70" y="150"/>
                      </a:lnTo>
                      <a:lnTo>
                        <a:pt x="70" y="149"/>
                      </a:lnTo>
                      <a:lnTo>
                        <a:pt x="70" y="148"/>
                      </a:lnTo>
                      <a:lnTo>
                        <a:pt x="71" y="148"/>
                      </a:lnTo>
                      <a:lnTo>
                        <a:pt x="70" y="147"/>
                      </a:lnTo>
                      <a:lnTo>
                        <a:pt x="71" y="146"/>
                      </a:lnTo>
                      <a:lnTo>
                        <a:pt x="70" y="146"/>
                      </a:lnTo>
                      <a:lnTo>
                        <a:pt x="71" y="145"/>
                      </a:lnTo>
                      <a:lnTo>
                        <a:pt x="72" y="144"/>
                      </a:lnTo>
                      <a:lnTo>
                        <a:pt x="71" y="144"/>
                      </a:lnTo>
                      <a:lnTo>
                        <a:pt x="72" y="143"/>
                      </a:lnTo>
                      <a:lnTo>
                        <a:pt x="72" y="140"/>
                      </a:lnTo>
                      <a:lnTo>
                        <a:pt x="70" y="137"/>
                      </a:lnTo>
                      <a:lnTo>
                        <a:pt x="74" y="137"/>
                      </a:lnTo>
                      <a:lnTo>
                        <a:pt x="75" y="137"/>
                      </a:lnTo>
                      <a:lnTo>
                        <a:pt x="76" y="137"/>
                      </a:lnTo>
                      <a:lnTo>
                        <a:pt x="76" y="137"/>
                      </a:lnTo>
                      <a:lnTo>
                        <a:pt x="76" y="137"/>
                      </a:lnTo>
                      <a:lnTo>
                        <a:pt x="76" y="137"/>
                      </a:lnTo>
                      <a:lnTo>
                        <a:pt x="77" y="137"/>
                      </a:lnTo>
                      <a:lnTo>
                        <a:pt x="77" y="137"/>
                      </a:lnTo>
                      <a:lnTo>
                        <a:pt x="77" y="137"/>
                      </a:lnTo>
                      <a:lnTo>
                        <a:pt x="78" y="137"/>
                      </a:lnTo>
                      <a:lnTo>
                        <a:pt x="78" y="138"/>
                      </a:lnTo>
                      <a:lnTo>
                        <a:pt x="78" y="139"/>
                      </a:lnTo>
                      <a:lnTo>
                        <a:pt x="78" y="139"/>
                      </a:lnTo>
                      <a:lnTo>
                        <a:pt x="79" y="139"/>
                      </a:lnTo>
                      <a:lnTo>
                        <a:pt x="79" y="139"/>
                      </a:lnTo>
                      <a:lnTo>
                        <a:pt x="79" y="139"/>
                      </a:lnTo>
                      <a:lnTo>
                        <a:pt x="79" y="139"/>
                      </a:lnTo>
                      <a:lnTo>
                        <a:pt x="80" y="139"/>
                      </a:lnTo>
                      <a:lnTo>
                        <a:pt x="80" y="140"/>
                      </a:lnTo>
                      <a:lnTo>
                        <a:pt x="81" y="140"/>
                      </a:lnTo>
                      <a:lnTo>
                        <a:pt x="81" y="141"/>
                      </a:lnTo>
                      <a:lnTo>
                        <a:pt x="81" y="141"/>
                      </a:lnTo>
                      <a:lnTo>
                        <a:pt x="81" y="141"/>
                      </a:lnTo>
                      <a:lnTo>
                        <a:pt x="82" y="141"/>
                      </a:lnTo>
                      <a:lnTo>
                        <a:pt x="82" y="142"/>
                      </a:lnTo>
                      <a:lnTo>
                        <a:pt x="83" y="142"/>
                      </a:lnTo>
                      <a:lnTo>
                        <a:pt x="83" y="143"/>
                      </a:lnTo>
                      <a:lnTo>
                        <a:pt x="83" y="143"/>
                      </a:lnTo>
                      <a:lnTo>
                        <a:pt x="83" y="144"/>
                      </a:lnTo>
                      <a:lnTo>
                        <a:pt x="83" y="144"/>
                      </a:lnTo>
                      <a:lnTo>
                        <a:pt x="83" y="145"/>
                      </a:lnTo>
                      <a:lnTo>
                        <a:pt x="83" y="146"/>
                      </a:lnTo>
                      <a:lnTo>
                        <a:pt x="84" y="146"/>
                      </a:lnTo>
                      <a:lnTo>
                        <a:pt x="84" y="146"/>
                      </a:lnTo>
                      <a:lnTo>
                        <a:pt x="85" y="146"/>
                      </a:lnTo>
                      <a:lnTo>
                        <a:pt x="85" y="146"/>
                      </a:lnTo>
                      <a:lnTo>
                        <a:pt x="85" y="146"/>
                      </a:lnTo>
                      <a:lnTo>
                        <a:pt x="85" y="146"/>
                      </a:lnTo>
                      <a:lnTo>
                        <a:pt x="85" y="146"/>
                      </a:lnTo>
                      <a:lnTo>
                        <a:pt x="85" y="146"/>
                      </a:lnTo>
                      <a:lnTo>
                        <a:pt x="85" y="146"/>
                      </a:lnTo>
                      <a:lnTo>
                        <a:pt x="85" y="146"/>
                      </a:lnTo>
                      <a:lnTo>
                        <a:pt x="85" y="146"/>
                      </a:lnTo>
                      <a:lnTo>
                        <a:pt x="85" y="146"/>
                      </a:lnTo>
                      <a:lnTo>
                        <a:pt x="86" y="146"/>
                      </a:lnTo>
                      <a:lnTo>
                        <a:pt x="86" y="147"/>
                      </a:lnTo>
                      <a:lnTo>
                        <a:pt x="86" y="148"/>
                      </a:lnTo>
                      <a:lnTo>
                        <a:pt x="87" y="148"/>
                      </a:lnTo>
                      <a:lnTo>
                        <a:pt x="86" y="148"/>
                      </a:lnTo>
                      <a:lnTo>
                        <a:pt x="87" y="148"/>
                      </a:lnTo>
                      <a:lnTo>
                        <a:pt x="87" y="148"/>
                      </a:lnTo>
                      <a:lnTo>
                        <a:pt x="87" y="149"/>
                      </a:lnTo>
                      <a:lnTo>
                        <a:pt x="87" y="148"/>
                      </a:lnTo>
                      <a:lnTo>
                        <a:pt x="87" y="149"/>
                      </a:lnTo>
                      <a:lnTo>
                        <a:pt x="87" y="149"/>
                      </a:lnTo>
                      <a:lnTo>
                        <a:pt x="87" y="149"/>
                      </a:lnTo>
                      <a:lnTo>
                        <a:pt x="87" y="149"/>
                      </a:lnTo>
                      <a:lnTo>
                        <a:pt x="87" y="150"/>
                      </a:lnTo>
                      <a:lnTo>
                        <a:pt x="87" y="150"/>
                      </a:lnTo>
                      <a:lnTo>
                        <a:pt x="87" y="150"/>
                      </a:lnTo>
                      <a:lnTo>
                        <a:pt x="87" y="150"/>
                      </a:lnTo>
                      <a:lnTo>
                        <a:pt x="87" y="150"/>
                      </a:lnTo>
                      <a:lnTo>
                        <a:pt x="87" y="150"/>
                      </a:lnTo>
                      <a:lnTo>
                        <a:pt x="87" y="150"/>
                      </a:lnTo>
                      <a:lnTo>
                        <a:pt x="87" y="150"/>
                      </a:lnTo>
                      <a:lnTo>
                        <a:pt x="87" y="150"/>
                      </a:lnTo>
                      <a:lnTo>
                        <a:pt x="87" y="150"/>
                      </a:lnTo>
                      <a:lnTo>
                        <a:pt x="87" y="151"/>
                      </a:lnTo>
                      <a:lnTo>
                        <a:pt x="87" y="152"/>
                      </a:lnTo>
                      <a:lnTo>
                        <a:pt x="87" y="152"/>
                      </a:lnTo>
                      <a:lnTo>
                        <a:pt x="87" y="152"/>
                      </a:lnTo>
                      <a:lnTo>
                        <a:pt x="87" y="152"/>
                      </a:lnTo>
                      <a:lnTo>
                        <a:pt x="87" y="153"/>
                      </a:lnTo>
                      <a:lnTo>
                        <a:pt x="87" y="152"/>
                      </a:lnTo>
                      <a:lnTo>
                        <a:pt x="88" y="152"/>
                      </a:lnTo>
                      <a:lnTo>
                        <a:pt x="88" y="153"/>
                      </a:lnTo>
                      <a:lnTo>
                        <a:pt x="88" y="152"/>
                      </a:lnTo>
                      <a:lnTo>
                        <a:pt x="89" y="152"/>
                      </a:lnTo>
                      <a:lnTo>
                        <a:pt x="89" y="153"/>
                      </a:lnTo>
                      <a:lnTo>
                        <a:pt x="89" y="152"/>
                      </a:lnTo>
                      <a:lnTo>
                        <a:pt x="89" y="152"/>
                      </a:lnTo>
                      <a:lnTo>
                        <a:pt x="89" y="153"/>
                      </a:lnTo>
                      <a:lnTo>
                        <a:pt x="89" y="152"/>
                      </a:lnTo>
                      <a:lnTo>
                        <a:pt x="90" y="152"/>
                      </a:lnTo>
                      <a:lnTo>
                        <a:pt x="90" y="153"/>
                      </a:lnTo>
                      <a:lnTo>
                        <a:pt x="91" y="153"/>
                      </a:lnTo>
                      <a:lnTo>
                        <a:pt x="95" y="156"/>
                      </a:lnTo>
                      <a:lnTo>
                        <a:pt x="100" y="158"/>
                      </a:lnTo>
                      <a:lnTo>
                        <a:pt x="100" y="156"/>
                      </a:lnTo>
                      <a:lnTo>
                        <a:pt x="102" y="154"/>
                      </a:lnTo>
                      <a:lnTo>
                        <a:pt x="102" y="154"/>
                      </a:lnTo>
                      <a:lnTo>
                        <a:pt x="102" y="153"/>
                      </a:lnTo>
                      <a:lnTo>
                        <a:pt x="102" y="152"/>
                      </a:lnTo>
                      <a:lnTo>
                        <a:pt x="102" y="152"/>
                      </a:lnTo>
                      <a:lnTo>
                        <a:pt x="102" y="150"/>
                      </a:lnTo>
                      <a:lnTo>
                        <a:pt x="103" y="150"/>
                      </a:lnTo>
                      <a:lnTo>
                        <a:pt x="104" y="150"/>
                      </a:lnTo>
                      <a:lnTo>
                        <a:pt x="105" y="150"/>
                      </a:lnTo>
                      <a:lnTo>
                        <a:pt x="105" y="149"/>
                      </a:lnTo>
                      <a:lnTo>
                        <a:pt x="105" y="150"/>
                      </a:lnTo>
                      <a:lnTo>
                        <a:pt x="106" y="150"/>
                      </a:lnTo>
                      <a:lnTo>
                        <a:pt x="106" y="149"/>
                      </a:lnTo>
                      <a:lnTo>
                        <a:pt x="106" y="150"/>
                      </a:lnTo>
                      <a:lnTo>
                        <a:pt x="106" y="150"/>
                      </a:lnTo>
                      <a:lnTo>
                        <a:pt x="106" y="149"/>
                      </a:lnTo>
                      <a:lnTo>
                        <a:pt x="106" y="150"/>
                      </a:lnTo>
                      <a:lnTo>
                        <a:pt x="106" y="150"/>
                      </a:lnTo>
                      <a:lnTo>
                        <a:pt x="106" y="151"/>
                      </a:lnTo>
                      <a:lnTo>
                        <a:pt x="106" y="152"/>
                      </a:lnTo>
                      <a:lnTo>
                        <a:pt x="106" y="152"/>
                      </a:lnTo>
                      <a:lnTo>
                        <a:pt x="106" y="152"/>
                      </a:lnTo>
                      <a:lnTo>
                        <a:pt x="106" y="153"/>
                      </a:lnTo>
                      <a:lnTo>
                        <a:pt x="106" y="153"/>
                      </a:lnTo>
                      <a:lnTo>
                        <a:pt x="106" y="154"/>
                      </a:lnTo>
                      <a:lnTo>
                        <a:pt x="105" y="154"/>
                      </a:lnTo>
                      <a:lnTo>
                        <a:pt x="105" y="154"/>
                      </a:lnTo>
                      <a:lnTo>
                        <a:pt x="105" y="155"/>
                      </a:lnTo>
                      <a:lnTo>
                        <a:pt x="106" y="156"/>
                      </a:lnTo>
                      <a:lnTo>
                        <a:pt x="106" y="156"/>
                      </a:lnTo>
                      <a:lnTo>
                        <a:pt x="106" y="157"/>
                      </a:lnTo>
                      <a:lnTo>
                        <a:pt x="106" y="158"/>
                      </a:lnTo>
                      <a:lnTo>
                        <a:pt x="106" y="158"/>
                      </a:lnTo>
                      <a:lnTo>
                        <a:pt x="106" y="158"/>
                      </a:lnTo>
                      <a:lnTo>
                        <a:pt x="106" y="159"/>
                      </a:lnTo>
                      <a:lnTo>
                        <a:pt x="107" y="159"/>
                      </a:lnTo>
                      <a:lnTo>
                        <a:pt x="107" y="160"/>
                      </a:lnTo>
                      <a:lnTo>
                        <a:pt x="107" y="160"/>
                      </a:lnTo>
                      <a:lnTo>
                        <a:pt x="108" y="160"/>
                      </a:lnTo>
                      <a:lnTo>
                        <a:pt x="108" y="161"/>
                      </a:lnTo>
                      <a:lnTo>
                        <a:pt x="108" y="162"/>
                      </a:lnTo>
                      <a:lnTo>
                        <a:pt x="108" y="162"/>
                      </a:lnTo>
                      <a:lnTo>
                        <a:pt x="108" y="163"/>
                      </a:lnTo>
                      <a:lnTo>
                        <a:pt x="108" y="164"/>
                      </a:lnTo>
                      <a:lnTo>
                        <a:pt x="109" y="164"/>
                      </a:lnTo>
                      <a:lnTo>
                        <a:pt x="109" y="165"/>
                      </a:lnTo>
                      <a:lnTo>
                        <a:pt x="110" y="165"/>
                      </a:lnTo>
                      <a:lnTo>
                        <a:pt x="110" y="166"/>
                      </a:lnTo>
                      <a:lnTo>
                        <a:pt x="110" y="166"/>
                      </a:lnTo>
                      <a:lnTo>
                        <a:pt x="110" y="167"/>
                      </a:lnTo>
                      <a:lnTo>
                        <a:pt x="111" y="167"/>
                      </a:lnTo>
                      <a:lnTo>
                        <a:pt x="111" y="167"/>
                      </a:lnTo>
                      <a:lnTo>
                        <a:pt x="111" y="168"/>
                      </a:lnTo>
                      <a:lnTo>
                        <a:pt x="112" y="169"/>
                      </a:lnTo>
                      <a:lnTo>
                        <a:pt x="111" y="169"/>
                      </a:lnTo>
                      <a:lnTo>
                        <a:pt x="111" y="169"/>
                      </a:lnTo>
                      <a:lnTo>
                        <a:pt x="111" y="170"/>
                      </a:lnTo>
                      <a:lnTo>
                        <a:pt x="112" y="170"/>
                      </a:lnTo>
                      <a:lnTo>
                        <a:pt x="112" y="171"/>
                      </a:lnTo>
                      <a:lnTo>
                        <a:pt x="112" y="171"/>
                      </a:lnTo>
                      <a:lnTo>
                        <a:pt x="112" y="172"/>
                      </a:lnTo>
                      <a:lnTo>
                        <a:pt x="111" y="172"/>
                      </a:lnTo>
                      <a:lnTo>
                        <a:pt x="112" y="172"/>
                      </a:lnTo>
                      <a:lnTo>
                        <a:pt x="111" y="173"/>
                      </a:lnTo>
                      <a:lnTo>
                        <a:pt x="111" y="173"/>
                      </a:lnTo>
                      <a:lnTo>
                        <a:pt x="111" y="174"/>
                      </a:lnTo>
                      <a:lnTo>
                        <a:pt x="111" y="175"/>
                      </a:lnTo>
                      <a:lnTo>
                        <a:pt x="111" y="175"/>
                      </a:lnTo>
                      <a:lnTo>
                        <a:pt x="111" y="176"/>
                      </a:lnTo>
                      <a:lnTo>
                        <a:pt x="111" y="177"/>
                      </a:lnTo>
                      <a:lnTo>
                        <a:pt x="112" y="177"/>
                      </a:lnTo>
                      <a:lnTo>
                        <a:pt x="112" y="177"/>
                      </a:lnTo>
                      <a:lnTo>
                        <a:pt x="112" y="178"/>
                      </a:lnTo>
                      <a:lnTo>
                        <a:pt x="112" y="179"/>
                      </a:lnTo>
                      <a:lnTo>
                        <a:pt x="112" y="179"/>
                      </a:lnTo>
                      <a:lnTo>
                        <a:pt x="112" y="179"/>
                      </a:lnTo>
                      <a:lnTo>
                        <a:pt x="112" y="179"/>
                      </a:lnTo>
                      <a:lnTo>
                        <a:pt x="112" y="179"/>
                      </a:lnTo>
                      <a:lnTo>
                        <a:pt x="112" y="180"/>
                      </a:lnTo>
                      <a:lnTo>
                        <a:pt x="113" y="180"/>
                      </a:lnTo>
                      <a:lnTo>
                        <a:pt x="113" y="181"/>
                      </a:lnTo>
                      <a:lnTo>
                        <a:pt x="112" y="181"/>
                      </a:lnTo>
                      <a:lnTo>
                        <a:pt x="112" y="181"/>
                      </a:lnTo>
                      <a:lnTo>
                        <a:pt x="113" y="181"/>
                      </a:lnTo>
                      <a:lnTo>
                        <a:pt x="113" y="182"/>
                      </a:lnTo>
                      <a:lnTo>
                        <a:pt x="114" y="182"/>
                      </a:lnTo>
                      <a:lnTo>
                        <a:pt x="115" y="182"/>
                      </a:lnTo>
                      <a:lnTo>
                        <a:pt x="115" y="183"/>
                      </a:lnTo>
                      <a:lnTo>
                        <a:pt x="115" y="183"/>
                      </a:lnTo>
                      <a:lnTo>
                        <a:pt x="115" y="184"/>
                      </a:lnTo>
                      <a:lnTo>
                        <a:pt x="116" y="184"/>
                      </a:lnTo>
                      <a:lnTo>
                        <a:pt x="117" y="184"/>
                      </a:lnTo>
                      <a:lnTo>
                        <a:pt x="117" y="184"/>
                      </a:lnTo>
                      <a:lnTo>
                        <a:pt x="117" y="185"/>
                      </a:lnTo>
                      <a:lnTo>
                        <a:pt x="117" y="186"/>
                      </a:lnTo>
                      <a:lnTo>
                        <a:pt x="117" y="186"/>
                      </a:lnTo>
                      <a:lnTo>
                        <a:pt x="118" y="186"/>
                      </a:lnTo>
                      <a:lnTo>
                        <a:pt x="118" y="186"/>
                      </a:lnTo>
                      <a:lnTo>
                        <a:pt x="119" y="186"/>
                      </a:lnTo>
                      <a:lnTo>
                        <a:pt x="119" y="185"/>
                      </a:lnTo>
                      <a:lnTo>
                        <a:pt x="119" y="185"/>
                      </a:lnTo>
                      <a:lnTo>
                        <a:pt x="119" y="186"/>
                      </a:lnTo>
                      <a:lnTo>
                        <a:pt x="120" y="186"/>
                      </a:lnTo>
                      <a:lnTo>
                        <a:pt x="120" y="185"/>
                      </a:lnTo>
                      <a:lnTo>
                        <a:pt x="121" y="185"/>
                      </a:lnTo>
                      <a:lnTo>
                        <a:pt x="121" y="184"/>
                      </a:lnTo>
                      <a:lnTo>
                        <a:pt x="122" y="185"/>
                      </a:lnTo>
                      <a:lnTo>
                        <a:pt x="123" y="186"/>
                      </a:lnTo>
                      <a:lnTo>
                        <a:pt x="123" y="186"/>
                      </a:lnTo>
                      <a:lnTo>
                        <a:pt x="123" y="185"/>
                      </a:lnTo>
                      <a:lnTo>
                        <a:pt x="123" y="184"/>
                      </a:lnTo>
                      <a:lnTo>
                        <a:pt x="124" y="184"/>
                      </a:lnTo>
                      <a:lnTo>
                        <a:pt x="123" y="184"/>
                      </a:lnTo>
                      <a:lnTo>
                        <a:pt x="123" y="184"/>
                      </a:lnTo>
                      <a:lnTo>
                        <a:pt x="124" y="184"/>
                      </a:lnTo>
                      <a:lnTo>
                        <a:pt x="123" y="184"/>
                      </a:lnTo>
                      <a:lnTo>
                        <a:pt x="124" y="184"/>
                      </a:lnTo>
                      <a:lnTo>
                        <a:pt x="124" y="183"/>
                      </a:lnTo>
                      <a:lnTo>
                        <a:pt x="124" y="182"/>
                      </a:lnTo>
                      <a:lnTo>
                        <a:pt x="125" y="182"/>
                      </a:lnTo>
                      <a:lnTo>
                        <a:pt x="125" y="181"/>
                      </a:lnTo>
                      <a:lnTo>
                        <a:pt x="125" y="181"/>
                      </a:lnTo>
                      <a:lnTo>
                        <a:pt x="125" y="180"/>
                      </a:lnTo>
                      <a:lnTo>
                        <a:pt x="125" y="180"/>
                      </a:lnTo>
                      <a:lnTo>
                        <a:pt x="125" y="179"/>
                      </a:lnTo>
                      <a:lnTo>
                        <a:pt x="126" y="179"/>
                      </a:lnTo>
                      <a:lnTo>
                        <a:pt x="125" y="179"/>
                      </a:lnTo>
                      <a:lnTo>
                        <a:pt x="125" y="178"/>
                      </a:lnTo>
                      <a:lnTo>
                        <a:pt x="126" y="178"/>
                      </a:lnTo>
                      <a:lnTo>
                        <a:pt x="126" y="177"/>
                      </a:lnTo>
                      <a:lnTo>
                        <a:pt x="126" y="177"/>
                      </a:lnTo>
                      <a:lnTo>
                        <a:pt x="126" y="176"/>
                      </a:lnTo>
                      <a:lnTo>
                        <a:pt x="127" y="176"/>
                      </a:lnTo>
                      <a:lnTo>
                        <a:pt x="127" y="175"/>
                      </a:lnTo>
                      <a:lnTo>
                        <a:pt x="127" y="175"/>
                      </a:lnTo>
                      <a:lnTo>
                        <a:pt x="127" y="175"/>
                      </a:lnTo>
                      <a:lnTo>
                        <a:pt x="127" y="174"/>
                      </a:lnTo>
                      <a:lnTo>
                        <a:pt x="128" y="174"/>
                      </a:lnTo>
                      <a:lnTo>
                        <a:pt x="128" y="173"/>
                      </a:lnTo>
                      <a:lnTo>
                        <a:pt x="128" y="173"/>
                      </a:lnTo>
                      <a:lnTo>
                        <a:pt x="129" y="173"/>
                      </a:lnTo>
                      <a:lnTo>
                        <a:pt x="129" y="173"/>
                      </a:lnTo>
                      <a:lnTo>
                        <a:pt x="130" y="173"/>
                      </a:lnTo>
                      <a:lnTo>
                        <a:pt x="130" y="172"/>
                      </a:lnTo>
                      <a:lnTo>
                        <a:pt x="131" y="172"/>
                      </a:lnTo>
                      <a:lnTo>
                        <a:pt x="131" y="173"/>
                      </a:lnTo>
                      <a:lnTo>
                        <a:pt x="131" y="172"/>
                      </a:lnTo>
                      <a:lnTo>
                        <a:pt x="131" y="172"/>
                      </a:lnTo>
                      <a:lnTo>
                        <a:pt x="131" y="171"/>
                      </a:lnTo>
                      <a:lnTo>
                        <a:pt x="132" y="171"/>
                      </a:lnTo>
                      <a:lnTo>
                        <a:pt x="133" y="171"/>
                      </a:lnTo>
                      <a:lnTo>
                        <a:pt x="133" y="170"/>
                      </a:lnTo>
                      <a:lnTo>
                        <a:pt x="134" y="170"/>
                      </a:lnTo>
                      <a:lnTo>
                        <a:pt x="134" y="169"/>
                      </a:lnTo>
                      <a:lnTo>
                        <a:pt x="134" y="169"/>
                      </a:lnTo>
                      <a:lnTo>
                        <a:pt x="134" y="168"/>
                      </a:lnTo>
                      <a:lnTo>
                        <a:pt x="134" y="167"/>
                      </a:lnTo>
                      <a:lnTo>
                        <a:pt x="134" y="167"/>
                      </a:lnTo>
                      <a:lnTo>
                        <a:pt x="134" y="167"/>
                      </a:lnTo>
                      <a:lnTo>
                        <a:pt x="135" y="167"/>
                      </a:lnTo>
                      <a:lnTo>
                        <a:pt x="135" y="166"/>
                      </a:lnTo>
                      <a:lnTo>
                        <a:pt x="136" y="166"/>
                      </a:lnTo>
                      <a:lnTo>
                        <a:pt x="136" y="165"/>
                      </a:lnTo>
                      <a:lnTo>
                        <a:pt x="136" y="165"/>
                      </a:lnTo>
                      <a:lnTo>
                        <a:pt x="137" y="165"/>
                      </a:lnTo>
                      <a:lnTo>
                        <a:pt x="137" y="164"/>
                      </a:lnTo>
                      <a:lnTo>
                        <a:pt x="137" y="163"/>
                      </a:lnTo>
                      <a:lnTo>
                        <a:pt x="137" y="162"/>
                      </a:lnTo>
                      <a:lnTo>
                        <a:pt x="137" y="162"/>
                      </a:lnTo>
                      <a:lnTo>
                        <a:pt x="137" y="161"/>
                      </a:lnTo>
                      <a:lnTo>
                        <a:pt x="138" y="160"/>
                      </a:lnTo>
                      <a:lnTo>
                        <a:pt x="138" y="160"/>
                      </a:lnTo>
                      <a:lnTo>
                        <a:pt x="138" y="159"/>
                      </a:lnTo>
                      <a:lnTo>
                        <a:pt x="138" y="158"/>
                      </a:lnTo>
                      <a:lnTo>
                        <a:pt x="138" y="158"/>
                      </a:lnTo>
                      <a:lnTo>
                        <a:pt x="138" y="157"/>
                      </a:lnTo>
                      <a:lnTo>
                        <a:pt x="138" y="157"/>
                      </a:lnTo>
                      <a:lnTo>
                        <a:pt x="138" y="156"/>
                      </a:lnTo>
                      <a:lnTo>
                        <a:pt x="138" y="156"/>
                      </a:lnTo>
                      <a:lnTo>
                        <a:pt x="138" y="156"/>
                      </a:lnTo>
                      <a:lnTo>
                        <a:pt x="138" y="155"/>
                      </a:lnTo>
                      <a:lnTo>
                        <a:pt x="139" y="154"/>
                      </a:lnTo>
                      <a:lnTo>
                        <a:pt x="139" y="154"/>
                      </a:lnTo>
                      <a:lnTo>
                        <a:pt x="139" y="153"/>
                      </a:lnTo>
                      <a:lnTo>
                        <a:pt x="139" y="152"/>
                      </a:lnTo>
                      <a:lnTo>
                        <a:pt x="139" y="152"/>
                      </a:lnTo>
                      <a:lnTo>
                        <a:pt x="140" y="152"/>
                      </a:lnTo>
                      <a:lnTo>
                        <a:pt x="140" y="151"/>
                      </a:lnTo>
                      <a:lnTo>
                        <a:pt x="140" y="151"/>
                      </a:lnTo>
                      <a:lnTo>
                        <a:pt x="140" y="150"/>
                      </a:lnTo>
                      <a:lnTo>
                        <a:pt x="140" y="150"/>
                      </a:lnTo>
                      <a:lnTo>
                        <a:pt x="141" y="149"/>
                      </a:lnTo>
                      <a:lnTo>
                        <a:pt x="141" y="148"/>
                      </a:lnTo>
                      <a:lnTo>
                        <a:pt x="142" y="148"/>
                      </a:lnTo>
                      <a:lnTo>
                        <a:pt x="142" y="147"/>
                      </a:lnTo>
                      <a:lnTo>
                        <a:pt x="142" y="147"/>
                      </a:lnTo>
                      <a:lnTo>
                        <a:pt x="142" y="146"/>
                      </a:lnTo>
                      <a:lnTo>
                        <a:pt x="143" y="146"/>
                      </a:lnTo>
                      <a:lnTo>
                        <a:pt x="143" y="145"/>
                      </a:lnTo>
                      <a:lnTo>
                        <a:pt x="144" y="145"/>
                      </a:lnTo>
                      <a:lnTo>
                        <a:pt x="144" y="144"/>
                      </a:lnTo>
                      <a:lnTo>
                        <a:pt x="144" y="144"/>
                      </a:lnTo>
                      <a:lnTo>
                        <a:pt x="144" y="143"/>
                      </a:lnTo>
                      <a:lnTo>
                        <a:pt x="145" y="143"/>
                      </a:lnTo>
                      <a:lnTo>
                        <a:pt x="145" y="142"/>
                      </a:lnTo>
                      <a:lnTo>
                        <a:pt x="146" y="142"/>
                      </a:lnTo>
                      <a:lnTo>
                        <a:pt x="146" y="141"/>
                      </a:lnTo>
                      <a:lnTo>
                        <a:pt x="146" y="141"/>
                      </a:lnTo>
                      <a:lnTo>
                        <a:pt x="146" y="140"/>
                      </a:lnTo>
                      <a:lnTo>
                        <a:pt x="147" y="140"/>
                      </a:lnTo>
                      <a:lnTo>
                        <a:pt x="147" y="139"/>
                      </a:lnTo>
                      <a:lnTo>
                        <a:pt x="148" y="139"/>
                      </a:lnTo>
                      <a:lnTo>
                        <a:pt x="148" y="138"/>
                      </a:lnTo>
                      <a:lnTo>
                        <a:pt x="148" y="138"/>
                      </a:lnTo>
                      <a:lnTo>
                        <a:pt x="148" y="137"/>
                      </a:lnTo>
                      <a:lnTo>
                        <a:pt x="149" y="137"/>
                      </a:lnTo>
                      <a:lnTo>
                        <a:pt x="149" y="136"/>
                      </a:lnTo>
                      <a:lnTo>
                        <a:pt x="150" y="136"/>
                      </a:lnTo>
                      <a:lnTo>
                        <a:pt x="150" y="135"/>
                      </a:lnTo>
                      <a:lnTo>
                        <a:pt x="150" y="135"/>
                      </a:lnTo>
                      <a:lnTo>
                        <a:pt x="150" y="135"/>
                      </a:lnTo>
                      <a:lnTo>
                        <a:pt x="151" y="135"/>
                      </a:lnTo>
                      <a:lnTo>
                        <a:pt x="152" y="135"/>
                      </a:lnTo>
                      <a:lnTo>
                        <a:pt x="153" y="135"/>
                      </a:lnTo>
                      <a:lnTo>
                        <a:pt x="153" y="135"/>
                      </a:lnTo>
                      <a:lnTo>
                        <a:pt x="154" y="135"/>
                      </a:lnTo>
                      <a:lnTo>
                        <a:pt x="154" y="134"/>
                      </a:lnTo>
                      <a:lnTo>
                        <a:pt x="155" y="134"/>
                      </a:lnTo>
                      <a:lnTo>
                        <a:pt x="155" y="133"/>
                      </a:lnTo>
                      <a:lnTo>
                        <a:pt x="155" y="133"/>
                      </a:lnTo>
                      <a:lnTo>
                        <a:pt x="156" y="133"/>
                      </a:lnTo>
                      <a:lnTo>
                        <a:pt x="157" y="132"/>
                      </a:lnTo>
                      <a:lnTo>
                        <a:pt x="156" y="132"/>
                      </a:lnTo>
                      <a:lnTo>
                        <a:pt x="156" y="131"/>
                      </a:lnTo>
                      <a:lnTo>
                        <a:pt x="155" y="131"/>
                      </a:lnTo>
                      <a:lnTo>
                        <a:pt x="155" y="131"/>
                      </a:lnTo>
                      <a:lnTo>
                        <a:pt x="155" y="131"/>
                      </a:lnTo>
                      <a:lnTo>
                        <a:pt x="154" y="131"/>
                      </a:lnTo>
                      <a:lnTo>
                        <a:pt x="154" y="130"/>
                      </a:lnTo>
                      <a:lnTo>
                        <a:pt x="154" y="129"/>
                      </a:lnTo>
                      <a:lnTo>
                        <a:pt x="153" y="129"/>
                      </a:lnTo>
                      <a:lnTo>
                        <a:pt x="153" y="128"/>
                      </a:lnTo>
                      <a:lnTo>
                        <a:pt x="153" y="127"/>
                      </a:lnTo>
                      <a:lnTo>
                        <a:pt x="153" y="127"/>
                      </a:lnTo>
                      <a:lnTo>
                        <a:pt x="153" y="127"/>
                      </a:lnTo>
                      <a:lnTo>
                        <a:pt x="153" y="126"/>
                      </a:lnTo>
                      <a:lnTo>
                        <a:pt x="153" y="125"/>
                      </a:lnTo>
                      <a:lnTo>
                        <a:pt x="153" y="125"/>
                      </a:lnTo>
                      <a:lnTo>
                        <a:pt x="153" y="124"/>
                      </a:lnTo>
                      <a:lnTo>
                        <a:pt x="153" y="123"/>
                      </a:lnTo>
                      <a:lnTo>
                        <a:pt x="153" y="123"/>
                      </a:lnTo>
                      <a:lnTo>
                        <a:pt x="153" y="122"/>
                      </a:lnTo>
                      <a:lnTo>
                        <a:pt x="152" y="122"/>
                      </a:lnTo>
                      <a:lnTo>
                        <a:pt x="152" y="122"/>
                      </a:lnTo>
                      <a:lnTo>
                        <a:pt x="151" y="122"/>
                      </a:lnTo>
                      <a:lnTo>
                        <a:pt x="151" y="121"/>
                      </a:lnTo>
                      <a:lnTo>
                        <a:pt x="151" y="120"/>
                      </a:lnTo>
                      <a:lnTo>
                        <a:pt x="151" y="120"/>
                      </a:lnTo>
                      <a:lnTo>
                        <a:pt x="151" y="119"/>
                      </a:lnTo>
                      <a:lnTo>
                        <a:pt x="151" y="118"/>
                      </a:lnTo>
                      <a:lnTo>
                        <a:pt x="150" y="118"/>
                      </a:lnTo>
                      <a:lnTo>
                        <a:pt x="150" y="117"/>
                      </a:lnTo>
                      <a:lnTo>
                        <a:pt x="150" y="116"/>
                      </a:lnTo>
                      <a:lnTo>
                        <a:pt x="150" y="116"/>
                      </a:lnTo>
                      <a:lnTo>
                        <a:pt x="149" y="116"/>
                      </a:lnTo>
                      <a:lnTo>
                        <a:pt x="149" y="115"/>
                      </a:lnTo>
                      <a:lnTo>
                        <a:pt x="149" y="114"/>
                      </a:lnTo>
                      <a:lnTo>
                        <a:pt x="149" y="114"/>
                      </a:lnTo>
                      <a:lnTo>
                        <a:pt x="149" y="113"/>
                      </a:lnTo>
                      <a:lnTo>
                        <a:pt x="148" y="112"/>
                      </a:lnTo>
                      <a:lnTo>
                        <a:pt x="148" y="112"/>
                      </a:lnTo>
                      <a:lnTo>
                        <a:pt x="147" y="112"/>
                      </a:lnTo>
                      <a:lnTo>
                        <a:pt x="146" y="112"/>
                      </a:lnTo>
                      <a:lnTo>
                        <a:pt x="146" y="111"/>
                      </a:lnTo>
                      <a:lnTo>
                        <a:pt x="146" y="111"/>
                      </a:lnTo>
                      <a:lnTo>
                        <a:pt x="146" y="110"/>
                      </a:lnTo>
                      <a:lnTo>
                        <a:pt x="145" y="110"/>
                      </a:lnTo>
                      <a:lnTo>
                        <a:pt x="145" y="109"/>
                      </a:lnTo>
                      <a:lnTo>
                        <a:pt x="144" y="108"/>
                      </a:lnTo>
                      <a:lnTo>
                        <a:pt x="144" y="108"/>
                      </a:lnTo>
                      <a:lnTo>
                        <a:pt x="144" y="108"/>
                      </a:lnTo>
                      <a:lnTo>
                        <a:pt x="144" y="107"/>
                      </a:lnTo>
                      <a:lnTo>
                        <a:pt x="143" y="107"/>
                      </a:lnTo>
                      <a:lnTo>
                        <a:pt x="142" y="106"/>
                      </a:lnTo>
                      <a:lnTo>
                        <a:pt x="142" y="106"/>
                      </a:lnTo>
                      <a:lnTo>
                        <a:pt x="142" y="105"/>
                      </a:lnTo>
                      <a:lnTo>
                        <a:pt x="141" y="104"/>
                      </a:lnTo>
                      <a:lnTo>
                        <a:pt x="141" y="103"/>
                      </a:lnTo>
                      <a:lnTo>
                        <a:pt x="140" y="103"/>
                      </a:lnTo>
                      <a:lnTo>
                        <a:pt x="140" y="102"/>
                      </a:lnTo>
                      <a:lnTo>
                        <a:pt x="140" y="101"/>
                      </a:lnTo>
                      <a:lnTo>
                        <a:pt x="140" y="101"/>
                      </a:lnTo>
                      <a:lnTo>
                        <a:pt x="139" y="101"/>
                      </a:lnTo>
                      <a:lnTo>
                        <a:pt x="139" y="100"/>
                      </a:lnTo>
                      <a:lnTo>
                        <a:pt x="138" y="100"/>
                      </a:lnTo>
                      <a:lnTo>
                        <a:pt x="138" y="99"/>
                      </a:lnTo>
                      <a:lnTo>
                        <a:pt x="138" y="99"/>
                      </a:lnTo>
                      <a:lnTo>
                        <a:pt x="138" y="99"/>
                      </a:lnTo>
                      <a:lnTo>
                        <a:pt x="138" y="98"/>
                      </a:lnTo>
                      <a:lnTo>
                        <a:pt x="138" y="97"/>
                      </a:lnTo>
                      <a:lnTo>
                        <a:pt x="138" y="97"/>
                      </a:lnTo>
                      <a:lnTo>
                        <a:pt x="138" y="96"/>
                      </a:lnTo>
                      <a:lnTo>
                        <a:pt x="137" y="96"/>
                      </a:lnTo>
                      <a:lnTo>
                        <a:pt x="137" y="95"/>
                      </a:lnTo>
                      <a:lnTo>
                        <a:pt x="138" y="95"/>
                      </a:lnTo>
                      <a:lnTo>
                        <a:pt x="138" y="94"/>
                      </a:lnTo>
                      <a:lnTo>
                        <a:pt x="138" y="93"/>
                      </a:lnTo>
                      <a:lnTo>
                        <a:pt x="137" y="93"/>
                      </a:lnTo>
                      <a:lnTo>
                        <a:pt x="136" y="93"/>
                      </a:lnTo>
                      <a:lnTo>
                        <a:pt x="136" y="93"/>
                      </a:lnTo>
                      <a:lnTo>
                        <a:pt x="135" y="93"/>
                      </a:lnTo>
                      <a:lnTo>
                        <a:pt x="134" y="93"/>
                      </a:lnTo>
                      <a:lnTo>
                        <a:pt x="134" y="92"/>
                      </a:lnTo>
                      <a:lnTo>
                        <a:pt x="133" y="92"/>
                      </a:lnTo>
                      <a:lnTo>
                        <a:pt x="132" y="92"/>
                      </a:lnTo>
                      <a:lnTo>
                        <a:pt x="131" y="91"/>
                      </a:lnTo>
                      <a:lnTo>
                        <a:pt x="131" y="91"/>
                      </a:lnTo>
                      <a:lnTo>
                        <a:pt x="131" y="91"/>
                      </a:lnTo>
                      <a:lnTo>
                        <a:pt x="131" y="90"/>
                      </a:lnTo>
                      <a:lnTo>
                        <a:pt x="131" y="89"/>
                      </a:lnTo>
                      <a:lnTo>
                        <a:pt x="130" y="89"/>
                      </a:lnTo>
                      <a:lnTo>
                        <a:pt x="130" y="89"/>
                      </a:lnTo>
                      <a:lnTo>
                        <a:pt x="130" y="88"/>
                      </a:lnTo>
                      <a:lnTo>
                        <a:pt x="130" y="87"/>
                      </a:lnTo>
                      <a:lnTo>
                        <a:pt x="129" y="87"/>
                      </a:lnTo>
                      <a:lnTo>
                        <a:pt x="129" y="87"/>
                      </a:lnTo>
                      <a:lnTo>
                        <a:pt x="128" y="87"/>
                      </a:lnTo>
                      <a:lnTo>
                        <a:pt x="127" y="87"/>
                      </a:lnTo>
                      <a:lnTo>
                        <a:pt x="127" y="88"/>
                      </a:lnTo>
                      <a:lnTo>
                        <a:pt x="127" y="87"/>
                      </a:lnTo>
                      <a:lnTo>
                        <a:pt x="127" y="86"/>
                      </a:lnTo>
                      <a:lnTo>
                        <a:pt x="126" y="85"/>
                      </a:lnTo>
                      <a:lnTo>
                        <a:pt x="126" y="85"/>
                      </a:lnTo>
                      <a:lnTo>
                        <a:pt x="125" y="84"/>
                      </a:lnTo>
                      <a:lnTo>
                        <a:pt x="125" y="83"/>
                      </a:lnTo>
                      <a:lnTo>
                        <a:pt x="124" y="82"/>
                      </a:lnTo>
                      <a:lnTo>
                        <a:pt x="123" y="82"/>
                      </a:lnTo>
                      <a:lnTo>
                        <a:pt x="123" y="82"/>
                      </a:lnTo>
                      <a:lnTo>
                        <a:pt x="123" y="81"/>
                      </a:lnTo>
                      <a:lnTo>
                        <a:pt x="124" y="80"/>
                      </a:lnTo>
                      <a:lnTo>
                        <a:pt x="124" y="79"/>
                      </a:lnTo>
                      <a:lnTo>
                        <a:pt x="124" y="78"/>
                      </a:lnTo>
                      <a:lnTo>
                        <a:pt x="125" y="78"/>
                      </a:lnTo>
                      <a:lnTo>
                        <a:pt x="125" y="77"/>
                      </a:lnTo>
                      <a:lnTo>
                        <a:pt x="125" y="76"/>
                      </a:lnTo>
                      <a:lnTo>
                        <a:pt x="125" y="76"/>
                      </a:lnTo>
                      <a:lnTo>
                        <a:pt x="126" y="76"/>
                      </a:lnTo>
                      <a:lnTo>
                        <a:pt x="126" y="75"/>
                      </a:lnTo>
                      <a:lnTo>
                        <a:pt x="126" y="74"/>
                      </a:lnTo>
                      <a:lnTo>
                        <a:pt x="126" y="74"/>
                      </a:lnTo>
                      <a:lnTo>
                        <a:pt x="126" y="73"/>
                      </a:lnTo>
                      <a:lnTo>
                        <a:pt x="126" y="72"/>
                      </a:lnTo>
                      <a:lnTo>
                        <a:pt x="126" y="72"/>
                      </a:lnTo>
                      <a:lnTo>
                        <a:pt x="126" y="71"/>
                      </a:lnTo>
                      <a:lnTo>
                        <a:pt x="126" y="70"/>
                      </a:lnTo>
                      <a:lnTo>
                        <a:pt x="127" y="69"/>
                      </a:lnTo>
                      <a:lnTo>
                        <a:pt x="127" y="68"/>
                      </a:lnTo>
                      <a:lnTo>
                        <a:pt x="127" y="66"/>
                      </a:lnTo>
                      <a:lnTo>
                        <a:pt x="127" y="66"/>
                      </a:lnTo>
                      <a:lnTo>
                        <a:pt x="127" y="65"/>
                      </a:lnTo>
                      <a:lnTo>
                        <a:pt x="128" y="64"/>
                      </a:lnTo>
                      <a:lnTo>
                        <a:pt x="128" y="63"/>
                      </a:lnTo>
                      <a:lnTo>
                        <a:pt x="128" y="62"/>
                      </a:lnTo>
                      <a:lnTo>
                        <a:pt x="128" y="61"/>
                      </a:lnTo>
                      <a:lnTo>
                        <a:pt x="128" y="61"/>
                      </a:lnTo>
                      <a:lnTo>
                        <a:pt x="128" y="60"/>
                      </a:lnTo>
                      <a:lnTo>
                        <a:pt x="129" y="59"/>
                      </a:lnTo>
                      <a:lnTo>
                        <a:pt x="129" y="59"/>
                      </a:lnTo>
                      <a:lnTo>
                        <a:pt x="129" y="59"/>
                      </a:lnTo>
                      <a:lnTo>
                        <a:pt x="129" y="58"/>
                      </a:lnTo>
                      <a:lnTo>
                        <a:pt x="129" y="57"/>
                      </a:lnTo>
                      <a:lnTo>
                        <a:pt x="129" y="57"/>
                      </a:lnTo>
                      <a:lnTo>
                        <a:pt x="129" y="57"/>
                      </a:lnTo>
                      <a:lnTo>
                        <a:pt x="128" y="56"/>
                      </a:lnTo>
                      <a:lnTo>
                        <a:pt x="128" y="55"/>
                      </a:lnTo>
                      <a:lnTo>
                        <a:pt x="128" y="55"/>
                      </a:lnTo>
                      <a:lnTo>
                        <a:pt x="128" y="54"/>
                      </a:lnTo>
                      <a:lnTo>
                        <a:pt x="128" y="53"/>
                      </a:lnTo>
                      <a:lnTo>
                        <a:pt x="127" y="53"/>
                      </a:lnTo>
                      <a:lnTo>
                        <a:pt x="127" y="53"/>
                      </a:lnTo>
                      <a:lnTo>
                        <a:pt x="127" y="52"/>
                      </a:lnTo>
                      <a:lnTo>
                        <a:pt x="126" y="52"/>
                      </a:lnTo>
                      <a:lnTo>
                        <a:pt x="125" y="52"/>
                      </a:lnTo>
                      <a:lnTo>
                        <a:pt x="125" y="51"/>
                      </a:lnTo>
                      <a:lnTo>
                        <a:pt x="125" y="51"/>
                      </a:lnTo>
                      <a:lnTo>
                        <a:pt x="124" y="50"/>
                      </a:lnTo>
                      <a:lnTo>
                        <a:pt x="124" y="49"/>
                      </a:lnTo>
                      <a:lnTo>
                        <a:pt x="124" y="49"/>
                      </a:lnTo>
                      <a:lnTo>
                        <a:pt x="123" y="48"/>
                      </a:lnTo>
                      <a:lnTo>
                        <a:pt x="123" y="47"/>
                      </a:lnTo>
                      <a:lnTo>
                        <a:pt x="124" y="47"/>
                      </a:lnTo>
                      <a:lnTo>
                        <a:pt x="124" y="47"/>
                      </a:lnTo>
                      <a:lnTo>
                        <a:pt x="123" y="47"/>
                      </a:lnTo>
                      <a:lnTo>
                        <a:pt x="123" y="46"/>
                      </a:lnTo>
                      <a:lnTo>
                        <a:pt x="123" y="45"/>
                      </a:lnTo>
                      <a:lnTo>
                        <a:pt x="123" y="45"/>
                      </a:lnTo>
                      <a:lnTo>
                        <a:pt x="122" y="44"/>
                      </a:lnTo>
                      <a:lnTo>
                        <a:pt x="122" y="43"/>
                      </a:lnTo>
                      <a:lnTo>
                        <a:pt x="122" y="42"/>
                      </a:lnTo>
                      <a:lnTo>
                        <a:pt x="122" y="42"/>
                      </a:lnTo>
                      <a:lnTo>
                        <a:pt x="122" y="41"/>
                      </a:lnTo>
                      <a:lnTo>
                        <a:pt x="121" y="41"/>
                      </a:lnTo>
                      <a:lnTo>
                        <a:pt x="121" y="40"/>
                      </a:lnTo>
                      <a:lnTo>
                        <a:pt x="121" y="40"/>
                      </a:lnTo>
                      <a:lnTo>
                        <a:pt x="121" y="40"/>
                      </a:lnTo>
                      <a:lnTo>
                        <a:pt x="121" y="39"/>
                      </a:lnTo>
                      <a:lnTo>
                        <a:pt x="121" y="39"/>
                      </a:lnTo>
                      <a:lnTo>
                        <a:pt x="121" y="38"/>
                      </a:lnTo>
                      <a:lnTo>
                        <a:pt x="121" y="38"/>
                      </a:lnTo>
                      <a:lnTo>
                        <a:pt x="121" y="38"/>
                      </a:lnTo>
                      <a:lnTo>
                        <a:pt x="120" y="38"/>
                      </a:lnTo>
                      <a:lnTo>
                        <a:pt x="120" y="37"/>
                      </a:lnTo>
                      <a:lnTo>
                        <a:pt x="121" y="36"/>
                      </a:lnTo>
                      <a:lnTo>
                        <a:pt x="121" y="36"/>
                      </a:lnTo>
                      <a:lnTo>
                        <a:pt x="121" y="35"/>
                      </a:lnTo>
                      <a:lnTo>
                        <a:pt x="120" y="34"/>
                      </a:lnTo>
                      <a:lnTo>
                        <a:pt x="119" y="34"/>
                      </a:lnTo>
                      <a:lnTo>
                        <a:pt x="119" y="34"/>
                      </a:lnTo>
                      <a:lnTo>
                        <a:pt x="118" y="34"/>
                      </a:lnTo>
                      <a:lnTo>
                        <a:pt x="117" y="34"/>
                      </a:lnTo>
                      <a:lnTo>
                        <a:pt x="117" y="33"/>
                      </a:lnTo>
                      <a:lnTo>
                        <a:pt x="116" y="33"/>
                      </a:lnTo>
                      <a:lnTo>
                        <a:pt x="115" y="32"/>
                      </a:lnTo>
                      <a:lnTo>
                        <a:pt x="115" y="32"/>
                      </a:lnTo>
                      <a:lnTo>
                        <a:pt x="114" y="32"/>
                      </a:lnTo>
                      <a:lnTo>
                        <a:pt x="113" y="32"/>
                      </a:lnTo>
                      <a:lnTo>
                        <a:pt x="112" y="32"/>
                      </a:lnTo>
                      <a:lnTo>
                        <a:pt x="112" y="32"/>
                      </a:lnTo>
                      <a:lnTo>
                        <a:pt x="112" y="32"/>
                      </a:lnTo>
                      <a:lnTo>
                        <a:pt x="112" y="33"/>
                      </a:lnTo>
                      <a:lnTo>
                        <a:pt x="111" y="33"/>
                      </a:lnTo>
                      <a:lnTo>
                        <a:pt x="111" y="32"/>
                      </a:lnTo>
                      <a:lnTo>
                        <a:pt x="110" y="32"/>
                      </a:lnTo>
                      <a:lnTo>
                        <a:pt x="110" y="32"/>
                      </a:lnTo>
                      <a:lnTo>
                        <a:pt x="110" y="32"/>
                      </a:lnTo>
                      <a:lnTo>
                        <a:pt x="110" y="31"/>
                      </a:lnTo>
                      <a:lnTo>
                        <a:pt x="109" y="31"/>
                      </a:lnTo>
                      <a:lnTo>
                        <a:pt x="109" y="30"/>
                      </a:lnTo>
                      <a:lnTo>
                        <a:pt x="109" y="30"/>
                      </a:lnTo>
                      <a:lnTo>
                        <a:pt x="110" y="30"/>
                      </a:lnTo>
                      <a:lnTo>
                        <a:pt x="110" y="29"/>
                      </a:lnTo>
                      <a:lnTo>
                        <a:pt x="110" y="28"/>
                      </a:lnTo>
                      <a:lnTo>
                        <a:pt x="110" y="28"/>
                      </a:lnTo>
                      <a:lnTo>
                        <a:pt x="110" y="27"/>
                      </a:lnTo>
                      <a:lnTo>
                        <a:pt x="110" y="27"/>
                      </a:lnTo>
                      <a:lnTo>
                        <a:pt x="110" y="26"/>
                      </a:lnTo>
                      <a:lnTo>
                        <a:pt x="109" y="26"/>
                      </a:lnTo>
                      <a:lnTo>
                        <a:pt x="109" y="26"/>
                      </a:lnTo>
                      <a:lnTo>
                        <a:pt x="108" y="26"/>
                      </a:lnTo>
                      <a:lnTo>
                        <a:pt x="108" y="25"/>
                      </a:lnTo>
                      <a:lnTo>
                        <a:pt x="107" y="25"/>
                      </a:lnTo>
                      <a:lnTo>
                        <a:pt x="106" y="25"/>
                      </a:lnTo>
                      <a:lnTo>
                        <a:pt x="106" y="24"/>
                      </a:lnTo>
                      <a:lnTo>
                        <a:pt x="106" y="24"/>
                      </a:lnTo>
                      <a:lnTo>
                        <a:pt x="106" y="23"/>
                      </a:lnTo>
                      <a:lnTo>
                        <a:pt x="106" y="23"/>
                      </a:lnTo>
                      <a:lnTo>
                        <a:pt x="106" y="22"/>
                      </a:lnTo>
                      <a:lnTo>
                        <a:pt x="106" y="21"/>
                      </a:lnTo>
                      <a:lnTo>
                        <a:pt x="106" y="21"/>
                      </a:lnTo>
                      <a:lnTo>
                        <a:pt x="106" y="20"/>
                      </a:lnTo>
                      <a:lnTo>
                        <a:pt x="105" y="20"/>
                      </a:lnTo>
                      <a:lnTo>
                        <a:pt x="104" y="20"/>
                      </a:lnTo>
                      <a:lnTo>
                        <a:pt x="104" y="21"/>
                      </a:lnTo>
                      <a:lnTo>
                        <a:pt x="104" y="21"/>
                      </a:lnTo>
                      <a:lnTo>
                        <a:pt x="104" y="21"/>
                      </a:lnTo>
                      <a:lnTo>
                        <a:pt x="103" y="22"/>
                      </a:lnTo>
                      <a:lnTo>
                        <a:pt x="102" y="22"/>
                      </a:lnTo>
                      <a:lnTo>
                        <a:pt x="102" y="22"/>
                      </a:lnTo>
                      <a:lnTo>
                        <a:pt x="101" y="22"/>
                      </a:lnTo>
                      <a:lnTo>
                        <a:pt x="100" y="22"/>
                      </a:lnTo>
                      <a:lnTo>
                        <a:pt x="100" y="22"/>
                      </a:lnTo>
                      <a:lnTo>
                        <a:pt x="99" y="21"/>
                      </a:lnTo>
                      <a:lnTo>
                        <a:pt x="98" y="21"/>
                      </a:lnTo>
                      <a:lnTo>
                        <a:pt x="98" y="21"/>
                      </a:lnTo>
                      <a:lnTo>
                        <a:pt x="97" y="21"/>
                      </a:lnTo>
                      <a:lnTo>
                        <a:pt x="96" y="21"/>
                      </a:lnTo>
                      <a:lnTo>
                        <a:pt x="96" y="21"/>
                      </a:lnTo>
                      <a:lnTo>
                        <a:pt x="95" y="21"/>
                      </a:lnTo>
                      <a:lnTo>
                        <a:pt x="94" y="21"/>
                      </a:lnTo>
                      <a:lnTo>
                        <a:pt x="93" y="21"/>
                      </a:lnTo>
                      <a:lnTo>
                        <a:pt x="93" y="20"/>
                      </a:lnTo>
                      <a:lnTo>
                        <a:pt x="93" y="20"/>
                      </a:lnTo>
                      <a:lnTo>
                        <a:pt x="93" y="19"/>
                      </a:lnTo>
                      <a:lnTo>
                        <a:pt x="92" y="19"/>
                      </a:lnTo>
                      <a:lnTo>
                        <a:pt x="91" y="19"/>
                      </a:lnTo>
                      <a:lnTo>
                        <a:pt x="91" y="18"/>
                      </a:lnTo>
                      <a:lnTo>
                        <a:pt x="90" y="18"/>
                      </a:lnTo>
                      <a:lnTo>
                        <a:pt x="89" y="19"/>
                      </a:lnTo>
                      <a:lnTo>
                        <a:pt x="88" y="19"/>
                      </a:lnTo>
                      <a:lnTo>
                        <a:pt x="87" y="19"/>
                      </a:lnTo>
                      <a:lnTo>
                        <a:pt x="87" y="20"/>
                      </a:lnTo>
                      <a:lnTo>
                        <a:pt x="86" y="20"/>
                      </a:lnTo>
                      <a:lnTo>
                        <a:pt x="85" y="20"/>
                      </a:lnTo>
                      <a:lnTo>
                        <a:pt x="85" y="20"/>
                      </a:lnTo>
                      <a:lnTo>
                        <a:pt x="84" y="20"/>
                      </a:lnTo>
                      <a:lnTo>
                        <a:pt x="83" y="19"/>
                      </a:lnTo>
                      <a:lnTo>
                        <a:pt x="83" y="20"/>
                      </a:lnTo>
                      <a:lnTo>
                        <a:pt x="81" y="20"/>
                      </a:lnTo>
                      <a:lnTo>
                        <a:pt x="81" y="20"/>
                      </a:lnTo>
                      <a:lnTo>
                        <a:pt x="80" y="21"/>
                      </a:lnTo>
                      <a:lnTo>
                        <a:pt x="79" y="21"/>
                      </a:lnTo>
                      <a:lnTo>
                        <a:pt x="79" y="21"/>
                      </a:lnTo>
                      <a:lnTo>
                        <a:pt x="79" y="22"/>
                      </a:lnTo>
                      <a:lnTo>
                        <a:pt x="78" y="23"/>
                      </a:lnTo>
                      <a:lnTo>
                        <a:pt x="77" y="23"/>
                      </a:lnTo>
                      <a:lnTo>
                        <a:pt x="77" y="24"/>
                      </a:lnTo>
                      <a:lnTo>
                        <a:pt x="77" y="24"/>
                      </a:lnTo>
                      <a:lnTo>
                        <a:pt x="76" y="24"/>
                      </a:lnTo>
                      <a:lnTo>
                        <a:pt x="75" y="24"/>
                      </a:lnTo>
                      <a:lnTo>
                        <a:pt x="74" y="24"/>
                      </a:lnTo>
                      <a:lnTo>
                        <a:pt x="74" y="25"/>
                      </a:lnTo>
                      <a:lnTo>
                        <a:pt x="74" y="25"/>
                      </a:lnTo>
                      <a:lnTo>
                        <a:pt x="74" y="26"/>
                      </a:lnTo>
                      <a:lnTo>
                        <a:pt x="74" y="26"/>
                      </a:lnTo>
                      <a:lnTo>
                        <a:pt x="73" y="26"/>
                      </a:lnTo>
                      <a:lnTo>
                        <a:pt x="72" y="26"/>
                      </a:lnTo>
                      <a:lnTo>
                        <a:pt x="72" y="27"/>
                      </a:lnTo>
                      <a:lnTo>
                        <a:pt x="72" y="28"/>
                      </a:lnTo>
                      <a:lnTo>
                        <a:pt x="72" y="28"/>
                      </a:lnTo>
                      <a:lnTo>
                        <a:pt x="72" y="28"/>
                      </a:lnTo>
                      <a:lnTo>
                        <a:pt x="71" y="28"/>
                      </a:lnTo>
                      <a:lnTo>
                        <a:pt x="70" y="29"/>
                      </a:lnTo>
                      <a:lnTo>
                        <a:pt x="70" y="29"/>
                      </a:lnTo>
                      <a:lnTo>
                        <a:pt x="69" y="29"/>
                      </a:lnTo>
                      <a:lnTo>
                        <a:pt x="68" y="29"/>
                      </a:lnTo>
                      <a:lnTo>
                        <a:pt x="68" y="28"/>
                      </a:lnTo>
                      <a:lnTo>
                        <a:pt x="67" y="28"/>
                      </a:lnTo>
                      <a:lnTo>
                        <a:pt x="66" y="28"/>
                      </a:lnTo>
                      <a:lnTo>
                        <a:pt x="66" y="28"/>
                      </a:lnTo>
                      <a:lnTo>
                        <a:pt x="66" y="28"/>
                      </a:lnTo>
                      <a:lnTo>
                        <a:pt x="66" y="27"/>
                      </a:lnTo>
                      <a:lnTo>
                        <a:pt x="65" y="27"/>
                      </a:lnTo>
                      <a:lnTo>
                        <a:pt x="64" y="27"/>
                      </a:lnTo>
                      <a:lnTo>
                        <a:pt x="64" y="27"/>
                      </a:lnTo>
                      <a:lnTo>
                        <a:pt x="64" y="26"/>
                      </a:lnTo>
                      <a:lnTo>
                        <a:pt x="63" y="26"/>
                      </a:lnTo>
                      <a:lnTo>
                        <a:pt x="63" y="26"/>
                      </a:lnTo>
                      <a:lnTo>
                        <a:pt x="63" y="25"/>
                      </a:lnTo>
                      <a:lnTo>
                        <a:pt x="62" y="25"/>
                      </a:lnTo>
                      <a:lnTo>
                        <a:pt x="62" y="24"/>
                      </a:lnTo>
                      <a:lnTo>
                        <a:pt x="62" y="24"/>
                      </a:lnTo>
                      <a:lnTo>
                        <a:pt x="61" y="24"/>
                      </a:lnTo>
                      <a:lnTo>
                        <a:pt x="60" y="24"/>
                      </a:lnTo>
                      <a:lnTo>
                        <a:pt x="60" y="25"/>
                      </a:lnTo>
                      <a:lnTo>
                        <a:pt x="59" y="25"/>
                      </a:lnTo>
                      <a:lnTo>
                        <a:pt x="58" y="25"/>
                      </a:lnTo>
                      <a:lnTo>
                        <a:pt x="58" y="26"/>
                      </a:lnTo>
                      <a:lnTo>
                        <a:pt x="57" y="26"/>
                      </a:lnTo>
                      <a:lnTo>
                        <a:pt x="57" y="26"/>
                      </a:lnTo>
                      <a:lnTo>
                        <a:pt x="56" y="26"/>
                      </a:lnTo>
                      <a:lnTo>
                        <a:pt x="55" y="26"/>
                      </a:lnTo>
                      <a:lnTo>
                        <a:pt x="55" y="26"/>
                      </a:lnTo>
                      <a:lnTo>
                        <a:pt x="55" y="26"/>
                      </a:lnTo>
                      <a:lnTo>
                        <a:pt x="54" y="26"/>
                      </a:lnTo>
                      <a:lnTo>
                        <a:pt x="53" y="26"/>
                      </a:lnTo>
                      <a:lnTo>
                        <a:pt x="53" y="26"/>
                      </a:lnTo>
                      <a:lnTo>
                        <a:pt x="52" y="26"/>
                      </a:lnTo>
                      <a:lnTo>
                        <a:pt x="51" y="26"/>
                      </a:lnTo>
                      <a:lnTo>
                        <a:pt x="51" y="26"/>
                      </a:lnTo>
                      <a:lnTo>
                        <a:pt x="50" y="26"/>
                      </a:lnTo>
                      <a:lnTo>
                        <a:pt x="49" y="26"/>
                      </a:lnTo>
                      <a:lnTo>
                        <a:pt x="49" y="27"/>
                      </a:lnTo>
                      <a:lnTo>
                        <a:pt x="49" y="27"/>
                      </a:lnTo>
                      <a:lnTo>
                        <a:pt x="48" y="27"/>
                      </a:lnTo>
                      <a:lnTo>
                        <a:pt x="47" y="27"/>
                      </a:lnTo>
                      <a:lnTo>
                        <a:pt x="47" y="27"/>
                      </a:lnTo>
                      <a:lnTo>
                        <a:pt x="46" y="26"/>
                      </a:lnTo>
                      <a:lnTo>
                        <a:pt x="45" y="26"/>
                      </a:lnTo>
                      <a:lnTo>
                        <a:pt x="45" y="27"/>
                      </a:lnTo>
                      <a:lnTo>
                        <a:pt x="45" y="27"/>
                      </a:lnTo>
                      <a:lnTo>
                        <a:pt x="45" y="26"/>
                      </a:lnTo>
                      <a:lnTo>
                        <a:pt x="45" y="26"/>
                      </a:lnTo>
                      <a:lnTo>
                        <a:pt x="44" y="26"/>
                      </a:lnTo>
                      <a:lnTo>
                        <a:pt x="43" y="25"/>
                      </a:lnTo>
                      <a:lnTo>
                        <a:pt x="43" y="25"/>
                      </a:lnTo>
                      <a:lnTo>
                        <a:pt x="42" y="25"/>
                      </a:lnTo>
                      <a:lnTo>
                        <a:pt x="42" y="24"/>
                      </a:lnTo>
                      <a:lnTo>
                        <a:pt x="42" y="23"/>
                      </a:lnTo>
                      <a:lnTo>
                        <a:pt x="41" y="23"/>
                      </a:lnTo>
                      <a:lnTo>
                        <a:pt x="41" y="23"/>
                      </a:lnTo>
                      <a:lnTo>
                        <a:pt x="41" y="23"/>
                      </a:lnTo>
                      <a:lnTo>
                        <a:pt x="41" y="22"/>
                      </a:lnTo>
                      <a:lnTo>
                        <a:pt x="40" y="22"/>
                      </a:lnTo>
                      <a:lnTo>
                        <a:pt x="40" y="21"/>
                      </a:lnTo>
                      <a:lnTo>
                        <a:pt x="39" y="21"/>
                      </a:lnTo>
                      <a:lnTo>
                        <a:pt x="38" y="21"/>
                      </a:lnTo>
                      <a:lnTo>
                        <a:pt x="38" y="21"/>
                      </a:lnTo>
                      <a:lnTo>
                        <a:pt x="37" y="21"/>
                      </a:lnTo>
                      <a:lnTo>
                        <a:pt x="36" y="21"/>
                      </a:lnTo>
                      <a:lnTo>
                        <a:pt x="36" y="21"/>
                      </a:lnTo>
                      <a:lnTo>
                        <a:pt x="35" y="21"/>
                      </a:lnTo>
                      <a:lnTo>
                        <a:pt x="35" y="21"/>
                      </a:lnTo>
                      <a:lnTo>
                        <a:pt x="34" y="21"/>
                      </a:lnTo>
                      <a:lnTo>
                        <a:pt x="34" y="21"/>
                      </a:lnTo>
                      <a:lnTo>
                        <a:pt x="33" y="20"/>
                      </a:lnTo>
                      <a:lnTo>
                        <a:pt x="33" y="19"/>
                      </a:lnTo>
                      <a:lnTo>
                        <a:pt x="32" y="19"/>
                      </a:lnTo>
                      <a:lnTo>
                        <a:pt x="32" y="19"/>
                      </a:lnTo>
                      <a:lnTo>
                        <a:pt x="31" y="19"/>
                      </a:lnTo>
                      <a:lnTo>
                        <a:pt x="30" y="19"/>
                      </a:lnTo>
                      <a:lnTo>
                        <a:pt x="30" y="19"/>
                      </a:lnTo>
                      <a:lnTo>
                        <a:pt x="29" y="18"/>
                      </a:lnTo>
                      <a:lnTo>
                        <a:pt x="28" y="17"/>
                      </a:lnTo>
                      <a:lnTo>
                        <a:pt x="28" y="17"/>
                      </a:lnTo>
                      <a:lnTo>
                        <a:pt x="28" y="16"/>
                      </a:lnTo>
                      <a:lnTo>
                        <a:pt x="28" y="15"/>
                      </a:lnTo>
                      <a:lnTo>
                        <a:pt x="28" y="15"/>
                      </a:lnTo>
                      <a:lnTo>
                        <a:pt x="27" y="14"/>
                      </a:lnTo>
                      <a:lnTo>
                        <a:pt x="27" y="13"/>
                      </a:lnTo>
                      <a:lnTo>
                        <a:pt x="26" y="13"/>
                      </a:lnTo>
                      <a:lnTo>
                        <a:pt x="26" y="13"/>
                      </a:lnTo>
                      <a:lnTo>
                        <a:pt x="25" y="12"/>
                      </a:lnTo>
                      <a:lnTo>
                        <a:pt x="24" y="12"/>
                      </a:lnTo>
                      <a:lnTo>
                        <a:pt x="24" y="12"/>
                      </a:lnTo>
                      <a:lnTo>
                        <a:pt x="23" y="12"/>
                      </a:lnTo>
                      <a:lnTo>
                        <a:pt x="22" y="12"/>
                      </a:lnTo>
                      <a:lnTo>
                        <a:pt x="22" y="11"/>
                      </a:lnTo>
                      <a:lnTo>
                        <a:pt x="22" y="12"/>
                      </a:lnTo>
                      <a:lnTo>
                        <a:pt x="21" y="12"/>
                      </a:lnTo>
                      <a:lnTo>
                        <a:pt x="21" y="11"/>
                      </a:lnTo>
                      <a:lnTo>
                        <a:pt x="20" y="11"/>
                      </a:lnTo>
                      <a:lnTo>
                        <a:pt x="19" y="11"/>
                      </a:lnTo>
                      <a:lnTo>
                        <a:pt x="19" y="11"/>
                      </a:lnTo>
                      <a:lnTo>
                        <a:pt x="18" y="11"/>
                      </a:lnTo>
                      <a:lnTo>
                        <a:pt x="17" y="11"/>
                      </a:lnTo>
                      <a:lnTo>
                        <a:pt x="17" y="11"/>
                      </a:lnTo>
                      <a:lnTo>
                        <a:pt x="16" y="11"/>
                      </a:lnTo>
                      <a:lnTo>
                        <a:pt x="15" y="11"/>
                      </a:lnTo>
                      <a:lnTo>
                        <a:pt x="15" y="11"/>
                      </a:lnTo>
                      <a:lnTo>
                        <a:pt x="14" y="10"/>
                      </a:lnTo>
                      <a:lnTo>
                        <a:pt x="13" y="10"/>
                      </a:lnTo>
                      <a:lnTo>
                        <a:pt x="13" y="10"/>
                      </a:lnTo>
                      <a:lnTo>
                        <a:pt x="13" y="9"/>
                      </a:lnTo>
                      <a:lnTo>
                        <a:pt x="12" y="9"/>
                      </a:lnTo>
                      <a:lnTo>
                        <a:pt x="11" y="9"/>
                      </a:lnTo>
                      <a:lnTo>
                        <a:pt x="11" y="9"/>
                      </a:lnTo>
                      <a:lnTo>
                        <a:pt x="10" y="9"/>
                      </a:lnTo>
                      <a:lnTo>
                        <a:pt x="9" y="9"/>
                      </a:lnTo>
                      <a:lnTo>
                        <a:pt x="9" y="9"/>
                      </a:lnTo>
                      <a:lnTo>
                        <a:pt x="8" y="9"/>
                      </a:lnTo>
                      <a:lnTo>
                        <a:pt x="7" y="9"/>
                      </a:lnTo>
                      <a:lnTo>
                        <a:pt x="7" y="9"/>
                      </a:lnTo>
                      <a:lnTo>
                        <a:pt x="6" y="9"/>
                      </a:lnTo>
                      <a:lnTo>
                        <a:pt x="5" y="9"/>
                      </a:lnTo>
                      <a:lnTo>
                        <a:pt x="5" y="9"/>
                      </a:lnTo>
                      <a:lnTo>
                        <a:pt x="5" y="8"/>
                      </a:lnTo>
                      <a:lnTo>
                        <a:pt x="4" y="8"/>
                      </a:lnTo>
                      <a:lnTo>
                        <a:pt x="4" y="7"/>
                      </a:lnTo>
                      <a:lnTo>
                        <a:pt x="3" y="7"/>
                      </a:lnTo>
                      <a:lnTo>
                        <a:pt x="3" y="7"/>
                      </a:lnTo>
                      <a:lnTo>
                        <a:pt x="3" y="6"/>
                      </a:lnTo>
                      <a:lnTo>
                        <a:pt x="3" y="5"/>
                      </a:lnTo>
                      <a:lnTo>
                        <a:pt x="3" y="5"/>
                      </a:lnTo>
                      <a:lnTo>
                        <a:pt x="3" y="4"/>
                      </a:lnTo>
                      <a:lnTo>
                        <a:pt x="2" y="3"/>
                      </a:lnTo>
                      <a:lnTo>
                        <a:pt x="2" y="2"/>
                      </a:lnTo>
                      <a:lnTo>
                        <a:pt x="1" y="2"/>
                      </a:lnTo>
                      <a:lnTo>
                        <a:pt x="1" y="1"/>
                      </a:lnTo>
                      <a:lnTo>
                        <a:pt x="0"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 name="Freeform 17">
                  <a:extLst>
                    <a:ext uri="{FF2B5EF4-FFF2-40B4-BE49-F238E27FC236}">
                      <a16:creationId xmlns:a16="http://schemas.microsoft.com/office/drawing/2014/main" xmlns="" id="{343C0DEB-1FF1-FB4A-6993-6EDE14A07883}"/>
                    </a:ext>
                  </a:extLst>
                </p:cNvPr>
                <p:cNvSpPr>
                  <a:spLocks/>
                </p:cNvSpPr>
                <p:nvPr/>
              </p:nvSpPr>
              <p:spPr bwMode="auto">
                <a:xfrm>
                  <a:off x="2984" y="3020"/>
                  <a:ext cx="96" cy="244"/>
                </a:xfrm>
                <a:custGeom>
                  <a:avLst/>
                  <a:gdLst>
                    <a:gd name="T0" fmla="*/ 90 w 96"/>
                    <a:gd name="T1" fmla="*/ 242 h 244"/>
                    <a:gd name="T2" fmla="*/ 85 w 96"/>
                    <a:gd name="T3" fmla="*/ 237 h 244"/>
                    <a:gd name="T4" fmla="*/ 82 w 96"/>
                    <a:gd name="T5" fmla="*/ 230 h 244"/>
                    <a:gd name="T6" fmla="*/ 81 w 96"/>
                    <a:gd name="T7" fmla="*/ 223 h 244"/>
                    <a:gd name="T8" fmla="*/ 79 w 96"/>
                    <a:gd name="T9" fmla="*/ 215 h 244"/>
                    <a:gd name="T10" fmla="*/ 75 w 96"/>
                    <a:gd name="T11" fmla="*/ 209 h 244"/>
                    <a:gd name="T12" fmla="*/ 68 w 96"/>
                    <a:gd name="T13" fmla="*/ 208 h 244"/>
                    <a:gd name="T14" fmla="*/ 61 w 96"/>
                    <a:gd name="T15" fmla="*/ 204 h 244"/>
                    <a:gd name="T16" fmla="*/ 56 w 96"/>
                    <a:gd name="T17" fmla="*/ 198 h 244"/>
                    <a:gd name="T18" fmla="*/ 49 w 96"/>
                    <a:gd name="T19" fmla="*/ 197 h 244"/>
                    <a:gd name="T20" fmla="*/ 42 w 96"/>
                    <a:gd name="T21" fmla="*/ 195 h 244"/>
                    <a:gd name="T22" fmla="*/ 38 w 96"/>
                    <a:gd name="T23" fmla="*/ 189 h 244"/>
                    <a:gd name="T24" fmla="*/ 35 w 96"/>
                    <a:gd name="T25" fmla="*/ 181 h 244"/>
                    <a:gd name="T26" fmla="*/ 31 w 96"/>
                    <a:gd name="T27" fmla="*/ 174 h 244"/>
                    <a:gd name="T28" fmla="*/ 35 w 96"/>
                    <a:gd name="T29" fmla="*/ 170 h 244"/>
                    <a:gd name="T30" fmla="*/ 41 w 96"/>
                    <a:gd name="T31" fmla="*/ 168 h 244"/>
                    <a:gd name="T32" fmla="*/ 46 w 96"/>
                    <a:gd name="T33" fmla="*/ 160 h 244"/>
                    <a:gd name="T34" fmla="*/ 51 w 96"/>
                    <a:gd name="T35" fmla="*/ 157 h 244"/>
                    <a:gd name="T36" fmla="*/ 56 w 96"/>
                    <a:gd name="T37" fmla="*/ 154 h 244"/>
                    <a:gd name="T38" fmla="*/ 61 w 96"/>
                    <a:gd name="T39" fmla="*/ 152 h 244"/>
                    <a:gd name="T40" fmla="*/ 68 w 96"/>
                    <a:gd name="T41" fmla="*/ 151 h 244"/>
                    <a:gd name="T42" fmla="*/ 73 w 96"/>
                    <a:gd name="T43" fmla="*/ 156 h 244"/>
                    <a:gd name="T44" fmla="*/ 77 w 96"/>
                    <a:gd name="T45" fmla="*/ 152 h 244"/>
                    <a:gd name="T46" fmla="*/ 75 w 96"/>
                    <a:gd name="T47" fmla="*/ 145 h 244"/>
                    <a:gd name="T48" fmla="*/ 72 w 96"/>
                    <a:gd name="T49" fmla="*/ 140 h 244"/>
                    <a:gd name="T50" fmla="*/ 72 w 96"/>
                    <a:gd name="T51" fmla="*/ 135 h 244"/>
                    <a:gd name="T52" fmla="*/ 70 w 96"/>
                    <a:gd name="T53" fmla="*/ 130 h 244"/>
                    <a:gd name="T54" fmla="*/ 67 w 96"/>
                    <a:gd name="T55" fmla="*/ 126 h 244"/>
                    <a:gd name="T56" fmla="*/ 69 w 96"/>
                    <a:gd name="T57" fmla="*/ 121 h 244"/>
                    <a:gd name="T58" fmla="*/ 72 w 96"/>
                    <a:gd name="T59" fmla="*/ 116 h 244"/>
                    <a:gd name="T60" fmla="*/ 77 w 96"/>
                    <a:gd name="T61" fmla="*/ 114 h 244"/>
                    <a:gd name="T62" fmla="*/ 81 w 96"/>
                    <a:gd name="T63" fmla="*/ 115 h 244"/>
                    <a:gd name="T64" fmla="*/ 85 w 96"/>
                    <a:gd name="T65" fmla="*/ 115 h 244"/>
                    <a:gd name="T66" fmla="*/ 86 w 96"/>
                    <a:gd name="T67" fmla="*/ 114 h 244"/>
                    <a:gd name="T68" fmla="*/ 80 w 96"/>
                    <a:gd name="T69" fmla="*/ 112 h 244"/>
                    <a:gd name="T70" fmla="*/ 75 w 96"/>
                    <a:gd name="T71" fmla="*/ 112 h 244"/>
                    <a:gd name="T72" fmla="*/ 70 w 96"/>
                    <a:gd name="T73" fmla="*/ 107 h 244"/>
                    <a:gd name="T74" fmla="*/ 71 w 96"/>
                    <a:gd name="T75" fmla="*/ 102 h 244"/>
                    <a:gd name="T76" fmla="*/ 74 w 96"/>
                    <a:gd name="T77" fmla="*/ 97 h 244"/>
                    <a:gd name="T78" fmla="*/ 76 w 96"/>
                    <a:gd name="T79" fmla="*/ 94 h 244"/>
                    <a:gd name="T80" fmla="*/ 73 w 96"/>
                    <a:gd name="T81" fmla="*/ 88 h 244"/>
                    <a:gd name="T82" fmla="*/ 73 w 96"/>
                    <a:gd name="T83" fmla="*/ 82 h 244"/>
                    <a:gd name="T84" fmla="*/ 78 w 96"/>
                    <a:gd name="T85" fmla="*/ 81 h 244"/>
                    <a:gd name="T86" fmla="*/ 80 w 96"/>
                    <a:gd name="T87" fmla="*/ 76 h 244"/>
                    <a:gd name="T88" fmla="*/ 75 w 96"/>
                    <a:gd name="T89" fmla="*/ 69 h 244"/>
                    <a:gd name="T90" fmla="*/ 67 w 96"/>
                    <a:gd name="T91" fmla="*/ 67 h 244"/>
                    <a:gd name="T92" fmla="*/ 63 w 96"/>
                    <a:gd name="T93" fmla="*/ 68 h 244"/>
                    <a:gd name="T94" fmla="*/ 57 w 96"/>
                    <a:gd name="T95" fmla="*/ 65 h 244"/>
                    <a:gd name="T96" fmla="*/ 52 w 96"/>
                    <a:gd name="T97" fmla="*/ 61 h 244"/>
                    <a:gd name="T98" fmla="*/ 51 w 96"/>
                    <a:gd name="T99" fmla="*/ 55 h 244"/>
                    <a:gd name="T100" fmla="*/ 51 w 96"/>
                    <a:gd name="T101" fmla="*/ 50 h 244"/>
                    <a:gd name="T102" fmla="*/ 46 w 96"/>
                    <a:gd name="T103" fmla="*/ 50 h 244"/>
                    <a:gd name="T104" fmla="*/ 41 w 96"/>
                    <a:gd name="T105" fmla="*/ 46 h 244"/>
                    <a:gd name="T106" fmla="*/ 33 w 96"/>
                    <a:gd name="T107" fmla="*/ 42 h 244"/>
                    <a:gd name="T108" fmla="*/ 23 w 96"/>
                    <a:gd name="T109" fmla="*/ 40 h 244"/>
                    <a:gd name="T110" fmla="*/ 20 w 96"/>
                    <a:gd name="T111" fmla="*/ 35 h 244"/>
                    <a:gd name="T112" fmla="*/ 14 w 96"/>
                    <a:gd name="T113" fmla="*/ 26 h 244"/>
                    <a:gd name="T114" fmla="*/ 5 w 96"/>
                    <a:gd name="T115" fmla="*/ 21 h 244"/>
                    <a:gd name="T116" fmla="*/ 4 w 96"/>
                    <a:gd name="T117" fmla="*/ 13 h 244"/>
                    <a:gd name="T118" fmla="*/ 1 w 96"/>
                    <a:gd name="T119" fmla="*/ 4 h 244"/>
                    <a:gd name="T120" fmla="*/ 7 w 96"/>
                    <a:gd name="T121" fmla="*/ 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4">
                      <a:moveTo>
                        <a:pt x="96" y="244"/>
                      </a:moveTo>
                      <a:lnTo>
                        <a:pt x="96" y="244"/>
                      </a:lnTo>
                      <a:lnTo>
                        <a:pt x="96" y="243"/>
                      </a:lnTo>
                      <a:lnTo>
                        <a:pt x="95" y="243"/>
                      </a:lnTo>
                      <a:lnTo>
                        <a:pt x="94" y="243"/>
                      </a:lnTo>
                      <a:lnTo>
                        <a:pt x="94" y="244"/>
                      </a:lnTo>
                      <a:lnTo>
                        <a:pt x="94" y="244"/>
                      </a:lnTo>
                      <a:lnTo>
                        <a:pt x="94" y="243"/>
                      </a:lnTo>
                      <a:lnTo>
                        <a:pt x="93" y="242"/>
                      </a:lnTo>
                      <a:lnTo>
                        <a:pt x="92" y="242"/>
                      </a:lnTo>
                      <a:lnTo>
                        <a:pt x="92" y="242"/>
                      </a:lnTo>
                      <a:lnTo>
                        <a:pt x="92" y="242"/>
                      </a:lnTo>
                      <a:lnTo>
                        <a:pt x="91" y="242"/>
                      </a:lnTo>
                      <a:lnTo>
                        <a:pt x="90" y="242"/>
                      </a:lnTo>
                      <a:lnTo>
                        <a:pt x="90" y="242"/>
                      </a:lnTo>
                      <a:lnTo>
                        <a:pt x="89" y="241"/>
                      </a:lnTo>
                      <a:lnTo>
                        <a:pt x="89" y="242"/>
                      </a:lnTo>
                      <a:lnTo>
                        <a:pt x="88" y="242"/>
                      </a:lnTo>
                      <a:lnTo>
                        <a:pt x="88" y="241"/>
                      </a:lnTo>
                      <a:lnTo>
                        <a:pt x="88" y="241"/>
                      </a:lnTo>
                      <a:lnTo>
                        <a:pt x="88" y="240"/>
                      </a:lnTo>
                      <a:lnTo>
                        <a:pt x="87" y="240"/>
                      </a:lnTo>
                      <a:lnTo>
                        <a:pt x="86" y="240"/>
                      </a:lnTo>
                      <a:lnTo>
                        <a:pt x="86" y="239"/>
                      </a:lnTo>
                      <a:lnTo>
                        <a:pt x="86" y="238"/>
                      </a:lnTo>
                      <a:lnTo>
                        <a:pt x="86" y="238"/>
                      </a:lnTo>
                      <a:lnTo>
                        <a:pt x="86" y="237"/>
                      </a:lnTo>
                      <a:lnTo>
                        <a:pt x="85" y="237"/>
                      </a:lnTo>
                      <a:lnTo>
                        <a:pt x="86" y="236"/>
                      </a:lnTo>
                      <a:lnTo>
                        <a:pt x="86" y="236"/>
                      </a:lnTo>
                      <a:lnTo>
                        <a:pt x="85" y="235"/>
                      </a:lnTo>
                      <a:lnTo>
                        <a:pt x="85" y="234"/>
                      </a:lnTo>
                      <a:lnTo>
                        <a:pt x="84" y="234"/>
                      </a:lnTo>
                      <a:lnTo>
                        <a:pt x="84" y="234"/>
                      </a:lnTo>
                      <a:lnTo>
                        <a:pt x="84" y="234"/>
                      </a:lnTo>
                      <a:lnTo>
                        <a:pt x="84" y="233"/>
                      </a:lnTo>
                      <a:lnTo>
                        <a:pt x="83" y="232"/>
                      </a:lnTo>
                      <a:lnTo>
                        <a:pt x="83" y="232"/>
                      </a:lnTo>
                      <a:lnTo>
                        <a:pt x="82" y="232"/>
                      </a:lnTo>
                      <a:lnTo>
                        <a:pt x="82" y="231"/>
                      </a:lnTo>
                      <a:lnTo>
                        <a:pt x="82" y="230"/>
                      </a:lnTo>
                      <a:lnTo>
                        <a:pt x="82" y="230"/>
                      </a:lnTo>
                      <a:lnTo>
                        <a:pt x="82" y="229"/>
                      </a:lnTo>
                      <a:lnTo>
                        <a:pt x="82" y="229"/>
                      </a:lnTo>
                      <a:lnTo>
                        <a:pt x="82" y="228"/>
                      </a:lnTo>
                      <a:lnTo>
                        <a:pt x="81" y="228"/>
                      </a:lnTo>
                      <a:lnTo>
                        <a:pt x="81" y="227"/>
                      </a:lnTo>
                      <a:lnTo>
                        <a:pt x="81" y="227"/>
                      </a:lnTo>
                      <a:lnTo>
                        <a:pt x="80" y="227"/>
                      </a:lnTo>
                      <a:lnTo>
                        <a:pt x="80" y="226"/>
                      </a:lnTo>
                      <a:lnTo>
                        <a:pt x="80" y="225"/>
                      </a:lnTo>
                      <a:lnTo>
                        <a:pt x="80" y="225"/>
                      </a:lnTo>
                      <a:lnTo>
                        <a:pt x="80" y="224"/>
                      </a:lnTo>
                      <a:lnTo>
                        <a:pt x="81" y="224"/>
                      </a:lnTo>
                      <a:lnTo>
                        <a:pt x="81" y="223"/>
                      </a:lnTo>
                      <a:lnTo>
                        <a:pt x="81" y="223"/>
                      </a:lnTo>
                      <a:lnTo>
                        <a:pt x="81" y="222"/>
                      </a:lnTo>
                      <a:lnTo>
                        <a:pt x="81" y="221"/>
                      </a:lnTo>
                      <a:lnTo>
                        <a:pt x="81" y="221"/>
                      </a:lnTo>
                      <a:lnTo>
                        <a:pt x="81" y="220"/>
                      </a:lnTo>
                      <a:lnTo>
                        <a:pt x="81" y="219"/>
                      </a:lnTo>
                      <a:lnTo>
                        <a:pt x="81" y="219"/>
                      </a:lnTo>
                      <a:lnTo>
                        <a:pt x="81" y="218"/>
                      </a:lnTo>
                      <a:lnTo>
                        <a:pt x="80" y="218"/>
                      </a:lnTo>
                      <a:lnTo>
                        <a:pt x="80" y="217"/>
                      </a:lnTo>
                      <a:lnTo>
                        <a:pt x="80" y="217"/>
                      </a:lnTo>
                      <a:lnTo>
                        <a:pt x="80" y="217"/>
                      </a:lnTo>
                      <a:lnTo>
                        <a:pt x="79" y="217"/>
                      </a:lnTo>
                      <a:lnTo>
                        <a:pt x="79" y="216"/>
                      </a:lnTo>
                      <a:lnTo>
                        <a:pt x="79" y="215"/>
                      </a:lnTo>
                      <a:lnTo>
                        <a:pt x="78" y="215"/>
                      </a:lnTo>
                      <a:lnTo>
                        <a:pt x="78" y="215"/>
                      </a:lnTo>
                      <a:lnTo>
                        <a:pt x="77" y="214"/>
                      </a:lnTo>
                      <a:lnTo>
                        <a:pt x="77" y="213"/>
                      </a:lnTo>
                      <a:lnTo>
                        <a:pt x="77" y="213"/>
                      </a:lnTo>
                      <a:lnTo>
                        <a:pt x="77" y="212"/>
                      </a:lnTo>
                      <a:lnTo>
                        <a:pt x="77" y="212"/>
                      </a:lnTo>
                      <a:lnTo>
                        <a:pt x="77" y="211"/>
                      </a:lnTo>
                      <a:lnTo>
                        <a:pt x="77" y="211"/>
                      </a:lnTo>
                      <a:lnTo>
                        <a:pt x="76" y="211"/>
                      </a:lnTo>
                      <a:lnTo>
                        <a:pt x="77" y="211"/>
                      </a:lnTo>
                      <a:lnTo>
                        <a:pt x="77" y="210"/>
                      </a:lnTo>
                      <a:lnTo>
                        <a:pt x="76" y="210"/>
                      </a:lnTo>
                      <a:lnTo>
                        <a:pt x="75" y="209"/>
                      </a:lnTo>
                      <a:lnTo>
                        <a:pt x="75" y="209"/>
                      </a:lnTo>
                      <a:lnTo>
                        <a:pt x="74" y="209"/>
                      </a:lnTo>
                      <a:lnTo>
                        <a:pt x="73" y="209"/>
                      </a:lnTo>
                      <a:lnTo>
                        <a:pt x="73" y="209"/>
                      </a:lnTo>
                      <a:lnTo>
                        <a:pt x="73" y="208"/>
                      </a:lnTo>
                      <a:lnTo>
                        <a:pt x="72" y="208"/>
                      </a:lnTo>
                      <a:lnTo>
                        <a:pt x="71" y="208"/>
                      </a:lnTo>
                      <a:lnTo>
                        <a:pt x="71" y="208"/>
                      </a:lnTo>
                      <a:lnTo>
                        <a:pt x="70" y="208"/>
                      </a:lnTo>
                      <a:lnTo>
                        <a:pt x="69" y="208"/>
                      </a:lnTo>
                      <a:lnTo>
                        <a:pt x="69" y="208"/>
                      </a:lnTo>
                      <a:lnTo>
                        <a:pt x="69" y="208"/>
                      </a:lnTo>
                      <a:lnTo>
                        <a:pt x="68" y="208"/>
                      </a:lnTo>
                      <a:lnTo>
                        <a:pt x="68" y="208"/>
                      </a:lnTo>
                      <a:lnTo>
                        <a:pt x="67" y="208"/>
                      </a:lnTo>
                      <a:lnTo>
                        <a:pt x="67" y="208"/>
                      </a:lnTo>
                      <a:lnTo>
                        <a:pt x="66" y="207"/>
                      </a:lnTo>
                      <a:lnTo>
                        <a:pt x="65" y="207"/>
                      </a:lnTo>
                      <a:lnTo>
                        <a:pt x="65" y="206"/>
                      </a:lnTo>
                      <a:lnTo>
                        <a:pt x="65" y="206"/>
                      </a:lnTo>
                      <a:lnTo>
                        <a:pt x="65" y="206"/>
                      </a:lnTo>
                      <a:lnTo>
                        <a:pt x="65" y="205"/>
                      </a:lnTo>
                      <a:lnTo>
                        <a:pt x="64" y="205"/>
                      </a:lnTo>
                      <a:lnTo>
                        <a:pt x="63" y="205"/>
                      </a:lnTo>
                      <a:lnTo>
                        <a:pt x="63" y="205"/>
                      </a:lnTo>
                      <a:lnTo>
                        <a:pt x="62" y="205"/>
                      </a:lnTo>
                      <a:lnTo>
                        <a:pt x="61" y="205"/>
                      </a:lnTo>
                      <a:lnTo>
                        <a:pt x="61" y="204"/>
                      </a:lnTo>
                      <a:lnTo>
                        <a:pt x="60" y="204"/>
                      </a:lnTo>
                      <a:lnTo>
                        <a:pt x="60" y="204"/>
                      </a:lnTo>
                      <a:lnTo>
                        <a:pt x="59" y="204"/>
                      </a:lnTo>
                      <a:lnTo>
                        <a:pt x="59" y="203"/>
                      </a:lnTo>
                      <a:lnTo>
                        <a:pt x="59" y="202"/>
                      </a:lnTo>
                      <a:lnTo>
                        <a:pt x="58" y="202"/>
                      </a:lnTo>
                      <a:lnTo>
                        <a:pt x="58" y="202"/>
                      </a:lnTo>
                      <a:lnTo>
                        <a:pt x="58" y="201"/>
                      </a:lnTo>
                      <a:lnTo>
                        <a:pt x="58" y="201"/>
                      </a:lnTo>
                      <a:lnTo>
                        <a:pt x="58" y="200"/>
                      </a:lnTo>
                      <a:lnTo>
                        <a:pt x="57" y="200"/>
                      </a:lnTo>
                      <a:lnTo>
                        <a:pt x="56" y="200"/>
                      </a:lnTo>
                      <a:lnTo>
                        <a:pt x="56" y="199"/>
                      </a:lnTo>
                      <a:lnTo>
                        <a:pt x="56" y="198"/>
                      </a:lnTo>
                      <a:lnTo>
                        <a:pt x="56" y="198"/>
                      </a:lnTo>
                      <a:lnTo>
                        <a:pt x="55" y="198"/>
                      </a:lnTo>
                      <a:lnTo>
                        <a:pt x="55" y="197"/>
                      </a:lnTo>
                      <a:lnTo>
                        <a:pt x="54" y="197"/>
                      </a:lnTo>
                      <a:lnTo>
                        <a:pt x="54" y="196"/>
                      </a:lnTo>
                      <a:lnTo>
                        <a:pt x="54" y="196"/>
                      </a:lnTo>
                      <a:lnTo>
                        <a:pt x="53" y="196"/>
                      </a:lnTo>
                      <a:lnTo>
                        <a:pt x="52" y="196"/>
                      </a:lnTo>
                      <a:lnTo>
                        <a:pt x="52" y="196"/>
                      </a:lnTo>
                      <a:lnTo>
                        <a:pt x="51" y="196"/>
                      </a:lnTo>
                      <a:lnTo>
                        <a:pt x="51" y="196"/>
                      </a:lnTo>
                      <a:lnTo>
                        <a:pt x="50" y="196"/>
                      </a:lnTo>
                      <a:lnTo>
                        <a:pt x="50" y="196"/>
                      </a:lnTo>
                      <a:lnTo>
                        <a:pt x="49" y="197"/>
                      </a:lnTo>
                      <a:lnTo>
                        <a:pt x="48" y="197"/>
                      </a:lnTo>
                      <a:lnTo>
                        <a:pt x="48" y="198"/>
                      </a:lnTo>
                      <a:lnTo>
                        <a:pt x="48" y="198"/>
                      </a:lnTo>
                      <a:lnTo>
                        <a:pt x="48" y="197"/>
                      </a:lnTo>
                      <a:lnTo>
                        <a:pt x="47" y="197"/>
                      </a:lnTo>
                      <a:lnTo>
                        <a:pt x="47" y="196"/>
                      </a:lnTo>
                      <a:lnTo>
                        <a:pt x="46" y="196"/>
                      </a:lnTo>
                      <a:lnTo>
                        <a:pt x="46" y="195"/>
                      </a:lnTo>
                      <a:lnTo>
                        <a:pt x="45" y="195"/>
                      </a:lnTo>
                      <a:lnTo>
                        <a:pt x="44" y="195"/>
                      </a:lnTo>
                      <a:lnTo>
                        <a:pt x="44" y="195"/>
                      </a:lnTo>
                      <a:lnTo>
                        <a:pt x="44" y="196"/>
                      </a:lnTo>
                      <a:lnTo>
                        <a:pt x="43" y="195"/>
                      </a:lnTo>
                      <a:lnTo>
                        <a:pt x="42" y="195"/>
                      </a:lnTo>
                      <a:lnTo>
                        <a:pt x="42" y="194"/>
                      </a:lnTo>
                      <a:lnTo>
                        <a:pt x="42" y="194"/>
                      </a:lnTo>
                      <a:lnTo>
                        <a:pt x="41" y="194"/>
                      </a:lnTo>
                      <a:lnTo>
                        <a:pt x="41" y="194"/>
                      </a:lnTo>
                      <a:lnTo>
                        <a:pt x="41" y="193"/>
                      </a:lnTo>
                      <a:lnTo>
                        <a:pt x="41" y="192"/>
                      </a:lnTo>
                      <a:lnTo>
                        <a:pt x="40" y="192"/>
                      </a:lnTo>
                      <a:lnTo>
                        <a:pt x="40" y="192"/>
                      </a:lnTo>
                      <a:lnTo>
                        <a:pt x="40" y="191"/>
                      </a:lnTo>
                      <a:lnTo>
                        <a:pt x="39" y="191"/>
                      </a:lnTo>
                      <a:lnTo>
                        <a:pt x="39" y="190"/>
                      </a:lnTo>
                      <a:lnTo>
                        <a:pt x="39" y="189"/>
                      </a:lnTo>
                      <a:lnTo>
                        <a:pt x="39" y="189"/>
                      </a:lnTo>
                      <a:lnTo>
                        <a:pt x="38" y="189"/>
                      </a:lnTo>
                      <a:lnTo>
                        <a:pt x="37" y="189"/>
                      </a:lnTo>
                      <a:lnTo>
                        <a:pt x="38" y="189"/>
                      </a:lnTo>
                      <a:lnTo>
                        <a:pt x="38" y="188"/>
                      </a:lnTo>
                      <a:lnTo>
                        <a:pt x="38" y="187"/>
                      </a:lnTo>
                      <a:lnTo>
                        <a:pt x="37" y="187"/>
                      </a:lnTo>
                      <a:lnTo>
                        <a:pt x="38" y="186"/>
                      </a:lnTo>
                      <a:lnTo>
                        <a:pt x="37" y="185"/>
                      </a:lnTo>
                      <a:lnTo>
                        <a:pt x="37" y="185"/>
                      </a:lnTo>
                      <a:lnTo>
                        <a:pt x="37" y="184"/>
                      </a:lnTo>
                      <a:lnTo>
                        <a:pt x="37" y="184"/>
                      </a:lnTo>
                      <a:lnTo>
                        <a:pt x="37" y="183"/>
                      </a:lnTo>
                      <a:lnTo>
                        <a:pt x="36" y="182"/>
                      </a:lnTo>
                      <a:lnTo>
                        <a:pt x="35" y="181"/>
                      </a:lnTo>
                      <a:lnTo>
                        <a:pt x="35" y="181"/>
                      </a:lnTo>
                      <a:lnTo>
                        <a:pt x="35" y="180"/>
                      </a:lnTo>
                      <a:lnTo>
                        <a:pt x="35" y="179"/>
                      </a:lnTo>
                      <a:lnTo>
                        <a:pt x="35" y="179"/>
                      </a:lnTo>
                      <a:lnTo>
                        <a:pt x="35" y="179"/>
                      </a:lnTo>
                      <a:lnTo>
                        <a:pt x="35" y="178"/>
                      </a:lnTo>
                      <a:lnTo>
                        <a:pt x="34" y="177"/>
                      </a:lnTo>
                      <a:lnTo>
                        <a:pt x="34" y="177"/>
                      </a:lnTo>
                      <a:lnTo>
                        <a:pt x="33" y="177"/>
                      </a:lnTo>
                      <a:lnTo>
                        <a:pt x="33" y="176"/>
                      </a:lnTo>
                      <a:lnTo>
                        <a:pt x="33" y="176"/>
                      </a:lnTo>
                      <a:lnTo>
                        <a:pt x="33" y="175"/>
                      </a:lnTo>
                      <a:lnTo>
                        <a:pt x="31" y="175"/>
                      </a:lnTo>
                      <a:lnTo>
                        <a:pt x="31" y="174"/>
                      </a:lnTo>
                      <a:lnTo>
                        <a:pt x="31" y="174"/>
                      </a:lnTo>
                      <a:lnTo>
                        <a:pt x="31" y="173"/>
                      </a:lnTo>
                      <a:lnTo>
                        <a:pt x="31" y="173"/>
                      </a:lnTo>
                      <a:lnTo>
                        <a:pt x="31" y="172"/>
                      </a:lnTo>
                      <a:lnTo>
                        <a:pt x="30" y="172"/>
                      </a:lnTo>
                      <a:lnTo>
                        <a:pt x="31" y="172"/>
                      </a:lnTo>
                      <a:lnTo>
                        <a:pt x="31" y="172"/>
                      </a:lnTo>
                      <a:lnTo>
                        <a:pt x="31" y="171"/>
                      </a:lnTo>
                      <a:lnTo>
                        <a:pt x="32" y="171"/>
                      </a:lnTo>
                      <a:lnTo>
                        <a:pt x="33" y="171"/>
                      </a:lnTo>
                      <a:lnTo>
                        <a:pt x="33" y="171"/>
                      </a:lnTo>
                      <a:lnTo>
                        <a:pt x="33" y="171"/>
                      </a:lnTo>
                      <a:lnTo>
                        <a:pt x="34" y="171"/>
                      </a:lnTo>
                      <a:lnTo>
                        <a:pt x="35" y="171"/>
                      </a:lnTo>
                      <a:lnTo>
                        <a:pt x="35" y="170"/>
                      </a:lnTo>
                      <a:lnTo>
                        <a:pt x="35" y="170"/>
                      </a:lnTo>
                      <a:lnTo>
                        <a:pt x="36" y="170"/>
                      </a:lnTo>
                      <a:lnTo>
                        <a:pt x="36" y="169"/>
                      </a:lnTo>
                      <a:lnTo>
                        <a:pt x="37" y="169"/>
                      </a:lnTo>
                      <a:lnTo>
                        <a:pt x="37" y="169"/>
                      </a:lnTo>
                      <a:lnTo>
                        <a:pt x="38" y="169"/>
                      </a:lnTo>
                      <a:lnTo>
                        <a:pt x="39" y="169"/>
                      </a:lnTo>
                      <a:lnTo>
                        <a:pt x="39" y="168"/>
                      </a:lnTo>
                      <a:lnTo>
                        <a:pt x="39" y="169"/>
                      </a:lnTo>
                      <a:lnTo>
                        <a:pt x="39" y="169"/>
                      </a:lnTo>
                      <a:lnTo>
                        <a:pt x="39" y="168"/>
                      </a:lnTo>
                      <a:lnTo>
                        <a:pt x="40" y="168"/>
                      </a:lnTo>
                      <a:lnTo>
                        <a:pt x="40" y="168"/>
                      </a:lnTo>
                      <a:lnTo>
                        <a:pt x="41" y="168"/>
                      </a:lnTo>
                      <a:lnTo>
                        <a:pt x="42" y="167"/>
                      </a:lnTo>
                      <a:lnTo>
                        <a:pt x="42" y="167"/>
                      </a:lnTo>
                      <a:lnTo>
                        <a:pt x="42" y="166"/>
                      </a:lnTo>
                      <a:lnTo>
                        <a:pt x="43" y="166"/>
                      </a:lnTo>
                      <a:lnTo>
                        <a:pt x="44" y="166"/>
                      </a:lnTo>
                      <a:lnTo>
                        <a:pt x="44" y="166"/>
                      </a:lnTo>
                      <a:lnTo>
                        <a:pt x="44" y="165"/>
                      </a:lnTo>
                      <a:lnTo>
                        <a:pt x="45" y="165"/>
                      </a:lnTo>
                      <a:lnTo>
                        <a:pt x="45" y="164"/>
                      </a:lnTo>
                      <a:lnTo>
                        <a:pt x="46" y="164"/>
                      </a:lnTo>
                      <a:lnTo>
                        <a:pt x="46" y="163"/>
                      </a:lnTo>
                      <a:lnTo>
                        <a:pt x="46" y="162"/>
                      </a:lnTo>
                      <a:lnTo>
                        <a:pt x="46" y="161"/>
                      </a:lnTo>
                      <a:lnTo>
                        <a:pt x="46" y="160"/>
                      </a:lnTo>
                      <a:lnTo>
                        <a:pt x="47" y="160"/>
                      </a:lnTo>
                      <a:lnTo>
                        <a:pt x="47" y="160"/>
                      </a:lnTo>
                      <a:lnTo>
                        <a:pt x="48" y="160"/>
                      </a:lnTo>
                      <a:lnTo>
                        <a:pt x="48" y="160"/>
                      </a:lnTo>
                      <a:lnTo>
                        <a:pt x="48" y="159"/>
                      </a:lnTo>
                      <a:lnTo>
                        <a:pt x="49" y="159"/>
                      </a:lnTo>
                      <a:lnTo>
                        <a:pt x="50" y="159"/>
                      </a:lnTo>
                      <a:lnTo>
                        <a:pt x="50" y="158"/>
                      </a:lnTo>
                      <a:lnTo>
                        <a:pt x="50" y="158"/>
                      </a:lnTo>
                      <a:lnTo>
                        <a:pt x="50" y="158"/>
                      </a:lnTo>
                      <a:lnTo>
                        <a:pt x="51" y="158"/>
                      </a:lnTo>
                      <a:lnTo>
                        <a:pt x="52" y="157"/>
                      </a:lnTo>
                      <a:lnTo>
                        <a:pt x="50" y="157"/>
                      </a:lnTo>
                      <a:lnTo>
                        <a:pt x="51" y="157"/>
                      </a:lnTo>
                      <a:lnTo>
                        <a:pt x="51" y="156"/>
                      </a:lnTo>
                      <a:lnTo>
                        <a:pt x="52" y="156"/>
                      </a:lnTo>
                      <a:lnTo>
                        <a:pt x="52" y="156"/>
                      </a:lnTo>
                      <a:lnTo>
                        <a:pt x="52" y="156"/>
                      </a:lnTo>
                      <a:lnTo>
                        <a:pt x="53" y="156"/>
                      </a:lnTo>
                      <a:lnTo>
                        <a:pt x="53" y="155"/>
                      </a:lnTo>
                      <a:lnTo>
                        <a:pt x="54" y="155"/>
                      </a:lnTo>
                      <a:lnTo>
                        <a:pt x="54" y="155"/>
                      </a:lnTo>
                      <a:lnTo>
                        <a:pt x="54" y="154"/>
                      </a:lnTo>
                      <a:lnTo>
                        <a:pt x="55" y="154"/>
                      </a:lnTo>
                      <a:lnTo>
                        <a:pt x="54" y="154"/>
                      </a:lnTo>
                      <a:lnTo>
                        <a:pt x="55" y="154"/>
                      </a:lnTo>
                      <a:lnTo>
                        <a:pt x="56" y="154"/>
                      </a:lnTo>
                      <a:lnTo>
                        <a:pt x="56" y="154"/>
                      </a:lnTo>
                      <a:lnTo>
                        <a:pt x="56" y="153"/>
                      </a:lnTo>
                      <a:lnTo>
                        <a:pt x="56" y="153"/>
                      </a:lnTo>
                      <a:lnTo>
                        <a:pt x="57" y="153"/>
                      </a:lnTo>
                      <a:lnTo>
                        <a:pt x="57" y="152"/>
                      </a:lnTo>
                      <a:lnTo>
                        <a:pt x="58" y="152"/>
                      </a:lnTo>
                      <a:lnTo>
                        <a:pt x="58" y="152"/>
                      </a:lnTo>
                      <a:lnTo>
                        <a:pt x="59" y="152"/>
                      </a:lnTo>
                      <a:lnTo>
                        <a:pt x="59" y="152"/>
                      </a:lnTo>
                      <a:lnTo>
                        <a:pt x="60" y="152"/>
                      </a:lnTo>
                      <a:lnTo>
                        <a:pt x="60" y="152"/>
                      </a:lnTo>
                      <a:lnTo>
                        <a:pt x="60" y="152"/>
                      </a:lnTo>
                      <a:lnTo>
                        <a:pt x="61" y="152"/>
                      </a:lnTo>
                      <a:lnTo>
                        <a:pt x="61" y="152"/>
                      </a:lnTo>
                      <a:lnTo>
                        <a:pt x="61" y="152"/>
                      </a:lnTo>
                      <a:lnTo>
                        <a:pt x="61" y="153"/>
                      </a:lnTo>
                      <a:lnTo>
                        <a:pt x="61" y="154"/>
                      </a:lnTo>
                      <a:lnTo>
                        <a:pt x="62" y="154"/>
                      </a:lnTo>
                      <a:lnTo>
                        <a:pt x="63" y="154"/>
                      </a:lnTo>
                      <a:lnTo>
                        <a:pt x="63" y="153"/>
                      </a:lnTo>
                      <a:lnTo>
                        <a:pt x="64" y="153"/>
                      </a:lnTo>
                      <a:lnTo>
                        <a:pt x="64" y="152"/>
                      </a:lnTo>
                      <a:lnTo>
                        <a:pt x="64" y="152"/>
                      </a:lnTo>
                      <a:lnTo>
                        <a:pt x="65" y="151"/>
                      </a:lnTo>
                      <a:lnTo>
                        <a:pt x="65" y="151"/>
                      </a:lnTo>
                      <a:lnTo>
                        <a:pt x="66" y="151"/>
                      </a:lnTo>
                      <a:lnTo>
                        <a:pt x="66" y="150"/>
                      </a:lnTo>
                      <a:lnTo>
                        <a:pt x="67" y="150"/>
                      </a:lnTo>
                      <a:lnTo>
                        <a:pt x="68" y="151"/>
                      </a:lnTo>
                      <a:lnTo>
                        <a:pt x="69" y="152"/>
                      </a:lnTo>
                      <a:lnTo>
                        <a:pt x="69" y="153"/>
                      </a:lnTo>
                      <a:lnTo>
                        <a:pt x="70" y="153"/>
                      </a:lnTo>
                      <a:lnTo>
                        <a:pt x="70" y="154"/>
                      </a:lnTo>
                      <a:lnTo>
                        <a:pt x="70" y="153"/>
                      </a:lnTo>
                      <a:lnTo>
                        <a:pt x="71" y="153"/>
                      </a:lnTo>
                      <a:lnTo>
                        <a:pt x="71" y="154"/>
                      </a:lnTo>
                      <a:lnTo>
                        <a:pt x="71" y="154"/>
                      </a:lnTo>
                      <a:lnTo>
                        <a:pt x="71" y="154"/>
                      </a:lnTo>
                      <a:lnTo>
                        <a:pt x="71" y="154"/>
                      </a:lnTo>
                      <a:lnTo>
                        <a:pt x="72" y="154"/>
                      </a:lnTo>
                      <a:lnTo>
                        <a:pt x="72" y="154"/>
                      </a:lnTo>
                      <a:lnTo>
                        <a:pt x="72" y="155"/>
                      </a:lnTo>
                      <a:lnTo>
                        <a:pt x="73" y="156"/>
                      </a:lnTo>
                      <a:lnTo>
                        <a:pt x="73" y="156"/>
                      </a:lnTo>
                      <a:lnTo>
                        <a:pt x="73" y="157"/>
                      </a:lnTo>
                      <a:lnTo>
                        <a:pt x="73" y="158"/>
                      </a:lnTo>
                      <a:lnTo>
                        <a:pt x="74" y="158"/>
                      </a:lnTo>
                      <a:lnTo>
                        <a:pt x="75" y="157"/>
                      </a:lnTo>
                      <a:lnTo>
                        <a:pt x="75" y="156"/>
                      </a:lnTo>
                      <a:lnTo>
                        <a:pt x="75" y="156"/>
                      </a:lnTo>
                      <a:lnTo>
                        <a:pt x="76" y="155"/>
                      </a:lnTo>
                      <a:lnTo>
                        <a:pt x="76" y="154"/>
                      </a:lnTo>
                      <a:lnTo>
                        <a:pt x="76" y="154"/>
                      </a:lnTo>
                      <a:lnTo>
                        <a:pt x="76" y="153"/>
                      </a:lnTo>
                      <a:lnTo>
                        <a:pt x="76" y="152"/>
                      </a:lnTo>
                      <a:lnTo>
                        <a:pt x="76" y="152"/>
                      </a:lnTo>
                      <a:lnTo>
                        <a:pt x="77" y="152"/>
                      </a:lnTo>
                      <a:lnTo>
                        <a:pt x="77" y="151"/>
                      </a:lnTo>
                      <a:lnTo>
                        <a:pt x="77" y="151"/>
                      </a:lnTo>
                      <a:lnTo>
                        <a:pt x="77" y="150"/>
                      </a:lnTo>
                      <a:lnTo>
                        <a:pt x="77" y="149"/>
                      </a:lnTo>
                      <a:lnTo>
                        <a:pt x="77" y="149"/>
                      </a:lnTo>
                      <a:lnTo>
                        <a:pt x="77" y="149"/>
                      </a:lnTo>
                      <a:lnTo>
                        <a:pt x="77" y="148"/>
                      </a:lnTo>
                      <a:lnTo>
                        <a:pt x="77" y="147"/>
                      </a:lnTo>
                      <a:lnTo>
                        <a:pt x="77" y="147"/>
                      </a:lnTo>
                      <a:lnTo>
                        <a:pt x="77" y="146"/>
                      </a:lnTo>
                      <a:lnTo>
                        <a:pt x="76" y="146"/>
                      </a:lnTo>
                      <a:lnTo>
                        <a:pt x="76" y="145"/>
                      </a:lnTo>
                      <a:lnTo>
                        <a:pt x="75" y="145"/>
                      </a:lnTo>
                      <a:lnTo>
                        <a:pt x="75" y="145"/>
                      </a:lnTo>
                      <a:lnTo>
                        <a:pt x="75" y="145"/>
                      </a:lnTo>
                      <a:lnTo>
                        <a:pt x="75" y="144"/>
                      </a:lnTo>
                      <a:lnTo>
                        <a:pt x="75" y="143"/>
                      </a:lnTo>
                      <a:lnTo>
                        <a:pt x="75" y="143"/>
                      </a:lnTo>
                      <a:lnTo>
                        <a:pt x="74" y="143"/>
                      </a:lnTo>
                      <a:lnTo>
                        <a:pt x="74" y="142"/>
                      </a:lnTo>
                      <a:lnTo>
                        <a:pt x="74" y="141"/>
                      </a:lnTo>
                      <a:lnTo>
                        <a:pt x="74" y="142"/>
                      </a:lnTo>
                      <a:lnTo>
                        <a:pt x="73" y="142"/>
                      </a:lnTo>
                      <a:lnTo>
                        <a:pt x="73" y="141"/>
                      </a:lnTo>
                      <a:lnTo>
                        <a:pt x="73" y="141"/>
                      </a:lnTo>
                      <a:lnTo>
                        <a:pt x="73" y="141"/>
                      </a:lnTo>
                      <a:lnTo>
                        <a:pt x="72" y="141"/>
                      </a:lnTo>
                      <a:lnTo>
                        <a:pt x="72" y="140"/>
                      </a:lnTo>
                      <a:lnTo>
                        <a:pt x="71" y="140"/>
                      </a:lnTo>
                      <a:lnTo>
                        <a:pt x="71" y="140"/>
                      </a:lnTo>
                      <a:lnTo>
                        <a:pt x="71" y="140"/>
                      </a:lnTo>
                      <a:lnTo>
                        <a:pt x="71" y="139"/>
                      </a:lnTo>
                      <a:lnTo>
                        <a:pt x="72" y="139"/>
                      </a:lnTo>
                      <a:lnTo>
                        <a:pt x="72" y="139"/>
                      </a:lnTo>
                      <a:lnTo>
                        <a:pt x="72" y="138"/>
                      </a:lnTo>
                      <a:lnTo>
                        <a:pt x="73" y="138"/>
                      </a:lnTo>
                      <a:lnTo>
                        <a:pt x="73" y="137"/>
                      </a:lnTo>
                      <a:lnTo>
                        <a:pt x="73" y="137"/>
                      </a:lnTo>
                      <a:lnTo>
                        <a:pt x="73" y="136"/>
                      </a:lnTo>
                      <a:lnTo>
                        <a:pt x="73" y="135"/>
                      </a:lnTo>
                      <a:lnTo>
                        <a:pt x="72" y="135"/>
                      </a:lnTo>
                      <a:lnTo>
                        <a:pt x="72" y="135"/>
                      </a:lnTo>
                      <a:lnTo>
                        <a:pt x="72" y="134"/>
                      </a:lnTo>
                      <a:lnTo>
                        <a:pt x="71" y="134"/>
                      </a:lnTo>
                      <a:lnTo>
                        <a:pt x="72" y="134"/>
                      </a:lnTo>
                      <a:lnTo>
                        <a:pt x="71" y="134"/>
                      </a:lnTo>
                      <a:lnTo>
                        <a:pt x="71" y="133"/>
                      </a:lnTo>
                      <a:lnTo>
                        <a:pt x="71" y="133"/>
                      </a:lnTo>
                      <a:lnTo>
                        <a:pt x="71" y="133"/>
                      </a:lnTo>
                      <a:lnTo>
                        <a:pt x="71" y="133"/>
                      </a:lnTo>
                      <a:lnTo>
                        <a:pt x="71" y="133"/>
                      </a:lnTo>
                      <a:lnTo>
                        <a:pt x="71" y="132"/>
                      </a:lnTo>
                      <a:lnTo>
                        <a:pt x="71" y="131"/>
                      </a:lnTo>
                      <a:lnTo>
                        <a:pt x="70" y="131"/>
                      </a:lnTo>
                      <a:lnTo>
                        <a:pt x="70" y="131"/>
                      </a:lnTo>
                      <a:lnTo>
                        <a:pt x="70" y="130"/>
                      </a:lnTo>
                      <a:lnTo>
                        <a:pt x="70" y="129"/>
                      </a:lnTo>
                      <a:lnTo>
                        <a:pt x="69" y="129"/>
                      </a:lnTo>
                      <a:lnTo>
                        <a:pt x="70" y="129"/>
                      </a:lnTo>
                      <a:lnTo>
                        <a:pt x="69" y="129"/>
                      </a:lnTo>
                      <a:lnTo>
                        <a:pt x="69" y="128"/>
                      </a:lnTo>
                      <a:lnTo>
                        <a:pt x="69" y="128"/>
                      </a:lnTo>
                      <a:lnTo>
                        <a:pt x="68" y="128"/>
                      </a:lnTo>
                      <a:lnTo>
                        <a:pt x="67" y="128"/>
                      </a:lnTo>
                      <a:lnTo>
                        <a:pt x="67" y="128"/>
                      </a:lnTo>
                      <a:lnTo>
                        <a:pt x="66" y="128"/>
                      </a:lnTo>
                      <a:lnTo>
                        <a:pt x="66" y="128"/>
                      </a:lnTo>
                      <a:lnTo>
                        <a:pt x="66" y="127"/>
                      </a:lnTo>
                      <a:lnTo>
                        <a:pt x="67" y="127"/>
                      </a:lnTo>
                      <a:lnTo>
                        <a:pt x="67" y="126"/>
                      </a:lnTo>
                      <a:lnTo>
                        <a:pt x="67" y="126"/>
                      </a:lnTo>
                      <a:lnTo>
                        <a:pt x="68" y="126"/>
                      </a:lnTo>
                      <a:lnTo>
                        <a:pt x="68" y="125"/>
                      </a:lnTo>
                      <a:lnTo>
                        <a:pt x="68" y="124"/>
                      </a:lnTo>
                      <a:lnTo>
                        <a:pt x="67" y="124"/>
                      </a:lnTo>
                      <a:lnTo>
                        <a:pt x="67" y="124"/>
                      </a:lnTo>
                      <a:lnTo>
                        <a:pt x="68" y="124"/>
                      </a:lnTo>
                      <a:lnTo>
                        <a:pt x="67" y="124"/>
                      </a:lnTo>
                      <a:lnTo>
                        <a:pt x="67" y="123"/>
                      </a:lnTo>
                      <a:lnTo>
                        <a:pt x="67" y="122"/>
                      </a:lnTo>
                      <a:lnTo>
                        <a:pt x="67" y="122"/>
                      </a:lnTo>
                      <a:lnTo>
                        <a:pt x="68" y="122"/>
                      </a:lnTo>
                      <a:lnTo>
                        <a:pt x="69" y="122"/>
                      </a:lnTo>
                      <a:lnTo>
                        <a:pt x="69" y="121"/>
                      </a:lnTo>
                      <a:lnTo>
                        <a:pt x="69" y="121"/>
                      </a:lnTo>
                      <a:lnTo>
                        <a:pt x="69" y="120"/>
                      </a:lnTo>
                      <a:lnTo>
                        <a:pt x="69" y="120"/>
                      </a:lnTo>
                      <a:lnTo>
                        <a:pt x="69" y="120"/>
                      </a:lnTo>
                      <a:lnTo>
                        <a:pt x="70" y="120"/>
                      </a:lnTo>
                      <a:lnTo>
                        <a:pt x="70" y="119"/>
                      </a:lnTo>
                      <a:lnTo>
                        <a:pt x="70" y="118"/>
                      </a:lnTo>
                      <a:lnTo>
                        <a:pt x="70" y="118"/>
                      </a:lnTo>
                      <a:lnTo>
                        <a:pt x="70" y="117"/>
                      </a:lnTo>
                      <a:lnTo>
                        <a:pt x="71" y="117"/>
                      </a:lnTo>
                      <a:lnTo>
                        <a:pt x="71" y="116"/>
                      </a:lnTo>
                      <a:lnTo>
                        <a:pt x="71" y="116"/>
                      </a:lnTo>
                      <a:lnTo>
                        <a:pt x="71" y="116"/>
                      </a:lnTo>
                      <a:lnTo>
                        <a:pt x="72" y="116"/>
                      </a:lnTo>
                      <a:lnTo>
                        <a:pt x="72" y="115"/>
                      </a:lnTo>
                      <a:lnTo>
                        <a:pt x="72" y="114"/>
                      </a:lnTo>
                      <a:lnTo>
                        <a:pt x="72" y="114"/>
                      </a:lnTo>
                      <a:lnTo>
                        <a:pt x="73" y="114"/>
                      </a:lnTo>
                      <a:lnTo>
                        <a:pt x="73" y="114"/>
                      </a:lnTo>
                      <a:lnTo>
                        <a:pt x="73" y="113"/>
                      </a:lnTo>
                      <a:lnTo>
                        <a:pt x="74" y="113"/>
                      </a:lnTo>
                      <a:lnTo>
                        <a:pt x="74" y="112"/>
                      </a:lnTo>
                      <a:lnTo>
                        <a:pt x="75" y="112"/>
                      </a:lnTo>
                      <a:lnTo>
                        <a:pt x="75" y="112"/>
                      </a:lnTo>
                      <a:lnTo>
                        <a:pt x="75" y="113"/>
                      </a:lnTo>
                      <a:lnTo>
                        <a:pt x="76" y="113"/>
                      </a:lnTo>
                      <a:lnTo>
                        <a:pt x="76" y="114"/>
                      </a:lnTo>
                      <a:lnTo>
                        <a:pt x="77" y="114"/>
                      </a:lnTo>
                      <a:lnTo>
                        <a:pt x="77" y="115"/>
                      </a:lnTo>
                      <a:lnTo>
                        <a:pt x="77" y="116"/>
                      </a:lnTo>
                      <a:lnTo>
                        <a:pt x="78" y="116"/>
                      </a:lnTo>
                      <a:lnTo>
                        <a:pt x="79" y="117"/>
                      </a:lnTo>
                      <a:lnTo>
                        <a:pt x="79" y="118"/>
                      </a:lnTo>
                      <a:lnTo>
                        <a:pt x="80" y="118"/>
                      </a:lnTo>
                      <a:lnTo>
                        <a:pt x="80" y="118"/>
                      </a:lnTo>
                      <a:lnTo>
                        <a:pt x="80" y="117"/>
                      </a:lnTo>
                      <a:lnTo>
                        <a:pt x="80" y="116"/>
                      </a:lnTo>
                      <a:lnTo>
                        <a:pt x="80" y="116"/>
                      </a:lnTo>
                      <a:lnTo>
                        <a:pt x="81" y="116"/>
                      </a:lnTo>
                      <a:lnTo>
                        <a:pt x="81" y="115"/>
                      </a:lnTo>
                      <a:lnTo>
                        <a:pt x="81" y="116"/>
                      </a:lnTo>
                      <a:lnTo>
                        <a:pt x="81" y="115"/>
                      </a:lnTo>
                      <a:lnTo>
                        <a:pt x="82" y="115"/>
                      </a:lnTo>
                      <a:lnTo>
                        <a:pt x="82" y="114"/>
                      </a:lnTo>
                      <a:lnTo>
                        <a:pt x="82" y="115"/>
                      </a:lnTo>
                      <a:lnTo>
                        <a:pt x="82" y="115"/>
                      </a:lnTo>
                      <a:lnTo>
                        <a:pt x="83" y="114"/>
                      </a:lnTo>
                      <a:lnTo>
                        <a:pt x="83" y="115"/>
                      </a:lnTo>
                      <a:lnTo>
                        <a:pt x="83" y="114"/>
                      </a:lnTo>
                      <a:lnTo>
                        <a:pt x="84" y="114"/>
                      </a:lnTo>
                      <a:lnTo>
                        <a:pt x="84" y="114"/>
                      </a:lnTo>
                      <a:lnTo>
                        <a:pt x="84" y="114"/>
                      </a:lnTo>
                      <a:lnTo>
                        <a:pt x="85" y="114"/>
                      </a:lnTo>
                      <a:lnTo>
                        <a:pt x="85" y="114"/>
                      </a:lnTo>
                      <a:lnTo>
                        <a:pt x="84" y="115"/>
                      </a:lnTo>
                      <a:lnTo>
                        <a:pt x="85" y="115"/>
                      </a:lnTo>
                      <a:lnTo>
                        <a:pt x="85" y="116"/>
                      </a:lnTo>
                      <a:lnTo>
                        <a:pt x="85" y="116"/>
                      </a:lnTo>
                      <a:lnTo>
                        <a:pt x="86" y="116"/>
                      </a:lnTo>
                      <a:lnTo>
                        <a:pt x="86" y="116"/>
                      </a:lnTo>
                      <a:lnTo>
                        <a:pt x="86" y="116"/>
                      </a:lnTo>
                      <a:lnTo>
                        <a:pt x="86" y="116"/>
                      </a:lnTo>
                      <a:lnTo>
                        <a:pt x="87" y="116"/>
                      </a:lnTo>
                      <a:lnTo>
                        <a:pt x="87" y="116"/>
                      </a:lnTo>
                      <a:lnTo>
                        <a:pt x="88" y="116"/>
                      </a:lnTo>
                      <a:lnTo>
                        <a:pt x="88" y="115"/>
                      </a:lnTo>
                      <a:lnTo>
                        <a:pt x="87" y="115"/>
                      </a:lnTo>
                      <a:lnTo>
                        <a:pt x="87" y="114"/>
                      </a:lnTo>
                      <a:lnTo>
                        <a:pt x="87" y="114"/>
                      </a:lnTo>
                      <a:lnTo>
                        <a:pt x="86" y="114"/>
                      </a:lnTo>
                      <a:lnTo>
                        <a:pt x="86" y="113"/>
                      </a:lnTo>
                      <a:lnTo>
                        <a:pt x="86" y="112"/>
                      </a:lnTo>
                      <a:lnTo>
                        <a:pt x="86" y="112"/>
                      </a:lnTo>
                      <a:lnTo>
                        <a:pt x="85" y="112"/>
                      </a:lnTo>
                      <a:lnTo>
                        <a:pt x="84" y="112"/>
                      </a:lnTo>
                      <a:lnTo>
                        <a:pt x="84" y="112"/>
                      </a:lnTo>
                      <a:lnTo>
                        <a:pt x="84" y="112"/>
                      </a:lnTo>
                      <a:lnTo>
                        <a:pt x="84" y="112"/>
                      </a:lnTo>
                      <a:lnTo>
                        <a:pt x="83" y="112"/>
                      </a:lnTo>
                      <a:lnTo>
                        <a:pt x="82" y="112"/>
                      </a:lnTo>
                      <a:lnTo>
                        <a:pt x="82" y="112"/>
                      </a:lnTo>
                      <a:lnTo>
                        <a:pt x="81" y="112"/>
                      </a:lnTo>
                      <a:lnTo>
                        <a:pt x="80" y="112"/>
                      </a:lnTo>
                      <a:lnTo>
                        <a:pt x="80" y="112"/>
                      </a:lnTo>
                      <a:lnTo>
                        <a:pt x="80" y="112"/>
                      </a:lnTo>
                      <a:lnTo>
                        <a:pt x="79" y="112"/>
                      </a:lnTo>
                      <a:lnTo>
                        <a:pt x="79" y="113"/>
                      </a:lnTo>
                      <a:lnTo>
                        <a:pt x="78" y="113"/>
                      </a:lnTo>
                      <a:lnTo>
                        <a:pt x="77" y="113"/>
                      </a:lnTo>
                      <a:lnTo>
                        <a:pt x="77" y="112"/>
                      </a:lnTo>
                      <a:lnTo>
                        <a:pt x="77" y="112"/>
                      </a:lnTo>
                      <a:lnTo>
                        <a:pt x="77" y="112"/>
                      </a:lnTo>
                      <a:lnTo>
                        <a:pt x="76" y="112"/>
                      </a:lnTo>
                      <a:lnTo>
                        <a:pt x="76" y="111"/>
                      </a:lnTo>
                      <a:lnTo>
                        <a:pt x="76" y="112"/>
                      </a:lnTo>
                      <a:lnTo>
                        <a:pt x="75" y="112"/>
                      </a:lnTo>
                      <a:lnTo>
                        <a:pt x="75" y="112"/>
                      </a:lnTo>
                      <a:lnTo>
                        <a:pt x="75" y="112"/>
                      </a:lnTo>
                      <a:lnTo>
                        <a:pt x="75" y="112"/>
                      </a:lnTo>
                      <a:lnTo>
                        <a:pt x="74" y="112"/>
                      </a:lnTo>
                      <a:lnTo>
                        <a:pt x="74" y="111"/>
                      </a:lnTo>
                      <a:lnTo>
                        <a:pt x="73" y="111"/>
                      </a:lnTo>
                      <a:lnTo>
                        <a:pt x="73" y="110"/>
                      </a:lnTo>
                      <a:lnTo>
                        <a:pt x="73" y="110"/>
                      </a:lnTo>
                      <a:lnTo>
                        <a:pt x="72" y="110"/>
                      </a:lnTo>
                      <a:lnTo>
                        <a:pt x="72" y="109"/>
                      </a:lnTo>
                      <a:lnTo>
                        <a:pt x="71" y="109"/>
                      </a:lnTo>
                      <a:lnTo>
                        <a:pt x="71" y="109"/>
                      </a:lnTo>
                      <a:lnTo>
                        <a:pt x="71" y="109"/>
                      </a:lnTo>
                      <a:lnTo>
                        <a:pt x="71" y="108"/>
                      </a:lnTo>
                      <a:lnTo>
                        <a:pt x="71" y="107"/>
                      </a:lnTo>
                      <a:lnTo>
                        <a:pt x="70" y="107"/>
                      </a:lnTo>
                      <a:lnTo>
                        <a:pt x="70" y="107"/>
                      </a:lnTo>
                      <a:lnTo>
                        <a:pt x="69" y="107"/>
                      </a:lnTo>
                      <a:lnTo>
                        <a:pt x="69" y="106"/>
                      </a:lnTo>
                      <a:lnTo>
                        <a:pt x="70" y="106"/>
                      </a:lnTo>
                      <a:lnTo>
                        <a:pt x="69" y="105"/>
                      </a:lnTo>
                      <a:lnTo>
                        <a:pt x="69" y="105"/>
                      </a:lnTo>
                      <a:lnTo>
                        <a:pt x="70" y="105"/>
                      </a:lnTo>
                      <a:lnTo>
                        <a:pt x="70" y="104"/>
                      </a:lnTo>
                      <a:lnTo>
                        <a:pt x="70" y="103"/>
                      </a:lnTo>
                      <a:lnTo>
                        <a:pt x="71" y="103"/>
                      </a:lnTo>
                      <a:lnTo>
                        <a:pt x="70" y="103"/>
                      </a:lnTo>
                      <a:lnTo>
                        <a:pt x="70" y="103"/>
                      </a:lnTo>
                      <a:lnTo>
                        <a:pt x="71" y="103"/>
                      </a:lnTo>
                      <a:lnTo>
                        <a:pt x="71" y="102"/>
                      </a:lnTo>
                      <a:lnTo>
                        <a:pt x="71" y="102"/>
                      </a:lnTo>
                      <a:lnTo>
                        <a:pt x="72" y="102"/>
                      </a:lnTo>
                      <a:lnTo>
                        <a:pt x="72" y="101"/>
                      </a:lnTo>
                      <a:lnTo>
                        <a:pt x="72" y="101"/>
                      </a:lnTo>
                      <a:lnTo>
                        <a:pt x="72" y="100"/>
                      </a:lnTo>
                      <a:lnTo>
                        <a:pt x="72" y="99"/>
                      </a:lnTo>
                      <a:lnTo>
                        <a:pt x="73" y="99"/>
                      </a:lnTo>
                      <a:lnTo>
                        <a:pt x="73" y="99"/>
                      </a:lnTo>
                      <a:lnTo>
                        <a:pt x="73" y="98"/>
                      </a:lnTo>
                      <a:lnTo>
                        <a:pt x="73" y="97"/>
                      </a:lnTo>
                      <a:lnTo>
                        <a:pt x="73" y="97"/>
                      </a:lnTo>
                      <a:lnTo>
                        <a:pt x="73" y="97"/>
                      </a:lnTo>
                      <a:lnTo>
                        <a:pt x="73" y="97"/>
                      </a:lnTo>
                      <a:lnTo>
                        <a:pt x="74" y="97"/>
                      </a:lnTo>
                      <a:lnTo>
                        <a:pt x="74" y="97"/>
                      </a:lnTo>
                      <a:lnTo>
                        <a:pt x="74" y="96"/>
                      </a:lnTo>
                      <a:lnTo>
                        <a:pt x="73" y="96"/>
                      </a:lnTo>
                      <a:lnTo>
                        <a:pt x="74" y="96"/>
                      </a:lnTo>
                      <a:lnTo>
                        <a:pt x="73" y="96"/>
                      </a:lnTo>
                      <a:lnTo>
                        <a:pt x="74" y="96"/>
                      </a:lnTo>
                      <a:lnTo>
                        <a:pt x="74" y="95"/>
                      </a:lnTo>
                      <a:lnTo>
                        <a:pt x="75" y="95"/>
                      </a:lnTo>
                      <a:lnTo>
                        <a:pt x="75" y="95"/>
                      </a:lnTo>
                      <a:lnTo>
                        <a:pt x="75" y="95"/>
                      </a:lnTo>
                      <a:lnTo>
                        <a:pt x="75" y="94"/>
                      </a:lnTo>
                      <a:lnTo>
                        <a:pt x="76" y="94"/>
                      </a:lnTo>
                      <a:lnTo>
                        <a:pt x="75" y="94"/>
                      </a:lnTo>
                      <a:lnTo>
                        <a:pt x="76" y="94"/>
                      </a:lnTo>
                      <a:lnTo>
                        <a:pt x="76" y="93"/>
                      </a:lnTo>
                      <a:lnTo>
                        <a:pt x="76" y="93"/>
                      </a:lnTo>
                      <a:lnTo>
                        <a:pt x="75" y="93"/>
                      </a:lnTo>
                      <a:lnTo>
                        <a:pt x="75" y="93"/>
                      </a:lnTo>
                      <a:lnTo>
                        <a:pt x="75" y="92"/>
                      </a:lnTo>
                      <a:lnTo>
                        <a:pt x="74" y="92"/>
                      </a:lnTo>
                      <a:lnTo>
                        <a:pt x="74" y="91"/>
                      </a:lnTo>
                      <a:lnTo>
                        <a:pt x="73" y="91"/>
                      </a:lnTo>
                      <a:lnTo>
                        <a:pt x="73" y="90"/>
                      </a:lnTo>
                      <a:lnTo>
                        <a:pt x="73" y="90"/>
                      </a:lnTo>
                      <a:lnTo>
                        <a:pt x="73" y="90"/>
                      </a:lnTo>
                      <a:lnTo>
                        <a:pt x="73" y="89"/>
                      </a:lnTo>
                      <a:lnTo>
                        <a:pt x="73" y="88"/>
                      </a:lnTo>
                      <a:lnTo>
                        <a:pt x="73" y="88"/>
                      </a:lnTo>
                      <a:lnTo>
                        <a:pt x="73" y="87"/>
                      </a:lnTo>
                      <a:lnTo>
                        <a:pt x="72" y="87"/>
                      </a:lnTo>
                      <a:lnTo>
                        <a:pt x="72" y="86"/>
                      </a:lnTo>
                      <a:lnTo>
                        <a:pt x="72" y="86"/>
                      </a:lnTo>
                      <a:lnTo>
                        <a:pt x="72" y="85"/>
                      </a:lnTo>
                      <a:lnTo>
                        <a:pt x="72" y="84"/>
                      </a:lnTo>
                      <a:lnTo>
                        <a:pt x="71" y="84"/>
                      </a:lnTo>
                      <a:lnTo>
                        <a:pt x="72" y="84"/>
                      </a:lnTo>
                      <a:lnTo>
                        <a:pt x="72" y="84"/>
                      </a:lnTo>
                      <a:lnTo>
                        <a:pt x="72" y="83"/>
                      </a:lnTo>
                      <a:lnTo>
                        <a:pt x="71" y="83"/>
                      </a:lnTo>
                      <a:lnTo>
                        <a:pt x="71" y="82"/>
                      </a:lnTo>
                      <a:lnTo>
                        <a:pt x="72" y="82"/>
                      </a:lnTo>
                      <a:lnTo>
                        <a:pt x="73" y="82"/>
                      </a:lnTo>
                      <a:lnTo>
                        <a:pt x="73" y="82"/>
                      </a:lnTo>
                      <a:lnTo>
                        <a:pt x="73" y="81"/>
                      </a:lnTo>
                      <a:lnTo>
                        <a:pt x="73" y="81"/>
                      </a:lnTo>
                      <a:lnTo>
                        <a:pt x="73" y="80"/>
                      </a:lnTo>
                      <a:lnTo>
                        <a:pt x="73" y="80"/>
                      </a:lnTo>
                      <a:lnTo>
                        <a:pt x="74" y="80"/>
                      </a:lnTo>
                      <a:lnTo>
                        <a:pt x="75" y="80"/>
                      </a:lnTo>
                      <a:lnTo>
                        <a:pt x="75" y="81"/>
                      </a:lnTo>
                      <a:lnTo>
                        <a:pt x="75" y="80"/>
                      </a:lnTo>
                      <a:lnTo>
                        <a:pt x="76" y="80"/>
                      </a:lnTo>
                      <a:lnTo>
                        <a:pt x="77" y="80"/>
                      </a:lnTo>
                      <a:lnTo>
                        <a:pt x="77" y="80"/>
                      </a:lnTo>
                      <a:lnTo>
                        <a:pt x="77" y="81"/>
                      </a:lnTo>
                      <a:lnTo>
                        <a:pt x="78" y="81"/>
                      </a:lnTo>
                      <a:lnTo>
                        <a:pt x="78" y="80"/>
                      </a:lnTo>
                      <a:lnTo>
                        <a:pt x="79" y="80"/>
                      </a:lnTo>
                      <a:lnTo>
                        <a:pt x="79" y="80"/>
                      </a:lnTo>
                      <a:lnTo>
                        <a:pt x="80" y="80"/>
                      </a:lnTo>
                      <a:lnTo>
                        <a:pt x="80" y="79"/>
                      </a:lnTo>
                      <a:lnTo>
                        <a:pt x="80" y="78"/>
                      </a:lnTo>
                      <a:lnTo>
                        <a:pt x="80" y="78"/>
                      </a:lnTo>
                      <a:lnTo>
                        <a:pt x="80" y="78"/>
                      </a:lnTo>
                      <a:lnTo>
                        <a:pt x="80" y="77"/>
                      </a:lnTo>
                      <a:lnTo>
                        <a:pt x="81" y="77"/>
                      </a:lnTo>
                      <a:lnTo>
                        <a:pt x="81" y="76"/>
                      </a:lnTo>
                      <a:lnTo>
                        <a:pt x="80" y="76"/>
                      </a:lnTo>
                      <a:lnTo>
                        <a:pt x="80" y="76"/>
                      </a:lnTo>
                      <a:lnTo>
                        <a:pt x="80" y="76"/>
                      </a:lnTo>
                      <a:lnTo>
                        <a:pt x="79" y="76"/>
                      </a:lnTo>
                      <a:lnTo>
                        <a:pt x="79" y="75"/>
                      </a:lnTo>
                      <a:lnTo>
                        <a:pt x="79" y="74"/>
                      </a:lnTo>
                      <a:lnTo>
                        <a:pt x="78" y="74"/>
                      </a:lnTo>
                      <a:lnTo>
                        <a:pt x="78" y="74"/>
                      </a:lnTo>
                      <a:lnTo>
                        <a:pt x="77" y="73"/>
                      </a:lnTo>
                      <a:lnTo>
                        <a:pt x="77" y="72"/>
                      </a:lnTo>
                      <a:lnTo>
                        <a:pt x="77" y="72"/>
                      </a:lnTo>
                      <a:lnTo>
                        <a:pt x="76" y="72"/>
                      </a:lnTo>
                      <a:lnTo>
                        <a:pt x="76" y="71"/>
                      </a:lnTo>
                      <a:lnTo>
                        <a:pt x="75" y="71"/>
                      </a:lnTo>
                      <a:lnTo>
                        <a:pt x="75" y="70"/>
                      </a:lnTo>
                      <a:lnTo>
                        <a:pt x="75" y="70"/>
                      </a:lnTo>
                      <a:lnTo>
                        <a:pt x="75" y="69"/>
                      </a:lnTo>
                      <a:lnTo>
                        <a:pt x="74" y="69"/>
                      </a:lnTo>
                      <a:lnTo>
                        <a:pt x="73" y="69"/>
                      </a:lnTo>
                      <a:lnTo>
                        <a:pt x="73" y="69"/>
                      </a:lnTo>
                      <a:lnTo>
                        <a:pt x="73" y="69"/>
                      </a:lnTo>
                      <a:lnTo>
                        <a:pt x="72" y="69"/>
                      </a:lnTo>
                      <a:lnTo>
                        <a:pt x="72" y="68"/>
                      </a:lnTo>
                      <a:lnTo>
                        <a:pt x="71" y="68"/>
                      </a:lnTo>
                      <a:lnTo>
                        <a:pt x="71" y="67"/>
                      </a:lnTo>
                      <a:lnTo>
                        <a:pt x="70" y="67"/>
                      </a:lnTo>
                      <a:lnTo>
                        <a:pt x="69" y="67"/>
                      </a:lnTo>
                      <a:lnTo>
                        <a:pt x="69" y="67"/>
                      </a:lnTo>
                      <a:lnTo>
                        <a:pt x="69" y="67"/>
                      </a:lnTo>
                      <a:lnTo>
                        <a:pt x="68" y="67"/>
                      </a:lnTo>
                      <a:lnTo>
                        <a:pt x="67" y="67"/>
                      </a:lnTo>
                      <a:lnTo>
                        <a:pt x="67" y="68"/>
                      </a:lnTo>
                      <a:lnTo>
                        <a:pt x="67" y="69"/>
                      </a:lnTo>
                      <a:lnTo>
                        <a:pt x="67" y="69"/>
                      </a:lnTo>
                      <a:lnTo>
                        <a:pt x="67" y="70"/>
                      </a:lnTo>
                      <a:lnTo>
                        <a:pt x="67" y="70"/>
                      </a:lnTo>
                      <a:lnTo>
                        <a:pt x="67" y="69"/>
                      </a:lnTo>
                      <a:lnTo>
                        <a:pt x="66" y="69"/>
                      </a:lnTo>
                      <a:lnTo>
                        <a:pt x="65" y="69"/>
                      </a:lnTo>
                      <a:lnTo>
                        <a:pt x="65" y="69"/>
                      </a:lnTo>
                      <a:lnTo>
                        <a:pt x="65" y="68"/>
                      </a:lnTo>
                      <a:lnTo>
                        <a:pt x="64" y="68"/>
                      </a:lnTo>
                      <a:lnTo>
                        <a:pt x="63" y="68"/>
                      </a:lnTo>
                      <a:lnTo>
                        <a:pt x="63" y="67"/>
                      </a:lnTo>
                      <a:lnTo>
                        <a:pt x="63" y="68"/>
                      </a:lnTo>
                      <a:lnTo>
                        <a:pt x="62" y="67"/>
                      </a:lnTo>
                      <a:lnTo>
                        <a:pt x="61" y="67"/>
                      </a:lnTo>
                      <a:lnTo>
                        <a:pt x="61" y="67"/>
                      </a:lnTo>
                      <a:lnTo>
                        <a:pt x="61" y="68"/>
                      </a:lnTo>
                      <a:lnTo>
                        <a:pt x="61" y="67"/>
                      </a:lnTo>
                      <a:lnTo>
                        <a:pt x="61" y="67"/>
                      </a:lnTo>
                      <a:lnTo>
                        <a:pt x="60" y="67"/>
                      </a:lnTo>
                      <a:lnTo>
                        <a:pt x="60" y="66"/>
                      </a:lnTo>
                      <a:lnTo>
                        <a:pt x="59" y="66"/>
                      </a:lnTo>
                      <a:lnTo>
                        <a:pt x="59" y="65"/>
                      </a:lnTo>
                      <a:lnTo>
                        <a:pt x="58" y="65"/>
                      </a:lnTo>
                      <a:lnTo>
                        <a:pt x="58" y="65"/>
                      </a:lnTo>
                      <a:lnTo>
                        <a:pt x="57" y="65"/>
                      </a:lnTo>
                      <a:lnTo>
                        <a:pt x="57" y="65"/>
                      </a:lnTo>
                      <a:lnTo>
                        <a:pt x="57" y="64"/>
                      </a:lnTo>
                      <a:lnTo>
                        <a:pt x="56" y="64"/>
                      </a:lnTo>
                      <a:lnTo>
                        <a:pt x="56" y="64"/>
                      </a:lnTo>
                      <a:lnTo>
                        <a:pt x="55" y="64"/>
                      </a:lnTo>
                      <a:lnTo>
                        <a:pt x="54" y="64"/>
                      </a:lnTo>
                      <a:lnTo>
                        <a:pt x="54" y="63"/>
                      </a:lnTo>
                      <a:lnTo>
                        <a:pt x="54" y="63"/>
                      </a:lnTo>
                      <a:lnTo>
                        <a:pt x="54" y="63"/>
                      </a:lnTo>
                      <a:lnTo>
                        <a:pt x="54" y="63"/>
                      </a:lnTo>
                      <a:lnTo>
                        <a:pt x="54" y="62"/>
                      </a:lnTo>
                      <a:lnTo>
                        <a:pt x="54" y="61"/>
                      </a:lnTo>
                      <a:lnTo>
                        <a:pt x="53" y="61"/>
                      </a:lnTo>
                      <a:lnTo>
                        <a:pt x="53" y="61"/>
                      </a:lnTo>
                      <a:lnTo>
                        <a:pt x="52" y="61"/>
                      </a:lnTo>
                      <a:lnTo>
                        <a:pt x="52" y="60"/>
                      </a:lnTo>
                      <a:lnTo>
                        <a:pt x="52" y="60"/>
                      </a:lnTo>
                      <a:lnTo>
                        <a:pt x="52" y="59"/>
                      </a:lnTo>
                      <a:lnTo>
                        <a:pt x="52" y="59"/>
                      </a:lnTo>
                      <a:lnTo>
                        <a:pt x="52" y="58"/>
                      </a:lnTo>
                      <a:lnTo>
                        <a:pt x="52" y="58"/>
                      </a:lnTo>
                      <a:lnTo>
                        <a:pt x="51" y="57"/>
                      </a:lnTo>
                      <a:lnTo>
                        <a:pt x="51" y="57"/>
                      </a:lnTo>
                      <a:lnTo>
                        <a:pt x="50" y="57"/>
                      </a:lnTo>
                      <a:lnTo>
                        <a:pt x="50" y="57"/>
                      </a:lnTo>
                      <a:lnTo>
                        <a:pt x="50" y="56"/>
                      </a:lnTo>
                      <a:lnTo>
                        <a:pt x="50" y="55"/>
                      </a:lnTo>
                      <a:lnTo>
                        <a:pt x="50" y="55"/>
                      </a:lnTo>
                      <a:lnTo>
                        <a:pt x="51" y="55"/>
                      </a:lnTo>
                      <a:lnTo>
                        <a:pt x="50" y="55"/>
                      </a:lnTo>
                      <a:lnTo>
                        <a:pt x="51" y="55"/>
                      </a:lnTo>
                      <a:lnTo>
                        <a:pt x="51" y="54"/>
                      </a:lnTo>
                      <a:lnTo>
                        <a:pt x="51" y="53"/>
                      </a:lnTo>
                      <a:lnTo>
                        <a:pt x="52" y="53"/>
                      </a:lnTo>
                      <a:lnTo>
                        <a:pt x="52" y="53"/>
                      </a:lnTo>
                      <a:lnTo>
                        <a:pt x="52" y="52"/>
                      </a:lnTo>
                      <a:lnTo>
                        <a:pt x="52" y="51"/>
                      </a:lnTo>
                      <a:lnTo>
                        <a:pt x="52" y="50"/>
                      </a:lnTo>
                      <a:lnTo>
                        <a:pt x="52" y="50"/>
                      </a:lnTo>
                      <a:lnTo>
                        <a:pt x="52" y="50"/>
                      </a:lnTo>
                      <a:lnTo>
                        <a:pt x="52" y="50"/>
                      </a:lnTo>
                      <a:lnTo>
                        <a:pt x="52" y="49"/>
                      </a:lnTo>
                      <a:lnTo>
                        <a:pt x="51" y="50"/>
                      </a:lnTo>
                      <a:lnTo>
                        <a:pt x="51" y="50"/>
                      </a:lnTo>
                      <a:lnTo>
                        <a:pt x="50" y="50"/>
                      </a:lnTo>
                      <a:lnTo>
                        <a:pt x="50" y="51"/>
                      </a:lnTo>
                      <a:lnTo>
                        <a:pt x="50" y="51"/>
                      </a:lnTo>
                      <a:lnTo>
                        <a:pt x="49" y="51"/>
                      </a:lnTo>
                      <a:lnTo>
                        <a:pt x="49" y="52"/>
                      </a:lnTo>
                      <a:lnTo>
                        <a:pt x="48" y="52"/>
                      </a:lnTo>
                      <a:lnTo>
                        <a:pt x="48" y="53"/>
                      </a:lnTo>
                      <a:lnTo>
                        <a:pt x="48" y="53"/>
                      </a:lnTo>
                      <a:lnTo>
                        <a:pt x="47" y="53"/>
                      </a:lnTo>
                      <a:lnTo>
                        <a:pt x="47" y="52"/>
                      </a:lnTo>
                      <a:lnTo>
                        <a:pt x="47" y="51"/>
                      </a:lnTo>
                      <a:lnTo>
                        <a:pt x="47" y="50"/>
                      </a:lnTo>
                      <a:lnTo>
                        <a:pt x="46" y="50"/>
                      </a:lnTo>
                      <a:lnTo>
                        <a:pt x="46" y="50"/>
                      </a:lnTo>
                      <a:lnTo>
                        <a:pt x="46" y="49"/>
                      </a:lnTo>
                      <a:lnTo>
                        <a:pt x="46" y="49"/>
                      </a:lnTo>
                      <a:lnTo>
                        <a:pt x="46" y="48"/>
                      </a:lnTo>
                      <a:lnTo>
                        <a:pt x="45" y="48"/>
                      </a:lnTo>
                      <a:lnTo>
                        <a:pt x="44" y="48"/>
                      </a:lnTo>
                      <a:lnTo>
                        <a:pt x="44" y="47"/>
                      </a:lnTo>
                      <a:lnTo>
                        <a:pt x="44" y="47"/>
                      </a:lnTo>
                      <a:lnTo>
                        <a:pt x="43" y="47"/>
                      </a:lnTo>
                      <a:lnTo>
                        <a:pt x="42" y="47"/>
                      </a:lnTo>
                      <a:lnTo>
                        <a:pt x="42" y="47"/>
                      </a:lnTo>
                      <a:lnTo>
                        <a:pt x="42" y="46"/>
                      </a:lnTo>
                      <a:lnTo>
                        <a:pt x="41" y="46"/>
                      </a:lnTo>
                      <a:lnTo>
                        <a:pt x="41" y="46"/>
                      </a:lnTo>
                      <a:lnTo>
                        <a:pt x="40" y="46"/>
                      </a:lnTo>
                      <a:lnTo>
                        <a:pt x="39" y="46"/>
                      </a:lnTo>
                      <a:lnTo>
                        <a:pt x="39" y="45"/>
                      </a:lnTo>
                      <a:lnTo>
                        <a:pt x="39" y="45"/>
                      </a:lnTo>
                      <a:lnTo>
                        <a:pt x="38" y="45"/>
                      </a:lnTo>
                      <a:lnTo>
                        <a:pt x="38" y="44"/>
                      </a:lnTo>
                      <a:lnTo>
                        <a:pt x="37" y="44"/>
                      </a:lnTo>
                      <a:lnTo>
                        <a:pt x="37" y="44"/>
                      </a:lnTo>
                      <a:lnTo>
                        <a:pt x="37" y="44"/>
                      </a:lnTo>
                      <a:lnTo>
                        <a:pt x="36" y="44"/>
                      </a:lnTo>
                      <a:lnTo>
                        <a:pt x="35" y="44"/>
                      </a:lnTo>
                      <a:lnTo>
                        <a:pt x="34" y="43"/>
                      </a:lnTo>
                      <a:lnTo>
                        <a:pt x="33" y="42"/>
                      </a:lnTo>
                      <a:lnTo>
                        <a:pt x="33" y="42"/>
                      </a:lnTo>
                      <a:lnTo>
                        <a:pt x="32" y="41"/>
                      </a:lnTo>
                      <a:lnTo>
                        <a:pt x="31" y="40"/>
                      </a:lnTo>
                      <a:lnTo>
                        <a:pt x="31" y="40"/>
                      </a:lnTo>
                      <a:lnTo>
                        <a:pt x="30" y="40"/>
                      </a:lnTo>
                      <a:lnTo>
                        <a:pt x="29" y="40"/>
                      </a:lnTo>
                      <a:lnTo>
                        <a:pt x="29" y="40"/>
                      </a:lnTo>
                      <a:lnTo>
                        <a:pt x="28" y="40"/>
                      </a:lnTo>
                      <a:lnTo>
                        <a:pt x="27" y="40"/>
                      </a:lnTo>
                      <a:lnTo>
                        <a:pt x="27" y="40"/>
                      </a:lnTo>
                      <a:lnTo>
                        <a:pt x="26" y="40"/>
                      </a:lnTo>
                      <a:lnTo>
                        <a:pt x="25" y="40"/>
                      </a:lnTo>
                      <a:lnTo>
                        <a:pt x="25" y="40"/>
                      </a:lnTo>
                      <a:lnTo>
                        <a:pt x="23" y="40"/>
                      </a:lnTo>
                      <a:lnTo>
                        <a:pt x="23" y="40"/>
                      </a:lnTo>
                      <a:lnTo>
                        <a:pt x="22" y="40"/>
                      </a:lnTo>
                      <a:lnTo>
                        <a:pt x="21" y="40"/>
                      </a:lnTo>
                      <a:lnTo>
                        <a:pt x="21" y="40"/>
                      </a:lnTo>
                      <a:lnTo>
                        <a:pt x="20" y="40"/>
                      </a:lnTo>
                      <a:lnTo>
                        <a:pt x="20" y="40"/>
                      </a:lnTo>
                      <a:lnTo>
                        <a:pt x="19" y="40"/>
                      </a:lnTo>
                      <a:lnTo>
                        <a:pt x="19" y="40"/>
                      </a:lnTo>
                      <a:lnTo>
                        <a:pt x="19" y="39"/>
                      </a:lnTo>
                      <a:lnTo>
                        <a:pt x="19" y="38"/>
                      </a:lnTo>
                      <a:lnTo>
                        <a:pt x="20" y="38"/>
                      </a:lnTo>
                      <a:lnTo>
                        <a:pt x="20" y="38"/>
                      </a:lnTo>
                      <a:lnTo>
                        <a:pt x="20" y="36"/>
                      </a:lnTo>
                      <a:lnTo>
                        <a:pt x="20" y="36"/>
                      </a:lnTo>
                      <a:lnTo>
                        <a:pt x="20" y="35"/>
                      </a:lnTo>
                      <a:lnTo>
                        <a:pt x="20" y="34"/>
                      </a:lnTo>
                      <a:lnTo>
                        <a:pt x="19" y="34"/>
                      </a:lnTo>
                      <a:lnTo>
                        <a:pt x="19" y="33"/>
                      </a:lnTo>
                      <a:lnTo>
                        <a:pt x="19" y="32"/>
                      </a:lnTo>
                      <a:lnTo>
                        <a:pt x="19" y="31"/>
                      </a:lnTo>
                      <a:lnTo>
                        <a:pt x="19" y="31"/>
                      </a:lnTo>
                      <a:lnTo>
                        <a:pt x="19" y="30"/>
                      </a:lnTo>
                      <a:lnTo>
                        <a:pt x="18" y="30"/>
                      </a:lnTo>
                      <a:lnTo>
                        <a:pt x="18" y="29"/>
                      </a:lnTo>
                      <a:lnTo>
                        <a:pt x="17" y="29"/>
                      </a:lnTo>
                      <a:lnTo>
                        <a:pt x="16" y="28"/>
                      </a:lnTo>
                      <a:lnTo>
                        <a:pt x="15" y="27"/>
                      </a:lnTo>
                      <a:lnTo>
                        <a:pt x="14" y="26"/>
                      </a:lnTo>
                      <a:lnTo>
                        <a:pt x="14" y="26"/>
                      </a:lnTo>
                      <a:lnTo>
                        <a:pt x="13" y="26"/>
                      </a:lnTo>
                      <a:lnTo>
                        <a:pt x="12" y="26"/>
                      </a:lnTo>
                      <a:lnTo>
                        <a:pt x="12" y="26"/>
                      </a:lnTo>
                      <a:lnTo>
                        <a:pt x="11" y="26"/>
                      </a:lnTo>
                      <a:lnTo>
                        <a:pt x="10" y="25"/>
                      </a:lnTo>
                      <a:lnTo>
                        <a:pt x="10" y="25"/>
                      </a:lnTo>
                      <a:lnTo>
                        <a:pt x="8" y="24"/>
                      </a:lnTo>
                      <a:lnTo>
                        <a:pt x="8" y="23"/>
                      </a:lnTo>
                      <a:lnTo>
                        <a:pt x="7" y="23"/>
                      </a:lnTo>
                      <a:lnTo>
                        <a:pt x="7" y="23"/>
                      </a:lnTo>
                      <a:lnTo>
                        <a:pt x="6" y="23"/>
                      </a:lnTo>
                      <a:lnTo>
                        <a:pt x="6" y="22"/>
                      </a:lnTo>
                      <a:lnTo>
                        <a:pt x="6" y="21"/>
                      </a:lnTo>
                      <a:lnTo>
                        <a:pt x="5" y="21"/>
                      </a:lnTo>
                      <a:lnTo>
                        <a:pt x="5" y="21"/>
                      </a:lnTo>
                      <a:lnTo>
                        <a:pt x="5" y="20"/>
                      </a:lnTo>
                      <a:lnTo>
                        <a:pt x="4" y="20"/>
                      </a:lnTo>
                      <a:lnTo>
                        <a:pt x="4" y="19"/>
                      </a:lnTo>
                      <a:lnTo>
                        <a:pt x="4" y="19"/>
                      </a:lnTo>
                      <a:lnTo>
                        <a:pt x="4" y="18"/>
                      </a:lnTo>
                      <a:lnTo>
                        <a:pt x="4" y="17"/>
                      </a:lnTo>
                      <a:lnTo>
                        <a:pt x="4" y="17"/>
                      </a:lnTo>
                      <a:lnTo>
                        <a:pt x="4" y="16"/>
                      </a:lnTo>
                      <a:lnTo>
                        <a:pt x="4" y="15"/>
                      </a:lnTo>
                      <a:lnTo>
                        <a:pt x="4" y="15"/>
                      </a:lnTo>
                      <a:lnTo>
                        <a:pt x="4" y="14"/>
                      </a:lnTo>
                      <a:lnTo>
                        <a:pt x="4" y="13"/>
                      </a:lnTo>
                      <a:lnTo>
                        <a:pt x="4" y="13"/>
                      </a:lnTo>
                      <a:lnTo>
                        <a:pt x="4" y="12"/>
                      </a:lnTo>
                      <a:lnTo>
                        <a:pt x="4" y="11"/>
                      </a:lnTo>
                      <a:lnTo>
                        <a:pt x="4" y="10"/>
                      </a:lnTo>
                      <a:lnTo>
                        <a:pt x="4" y="10"/>
                      </a:lnTo>
                      <a:lnTo>
                        <a:pt x="3" y="9"/>
                      </a:lnTo>
                      <a:lnTo>
                        <a:pt x="3" y="8"/>
                      </a:lnTo>
                      <a:lnTo>
                        <a:pt x="2" y="8"/>
                      </a:lnTo>
                      <a:lnTo>
                        <a:pt x="1" y="7"/>
                      </a:lnTo>
                      <a:lnTo>
                        <a:pt x="1" y="6"/>
                      </a:lnTo>
                      <a:lnTo>
                        <a:pt x="1" y="6"/>
                      </a:lnTo>
                      <a:lnTo>
                        <a:pt x="1" y="5"/>
                      </a:lnTo>
                      <a:lnTo>
                        <a:pt x="0" y="5"/>
                      </a:lnTo>
                      <a:lnTo>
                        <a:pt x="1" y="4"/>
                      </a:lnTo>
                      <a:lnTo>
                        <a:pt x="1" y="4"/>
                      </a:lnTo>
                      <a:lnTo>
                        <a:pt x="1" y="4"/>
                      </a:lnTo>
                      <a:lnTo>
                        <a:pt x="1" y="3"/>
                      </a:lnTo>
                      <a:lnTo>
                        <a:pt x="1" y="3"/>
                      </a:lnTo>
                      <a:lnTo>
                        <a:pt x="1" y="2"/>
                      </a:lnTo>
                      <a:lnTo>
                        <a:pt x="1" y="2"/>
                      </a:lnTo>
                      <a:lnTo>
                        <a:pt x="1" y="1"/>
                      </a:lnTo>
                      <a:lnTo>
                        <a:pt x="2" y="1"/>
                      </a:lnTo>
                      <a:lnTo>
                        <a:pt x="3" y="1"/>
                      </a:lnTo>
                      <a:lnTo>
                        <a:pt x="4" y="0"/>
                      </a:lnTo>
                      <a:lnTo>
                        <a:pt x="5" y="0"/>
                      </a:lnTo>
                      <a:lnTo>
                        <a:pt x="6" y="0"/>
                      </a:lnTo>
                      <a:lnTo>
                        <a:pt x="6" y="0"/>
                      </a:lnTo>
                      <a:lnTo>
                        <a:pt x="7" y="1"/>
                      </a:lnTo>
                      <a:lnTo>
                        <a:pt x="7" y="2"/>
                      </a:lnTo>
                      <a:lnTo>
                        <a:pt x="8" y="3"/>
                      </a:lnTo>
                      <a:lnTo>
                        <a:pt x="8" y="4"/>
                      </a:lnTo>
                      <a:lnTo>
                        <a:pt x="8" y="4"/>
                      </a:lnTo>
                      <a:lnTo>
                        <a:pt x="9" y="4"/>
                      </a:lnTo>
                      <a:lnTo>
                        <a:pt x="10" y="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 name="Freeform 18">
                  <a:extLst>
                    <a:ext uri="{FF2B5EF4-FFF2-40B4-BE49-F238E27FC236}">
                      <a16:creationId xmlns:a16="http://schemas.microsoft.com/office/drawing/2014/main" xmlns="" id="{509F7EDE-998E-7FCE-FC7C-510FDD61C28A}"/>
                    </a:ext>
                  </a:extLst>
                </p:cNvPr>
                <p:cNvSpPr>
                  <a:spLocks/>
                </p:cNvSpPr>
                <p:nvPr/>
              </p:nvSpPr>
              <p:spPr bwMode="auto">
                <a:xfrm>
                  <a:off x="2690" y="2344"/>
                  <a:ext cx="556" cy="299"/>
                </a:xfrm>
                <a:custGeom>
                  <a:avLst/>
                  <a:gdLst>
                    <a:gd name="T0" fmla="*/ 1 w 556"/>
                    <a:gd name="T1" fmla="*/ 8 h 299"/>
                    <a:gd name="T2" fmla="*/ 34 w 556"/>
                    <a:gd name="T3" fmla="*/ 35 h 299"/>
                    <a:gd name="T4" fmla="*/ 105 w 556"/>
                    <a:gd name="T5" fmla="*/ 77 h 299"/>
                    <a:gd name="T6" fmla="*/ 118 w 556"/>
                    <a:gd name="T7" fmla="*/ 87 h 299"/>
                    <a:gd name="T8" fmla="*/ 252 w 556"/>
                    <a:gd name="T9" fmla="*/ 185 h 299"/>
                    <a:gd name="T10" fmla="*/ 533 w 556"/>
                    <a:gd name="T11" fmla="*/ 0 h 299"/>
                    <a:gd name="T12" fmla="*/ 528 w 556"/>
                    <a:gd name="T13" fmla="*/ 16 h 299"/>
                    <a:gd name="T14" fmla="*/ 533 w 556"/>
                    <a:gd name="T15" fmla="*/ 27 h 299"/>
                    <a:gd name="T16" fmla="*/ 532 w 556"/>
                    <a:gd name="T17" fmla="*/ 31 h 299"/>
                    <a:gd name="T18" fmla="*/ 528 w 556"/>
                    <a:gd name="T19" fmla="*/ 40 h 299"/>
                    <a:gd name="T20" fmla="*/ 530 w 556"/>
                    <a:gd name="T21" fmla="*/ 46 h 299"/>
                    <a:gd name="T22" fmla="*/ 538 w 556"/>
                    <a:gd name="T23" fmla="*/ 44 h 299"/>
                    <a:gd name="T24" fmla="*/ 540 w 556"/>
                    <a:gd name="T25" fmla="*/ 52 h 299"/>
                    <a:gd name="T26" fmla="*/ 532 w 556"/>
                    <a:gd name="T27" fmla="*/ 61 h 299"/>
                    <a:gd name="T28" fmla="*/ 538 w 556"/>
                    <a:gd name="T29" fmla="*/ 59 h 299"/>
                    <a:gd name="T30" fmla="*/ 539 w 556"/>
                    <a:gd name="T31" fmla="*/ 69 h 299"/>
                    <a:gd name="T32" fmla="*/ 543 w 556"/>
                    <a:gd name="T33" fmla="*/ 74 h 299"/>
                    <a:gd name="T34" fmla="*/ 534 w 556"/>
                    <a:gd name="T35" fmla="*/ 73 h 299"/>
                    <a:gd name="T36" fmla="*/ 544 w 556"/>
                    <a:gd name="T37" fmla="*/ 78 h 299"/>
                    <a:gd name="T38" fmla="*/ 545 w 556"/>
                    <a:gd name="T39" fmla="*/ 80 h 299"/>
                    <a:gd name="T40" fmla="*/ 548 w 556"/>
                    <a:gd name="T41" fmla="*/ 82 h 299"/>
                    <a:gd name="T42" fmla="*/ 548 w 556"/>
                    <a:gd name="T43" fmla="*/ 91 h 299"/>
                    <a:gd name="T44" fmla="*/ 543 w 556"/>
                    <a:gd name="T45" fmla="*/ 99 h 299"/>
                    <a:gd name="T46" fmla="*/ 542 w 556"/>
                    <a:gd name="T47" fmla="*/ 103 h 299"/>
                    <a:gd name="T48" fmla="*/ 547 w 556"/>
                    <a:gd name="T49" fmla="*/ 116 h 299"/>
                    <a:gd name="T50" fmla="*/ 547 w 556"/>
                    <a:gd name="T51" fmla="*/ 122 h 299"/>
                    <a:gd name="T52" fmla="*/ 545 w 556"/>
                    <a:gd name="T53" fmla="*/ 130 h 299"/>
                    <a:gd name="T54" fmla="*/ 555 w 556"/>
                    <a:gd name="T55" fmla="*/ 130 h 299"/>
                    <a:gd name="T56" fmla="*/ 550 w 556"/>
                    <a:gd name="T57" fmla="*/ 137 h 299"/>
                    <a:gd name="T58" fmla="*/ 551 w 556"/>
                    <a:gd name="T59" fmla="*/ 141 h 299"/>
                    <a:gd name="T60" fmla="*/ 547 w 556"/>
                    <a:gd name="T61" fmla="*/ 147 h 299"/>
                    <a:gd name="T62" fmla="*/ 540 w 556"/>
                    <a:gd name="T63" fmla="*/ 145 h 299"/>
                    <a:gd name="T64" fmla="*/ 543 w 556"/>
                    <a:gd name="T65" fmla="*/ 152 h 299"/>
                    <a:gd name="T66" fmla="*/ 551 w 556"/>
                    <a:gd name="T67" fmla="*/ 154 h 299"/>
                    <a:gd name="T68" fmla="*/ 542 w 556"/>
                    <a:gd name="T69" fmla="*/ 164 h 299"/>
                    <a:gd name="T70" fmla="*/ 545 w 556"/>
                    <a:gd name="T71" fmla="*/ 170 h 299"/>
                    <a:gd name="T72" fmla="*/ 545 w 556"/>
                    <a:gd name="T73" fmla="*/ 177 h 299"/>
                    <a:gd name="T74" fmla="*/ 542 w 556"/>
                    <a:gd name="T75" fmla="*/ 180 h 299"/>
                    <a:gd name="T76" fmla="*/ 538 w 556"/>
                    <a:gd name="T77" fmla="*/ 185 h 299"/>
                    <a:gd name="T78" fmla="*/ 536 w 556"/>
                    <a:gd name="T79" fmla="*/ 193 h 299"/>
                    <a:gd name="T80" fmla="*/ 530 w 556"/>
                    <a:gd name="T81" fmla="*/ 187 h 299"/>
                    <a:gd name="T82" fmla="*/ 527 w 556"/>
                    <a:gd name="T83" fmla="*/ 197 h 299"/>
                    <a:gd name="T84" fmla="*/ 527 w 556"/>
                    <a:gd name="T85" fmla="*/ 211 h 299"/>
                    <a:gd name="T86" fmla="*/ 522 w 556"/>
                    <a:gd name="T87" fmla="*/ 221 h 299"/>
                    <a:gd name="T88" fmla="*/ 527 w 556"/>
                    <a:gd name="T89" fmla="*/ 233 h 299"/>
                    <a:gd name="T90" fmla="*/ 523 w 556"/>
                    <a:gd name="T91" fmla="*/ 225 h 299"/>
                    <a:gd name="T92" fmla="*/ 515 w 556"/>
                    <a:gd name="T93" fmla="*/ 237 h 299"/>
                    <a:gd name="T94" fmla="*/ 521 w 556"/>
                    <a:gd name="T95" fmla="*/ 248 h 299"/>
                    <a:gd name="T96" fmla="*/ 511 w 556"/>
                    <a:gd name="T97" fmla="*/ 244 h 299"/>
                    <a:gd name="T98" fmla="*/ 509 w 556"/>
                    <a:gd name="T99" fmla="*/ 255 h 299"/>
                    <a:gd name="T100" fmla="*/ 518 w 556"/>
                    <a:gd name="T101" fmla="*/ 255 h 299"/>
                    <a:gd name="T102" fmla="*/ 514 w 556"/>
                    <a:gd name="T103" fmla="*/ 259 h 299"/>
                    <a:gd name="T104" fmla="*/ 522 w 556"/>
                    <a:gd name="T105" fmla="*/ 265 h 299"/>
                    <a:gd name="T106" fmla="*/ 521 w 556"/>
                    <a:gd name="T107" fmla="*/ 277 h 299"/>
                    <a:gd name="T108" fmla="*/ 531 w 556"/>
                    <a:gd name="T109" fmla="*/ 278 h 299"/>
                    <a:gd name="T110" fmla="*/ 528 w 556"/>
                    <a:gd name="T111" fmla="*/ 284 h 299"/>
                    <a:gd name="T112" fmla="*/ 528 w 556"/>
                    <a:gd name="T113" fmla="*/ 286 h 299"/>
                    <a:gd name="T114" fmla="*/ 535 w 556"/>
                    <a:gd name="T115" fmla="*/ 288 h 299"/>
                    <a:gd name="T116" fmla="*/ 532 w 556"/>
                    <a:gd name="T117" fmla="*/ 295 h 299"/>
                    <a:gd name="T118" fmla="*/ 534 w 556"/>
                    <a:gd name="T119" fmla="*/ 29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6" h="299">
                      <a:moveTo>
                        <a:pt x="0" y="2"/>
                      </a:moveTo>
                      <a:lnTo>
                        <a:pt x="1" y="2"/>
                      </a:lnTo>
                      <a:lnTo>
                        <a:pt x="1" y="2"/>
                      </a:lnTo>
                      <a:lnTo>
                        <a:pt x="2" y="2"/>
                      </a:lnTo>
                      <a:lnTo>
                        <a:pt x="2" y="2"/>
                      </a:lnTo>
                      <a:lnTo>
                        <a:pt x="2" y="2"/>
                      </a:lnTo>
                      <a:lnTo>
                        <a:pt x="3" y="2"/>
                      </a:lnTo>
                      <a:lnTo>
                        <a:pt x="3" y="3"/>
                      </a:lnTo>
                      <a:lnTo>
                        <a:pt x="3" y="4"/>
                      </a:lnTo>
                      <a:lnTo>
                        <a:pt x="2" y="4"/>
                      </a:lnTo>
                      <a:lnTo>
                        <a:pt x="2" y="4"/>
                      </a:lnTo>
                      <a:lnTo>
                        <a:pt x="2" y="5"/>
                      </a:lnTo>
                      <a:lnTo>
                        <a:pt x="2" y="5"/>
                      </a:lnTo>
                      <a:lnTo>
                        <a:pt x="2" y="6"/>
                      </a:lnTo>
                      <a:lnTo>
                        <a:pt x="1" y="6"/>
                      </a:lnTo>
                      <a:lnTo>
                        <a:pt x="1" y="7"/>
                      </a:lnTo>
                      <a:lnTo>
                        <a:pt x="1" y="8"/>
                      </a:lnTo>
                      <a:lnTo>
                        <a:pt x="0" y="8"/>
                      </a:lnTo>
                      <a:lnTo>
                        <a:pt x="0" y="8"/>
                      </a:lnTo>
                      <a:lnTo>
                        <a:pt x="0" y="9"/>
                      </a:lnTo>
                      <a:lnTo>
                        <a:pt x="0" y="10"/>
                      </a:lnTo>
                      <a:lnTo>
                        <a:pt x="0" y="10"/>
                      </a:lnTo>
                      <a:lnTo>
                        <a:pt x="0" y="11"/>
                      </a:lnTo>
                      <a:lnTo>
                        <a:pt x="0" y="12"/>
                      </a:lnTo>
                      <a:lnTo>
                        <a:pt x="0" y="12"/>
                      </a:lnTo>
                      <a:lnTo>
                        <a:pt x="0" y="13"/>
                      </a:lnTo>
                      <a:lnTo>
                        <a:pt x="0" y="14"/>
                      </a:lnTo>
                      <a:lnTo>
                        <a:pt x="4" y="15"/>
                      </a:lnTo>
                      <a:lnTo>
                        <a:pt x="10" y="19"/>
                      </a:lnTo>
                      <a:lnTo>
                        <a:pt x="15" y="22"/>
                      </a:lnTo>
                      <a:lnTo>
                        <a:pt x="20" y="27"/>
                      </a:lnTo>
                      <a:lnTo>
                        <a:pt x="26" y="31"/>
                      </a:lnTo>
                      <a:lnTo>
                        <a:pt x="32" y="33"/>
                      </a:lnTo>
                      <a:lnTo>
                        <a:pt x="34" y="35"/>
                      </a:lnTo>
                      <a:lnTo>
                        <a:pt x="36" y="33"/>
                      </a:lnTo>
                      <a:lnTo>
                        <a:pt x="38" y="33"/>
                      </a:lnTo>
                      <a:lnTo>
                        <a:pt x="40" y="35"/>
                      </a:lnTo>
                      <a:lnTo>
                        <a:pt x="42" y="36"/>
                      </a:lnTo>
                      <a:lnTo>
                        <a:pt x="44" y="36"/>
                      </a:lnTo>
                      <a:lnTo>
                        <a:pt x="44" y="38"/>
                      </a:lnTo>
                      <a:lnTo>
                        <a:pt x="44" y="39"/>
                      </a:lnTo>
                      <a:lnTo>
                        <a:pt x="44" y="41"/>
                      </a:lnTo>
                      <a:lnTo>
                        <a:pt x="45" y="42"/>
                      </a:lnTo>
                      <a:lnTo>
                        <a:pt x="46" y="43"/>
                      </a:lnTo>
                      <a:lnTo>
                        <a:pt x="50" y="46"/>
                      </a:lnTo>
                      <a:lnTo>
                        <a:pt x="53" y="46"/>
                      </a:lnTo>
                      <a:lnTo>
                        <a:pt x="61" y="48"/>
                      </a:lnTo>
                      <a:lnTo>
                        <a:pt x="78" y="54"/>
                      </a:lnTo>
                      <a:lnTo>
                        <a:pt x="86" y="59"/>
                      </a:lnTo>
                      <a:lnTo>
                        <a:pt x="97" y="69"/>
                      </a:lnTo>
                      <a:lnTo>
                        <a:pt x="105" y="77"/>
                      </a:lnTo>
                      <a:lnTo>
                        <a:pt x="110" y="80"/>
                      </a:lnTo>
                      <a:lnTo>
                        <a:pt x="110" y="81"/>
                      </a:lnTo>
                      <a:lnTo>
                        <a:pt x="111" y="82"/>
                      </a:lnTo>
                      <a:lnTo>
                        <a:pt x="112" y="82"/>
                      </a:lnTo>
                      <a:lnTo>
                        <a:pt x="112" y="82"/>
                      </a:lnTo>
                      <a:lnTo>
                        <a:pt x="113" y="82"/>
                      </a:lnTo>
                      <a:lnTo>
                        <a:pt x="113" y="83"/>
                      </a:lnTo>
                      <a:lnTo>
                        <a:pt x="114" y="84"/>
                      </a:lnTo>
                      <a:lnTo>
                        <a:pt x="114" y="84"/>
                      </a:lnTo>
                      <a:lnTo>
                        <a:pt x="114" y="85"/>
                      </a:lnTo>
                      <a:lnTo>
                        <a:pt x="115" y="85"/>
                      </a:lnTo>
                      <a:lnTo>
                        <a:pt x="115" y="86"/>
                      </a:lnTo>
                      <a:lnTo>
                        <a:pt x="116" y="86"/>
                      </a:lnTo>
                      <a:lnTo>
                        <a:pt x="116" y="86"/>
                      </a:lnTo>
                      <a:lnTo>
                        <a:pt x="117" y="86"/>
                      </a:lnTo>
                      <a:lnTo>
                        <a:pt x="117" y="86"/>
                      </a:lnTo>
                      <a:lnTo>
                        <a:pt x="118" y="87"/>
                      </a:lnTo>
                      <a:lnTo>
                        <a:pt x="118" y="87"/>
                      </a:lnTo>
                      <a:lnTo>
                        <a:pt x="118" y="88"/>
                      </a:lnTo>
                      <a:lnTo>
                        <a:pt x="119" y="88"/>
                      </a:lnTo>
                      <a:lnTo>
                        <a:pt x="120" y="88"/>
                      </a:lnTo>
                      <a:lnTo>
                        <a:pt x="120" y="88"/>
                      </a:lnTo>
                      <a:lnTo>
                        <a:pt x="121" y="88"/>
                      </a:lnTo>
                      <a:lnTo>
                        <a:pt x="121" y="88"/>
                      </a:lnTo>
                      <a:lnTo>
                        <a:pt x="129" y="99"/>
                      </a:lnTo>
                      <a:lnTo>
                        <a:pt x="150" y="132"/>
                      </a:lnTo>
                      <a:lnTo>
                        <a:pt x="166" y="153"/>
                      </a:lnTo>
                      <a:lnTo>
                        <a:pt x="181" y="161"/>
                      </a:lnTo>
                      <a:lnTo>
                        <a:pt x="195" y="166"/>
                      </a:lnTo>
                      <a:lnTo>
                        <a:pt x="207" y="175"/>
                      </a:lnTo>
                      <a:lnTo>
                        <a:pt x="217" y="179"/>
                      </a:lnTo>
                      <a:lnTo>
                        <a:pt x="232" y="183"/>
                      </a:lnTo>
                      <a:lnTo>
                        <a:pt x="245" y="185"/>
                      </a:lnTo>
                      <a:lnTo>
                        <a:pt x="252" y="185"/>
                      </a:lnTo>
                      <a:lnTo>
                        <a:pt x="313" y="177"/>
                      </a:lnTo>
                      <a:lnTo>
                        <a:pt x="313" y="176"/>
                      </a:lnTo>
                      <a:lnTo>
                        <a:pt x="375" y="160"/>
                      </a:lnTo>
                      <a:lnTo>
                        <a:pt x="403" y="151"/>
                      </a:lnTo>
                      <a:lnTo>
                        <a:pt x="428" y="116"/>
                      </a:lnTo>
                      <a:lnTo>
                        <a:pt x="435" y="103"/>
                      </a:lnTo>
                      <a:lnTo>
                        <a:pt x="441" y="54"/>
                      </a:lnTo>
                      <a:lnTo>
                        <a:pt x="443" y="35"/>
                      </a:lnTo>
                      <a:lnTo>
                        <a:pt x="445" y="28"/>
                      </a:lnTo>
                      <a:lnTo>
                        <a:pt x="453" y="15"/>
                      </a:lnTo>
                      <a:lnTo>
                        <a:pt x="458" y="10"/>
                      </a:lnTo>
                      <a:lnTo>
                        <a:pt x="463" y="6"/>
                      </a:lnTo>
                      <a:lnTo>
                        <a:pt x="474" y="0"/>
                      </a:lnTo>
                      <a:lnTo>
                        <a:pt x="505" y="0"/>
                      </a:lnTo>
                      <a:lnTo>
                        <a:pt x="513" y="0"/>
                      </a:lnTo>
                      <a:lnTo>
                        <a:pt x="533" y="0"/>
                      </a:lnTo>
                      <a:lnTo>
                        <a:pt x="533" y="0"/>
                      </a:lnTo>
                      <a:lnTo>
                        <a:pt x="533" y="1"/>
                      </a:lnTo>
                      <a:lnTo>
                        <a:pt x="533" y="2"/>
                      </a:lnTo>
                      <a:lnTo>
                        <a:pt x="533" y="3"/>
                      </a:lnTo>
                      <a:lnTo>
                        <a:pt x="532" y="4"/>
                      </a:lnTo>
                      <a:lnTo>
                        <a:pt x="532" y="6"/>
                      </a:lnTo>
                      <a:lnTo>
                        <a:pt x="531" y="7"/>
                      </a:lnTo>
                      <a:lnTo>
                        <a:pt x="530" y="8"/>
                      </a:lnTo>
                      <a:lnTo>
                        <a:pt x="530" y="8"/>
                      </a:lnTo>
                      <a:lnTo>
                        <a:pt x="530" y="9"/>
                      </a:lnTo>
                      <a:lnTo>
                        <a:pt x="529" y="10"/>
                      </a:lnTo>
                      <a:lnTo>
                        <a:pt x="529" y="11"/>
                      </a:lnTo>
                      <a:lnTo>
                        <a:pt x="529" y="12"/>
                      </a:lnTo>
                      <a:lnTo>
                        <a:pt x="529" y="13"/>
                      </a:lnTo>
                      <a:lnTo>
                        <a:pt x="528" y="14"/>
                      </a:lnTo>
                      <a:lnTo>
                        <a:pt x="528" y="14"/>
                      </a:lnTo>
                      <a:lnTo>
                        <a:pt x="528" y="15"/>
                      </a:lnTo>
                      <a:lnTo>
                        <a:pt x="528" y="16"/>
                      </a:lnTo>
                      <a:lnTo>
                        <a:pt x="528" y="17"/>
                      </a:lnTo>
                      <a:lnTo>
                        <a:pt x="528" y="18"/>
                      </a:lnTo>
                      <a:lnTo>
                        <a:pt x="529" y="19"/>
                      </a:lnTo>
                      <a:lnTo>
                        <a:pt x="530" y="19"/>
                      </a:lnTo>
                      <a:lnTo>
                        <a:pt x="530" y="19"/>
                      </a:lnTo>
                      <a:lnTo>
                        <a:pt x="531" y="19"/>
                      </a:lnTo>
                      <a:lnTo>
                        <a:pt x="532" y="19"/>
                      </a:lnTo>
                      <a:lnTo>
                        <a:pt x="533" y="20"/>
                      </a:lnTo>
                      <a:lnTo>
                        <a:pt x="533" y="21"/>
                      </a:lnTo>
                      <a:lnTo>
                        <a:pt x="534" y="23"/>
                      </a:lnTo>
                      <a:lnTo>
                        <a:pt x="534" y="23"/>
                      </a:lnTo>
                      <a:lnTo>
                        <a:pt x="534" y="24"/>
                      </a:lnTo>
                      <a:lnTo>
                        <a:pt x="534" y="25"/>
                      </a:lnTo>
                      <a:lnTo>
                        <a:pt x="534" y="25"/>
                      </a:lnTo>
                      <a:lnTo>
                        <a:pt x="534" y="26"/>
                      </a:lnTo>
                      <a:lnTo>
                        <a:pt x="534" y="27"/>
                      </a:lnTo>
                      <a:lnTo>
                        <a:pt x="533" y="27"/>
                      </a:lnTo>
                      <a:lnTo>
                        <a:pt x="532" y="26"/>
                      </a:lnTo>
                      <a:lnTo>
                        <a:pt x="532" y="25"/>
                      </a:lnTo>
                      <a:lnTo>
                        <a:pt x="531" y="24"/>
                      </a:lnTo>
                      <a:lnTo>
                        <a:pt x="530" y="23"/>
                      </a:lnTo>
                      <a:lnTo>
                        <a:pt x="530" y="23"/>
                      </a:lnTo>
                      <a:lnTo>
                        <a:pt x="529" y="23"/>
                      </a:lnTo>
                      <a:lnTo>
                        <a:pt x="528" y="24"/>
                      </a:lnTo>
                      <a:lnTo>
                        <a:pt x="529" y="25"/>
                      </a:lnTo>
                      <a:lnTo>
                        <a:pt x="530" y="26"/>
                      </a:lnTo>
                      <a:lnTo>
                        <a:pt x="530" y="27"/>
                      </a:lnTo>
                      <a:lnTo>
                        <a:pt x="532" y="27"/>
                      </a:lnTo>
                      <a:lnTo>
                        <a:pt x="532" y="28"/>
                      </a:lnTo>
                      <a:lnTo>
                        <a:pt x="533" y="29"/>
                      </a:lnTo>
                      <a:lnTo>
                        <a:pt x="533" y="29"/>
                      </a:lnTo>
                      <a:lnTo>
                        <a:pt x="533" y="30"/>
                      </a:lnTo>
                      <a:lnTo>
                        <a:pt x="533" y="31"/>
                      </a:lnTo>
                      <a:lnTo>
                        <a:pt x="532" y="31"/>
                      </a:lnTo>
                      <a:lnTo>
                        <a:pt x="532" y="31"/>
                      </a:lnTo>
                      <a:lnTo>
                        <a:pt x="531" y="31"/>
                      </a:lnTo>
                      <a:lnTo>
                        <a:pt x="530" y="31"/>
                      </a:lnTo>
                      <a:lnTo>
                        <a:pt x="529" y="31"/>
                      </a:lnTo>
                      <a:lnTo>
                        <a:pt x="528" y="32"/>
                      </a:lnTo>
                      <a:lnTo>
                        <a:pt x="528" y="33"/>
                      </a:lnTo>
                      <a:lnTo>
                        <a:pt x="527" y="33"/>
                      </a:lnTo>
                      <a:lnTo>
                        <a:pt x="527" y="35"/>
                      </a:lnTo>
                      <a:lnTo>
                        <a:pt x="527" y="35"/>
                      </a:lnTo>
                      <a:lnTo>
                        <a:pt x="527" y="37"/>
                      </a:lnTo>
                      <a:lnTo>
                        <a:pt x="526" y="37"/>
                      </a:lnTo>
                      <a:lnTo>
                        <a:pt x="526" y="38"/>
                      </a:lnTo>
                      <a:lnTo>
                        <a:pt x="526" y="38"/>
                      </a:lnTo>
                      <a:lnTo>
                        <a:pt x="526" y="39"/>
                      </a:lnTo>
                      <a:lnTo>
                        <a:pt x="526" y="40"/>
                      </a:lnTo>
                      <a:lnTo>
                        <a:pt x="527" y="40"/>
                      </a:lnTo>
                      <a:lnTo>
                        <a:pt x="528" y="40"/>
                      </a:lnTo>
                      <a:lnTo>
                        <a:pt x="528" y="40"/>
                      </a:lnTo>
                      <a:lnTo>
                        <a:pt x="529" y="39"/>
                      </a:lnTo>
                      <a:lnTo>
                        <a:pt x="530" y="39"/>
                      </a:lnTo>
                      <a:lnTo>
                        <a:pt x="530" y="39"/>
                      </a:lnTo>
                      <a:lnTo>
                        <a:pt x="532" y="39"/>
                      </a:lnTo>
                      <a:lnTo>
                        <a:pt x="532" y="39"/>
                      </a:lnTo>
                      <a:lnTo>
                        <a:pt x="533" y="39"/>
                      </a:lnTo>
                      <a:lnTo>
                        <a:pt x="534" y="39"/>
                      </a:lnTo>
                      <a:lnTo>
                        <a:pt x="534" y="40"/>
                      </a:lnTo>
                      <a:lnTo>
                        <a:pt x="534" y="40"/>
                      </a:lnTo>
                      <a:lnTo>
                        <a:pt x="534" y="41"/>
                      </a:lnTo>
                      <a:lnTo>
                        <a:pt x="533" y="42"/>
                      </a:lnTo>
                      <a:lnTo>
                        <a:pt x="532" y="44"/>
                      </a:lnTo>
                      <a:lnTo>
                        <a:pt x="532" y="45"/>
                      </a:lnTo>
                      <a:lnTo>
                        <a:pt x="531" y="46"/>
                      </a:lnTo>
                      <a:lnTo>
                        <a:pt x="531" y="46"/>
                      </a:lnTo>
                      <a:lnTo>
                        <a:pt x="530" y="46"/>
                      </a:lnTo>
                      <a:lnTo>
                        <a:pt x="530" y="47"/>
                      </a:lnTo>
                      <a:lnTo>
                        <a:pt x="531" y="48"/>
                      </a:lnTo>
                      <a:lnTo>
                        <a:pt x="532" y="47"/>
                      </a:lnTo>
                      <a:lnTo>
                        <a:pt x="533" y="47"/>
                      </a:lnTo>
                      <a:lnTo>
                        <a:pt x="534" y="47"/>
                      </a:lnTo>
                      <a:lnTo>
                        <a:pt x="534" y="47"/>
                      </a:lnTo>
                      <a:lnTo>
                        <a:pt x="534" y="46"/>
                      </a:lnTo>
                      <a:lnTo>
                        <a:pt x="534" y="46"/>
                      </a:lnTo>
                      <a:lnTo>
                        <a:pt x="534" y="45"/>
                      </a:lnTo>
                      <a:lnTo>
                        <a:pt x="534" y="44"/>
                      </a:lnTo>
                      <a:lnTo>
                        <a:pt x="535" y="43"/>
                      </a:lnTo>
                      <a:lnTo>
                        <a:pt x="536" y="42"/>
                      </a:lnTo>
                      <a:lnTo>
                        <a:pt x="536" y="42"/>
                      </a:lnTo>
                      <a:lnTo>
                        <a:pt x="537" y="42"/>
                      </a:lnTo>
                      <a:lnTo>
                        <a:pt x="538" y="43"/>
                      </a:lnTo>
                      <a:lnTo>
                        <a:pt x="538" y="44"/>
                      </a:lnTo>
                      <a:lnTo>
                        <a:pt x="538" y="44"/>
                      </a:lnTo>
                      <a:lnTo>
                        <a:pt x="538" y="45"/>
                      </a:lnTo>
                      <a:lnTo>
                        <a:pt x="538" y="46"/>
                      </a:lnTo>
                      <a:lnTo>
                        <a:pt x="537" y="47"/>
                      </a:lnTo>
                      <a:lnTo>
                        <a:pt x="536" y="48"/>
                      </a:lnTo>
                      <a:lnTo>
                        <a:pt x="535" y="48"/>
                      </a:lnTo>
                      <a:lnTo>
                        <a:pt x="534" y="49"/>
                      </a:lnTo>
                      <a:lnTo>
                        <a:pt x="532" y="50"/>
                      </a:lnTo>
                      <a:lnTo>
                        <a:pt x="532" y="51"/>
                      </a:lnTo>
                      <a:lnTo>
                        <a:pt x="532" y="52"/>
                      </a:lnTo>
                      <a:lnTo>
                        <a:pt x="532" y="53"/>
                      </a:lnTo>
                      <a:lnTo>
                        <a:pt x="533" y="54"/>
                      </a:lnTo>
                      <a:lnTo>
                        <a:pt x="534" y="54"/>
                      </a:lnTo>
                      <a:lnTo>
                        <a:pt x="535" y="53"/>
                      </a:lnTo>
                      <a:lnTo>
                        <a:pt x="536" y="52"/>
                      </a:lnTo>
                      <a:lnTo>
                        <a:pt x="537" y="52"/>
                      </a:lnTo>
                      <a:lnTo>
                        <a:pt x="538" y="52"/>
                      </a:lnTo>
                      <a:lnTo>
                        <a:pt x="540" y="52"/>
                      </a:lnTo>
                      <a:lnTo>
                        <a:pt x="540" y="53"/>
                      </a:lnTo>
                      <a:lnTo>
                        <a:pt x="540" y="54"/>
                      </a:lnTo>
                      <a:lnTo>
                        <a:pt x="540" y="54"/>
                      </a:lnTo>
                      <a:lnTo>
                        <a:pt x="540" y="55"/>
                      </a:lnTo>
                      <a:lnTo>
                        <a:pt x="540" y="55"/>
                      </a:lnTo>
                      <a:lnTo>
                        <a:pt x="539" y="55"/>
                      </a:lnTo>
                      <a:lnTo>
                        <a:pt x="538" y="55"/>
                      </a:lnTo>
                      <a:lnTo>
                        <a:pt x="538" y="54"/>
                      </a:lnTo>
                      <a:lnTo>
                        <a:pt x="536" y="54"/>
                      </a:lnTo>
                      <a:lnTo>
                        <a:pt x="536" y="54"/>
                      </a:lnTo>
                      <a:lnTo>
                        <a:pt x="535" y="54"/>
                      </a:lnTo>
                      <a:lnTo>
                        <a:pt x="534" y="55"/>
                      </a:lnTo>
                      <a:lnTo>
                        <a:pt x="534" y="56"/>
                      </a:lnTo>
                      <a:lnTo>
                        <a:pt x="533" y="57"/>
                      </a:lnTo>
                      <a:lnTo>
                        <a:pt x="532" y="59"/>
                      </a:lnTo>
                      <a:lnTo>
                        <a:pt x="532" y="61"/>
                      </a:lnTo>
                      <a:lnTo>
                        <a:pt x="532" y="61"/>
                      </a:lnTo>
                      <a:lnTo>
                        <a:pt x="533" y="62"/>
                      </a:lnTo>
                      <a:lnTo>
                        <a:pt x="534" y="63"/>
                      </a:lnTo>
                      <a:lnTo>
                        <a:pt x="535" y="63"/>
                      </a:lnTo>
                      <a:lnTo>
                        <a:pt x="536" y="62"/>
                      </a:lnTo>
                      <a:lnTo>
                        <a:pt x="536" y="61"/>
                      </a:lnTo>
                      <a:lnTo>
                        <a:pt x="536" y="61"/>
                      </a:lnTo>
                      <a:lnTo>
                        <a:pt x="536" y="60"/>
                      </a:lnTo>
                      <a:lnTo>
                        <a:pt x="535" y="59"/>
                      </a:lnTo>
                      <a:lnTo>
                        <a:pt x="534" y="59"/>
                      </a:lnTo>
                      <a:lnTo>
                        <a:pt x="534" y="58"/>
                      </a:lnTo>
                      <a:lnTo>
                        <a:pt x="534" y="57"/>
                      </a:lnTo>
                      <a:lnTo>
                        <a:pt x="535" y="57"/>
                      </a:lnTo>
                      <a:lnTo>
                        <a:pt x="536" y="57"/>
                      </a:lnTo>
                      <a:lnTo>
                        <a:pt x="536" y="57"/>
                      </a:lnTo>
                      <a:lnTo>
                        <a:pt x="536" y="58"/>
                      </a:lnTo>
                      <a:lnTo>
                        <a:pt x="537" y="59"/>
                      </a:lnTo>
                      <a:lnTo>
                        <a:pt x="538" y="59"/>
                      </a:lnTo>
                      <a:lnTo>
                        <a:pt x="538" y="59"/>
                      </a:lnTo>
                      <a:lnTo>
                        <a:pt x="539" y="59"/>
                      </a:lnTo>
                      <a:lnTo>
                        <a:pt x="540" y="59"/>
                      </a:lnTo>
                      <a:lnTo>
                        <a:pt x="540" y="60"/>
                      </a:lnTo>
                      <a:lnTo>
                        <a:pt x="540" y="61"/>
                      </a:lnTo>
                      <a:lnTo>
                        <a:pt x="540" y="61"/>
                      </a:lnTo>
                      <a:lnTo>
                        <a:pt x="540" y="62"/>
                      </a:lnTo>
                      <a:lnTo>
                        <a:pt x="540" y="63"/>
                      </a:lnTo>
                      <a:lnTo>
                        <a:pt x="538" y="64"/>
                      </a:lnTo>
                      <a:lnTo>
                        <a:pt x="538" y="65"/>
                      </a:lnTo>
                      <a:lnTo>
                        <a:pt x="538" y="66"/>
                      </a:lnTo>
                      <a:lnTo>
                        <a:pt x="537" y="67"/>
                      </a:lnTo>
                      <a:lnTo>
                        <a:pt x="537" y="67"/>
                      </a:lnTo>
                      <a:lnTo>
                        <a:pt x="537" y="68"/>
                      </a:lnTo>
                      <a:lnTo>
                        <a:pt x="538" y="69"/>
                      </a:lnTo>
                      <a:lnTo>
                        <a:pt x="538" y="69"/>
                      </a:lnTo>
                      <a:lnTo>
                        <a:pt x="539" y="69"/>
                      </a:lnTo>
                      <a:lnTo>
                        <a:pt x="540" y="68"/>
                      </a:lnTo>
                      <a:lnTo>
                        <a:pt x="540" y="67"/>
                      </a:lnTo>
                      <a:lnTo>
                        <a:pt x="540" y="67"/>
                      </a:lnTo>
                      <a:lnTo>
                        <a:pt x="541" y="66"/>
                      </a:lnTo>
                      <a:lnTo>
                        <a:pt x="542" y="66"/>
                      </a:lnTo>
                      <a:lnTo>
                        <a:pt x="543" y="66"/>
                      </a:lnTo>
                      <a:lnTo>
                        <a:pt x="543" y="67"/>
                      </a:lnTo>
                      <a:lnTo>
                        <a:pt x="543" y="67"/>
                      </a:lnTo>
                      <a:lnTo>
                        <a:pt x="543" y="69"/>
                      </a:lnTo>
                      <a:lnTo>
                        <a:pt x="542" y="69"/>
                      </a:lnTo>
                      <a:lnTo>
                        <a:pt x="543" y="70"/>
                      </a:lnTo>
                      <a:lnTo>
                        <a:pt x="543" y="71"/>
                      </a:lnTo>
                      <a:lnTo>
                        <a:pt x="543" y="71"/>
                      </a:lnTo>
                      <a:lnTo>
                        <a:pt x="543" y="72"/>
                      </a:lnTo>
                      <a:lnTo>
                        <a:pt x="544" y="73"/>
                      </a:lnTo>
                      <a:lnTo>
                        <a:pt x="543" y="73"/>
                      </a:lnTo>
                      <a:lnTo>
                        <a:pt x="543" y="74"/>
                      </a:lnTo>
                      <a:lnTo>
                        <a:pt x="543" y="74"/>
                      </a:lnTo>
                      <a:lnTo>
                        <a:pt x="543" y="75"/>
                      </a:lnTo>
                      <a:lnTo>
                        <a:pt x="542" y="75"/>
                      </a:lnTo>
                      <a:lnTo>
                        <a:pt x="541" y="75"/>
                      </a:lnTo>
                      <a:lnTo>
                        <a:pt x="540" y="74"/>
                      </a:lnTo>
                      <a:lnTo>
                        <a:pt x="540" y="73"/>
                      </a:lnTo>
                      <a:lnTo>
                        <a:pt x="540" y="72"/>
                      </a:lnTo>
                      <a:lnTo>
                        <a:pt x="540" y="71"/>
                      </a:lnTo>
                      <a:lnTo>
                        <a:pt x="540" y="71"/>
                      </a:lnTo>
                      <a:lnTo>
                        <a:pt x="540" y="70"/>
                      </a:lnTo>
                      <a:lnTo>
                        <a:pt x="539" y="69"/>
                      </a:lnTo>
                      <a:lnTo>
                        <a:pt x="538" y="69"/>
                      </a:lnTo>
                      <a:lnTo>
                        <a:pt x="537" y="69"/>
                      </a:lnTo>
                      <a:lnTo>
                        <a:pt x="536" y="70"/>
                      </a:lnTo>
                      <a:lnTo>
                        <a:pt x="535" y="71"/>
                      </a:lnTo>
                      <a:lnTo>
                        <a:pt x="534" y="72"/>
                      </a:lnTo>
                      <a:lnTo>
                        <a:pt x="534" y="73"/>
                      </a:lnTo>
                      <a:lnTo>
                        <a:pt x="534" y="73"/>
                      </a:lnTo>
                      <a:lnTo>
                        <a:pt x="534" y="73"/>
                      </a:lnTo>
                      <a:lnTo>
                        <a:pt x="535" y="73"/>
                      </a:lnTo>
                      <a:lnTo>
                        <a:pt x="536" y="73"/>
                      </a:lnTo>
                      <a:lnTo>
                        <a:pt x="536" y="73"/>
                      </a:lnTo>
                      <a:lnTo>
                        <a:pt x="537" y="74"/>
                      </a:lnTo>
                      <a:lnTo>
                        <a:pt x="538" y="75"/>
                      </a:lnTo>
                      <a:lnTo>
                        <a:pt x="538" y="75"/>
                      </a:lnTo>
                      <a:lnTo>
                        <a:pt x="539" y="75"/>
                      </a:lnTo>
                      <a:lnTo>
                        <a:pt x="540" y="75"/>
                      </a:lnTo>
                      <a:lnTo>
                        <a:pt x="540" y="75"/>
                      </a:lnTo>
                      <a:lnTo>
                        <a:pt x="541" y="75"/>
                      </a:lnTo>
                      <a:lnTo>
                        <a:pt x="543" y="75"/>
                      </a:lnTo>
                      <a:lnTo>
                        <a:pt x="543" y="76"/>
                      </a:lnTo>
                      <a:lnTo>
                        <a:pt x="544" y="76"/>
                      </a:lnTo>
                      <a:lnTo>
                        <a:pt x="544" y="77"/>
                      </a:lnTo>
                      <a:lnTo>
                        <a:pt x="544" y="78"/>
                      </a:lnTo>
                      <a:lnTo>
                        <a:pt x="544" y="78"/>
                      </a:lnTo>
                      <a:lnTo>
                        <a:pt x="543" y="78"/>
                      </a:lnTo>
                      <a:lnTo>
                        <a:pt x="543" y="79"/>
                      </a:lnTo>
                      <a:lnTo>
                        <a:pt x="542" y="79"/>
                      </a:lnTo>
                      <a:lnTo>
                        <a:pt x="541" y="80"/>
                      </a:lnTo>
                      <a:lnTo>
                        <a:pt x="541" y="80"/>
                      </a:lnTo>
                      <a:lnTo>
                        <a:pt x="541" y="81"/>
                      </a:lnTo>
                      <a:lnTo>
                        <a:pt x="542" y="82"/>
                      </a:lnTo>
                      <a:lnTo>
                        <a:pt x="543" y="82"/>
                      </a:lnTo>
                      <a:lnTo>
                        <a:pt x="543" y="82"/>
                      </a:lnTo>
                      <a:lnTo>
                        <a:pt x="544" y="83"/>
                      </a:lnTo>
                      <a:lnTo>
                        <a:pt x="545" y="83"/>
                      </a:lnTo>
                      <a:lnTo>
                        <a:pt x="545" y="82"/>
                      </a:lnTo>
                      <a:lnTo>
                        <a:pt x="545" y="82"/>
                      </a:lnTo>
                      <a:lnTo>
                        <a:pt x="545" y="81"/>
                      </a:lnTo>
                      <a:lnTo>
                        <a:pt x="545" y="80"/>
                      </a:lnTo>
                      <a:lnTo>
                        <a:pt x="545" y="80"/>
                      </a:lnTo>
                      <a:lnTo>
                        <a:pt x="546" y="79"/>
                      </a:lnTo>
                      <a:lnTo>
                        <a:pt x="547" y="78"/>
                      </a:lnTo>
                      <a:lnTo>
                        <a:pt x="547" y="78"/>
                      </a:lnTo>
                      <a:lnTo>
                        <a:pt x="548" y="78"/>
                      </a:lnTo>
                      <a:lnTo>
                        <a:pt x="549" y="77"/>
                      </a:lnTo>
                      <a:lnTo>
                        <a:pt x="549" y="77"/>
                      </a:lnTo>
                      <a:lnTo>
                        <a:pt x="550" y="77"/>
                      </a:lnTo>
                      <a:lnTo>
                        <a:pt x="550" y="78"/>
                      </a:lnTo>
                      <a:lnTo>
                        <a:pt x="551" y="78"/>
                      </a:lnTo>
                      <a:lnTo>
                        <a:pt x="550" y="78"/>
                      </a:lnTo>
                      <a:lnTo>
                        <a:pt x="550" y="79"/>
                      </a:lnTo>
                      <a:lnTo>
                        <a:pt x="549" y="79"/>
                      </a:lnTo>
                      <a:lnTo>
                        <a:pt x="549" y="80"/>
                      </a:lnTo>
                      <a:lnTo>
                        <a:pt x="549" y="80"/>
                      </a:lnTo>
                      <a:lnTo>
                        <a:pt x="549" y="81"/>
                      </a:lnTo>
                      <a:lnTo>
                        <a:pt x="549" y="82"/>
                      </a:lnTo>
                      <a:lnTo>
                        <a:pt x="548" y="82"/>
                      </a:lnTo>
                      <a:lnTo>
                        <a:pt x="548" y="83"/>
                      </a:lnTo>
                      <a:lnTo>
                        <a:pt x="547" y="84"/>
                      </a:lnTo>
                      <a:lnTo>
                        <a:pt x="547" y="84"/>
                      </a:lnTo>
                      <a:lnTo>
                        <a:pt x="546" y="84"/>
                      </a:lnTo>
                      <a:lnTo>
                        <a:pt x="545" y="84"/>
                      </a:lnTo>
                      <a:lnTo>
                        <a:pt x="545" y="85"/>
                      </a:lnTo>
                      <a:lnTo>
                        <a:pt x="545" y="86"/>
                      </a:lnTo>
                      <a:lnTo>
                        <a:pt x="545" y="86"/>
                      </a:lnTo>
                      <a:lnTo>
                        <a:pt x="546" y="86"/>
                      </a:lnTo>
                      <a:lnTo>
                        <a:pt x="547" y="87"/>
                      </a:lnTo>
                      <a:lnTo>
                        <a:pt x="547" y="87"/>
                      </a:lnTo>
                      <a:lnTo>
                        <a:pt x="547" y="88"/>
                      </a:lnTo>
                      <a:lnTo>
                        <a:pt x="548" y="88"/>
                      </a:lnTo>
                      <a:lnTo>
                        <a:pt x="548" y="89"/>
                      </a:lnTo>
                      <a:lnTo>
                        <a:pt x="548" y="90"/>
                      </a:lnTo>
                      <a:lnTo>
                        <a:pt x="548" y="90"/>
                      </a:lnTo>
                      <a:lnTo>
                        <a:pt x="548" y="91"/>
                      </a:lnTo>
                      <a:lnTo>
                        <a:pt x="548" y="92"/>
                      </a:lnTo>
                      <a:lnTo>
                        <a:pt x="547" y="94"/>
                      </a:lnTo>
                      <a:lnTo>
                        <a:pt x="547" y="95"/>
                      </a:lnTo>
                      <a:lnTo>
                        <a:pt x="547" y="96"/>
                      </a:lnTo>
                      <a:lnTo>
                        <a:pt x="546" y="97"/>
                      </a:lnTo>
                      <a:lnTo>
                        <a:pt x="546" y="97"/>
                      </a:lnTo>
                      <a:lnTo>
                        <a:pt x="546" y="98"/>
                      </a:lnTo>
                      <a:lnTo>
                        <a:pt x="546" y="99"/>
                      </a:lnTo>
                      <a:lnTo>
                        <a:pt x="546" y="99"/>
                      </a:lnTo>
                      <a:lnTo>
                        <a:pt x="546" y="100"/>
                      </a:lnTo>
                      <a:lnTo>
                        <a:pt x="545" y="101"/>
                      </a:lnTo>
                      <a:lnTo>
                        <a:pt x="545" y="101"/>
                      </a:lnTo>
                      <a:lnTo>
                        <a:pt x="544" y="101"/>
                      </a:lnTo>
                      <a:lnTo>
                        <a:pt x="543" y="101"/>
                      </a:lnTo>
                      <a:lnTo>
                        <a:pt x="543" y="100"/>
                      </a:lnTo>
                      <a:lnTo>
                        <a:pt x="543" y="99"/>
                      </a:lnTo>
                      <a:lnTo>
                        <a:pt x="543" y="99"/>
                      </a:lnTo>
                      <a:lnTo>
                        <a:pt x="543" y="98"/>
                      </a:lnTo>
                      <a:lnTo>
                        <a:pt x="544" y="97"/>
                      </a:lnTo>
                      <a:lnTo>
                        <a:pt x="543" y="97"/>
                      </a:lnTo>
                      <a:lnTo>
                        <a:pt x="543" y="97"/>
                      </a:lnTo>
                      <a:lnTo>
                        <a:pt x="543" y="97"/>
                      </a:lnTo>
                      <a:lnTo>
                        <a:pt x="542" y="97"/>
                      </a:lnTo>
                      <a:lnTo>
                        <a:pt x="542" y="98"/>
                      </a:lnTo>
                      <a:lnTo>
                        <a:pt x="541" y="99"/>
                      </a:lnTo>
                      <a:lnTo>
                        <a:pt x="541" y="99"/>
                      </a:lnTo>
                      <a:lnTo>
                        <a:pt x="540" y="99"/>
                      </a:lnTo>
                      <a:lnTo>
                        <a:pt x="540" y="100"/>
                      </a:lnTo>
                      <a:lnTo>
                        <a:pt x="539" y="101"/>
                      </a:lnTo>
                      <a:lnTo>
                        <a:pt x="539" y="101"/>
                      </a:lnTo>
                      <a:lnTo>
                        <a:pt x="539" y="102"/>
                      </a:lnTo>
                      <a:lnTo>
                        <a:pt x="540" y="102"/>
                      </a:lnTo>
                      <a:lnTo>
                        <a:pt x="540" y="103"/>
                      </a:lnTo>
                      <a:lnTo>
                        <a:pt x="542" y="103"/>
                      </a:lnTo>
                      <a:lnTo>
                        <a:pt x="543" y="104"/>
                      </a:lnTo>
                      <a:lnTo>
                        <a:pt x="544" y="104"/>
                      </a:lnTo>
                      <a:lnTo>
                        <a:pt x="545" y="105"/>
                      </a:lnTo>
                      <a:lnTo>
                        <a:pt x="545" y="105"/>
                      </a:lnTo>
                      <a:lnTo>
                        <a:pt x="547" y="105"/>
                      </a:lnTo>
                      <a:lnTo>
                        <a:pt x="548" y="106"/>
                      </a:lnTo>
                      <a:lnTo>
                        <a:pt x="549" y="106"/>
                      </a:lnTo>
                      <a:lnTo>
                        <a:pt x="549" y="107"/>
                      </a:lnTo>
                      <a:lnTo>
                        <a:pt x="549" y="107"/>
                      </a:lnTo>
                      <a:lnTo>
                        <a:pt x="549" y="108"/>
                      </a:lnTo>
                      <a:lnTo>
                        <a:pt x="549" y="110"/>
                      </a:lnTo>
                      <a:lnTo>
                        <a:pt x="549" y="111"/>
                      </a:lnTo>
                      <a:lnTo>
                        <a:pt x="548" y="112"/>
                      </a:lnTo>
                      <a:lnTo>
                        <a:pt x="547" y="113"/>
                      </a:lnTo>
                      <a:lnTo>
                        <a:pt x="547" y="114"/>
                      </a:lnTo>
                      <a:lnTo>
                        <a:pt x="547" y="115"/>
                      </a:lnTo>
                      <a:lnTo>
                        <a:pt x="547" y="116"/>
                      </a:lnTo>
                      <a:lnTo>
                        <a:pt x="548" y="116"/>
                      </a:lnTo>
                      <a:lnTo>
                        <a:pt x="549" y="116"/>
                      </a:lnTo>
                      <a:lnTo>
                        <a:pt x="549" y="116"/>
                      </a:lnTo>
                      <a:lnTo>
                        <a:pt x="550" y="116"/>
                      </a:lnTo>
                      <a:lnTo>
                        <a:pt x="550" y="116"/>
                      </a:lnTo>
                      <a:lnTo>
                        <a:pt x="550" y="117"/>
                      </a:lnTo>
                      <a:lnTo>
                        <a:pt x="550" y="118"/>
                      </a:lnTo>
                      <a:lnTo>
                        <a:pt x="550" y="118"/>
                      </a:lnTo>
                      <a:lnTo>
                        <a:pt x="550" y="119"/>
                      </a:lnTo>
                      <a:lnTo>
                        <a:pt x="551" y="120"/>
                      </a:lnTo>
                      <a:lnTo>
                        <a:pt x="550" y="120"/>
                      </a:lnTo>
                      <a:lnTo>
                        <a:pt x="549" y="121"/>
                      </a:lnTo>
                      <a:lnTo>
                        <a:pt x="549" y="121"/>
                      </a:lnTo>
                      <a:lnTo>
                        <a:pt x="548" y="121"/>
                      </a:lnTo>
                      <a:lnTo>
                        <a:pt x="548" y="122"/>
                      </a:lnTo>
                      <a:lnTo>
                        <a:pt x="547" y="122"/>
                      </a:lnTo>
                      <a:lnTo>
                        <a:pt x="547" y="122"/>
                      </a:lnTo>
                      <a:lnTo>
                        <a:pt x="547" y="123"/>
                      </a:lnTo>
                      <a:lnTo>
                        <a:pt x="547" y="124"/>
                      </a:lnTo>
                      <a:lnTo>
                        <a:pt x="546" y="124"/>
                      </a:lnTo>
                      <a:lnTo>
                        <a:pt x="545" y="124"/>
                      </a:lnTo>
                      <a:lnTo>
                        <a:pt x="545" y="125"/>
                      </a:lnTo>
                      <a:lnTo>
                        <a:pt x="545" y="125"/>
                      </a:lnTo>
                      <a:lnTo>
                        <a:pt x="545" y="126"/>
                      </a:lnTo>
                      <a:lnTo>
                        <a:pt x="544" y="126"/>
                      </a:lnTo>
                      <a:lnTo>
                        <a:pt x="543" y="127"/>
                      </a:lnTo>
                      <a:lnTo>
                        <a:pt x="543" y="128"/>
                      </a:lnTo>
                      <a:lnTo>
                        <a:pt x="543" y="128"/>
                      </a:lnTo>
                      <a:lnTo>
                        <a:pt x="543" y="129"/>
                      </a:lnTo>
                      <a:lnTo>
                        <a:pt x="543" y="130"/>
                      </a:lnTo>
                      <a:lnTo>
                        <a:pt x="544" y="130"/>
                      </a:lnTo>
                      <a:lnTo>
                        <a:pt x="544" y="130"/>
                      </a:lnTo>
                      <a:lnTo>
                        <a:pt x="545" y="130"/>
                      </a:lnTo>
                      <a:lnTo>
                        <a:pt x="545" y="130"/>
                      </a:lnTo>
                      <a:lnTo>
                        <a:pt x="545" y="129"/>
                      </a:lnTo>
                      <a:lnTo>
                        <a:pt x="546" y="128"/>
                      </a:lnTo>
                      <a:lnTo>
                        <a:pt x="547" y="128"/>
                      </a:lnTo>
                      <a:lnTo>
                        <a:pt x="547" y="128"/>
                      </a:lnTo>
                      <a:lnTo>
                        <a:pt x="548" y="128"/>
                      </a:lnTo>
                      <a:lnTo>
                        <a:pt x="549" y="128"/>
                      </a:lnTo>
                      <a:lnTo>
                        <a:pt x="550" y="128"/>
                      </a:lnTo>
                      <a:lnTo>
                        <a:pt x="551" y="128"/>
                      </a:lnTo>
                      <a:lnTo>
                        <a:pt x="551" y="128"/>
                      </a:lnTo>
                      <a:lnTo>
                        <a:pt x="552" y="128"/>
                      </a:lnTo>
                      <a:lnTo>
                        <a:pt x="553" y="128"/>
                      </a:lnTo>
                      <a:lnTo>
                        <a:pt x="553" y="128"/>
                      </a:lnTo>
                      <a:lnTo>
                        <a:pt x="554" y="129"/>
                      </a:lnTo>
                      <a:lnTo>
                        <a:pt x="555" y="129"/>
                      </a:lnTo>
                      <a:lnTo>
                        <a:pt x="555" y="130"/>
                      </a:lnTo>
                      <a:lnTo>
                        <a:pt x="555" y="130"/>
                      </a:lnTo>
                      <a:lnTo>
                        <a:pt x="555" y="130"/>
                      </a:lnTo>
                      <a:lnTo>
                        <a:pt x="555" y="131"/>
                      </a:lnTo>
                      <a:lnTo>
                        <a:pt x="554" y="131"/>
                      </a:lnTo>
                      <a:lnTo>
                        <a:pt x="553" y="132"/>
                      </a:lnTo>
                      <a:lnTo>
                        <a:pt x="552" y="132"/>
                      </a:lnTo>
                      <a:lnTo>
                        <a:pt x="551" y="132"/>
                      </a:lnTo>
                      <a:lnTo>
                        <a:pt x="549" y="133"/>
                      </a:lnTo>
                      <a:lnTo>
                        <a:pt x="548" y="134"/>
                      </a:lnTo>
                      <a:lnTo>
                        <a:pt x="547" y="134"/>
                      </a:lnTo>
                      <a:lnTo>
                        <a:pt x="547" y="135"/>
                      </a:lnTo>
                      <a:lnTo>
                        <a:pt x="547" y="136"/>
                      </a:lnTo>
                      <a:lnTo>
                        <a:pt x="547" y="137"/>
                      </a:lnTo>
                      <a:lnTo>
                        <a:pt x="547" y="137"/>
                      </a:lnTo>
                      <a:lnTo>
                        <a:pt x="547" y="138"/>
                      </a:lnTo>
                      <a:lnTo>
                        <a:pt x="548" y="138"/>
                      </a:lnTo>
                      <a:lnTo>
                        <a:pt x="549" y="138"/>
                      </a:lnTo>
                      <a:lnTo>
                        <a:pt x="549" y="137"/>
                      </a:lnTo>
                      <a:lnTo>
                        <a:pt x="550" y="137"/>
                      </a:lnTo>
                      <a:lnTo>
                        <a:pt x="552" y="136"/>
                      </a:lnTo>
                      <a:lnTo>
                        <a:pt x="553" y="136"/>
                      </a:lnTo>
                      <a:lnTo>
                        <a:pt x="553" y="135"/>
                      </a:lnTo>
                      <a:lnTo>
                        <a:pt x="554" y="135"/>
                      </a:lnTo>
                      <a:lnTo>
                        <a:pt x="555" y="135"/>
                      </a:lnTo>
                      <a:lnTo>
                        <a:pt x="555" y="136"/>
                      </a:lnTo>
                      <a:lnTo>
                        <a:pt x="556" y="137"/>
                      </a:lnTo>
                      <a:lnTo>
                        <a:pt x="555" y="137"/>
                      </a:lnTo>
                      <a:lnTo>
                        <a:pt x="555" y="138"/>
                      </a:lnTo>
                      <a:lnTo>
                        <a:pt x="555" y="139"/>
                      </a:lnTo>
                      <a:lnTo>
                        <a:pt x="555" y="139"/>
                      </a:lnTo>
                      <a:lnTo>
                        <a:pt x="554" y="139"/>
                      </a:lnTo>
                      <a:lnTo>
                        <a:pt x="553" y="139"/>
                      </a:lnTo>
                      <a:lnTo>
                        <a:pt x="553" y="139"/>
                      </a:lnTo>
                      <a:lnTo>
                        <a:pt x="552" y="139"/>
                      </a:lnTo>
                      <a:lnTo>
                        <a:pt x="551" y="140"/>
                      </a:lnTo>
                      <a:lnTo>
                        <a:pt x="551" y="141"/>
                      </a:lnTo>
                      <a:lnTo>
                        <a:pt x="551" y="141"/>
                      </a:lnTo>
                      <a:lnTo>
                        <a:pt x="550" y="141"/>
                      </a:lnTo>
                      <a:lnTo>
                        <a:pt x="550" y="143"/>
                      </a:lnTo>
                      <a:lnTo>
                        <a:pt x="550" y="143"/>
                      </a:lnTo>
                      <a:lnTo>
                        <a:pt x="550" y="145"/>
                      </a:lnTo>
                      <a:lnTo>
                        <a:pt x="551" y="145"/>
                      </a:lnTo>
                      <a:lnTo>
                        <a:pt x="551" y="146"/>
                      </a:lnTo>
                      <a:lnTo>
                        <a:pt x="551" y="147"/>
                      </a:lnTo>
                      <a:lnTo>
                        <a:pt x="550" y="147"/>
                      </a:lnTo>
                      <a:lnTo>
                        <a:pt x="549" y="147"/>
                      </a:lnTo>
                      <a:lnTo>
                        <a:pt x="549" y="148"/>
                      </a:lnTo>
                      <a:lnTo>
                        <a:pt x="549" y="148"/>
                      </a:lnTo>
                      <a:lnTo>
                        <a:pt x="549" y="149"/>
                      </a:lnTo>
                      <a:lnTo>
                        <a:pt x="548" y="149"/>
                      </a:lnTo>
                      <a:lnTo>
                        <a:pt x="548" y="148"/>
                      </a:lnTo>
                      <a:lnTo>
                        <a:pt x="547" y="148"/>
                      </a:lnTo>
                      <a:lnTo>
                        <a:pt x="547" y="147"/>
                      </a:lnTo>
                      <a:lnTo>
                        <a:pt x="547" y="147"/>
                      </a:lnTo>
                      <a:lnTo>
                        <a:pt x="547" y="146"/>
                      </a:lnTo>
                      <a:lnTo>
                        <a:pt x="547" y="145"/>
                      </a:lnTo>
                      <a:lnTo>
                        <a:pt x="547" y="145"/>
                      </a:lnTo>
                      <a:lnTo>
                        <a:pt x="545" y="145"/>
                      </a:lnTo>
                      <a:lnTo>
                        <a:pt x="545" y="144"/>
                      </a:lnTo>
                      <a:lnTo>
                        <a:pt x="543" y="143"/>
                      </a:lnTo>
                      <a:lnTo>
                        <a:pt x="543" y="143"/>
                      </a:lnTo>
                      <a:lnTo>
                        <a:pt x="542" y="143"/>
                      </a:lnTo>
                      <a:lnTo>
                        <a:pt x="542" y="143"/>
                      </a:lnTo>
                      <a:lnTo>
                        <a:pt x="541" y="143"/>
                      </a:lnTo>
                      <a:lnTo>
                        <a:pt x="540" y="143"/>
                      </a:lnTo>
                      <a:lnTo>
                        <a:pt x="540" y="143"/>
                      </a:lnTo>
                      <a:lnTo>
                        <a:pt x="540" y="143"/>
                      </a:lnTo>
                      <a:lnTo>
                        <a:pt x="539" y="144"/>
                      </a:lnTo>
                      <a:lnTo>
                        <a:pt x="539" y="145"/>
                      </a:lnTo>
                      <a:lnTo>
                        <a:pt x="540" y="145"/>
                      </a:lnTo>
                      <a:lnTo>
                        <a:pt x="540" y="146"/>
                      </a:lnTo>
                      <a:lnTo>
                        <a:pt x="540" y="146"/>
                      </a:lnTo>
                      <a:lnTo>
                        <a:pt x="541" y="147"/>
                      </a:lnTo>
                      <a:lnTo>
                        <a:pt x="542" y="147"/>
                      </a:lnTo>
                      <a:lnTo>
                        <a:pt x="543" y="146"/>
                      </a:lnTo>
                      <a:lnTo>
                        <a:pt x="544" y="146"/>
                      </a:lnTo>
                      <a:lnTo>
                        <a:pt x="544" y="147"/>
                      </a:lnTo>
                      <a:lnTo>
                        <a:pt x="545" y="147"/>
                      </a:lnTo>
                      <a:lnTo>
                        <a:pt x="545" y="147"/>
                      </a:lnTo>
                      <a:lnTo>
                        <a:pt x="545" y="148"/>
                      </a:lnTo>
                      <a:lnTo>
                        <a:pt x="545" y="149"/>
                      </a:lnTo>
                      <a:lnTo>
                        <a:pt x="544" y="149"/>
                      </a:lnTo>
                      <a:lnTo>
                        <a:pt x="543" y="149"/>
                      </a:lnTo>
                      <a:lnTo>
                        <a:pt x="543" y="150"/>
                      </a:lnTo>
                      <a:lnTo>
                        <a:pt x="543" y="151"/>
                      </a:lnTo>
                      <a:lnTo>
                        <a:pt x="543" y="151"/>
                      </a:lnTo>
                      <a:lnTo>
                        <a:pt x="543" y="152"/>
                      </a:lnTo>
                      <a:lnTo>
                        <a:pt x="545" y="152"/>
                      </a:lnTo>
                      <a:lnTo>
                        <a:pt x="545" y="152"/>
                      </a:lnTo>
                      <a:lnTo>
                        <a:pt x="547" y="151"/>
                      </a:lnTo>
                      <a:lnTo>
                        <a:pt x="547" y="151"/>
                      </a:lnTo>
                      <a:lnTo>
                        <a:pt x="548" y="151"/>
                      </a:lnTo>
                      <a:lnTo>
                        <a:pt x="549" y="151"/>
                      </a:lnTo>
                      <a:lnTo>
                        <a:pt x="549" y="151"/>
                      </a:lnTo>
                      <a:lnTo>
                        <a:pt x="550" y="150"/>
                      </a:lnTo>
                      <a:lnTo>
                        <a:pt x="551" y="150"/>
                      </a:lnTo>
                      <a:lnTo>
                        <a:pt x="551" y="150"/>
                      </a:lnTo>
                      <a:lnTo>
                        <a:pt x="552" y="150"/>
                      </a:lnTo>
                      <a:lnTo>
                        <a:pt x="553" y="151"/>
                      </a:lnTo>
                      <a:lnTo>
                        <a:pt x="553" y="151"/>
                      </a:lnTo>
                      <a:lnTo>
                        <a:pt x="553" y="152"/>
                      </a:lnTo>
                      <a:lnTo>
                        <a:pt x="552" y="153"/>
                      </a:lnTo>
                      <a:lnTo>
                        <a:pt x="552" y="153"/>
                      </a:lnTo>
                      <a:lnTo>
                        <a:pt x="551" y="154"/>
                      </a:lnTo>
                      <a:lnTo>
                        <a:pt x="551" y="155"/>
                      </a:lnTo>
                      <a:lnTo>
                        <a:pt x="550" y="156"/>
                      </a:lnTo>
                      <a:lnTo>
                        <a:pt x="549" y="157"/>
                      </a:lnTo>
                      <a:lnTo>
                        <a:pt x="549" y="158"/>
                      </a:lnTo>
                      <a:lnTo>
                        <a:pt x="548" y="158"/>
                      </a:lnTo>
                      <a:lnTo>
                        <a:pt x="548" y="159"/>
                      </a:lnTo>
                      <a:lnTo>
                        <a:pt x="547" y="160"/>
                      </a:lnTo>
                      <a:lnTo>
                        <a:pt x="547" y="160"/>
                      </a:lnTo>
                      <a:lnTo>
                        <a:pt x="546" y="161"/>
                      </a:lnTo>
                      <a:lnTo>
                        <a:pt x="545" y="161"/>
                      </a:lnTo>
                      <a:lnTo>
                        <a:pt x="545" y="161"/>
                      </a:lnTo>
                      <a:lnTo>
                        <a:pt x="543" y="161"/>
                      </a:lnTo>
                      <a:lnTo>
                        <a:pt x="543" y="162"/>
                      </a:lnTo>
                      <a:lnTo>
                        <a:pt x="543" y="162"/>
                      </a:lnTo>
                      <a:lnTo>
                        <a:pt x="542" y="162"/>
                      </a:lnTo>
                      <a:lnTo>
                        <a:pt x="542" y="163"/>
                      </a:lnTo>
                      <a:lnTo>
                        <a:pt x="542" y="164"/>
                      </a:lnTo>
                      <a:lnTo>
                        <a:pt x="543" y="164"/>
                      </a:lnTo>
                      <a:lnTo>
                        <a:pt x="543" y="164"/>
                      </a:lnTo>
                      <a:lnTo>
                        <a:pt x="544" y="164"/>
                      </a:lnTo>
                      <a:lnTo>
                        <a:pt x="545" y="165"/>
                      </a:lnTo>
                      <a:lnTo>
                        <a:pt x="545" y="165"/>
                      </a:lnTo>
                      <a:lnTo>
                        <a:pt x="547" y="165"/>
                      </a:lnTo>
                      <a:lnTo>
                        <a:pt x="547" y="165"/>
                      </a:lnTo>
                      <a:lnTo>
                        <a:pt x="547" y="166"/>
                      </a:lnTo>
                      <a:lnTo>
                        <a:pt x="548" y="166"/>
                      </a:lnTo>
                      <a:lnTo>
                        <a:pt x="548" y="167"/>
                      </a:lnTo>
                      <a:lnTo>
                        <a:pt x="547" y="167"/>
                      </a:lnTo>
                      <a:lnTo>
                        <a:pt x="547" y="168"/>
                      </a:lnTo>
                      <a:lnTo>
                        <a:pt x="546" y="168"/>
                      </a:lnTo>
                      <a:lnTo>
                        <a:pt x="545" y="168"/>
                      </a:lnTo>
                      <a:lnTo>
                        <a:pt x="545" y="169"/>
                      </a:lnTo>
                      <a:lnTo>
                        <a:pt x="545" y="170"/>
                      </a:lnTo>
                      <a:lnTo>
                        <a:pt x="545" y="170"/>
                      </a:lnTo>
                      <a:lnTo>
                        <a:pt x="545" y="171"/>
                      </a:lnTo>
                      <a:lnTo>
                        <a:pt x="545" y="172"/>
                      </a:lnTo>
                      <a:lnTo>
                        <a:pt x="546" y="172"/>
                      </a:lnTo>
                      <a:lnTo>
                        <a:pt x="547" y="173"/>
                      </a:lnTo>
                      <a:lnTo>
                        <a:pt x="547" y="174"/>
                      </a:lnTo>
                      <a:lnTo>
                        <a:pt x="548" y="175"/>
                      </a:lnTo>
                      <a:lnTo>
                        <a:pt x="548" y="175"/>
                      </a:lnTo>
                      <a:lnTo>
                        <a:pt x="549" y="176"/>
                      </a:lnTo>
                      <a:lnTo>
                        <a:pt x="549" y="177"/>
                      </a:lnTo>
                      <a:lnTo>
                        <a:pt x="549" y="177"/>
                      </a:lnTo>
                      <a:lnTo>
                        <a:pt x="549" y="178"/>
                      </a:lnTo>
                      <a:lnTo>
                        <a:pt x="548" y="179"/>
                      </a:lnTo>
                      <a:lnTo>
                        <a:pt x="547" y="179"/>
                      </a:lnTo>
                      <a:lnTo>
                        <a:pt x="547" y="179"/>
                      </a:lnTo>
                      <a:lnTo>
                        <a:pt x="546" y="179"/>
                      </a:lnTo>
                      <a:lnTo>
                        <a:pt x="545" y="178"/>
                      </a:lnTo>
                      <a:lnTo>
                        <a:pt x="545" y="177"/>
                      </a:lnTo>
                      <a:lnTo>
                        <a:pt x="544" y="177"/>
                      </a:lnTo>
                      <a:lnTo>
                        <a:pt x="543" y="177"/>
                      </a:lnTo>
                      <a:lnTo>
                        <a:pt x="543" y="176"/>
                      </a:lnTo>
                      <a:lnTo>
                        <a:pt x="542" y="176"/>
                      </a:lnTo>
                      <a:lnTo>
                        <a:pt x="541" y="176"/>
                      </a:lnTo>
                      <a:lnTo>
                        <a:pt x="540" y="177"/>
                      </a:lnTo>
                      <a:lnTo>
                        <a:pt x="540" y="177"/>
                      </a:lnTo>
                      <a:lnTo>
                        <a:pt x="539" y="178"/>
                      </a:lnTo>
                      <a:lnTo>
                        <a:pt x="538" y="179"/>
                      </a:lnTo>
                      <a:lnTo>
                        <a:pt x="538" y="179"/>
                      </a:lnTo>
                      <a:lnTo>
                        <a:pt x="538" y="180"/>
                      </a:lnTo>
                      <a:lnTo>
                        <a:pt x="539" y="180"/>
                      </a:lnTo>
                      <a:lnTo>
                        <a:pt x="539" y="181"/>
                      </a:lnTo>
                      <a:lnTo>
                        <a:pt x="540" y="181"/>
                      </a:lnTo>
                      <a:lnTo>
                        <a:pt x="540" y="181"/>
                      </a:lnTo>
                      <a:lnTo>
                        <a:pt x="541" y="180"/>
                      </a:lnTo>
                      <a:lnTo>
                        <a:pt x="542" y="180"/>
                      </a:lnTo>
                      <a:lnTo>
                        <a:pt x="543" y="179"/>
                      </a:lnTo>
                      <a:lnTo>
                        <a:pt x="543" y="179"/>
                      </a:lnTo>
                      <a:lnTo>
                        <a:pt x="544" y="179"/>
                      </a:lnTo>
                      <a:lnTo>
                        <a:pt x="545" y="179"/>
                      </a:lnTo>
                      <a:lnTo>
                        <a:pt x="545" y="180"/>
                      </a:lnTo>
                      <a:lnTo>
                        <a:pt x="545" y="181"/>
                      </a:lnTo>
                      <a:lnTo>
                        <a:pt x="545" y="181"/>
                      </a:lnTo>
                      <a:lnTo>
                        <a:pt x="545" y="181"/>
                      </a:lnTo>
                      <a:lnTo>
                        <a:pt x="544" y="182"/>
                      </a:lnTo>
                      <a:lnTo>
                        <a:pt x="543" y="182"/>
                      </a:lnTo>
                      <a:lnTo>
                        <a:pt x="542" y="182"/>
                      </a:lnTo>
                      <a:lnTo>
                        <a:pt x="540" y="183"/>
                      </a:lnTo>
                      <a:lnTo>
                        <a:pt x="540" y="183"/>
                      </a:lnTo>
                      <a:lnTo>
                        <a:pt x="539" y="183"/>
                      </a:lnTo>
                      <a:lnTo>
                        <a:pt x="539" y="183"/>
                      </a:lnTo>
                      <a:lnTo>
                        <a:pt x="539" y="184"/>
                      </a:lnTo>
                      <a:lnTo>
                        <a:pt x="538" y="185"/>
                      </a:lnTo>
                      <a:lnTo>
                        <a:pt x="539" y="185"/>
                      </a:lnTo>
                      <a:lnTo>
                        <a:pt x="540" y="186"/>
                      </a:lnTo>
                      <a:lnTo>
                        <a:pt x="540" y="186"/>
                      </a:lnTo>
                      <a:lnTo>
                        <a:pt x="541" y="187"/>
                      </a:lnTo>
                      <a:lnTo>
                        <a:pt x="541" y="187"/>
                      </a:lnTo>
                      <a:lnTo>
                        <a:pt x="542" y="189"/>
                      </a:lnTo>
                      <a:lnTo>
                        <a:pt x="541" y="189"/>
                      </a:lnTo>
                      <a:lnTo>
                        <a:pt x="541" y="190"/>
                      </a:lnTo>
                      <a:lnTo>
                        <a:pt x="540" y="191"/>
                      </a:lnTo>
                      <a:lnTo>
                        <a:pt x="540" y="191"/>
                      </a:lnTo>
                      <a:lnTo>
                        <a:pt x="540" y="193"/>
                      </a:lnTo>
                      <a:lnTo>
                        <a:pt x="540" y="193"/>
                      </a:lnTo>
                      <a:lnTo>
                        <a:pt x="539" y="194"/>
                      </a:lnTo>
                      <a:lnTo>
                        <a:pt x="538" y="194"/>
                      </a:lnTo>
                      <a:lnTo>
                        <a:pt x="538" y="194"/>
                      </a:lnTo>
                      <a:lnTo>
                        <a:pt x="536" y="193"/>
                      </a:lnTo>
                      <a:lnTo>
                        <a:pt x="536" y="193"/>
                      </a:lnTo>
                      <a:lnTo>
                        <a:pt x="536" y="193"/>
                      </a:lnTo>
                      <a:lnTo>
                        <a:pt x="535" y="192"/>
                      </a:lnTo>
                      <a:lnTo>
                        <a:pt x="535" y="191"/>
                      </a:lnTo>
                      <a:lnTo>
                        <a:pt x="536" y="190"/>
                      </a:lnTo>
                      <a:lnTo>
                        <a:pt x="536" y="189"/>
                      </a:lnTo>
                      <a:lnTo>
                        <a:pt x="537" y="189"/>
                      </a:lnTo>
                      <a:lnTo>
                        <a:pt x="537" y="188"/>
                      </a:lnTo>
                      <a:lnTo>
                        <a:pt x="537" y="187"/>
                      </a:lnTo>
                      <a:lnTo>
                        <a:pt x="537" y="187"/>
                      </a:lnTo>
                      <a:lnTo>
                        <a:pt x="536" y="187"/>
                      </a:lnTo>
                      <a:lnTo>
                        <a:pt x="535" y="186"/>
                      </a:lnTo>
                      <a:lnTo>
                        <a:pt x="534" y="186"/>
                      </a:lnTo>
                      <a:lnTo>
                        <a:pt x="532" y="186"/>
                      </a:lnTo>
                      <a:lnTo>
                        <a:pt x="532" y="186"/>
                      </a:lnTo>
                      <a:lnTo>
                        <a:pt x="531" y="186"/>
                      </a:lnTo>
                      <a:lnTo>
                        <a:pt x="530" y="186"/>
                      </a:lnTo>
                      <a:lnTo>
                        <a:pt x="530" y="187"/>
                      </a:lnTo>
                      <a:lnTo>
                        <a:pt x="530" y="187"/>
                      </a:lnTo>
                      <a:lnTo>
                        <a:pt x="529" y="188"/>
                      </a:lnTo>
                      <a:lnTo>
                        <a:pt x="529" y="189"/>
                      </a:lnTo>
                      <a:lnTo>
                        <a:pt x="530" y="189"/>
                      </a:lnTo>
                      <a:lnTo>
                        <a:pt x="530" y="190"/>
                      </a:lnTo>
                      <a:lnTo>
                        <a:pt x="531" y="191"/>
                      </a:lnTo>
                      <a:lnTo>
                        <a:pt x="532" y="191"/>
                      </a:lnTo>
                      <a:lnTo>
                        <a:pt x="532" y="193"/>
                      </a:lnTo>
                      <a:lnTo>
                        <a:pt x="532" y="193"/>
                      </a:lnTo>
                      <a:lnTo>
                        <a:pt x="532" y="194"/>
                      </a:lnTo>
                      <a:lnTo>
                        <a:pt x="531" y="195"/>
                      </a:lnTo>
                      <a:lnTo>
                        <a:pt x="530" y="195"/>
                      </a:lnTo>
                      <a:lnTo>
                        <a:pt x="530" y="195"/>
                      </a:lnTo>
                      <a:lnTo>
                        <a:pt x="529" y="196"/>
                      </a:lnTo>
                      <a:lnTo>
                        <a:pt x="528" y="196"/>
                      </a:lnTo>
                      <a:lnTo>
                        <a:pt x="528" y="196"/>
                      </a:lnTo>
                      <a:lnTo>
                        <a:pt x="527" y="197"/>
                      </a:lnTo>
                      <a:lnTo>
                        <a:pt x="526" y="198"/>
                      </a:lnTo>
                      <a:lnTo>
                        <a:pt x="526" y="198"/>
                      </a:lnTo>
                      <a:lnTo>
                        <a:pt x="527" y="199"/>
                      </a:lnTo>
                      <a:lnTo>
                        <a:pt x="528" y="199"/>
                      </a:lnTo>
                      <a:lnTo>
                        <a:pt x="528" y="199"/>
                      </a:lnTo>
                      <a:lnTo>
                        <a:pt x="529" y="199"/>
                      </a:lnTo>
                      <a:lnTo>
                        <a:pt x="529" y="200"/>
                      </a:lnTo>
                      <a:lnTo>
                        <a:pt x="530" y="202"/>
                      </a:lnTo>
                      <a:lnTo>
                        <a:pt x="530" y="202"/>
                      </a:lnTo>
                      <a:lnTo>
                        <a:pt x="530" y="204"/>
                      </a:lnTo>
                      <a:lnTo>
                        <a:pt x="530" y="206"/>
                      </a:lnTo>
                      <a:lnTo>
                        <a:pt x="530" y="206"/>
                      </a:lnTo>
                      <a:lnTo>
                        <a:pt x="530" y="208"/>
                      </a:lnTo>
                      <a:lnTo>
                        <a:pt x="530" y="208"/>
                      </a:lnTo>
                      <a:lnTo>
                        <a:pt x="529" y="209"/>
                      </a:lnTo>
                      <a:lnTo>
                        <a:pt x="528" y="210"/>
                      </a:lnTo>
                      <a:lnTo>
                        <a:pt x="527" y="211"/>
                      </a:lnTo>
                      <a:lnTo>
                        <a:pt x="526" y="212"/>
                      </a:lnTo>
                      <a:lnTo>
                        <a:pt x="525" y="212"/>
                      </a:lnTo>
                      <a:lnTo>
                        <a:pt x="524" y="213"/>
                      </a:lnTo>
                      <a:lnTo>
                        <a:pt x="523" y="213"/>
                      </a:lnTo>
                      <a:lnTo>
                        <a:pt x="522" y="214"/>
                      </a:lnTo>
                      <a:lnTo>
                        <a:pt x="521" y="215"/>
                      </a:lnTo>
                      <a:lnTo>
                        <a:pt x="521" y="215"/>
                      </a:lnTo>
                      <a:lnTo>
                        <a:pt x="521" y="216"/>
                      </a:lnTo>
                      <a:lnTo>
                        <a:pt x="520" y="217"/>
                      </a:lnTo>
                      <a:lnTo>
                        <a:pt x="519" y="218"/>
                      </a:lnTo>
                      <a:lnTo>
                        <a:pt x="519" y="219"/>
                      </a:lnTo>
                      <a:lnTo>
                        <a:pt x="519" y="219"/>
                      </a:lnTo>
                      <a:lnTo>
                        <a:pt x="519" y="220"/>
                      </a:lnTo>
                      <a:lnTo>
                        <a:pt x="520" y="221"/>
                      </a:lnTo>
                      <a:lnTo>
                        <a:pt x="521" y="221"/>
                      </a:lnTo>
                      <a:lnTo>
                        <a:pt x="521" y="221"/>
                      </a:lnTo>
                      <a:lnTo>
                        <a:pt x="522" y="221"/>
                      </a:lnTo>
                      <a:lnTo>
                        <a:pt x="523" y="221"/>
                      </a:lnTo>
                      <a:lnTo>
                        <a:pt x="524" y="221"/>
                      </a:lnTo>
                      <a:lnTo>
                        <a:pt x="524" y="221"/>
                      </a:lnTo>
                      <a:lnTo>
                        <a:pt x="525" y="222"/>
                      </a:lnTo>
                      <a:lnTo>
                        <a:pt x="526" y="223"/>
                      </a:lnTo>
                      <a:lnTo>
                        <a:pt x="527" y="224"/>
                      </a:lnTo>
                      <a:lnTo>
                        <a:pt x="528" y="225"/>
                      </a:lnTo>
                      <a:lnTo>
                        <a:pt x="528" y="225"/>
                      </a:lnTo>
                      <a:lnTo>
                        <a:pt x="528" y="226"/>
                      </a:lnTo>
                      <a:lnTo>
                        <a:pt x="528" y="227"/>
                      </a:lnTo>
                      <a:lnTo>
                        <a:pt x="528" y="227"/>
                      </a:lnTo>
                      <a:lnTo>
                        <a:pt x="528" y="228"/>
                      </a:lnTo>
                      <a:lnTo>
                        <a:pt x="528" y="229"/>
                      </a:lnTo>
                      <a:lnTo>
                        <a:pt x="528" y="230"/>
                      </a:lnTo>
                      <a:lnTo>
                        <a:pt x="528" y="231"/>
                      </a:lnTo>
                      <a:lnTo>
                        <a:pt x="527" y="233"/>
                      </a:lnTo>
                      <a:lnTo>
                        <a:pt x="527" y="233"/>
                      </a:lnTo>
                      <a:lnTo>
                        <a:pt x="526" y="233"/>
                      </a:lnTo>
                      <a:lnTo>
                        <a:pt x="526" y="233"/>
                      </a:lnTo>
                      <a:lnTo>
                        <a:pt x="525" y="234"/>
                      </a:lnTo>
                      <a:lnTo>
                        <a:pt x="524" y="233"/>
                      </a:lnTo>
                      <a:lnTo>
                        <a:pt x="524" y="233"/>
                      </a:lnTo>
                      <a:lnTo>
                        <a:pt x="524" y="233"/>
                      </a:lnTo>
                      <a:lnTo>
                        <a:pt x="524" y="232"/>
                      </a:lnTo>
                      <a:lnTo>
                        <a:pt x="524" y="231"/>
                      </a:lnTo>
                      <a:lnTo>
                        <a:pt x="524" y="230"/>
                      </a:lnTo>
                      <a:lnTo>
                        <a:pt x="525" y="229"/>
                      </a:lnTo>
                      <a:lnTo>
                        <a:pt x="525" y="229"/>
                      </a:lnTo>
                      <a:lnTo>
                        <a:pt x="525" y="228"/>
                      </a:lnTo>
                      <a:lnTo>
                        <a:pt x="525" y="227"/>
                      </a:lnTo>
                      <a:lnTo>
                        <a:pt x="525" y="226"/>
                      </a:lnTo>
                      <a:lnTo>
                        <a:pt x="524" y="225"/>
                      </a:lnTo>
                      <a:lnTo>
                        <a:pt x="524" y="225"/>
                      </a:lnTo>
                      <a:lnTo>
                        <a:pt x="523" y="225"/>
                      </a:lnTo>
                      <a:lnTo>
                        <a:pt x="522" y="225"/>
                      </a:lnTo>
                      <a:lnTo>
                        <a:pt x="522" y="226"/>
                      </a:lnTo>
                      <a:lnTo>
                        <a:pt x="521" y="227"/>
                      </a:lnTo>
                      <a:lnTo>
                        <a:pt x="521" y="227"/>
                      </a:lnTo>
                      <a:lnTo>
                        <a:pt x="521" y="228"/>
                      </a:lnTo>
                      <a:lnTo>
                        <a:pt x="521" y="229"/>
                      </a:lnTo>
                      <a:lnTo>
                        <a:pt x="521" y="231"/>
                      </a:lnTo>
                      <a:lnTo>
                        <a:pt x="521" y="231"/>
                      </a:lnTo>
                      <a:lnTo>
                        <a:pt x="520" y="233"/>
                      </a:lnTo>
                      <a:lnTo>
                        <a:pt x="520" y="233"/>
                      </a:lnTo>
                      <a:lnTo>
                        <a:pt x="519" y="234"/>
                      </a:lnTo>
                      <a:lnTo>
                        <a:pt x="519" y="235"/>
                      </a:lnTo>
                      <a:lnTo>
                        <a:pt x="518" y="236"/>
                      </a:lnTo>
                      <a:lnTo>
                        <a:pt x="517" y="236"/>
                      </a:lnTo>
                      <a:lnTo>
                        <a:pt x="516" y="236"/>
                      </a:lnTo>
                      <a:lnTo>
                        <a:pt x="515" y="236"/>
                      </a:lnTo>
                      <a:lnTo>
                        <a:pt x="515" y="237"/>
                      </a:lnTo>
                      <a:lnTo>
                        <a:pt x="514" y="238"/>
                      </a:lnTo>
                      <a:lnTo>
                        <a:pt x="514" y="238"/>
                      </a:lnTo>
                      <a:lnTo>
                        <a:pt x="515" y="240"/>
                      </a:lnTo>
                      <a:lnTo>
                        <a:pt x="515" y="240"/>
                      </a:lnTo>
                      <a:lnTo>
                        <a:pt x="516" y="241"/>
                      </a:lnTo>
                      <a:lnTo>
                        <a:pt x="517" y="242"/>
                      </a:lnTo>
                      <a:lnTo>
                        <a:pt x="517" y="242"/>
                      </a:lnTo>
                      <a:lnTo>
                        <a:pt x="519" y="242"/>
                      </a:lnTo>
                      <a:lnTo>
                        <a:pt x="519" y="242"/>
                      </a:lnTo>
                      <a:lnTo>
                        <a:pt x="520" y="242"/>
                      </a:lnTo>
                      <a:lnTo>
                        <a:pt x="521" y="242"/>
                      </a:lnTo>
                      <a:lnTo>
                        <a:pt x="521" y="243"/>
                      </a:lnTo>
                      <a:lnTo>
                        <a:pt x="521" y="244"/>
                      </a:lnTo>
                      <a:lnTo>
                        <a:pt x="522" y="245"/>
                      </a:lnTo>
                      <a:lnTo>
                        <a:pt x="522" y="246"/>
                      </a:lnTo>
                      <a:lnTo>
                        <a:pt x="521" y="248"/>
                      </a:lnTo>
                      <a:lnTo>
                        <a:pt x="521" y="248"/>
                      </a:lnTo>
                      <a:lnTo>
                        <a:pt x="521" y="249"/>
                      </a:lnTo>
                      <a:lnTo>
                        <a:pt x="521" y="250"/>
                      </a:lnTo>
                      <a:lnTo>
                        <a:pt x="520" y="250"/>
                      </a:lnTo>
                      <a:lnTo>
                        <a:pt x="519" y="250"/>
                      </a:lnTo>
                      <a:lnTo>
                        <a:pt x="519" y="250"/>
                      </a:lnTo>
                      <a:lnTo>
                        <a:pt x="518" y="250"/>
                      </a:lnTo>
                      <a:lnTo>
                        <a:pt x="517" y="250"/>
                      </a:lnTo>
                      <a:lnTo>
                        <a:pt x="517" y="249"/>
                      </a:lnTo>
                      <a:lnTo>
                        <a:pt x="517" y="248"/>
                      </a:lnTo>
                      <a:lnTo>
                        <a:pt x="517" y="248"/>
                      </a:lnTo>
                      <a:lnTo>
                        <a:pt x="517" y="247"/>
                      </a:lnTo>
                      <a:lnTo>
                        <a:pt x="516" y="247"/>
                      </a:lnTo>
                      <a:lnTo>
                        <a:pt x="515" y="246"/>
                      </a:lnTo>
                      <a:lnTo>
                        <a:pt x="513" y="246"/>
                      </a:lnTo>
                      <a:lnTo>
                        <a:pt x="512" y="245"/>
                      </a:lnTo>
                      <a:lnTo>
                        <a:pt x="511" y="244"/>
                      </a:lnTo>
                      <a:lnTo>
                        <a:pt x="511" y="244"/>
                      </a:lnTo>
                      <a:lnTo>
                        <a:pt x="510" y="244"/>
                      </a:lnTo>
                      <a:lnTo>
                        <a:pt x="509" y="244"/>
                      </a:lnTo>
                      <a:lnTo>
                        <a:pt x="508" y="244"/>
                      </a:lnTo>
                      <a:lnTo>
                        <a:pt x="508" y="245"/>
                      </a:lnTo>
                      <a:lnTo>
                        <a:pt x="507" y="246"/>
                      </a:lnTo>
                      <a:lnTo>
                        <a:pt x="507" y="246"/>
                      </a:lnTo>
                      <a:lnTo>
                        <a:pt x="506" y="247"/>
                      </a:lnTo>
                      <a:lnTo>
                        <a:pt x="506" y="248"/>
                      </a:lnTo>
                      <a:lnTo>
                        <a:pt x="506" y="249"/>
                      </a:lnTo>
                      <a:lnTo>
                        <a:pt x="507" y="250"/>
                      </a:lnTo>
                      <a:lnTo>
                        <a:pt x="507" y="250"/>
                      </a:lnTo>
                      <a:lnTo>
                        <a:pt x="508" y="250"/>
                      </a:lnTo>
                      <a:lnTo>
                        <a:pt x="509" y="251"/>
                      </a:lnTo>
                      <a:lnTo>
                        <a:pt x="509" y="252"/>
                      </a:lnTo>
                      <a:lnTo>
                        <a:pt x="509" y="252"/>
                      </a:lnTo>
                      <a:lnTo>
                        <a:pt x="509" y="254"/>
                      </a:lnTo>
                      <a:lnTo>
                        <a:pt x="509" y="255"/>
                      </a:lnTo>
                      <a:lnTo>
                        <a:pt x="509" y="256"/>
                      </a:lnTo>
                      <a:lnTo>
                        <a:pt x="508" y="257"/>
                      </a:lnTo>
                      <a:lnTo>
                        <a:pt x="509" y="257"/>
                      </a:lnTo>
                      <a:lnTo>
                        <a:pt x="509" y="257"/>
                      </a:lnTo>
                      <a:lnTo>
                        <a:pt x="510" y="257"/>
                      </a:lnTo>
                      <a:lnTo>
                        <a:pt x="511" y="257"/>
                      </a:lnTo>
                      <a:lnTo>
                        <a:pt x="511" y="256"/>
                      </a:lnTo>
                      <a:lnTo>
                        <a:pt x="511" y="256"/>
                      </a:lnTo>
                      <a:lnTo>
                        <a:pt x="512" y="255"/>
                      </a:lnTo>
                      <a:lnTo>
                        <a:pt x="513" y="255"/>
                      </a:lnTo>
                      <a:lnTo>
                        <a:pt x="514" y="255"/>
                      </a:lnTo>
                      <a:lnTo>
                        <a:pt x="515" y="254"/>
                      </a:lnTo>
                      <a:lnTo>
                        <a:pt x="516" y="254"/>
                      </a:lnTo>
                      <a:lnTo>
                        <a:pt x="517" y="254"/>
                      </a:lnTo>
                      <a:lnTo>
                        <a:pt x="517" y="254"/>
                      </a:lnTo>
                      <a:lnTo>
                        <a:pt x="518" y="255"/>
                      </a:lnTo>
                      <a:lnTo>
                        <a:pt x="518" y="255"/>
                      </a:lnTo>
                      <a:lnTo>
                        <a:pt x="519" y="255"/>
                      </a:lnTo>
                      <a:lnTo>
                        <a:pt x="519" y="256"/>
                      </a:lnTo>
                      <a:lnTo>
                        <a:pt x="518" y="257"/>
                      </a:lnTo>
                      <a:lnTo>
                        <a:pt x="518" y="257"/>
                      </a:lnTo>
                      <a:lnTo>
                        <a:pt x="517" y="257"/>
                      </a:lnTo>
                      <a:lnTo>
                        <a:pt x="517" y="257"/>
                      </a:lnTo>
                      <a:lnTo>
                        <a:pt x="516" y="257"/>
                      </a:lnTo>
                      <a:lnTo>
                        <a:pt x="515" y="256"/>
                      </a:lnTo>
                      <a:lnTo>
                        <a:pt x="515" y="255"/>
                      </a:lnTo>
                      <a:lnTo>
                        <a:pt x="514" y="255"/>
                      </a:lnTo>
                      <a:lnTo>
                        <a:pt x="513" y="255"/>
                      </a:lnTo>
                      <a:lnTo>
                        <a:pt x="513" y="256"/>
                      </a:lnTo>
                      <a:lnTo>
                        <a:pt x="513" y="257"/>
                      </a:lnTo>
                      <a:lnTo>
                        <a:pt x="513" y="257"/>
                      </a:lnTo>
                      <a:lnTo>
                        <a:pt x="513" y="257"/>
                      </a:lnTo>
                      <a:lnTo>
                        <a:pt x="513" y="258"/>
                      </a:lnTo>
                      <a:lnTo>
                        <a:pt x="514" y="259"/>
                      </a:lnTo>
                      <a:lnTo>
                        <a:pt x="515" y="259"/>
                      </a:lnTo>
                      <a:lnTo>
                        <a:pt x="515" y="259"/>
                      </a:lnTo>
                      <a:lnTo>
                        <a:pt x="516" y="260"/>
                      </a:lnTo>
                      <a:lnTo>
                        <a:pt x="516" y="261"/>
                      </a:lnTo>
                      <a:lnTo>
                        <a:pt x="516" y="262"/>
                      </a:lnTo>
                      <a:lnTo>
                        <a:pt x="516" y="263"/>
                      </a:lnTo>
                      <a:lnTo>
                        <a:pt x="517" y="263"/>
                      </a:lnTo>
                      <a:lnTo>
                        <a:pt x="517" y="263"/>
                      </a:lnTo>
                      <a:lnTo>
                        <a:pt x="518" y="263"/>
                      </a:lnTo>
                      <a:lnTo>
                        <a:pt x="519" y="263"/>
                      </a:lnTo>
                      <a:lnTo>
                        <a:pt x="519" y="263"/>
                      </a:lnTo>
                      <a:lnTo>
                        <a:pt x="520" y="263"/>
                      </a:lnTo>
                      <a:lnTo>
                        <a:pt x="521" y="263"/>
                      </a:lnTo>
                      <a:lnTo>
                        <a:pt x="521" y="263"/>
                      </a:lnTo>
                      <a:lnTo>
                        <a:pt x="521" y="264"/>
                      </a:lnTo>
                      <a:lnTo>
                        <a:pt x="522" y="265"/>
                      </a:lnTo>
                      <a:lnTo>
                        <a:pt x="522" y="265"/>
                      </a:lnTo>
                      <a:lnTo>
                        <a:pt x="522" y="266"/>
                      </a:lnTo>
                      <a:lnTo>
                        <a:pt x="522" y="267"/>
                      </a:lnTo>
                      <a:lnTo>
                        <a:pt x="522" y="267"/>
                      </a:lnTo>
                      <a:lnTo>
                        <a:pt x="521" y="267"/>
                      </a:lnTo>
                      <a:lnTo>
                        <a:pt x="521" y="268"/>
                      </a:lnTo>
                      <a:lnTo>
                        <a:pt x="520" y="268"/>
                      </a:lnTo>
                      <a:lnTo>
                        <a:pt x="519" y="269"/>
                      </a:lnTo>
                      <a:lnTo>
                        <a:pt x="519" y="269"/>
                      </a:lnTo>
                      <a:lnTo>
                        <a:pt x="519" y="270"/>
                      </a:lnTo>
                      <a:lnTo>
                        <a:pt x="519" y="271"/>
                      </a:lnTo>
                      <a:lnTo>
                        <a:pt x="519" y="272"/>
                      </a:lnTo>
                      <a:lnTo>
                        <a:pt x="519" y="273"/>
                      </a:lnTo>
                      <a:lnTo>
                        <a:pt x="519" y="274"/>
                      </a:lnTo>
                      <a:lnTo>
                        <a:pt x="519" y="275"/>
                      </a:lnTo>
                      <a:lnTo>
                        <a:pt x="520" y="276"/>
                      </a:lnTo>
                      <a:lnTo>
                        <a:pt x="521" y="276"/>
                      </a:lnTo>
                      <a:lnTo>
                        <a:pt x="521" y="277"/>
                      </a:lnTo>
                      <a:lnTo>
                        <a:pt x="522" y="278"/>
                      </a:lnTo>
                      <a:lnTo>
                        <a:pt x="523" y="278"/>
                      </a:lnTo>
                      <a:lnTo>
                        <a:pt x="524" y="278"/>
                      </a:lnTo>
                      <a:lnTo>
                        <a:pt x="524" y="279"/>
                      </a:lnTo>
                      <a:lnTo>
                        <a:pt x="524" y="280"/>
                      </a:lnTo>
                      <a:lnTo>
                        <a:pt x="525" y="280"/>
                      </a:lnTo>
                      <a:lnTo>
                        <a:pt x="526" y="280"/>
                      </a:lnTo>
                      <a:lnTo>
                        <a:pt x="526" y="280"/>
                      </a:lnTo>
                      <a:lnTo>
                        <a:pt x="526" y="279"/>
                      </a:lnTo>
                      <a:lnTo>
                        <a:pt x="526" y="278"/>
                      </a:lnTo>
                      <a:lnTo>
                        <a:pt x="527" y="278"/>
                      </a:lnTo>
                      <a:lnTo>
                        <a:pt x="528" y="278"/>
                      </a:lnTo>
                      <a:lnTo>
                        <a:pt x="528" y="278"/>
                      </a:lnTo>
                      <a:lnTo>
                        <a:pt x="529" y="278"/>
                      </a:lnTo>
                      <a:lnTo>
                        <a:pt x="530" y="278"/>
                      </a:lnTo>
                      <a:lnTo>
                        <a:pt x="530" y="278"/>
                      </a:lnTo>
                      <a:lnTo>
                        <a:pt x="531" y="278"/>
                      </a:lnTo>
                      <a:lnTo>
                        <a:pt x="532" y="278"/>
                      </a:lnTo>
                      <a:lnTo>
                        <a:pt x="532" y="278"/>
                      </a:lnTo>
                      <a:lnTo>
                        <a:pt x="532" y="279"/>
                      </a:lnTo>
                      <a:lnTo>
                        <a:pt x="532" y="280"/>
                      </a:lnTo>
                      <a:lnTo>
                        <a:pt x="531" y="280"/>
                      </a:lnTo>
                      <a:lnTo>
                        <a:pt x="530" y="280"/>
                      </a:lnTo>
                      <a:lnTo>
                        <a:pt x="529" y="281"/>
                      </a:lnTo>
                      <a:lnTo>
                        <a:pt x="528" y="281"/>
                      </a:lnTo>
                      <a:lnTo>
                        <a:pt x="527" y="281"/>
                      </a:lnTo>
                      <a:lnTo>
                        <a:pt x="526" y="282"/>
                      </a:lnTo>
                      <a:lnTo>
                        <a:pt x="525" y="282"/>
                      </a:lnTo>
                      <a:lnTo>
                        <a:pt x="525" y="282"/>
                      </a:lnTo>
                      <a:lnTo>
                        <a:pt x="525" y="283"/>
                      </a:lnTo>
                      <a:lnTo>
                        <a:pt x="525" y="284"/>
                      </a:lnTo>
                      <a:lnTo>
                        <a:pt x="526" y="284"/>
                      </a:lnTo>
                      <a:lnTo>
                        <a:pt x="526" y="284"/>
                      </a:lnTo>
                      <a:lnTo>
                        <a:pt x="528" y="284"/>
                      </a:lnTo>
                      <a:lnTo>
                        <a:pt x="528" y="284"/>
                      </a:lnTo>
                      <a:lnTo>
                        <a:pt x="529" y="284"/>
                      </a:lnTo>
                      <a:lnTo>
                        <a:pt x="530" y="283"/>
                      </a:lnTo>
                      <a:lnTo>
                        <a:pt x="530" y="282"/>
                      </a:lnTo>
                      <a:lnTo>
                        <a:pt x="530" y="282"/>
                      </a:lnTo>
                      <a:lnTo>
                        <a:pt x="531" y="281"/>
                      </a:lnTo>
                      <a:lnTo>
                        <a:pt x="532" y="281"/>
                      </a:lnTo>
                      <a:lnTo>
                        <a:pt x="533" y="282"/>
                      </a:lnTo>
                      <a:lnTo>
                        <a:pt x="534" y="283"/>
                      </a:lnTo>
                      <a:lnTo>
                        <a:pt x="533" y="284"/>
                      </a:lnTo>
                      <a:lnTo>
                        <a:pt x="533" y="284"/>
                      </a:lnTo>
                      <a:lnTo>
                        <a:pt x="532" y="285"/>
                      </a:lnTo>
                      <a:lnTo>
                        <a:pt x="532" y="285"/>
                      </a:lnTo>
                      <a:lnTo>
                        <a:pt x="530" y="286"/>
                      </a:lnTo>
                      <a:lnTo>
                        <a:pt x="530" y="286"/>
                      </a:lnTo>
                      <a:lnTo>
                        <a:pt x="529" y="286"/>
                      </a:lnTo>
                      <a:lnTo>
                        <a:pt x="528" y="286"/>
                      </a:lnTo>
                      <a:lnTo>
                        <a:pt x="528" y="287"/>
                      </a:lnTo>
                      <a:lnTo>
                        <a:pt x="528" y="288"/>
                      </a:lnTo>
                      <a:lnTo>
                        <a:pt x="528" y="288"/>
                      </a:lnTo>
                      <a:lnTo>
                        <a:pt x="528" y="289"/>
                      </a:lnTo>
                      <a:lnTo>
                        <a:pt x="528" y="289"/>
                      </a:lnTo>
                      <a:lnTo>
                        <a:pt x="529" y="290"/>
                      </a:lnTo>
                      <a:lnTo>
                        <a:pt x="530" y="290"/>
                      </a:lnTo>
                      <a:lnTo>
                        <a:pt x="530" y="290"/>
                      </a:lnTo>
                      <a:lnTo>
                        <a:pt x="531" y="289"/>
                      </a:lnTo>
                      <a:lnTo>
                        <a:pt x="532" y="288"/>
                      </a:lnTo>
                      <a:lnTo>
                        <a:pt x="532" y="288"/>
                      </a:lnTo>
                      <a:lnTo>
                        <a:pt x="532" y="287"/>
                      </a:lnTo>
                      <a:lnTo>
                        <a:pt x="532" y="286"/>
                      </a:lnTo>
                      <a:lnTo>
                        <a:pt x="533" y="286"/>
                      </a:lnTo>
                      <a:lnTo>
                        <a:pt x="534" y="286"/>
                      </a:lnTo>
                      <a:lnTo>
                        <a:pt x="534" y="287"/>
                      </a:lnTo>
                      <a:lnTo>
                        <a:pt x="535" y="288"/>
                      </a:lnTo>
                      <a:lnTo>
                        <a:pt x="536" y="288"/>
                      </a:lnTo>
                      <a:lnTo>
                        <a:pt x="536" y="289"/>
                      </a:lnTo>
                      <a:lnTo>
                        <a:pt x="536" y="290"/>
                      </a:lnTo>
                      <a:lnTo>
                        <a:pt x="535" y="290"/>
                      </a:lnTo>
                      <a:lnTo>
                        <a:pt x="534" y="291"/>
                      </a:lnTo>
                      <a:lnTo>
                        <a:pt x="534" y="291"/>
                      </a:lnTo>
                      <a:lnTo>
                        <a:pt x="533" y="291"/>
                      </a:lnTo>
                      <a:lnTo>
                        <a:pt x="532" y="291"/>
                      </a:lnTo>
                      <a:lnTo>
                        <a:pt x="532" y="291"/>
                      </a:lnTo>
                      <a:lnTo>
                        <a:pt x="531" y="292"/>
                      </a:lnTo>
                      <a:lnTo>
                        <a:pt x="530" y="292"/>
                      </a:lnTo>
                      <a:lnTo>
                        <a:pt x="530" y="293"/>
                      </a:lnTo>
                      <a:lnTo>
                        <a:pt x="530" y="294"/>
                      </a:lnTo>
                      <a:lnTo>
                        <a:pt x="530" y="295"/>
                      </a:lnTo>
                      <a:lnTo>
                        <a:pt x="530" y="295"/>
                      </a:lnTo>
                      <a:lnTo>
                        <a:pt x="531" y="295"/>
                      </a:lnTo>
                      <a:lnTo>
                        <a:pt x="532" y="295"/>
                      </a:lnTo>
                      <a:lnTo>
                        <a:pt x="533" y="295"/>
                      </a:lnTo>
                      <a:lnTo>
                        <a:pt x="533" y="295"/>
                      </a:lnTo>
                      <a:lnTo>
                        <a:pt x="534" y="294"/>
                      </a:lnTo>
                      <a:lnTo>
                        <a:pt x="534" y="294"/>
                      </a:lnTo>
                      <a:lnTo>
                        <a:pt x="535" y="295"/>
                      </a:lnTo>
                      <a:lnTo>
                        <a:pt x="536" y="295"/>
                      </a:lnTo>
                      <a:lnTo>
                        <a:pt x="537" y="296"/>
                      </a:lnTo>
                      <a:lnTo>
                        <a:pt x="538" y="297"/>
                      </a:lnTo>
                      <a:lnTo>
                        <a:pt x="538" y="297"/>
                      </a:lnTo>
                      <a:lnTo>
                        <a:pt x="538" y="298"/>
                      </a:lnTo>
                      <a:lnTo>
                        <a:pt x="537" y="298"/>
                      </a:lnTo>
                      <a:lnTo>
                        <a:pt x="536" y="298"/>
                      </a:lnTo>
                      <a:lnTo>
                        <a:pt x="536" y="298"/>
                      </a:lnTo>
                      <a:lnTo>
                        <a:pt x="535" y="297"/>
                      </a:lnTo>
                      <a:lnTo>
                        <a:pt x="535" y="297"/>
                      </a:lnTo>
                      <a:lnTo>
                        <a:pt x="534" y="297"/>
                      </a:lnTo>
                      <a:lnTo>
                        <a:pt x="534" y="297"/>
                      </a:lnTo>
                      <a:lnTo>
                        <a:pt x="533" y="297"/>
                      </a:lnTo>
                      <a:lnTo>
                        <a:pt x="533" y="297"/>
                      </a:lnTo>
                      <a:lnTo>
                        <a:pt x="533" y="298"/>
                      </a:lnTo>
                      <a:lnTo>
                        <a:pt x="534" y="299"/>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8" name="Freeform 19">
                  <a:extLst>
                    <a:ext uri="{FF2B5EF4-FFF2-40B4-BE49-F238E27FC236}">
                      <a16:creationId xmlns:a16="http://schemas.microsoft.com/office/drawing/2014/main" xmlns="" id="{6D80BF78-156E-BCCB-3376-FF0A4B56FB54}"/>
                    </a:ext>
                  </a:extLst>
                </p:cNvPr>
                <p:cNvSpPr>
                  <a:spLocks/>
                </p:cNvSpPr>
                <p:nvPr/>
              </p:nvSpPr>
              <p:spPr bwMode="auto">
                <a:xfrm>
                  <a:off x="3218" y="2643"/>
                  <a:ext cx="135" cy="223"/>
                </a:xfrm>
                <a:custGeom>
                  <a:avLst/>
                  <a:gdLst>
                    <a:gd name="T0" fmla="*/ 8 w 135"/>
                    <a:gd name="T1" fmla="*/ 5 h 223"/>
                    <a:gd name="T2" fmla="*/ 11 w 135"/>
                    <a:gd name="T3" fmla="*/ 10 h 223"/>
                    <a:gd name="T4" fmla="*/ 18 w 135"/>
                    <a:gd name="T5" fmla="*/ 8 h 223"/>
                    <a:gd name="T6" fmla="*/ 17 w 135"/>
                    <a:gd name="T7" fmla="*/ 12 h 223"/>
                    <a:gd name="T8" fmla="*/ 15 w 135"/>
                    <a:gd name="T9" fmla="*/ 15 h 223"/>
                    <a:gd name="T10" fmla="*/ 19 w 135"/>
                    <a:gd name="T11" fmla="*/ 17 h 223"/>
                    <a:gd name="T12" fmla="*/ 23 w 135"/>
                    <a:gd name="T13" fmla="*/ 21 h 223"/>
                    <a:gd name="T14" fmla="*/ 31 w 135"/>
                    <a:gd name="T15" fmla="*/ 19 h 223"/>
                    <a:gd name="T16" fmla="*/ 31 w 135"/>
                    <a:gd name="T17" fmla="*/ 27 h 223"/>
                    <a:gd name="T18" fmla="*/ 36 w 135"/>
                    <a:gd name="T19" fmla="*/ 23 h 223"/>
                    <a:gd name="T20" fmla="*/ 43 w 135"/>
                    <a:gd name="T21" fmla="*/ 26 h 223"/>
                    <a:gd name="T22" fmla="*/ 38 w 135"/>
                    <a:gd name="T23" fmla="*/ 29 h 223"/>
                    <a:gd name="T24" fmla="*/ 46 w 135"/>
                    <a:gd name="T25" fmla="*/ 27 h 223"/>
                    <a:gd name="T26" fmla="*/ 47 w 135"/>
                    <a:gd name="T27" fmla="*/ 34 h 223"/>
                    <a:gd name="T28" fmla="*/ 55 w 135"/>
                    <a:gd name="T29" fmla="*/ 31 h 223"/>
                    <a:gd name="T30" fmla="*/ 57 w 135"/>
                    <a:gd name="T31" fmla="*/ 36 h 223"/>
                    <a:gd name="T32" fmla="*/ 60 w 135"/>
                    <a:gd name="T33" fmla="*/ 43 h 223"/>
                    <a:gd name="T34" fmla="*/ 69 w 135"/>
                    <a:gd name="T35" fmla="*/ 46 h 223"/>
                    <a:gd name="T36" fmla="*/ 72 w 135"/>
                    <a:gd name="T37" fmla="*/ 54 h 223"/>
                    <a:gd name="T38" fmla="*/ 82 w 135"/>
                    <a:gd name="T39" fmla="*/ 52 h 223"/>
                    <a:gd name="T40" fmla="*/ 85 w 135"/>
                    <a:gd name="T41" fmla="*/ 56 h 223"/>
                    <a:gd name="T42" fmla="*/ 92 w 135"/>
                    <a:gd name="T43" fmla="*/ 54 h 223"/>
                    <a:gd name="T44" fmla="*/ 91 w 135"/>
                    <a:gd name="T45" fmla="*/ 60 h 223"/>
                    <a:gd name="T46" fmla="*/ 92 w 135"/>
                    <a:gd name="T47" fmla="*/ 63 h 223"/>
                    <a:gd name="T48" fmla="*/ 100 w 135"/>
                    <a:gd name="T49" fmla="*/ 66 h 223"/>
                    <a:gd name="T50" fmla="*/ 99 w 135"/>
                    <a:gd name="T51" fmla="*/ 71 h 223"/>
                    <a:gd name="T52" fmla="*/ 104 w 135"/>
                    <a:gd name="T53" fmla="*/ 78 h 223"/>
                    <a:gd name="T54" fmla="*/ 109 w 135"/>
                    <a:gd name="T55" fmla="*/ 75 h 223"/>
                    <a:gd name="T56" fmla="*/ 110 w 135"/>
                    <a:gd name="T57" fmla="*/ 82 h 223"/>
                    <a:gd name="T58" fmla="*/ 112 w 135"/>
                    <a:gd name="T59" fmla="*/ 86 h 223"/>
                    <a:gd name="T60" fmla="*/ 115 w 135"/>
                    <a:gd name="T61" fmla="*/ 87 h 223"/>
                    <a:gd name="T62" fmla="*/ 122 w 135"/>
                    <a:gd name="T63" fmla="*/ 89 h 223"/>
                    <a:gd name="T64" fmla="*/ 125 w 135"/>
                    <a:gd name="T65" fmla="*/ 94 h 223"/>
                    <a:gd name="T66" fmla="*/ 131 w 135"/>
                    <a:gd name="T67" fmla="*/ 98 h 223"/>
                    <a:gd name="T68" fmla="*/ 131 w 135"/>
                    <a:gd name="T69" fmla="*/ 104 h 223"/>
                    <a:gd name="T70" fmla="*/ 133 w 135"/>
                    <a:gd name="T71" fmla="*/ 111 h 223"/>
                    <a:gd name="T72" fmla="*/ 133 w 135"/>
                    <a:gd name="T73" fmla="*/ 119 h 223"/>
                    <a:gd name="T74" fmla="*/ 129 w 135"/>
                    <a:gd name="T75" fmla="*/ 127 h 223"/>
                    <a:gd name="T76" fmla="*/ 123 w 135"/>
                    <a:gd name="T77" fmla="*/ 129 h 223"/>
                    <a:gd name="T78" fmla="*/ 114 w 135"/>
                    <a:gd name="T79" fmla="*/ 132 h 223"/>
                    <a:gd name="T80" fmla="*/ 106 w 135"/>
                    <a:gd name="T81" fmla="*/ 130 h 223"/>
                    <a:gd name="T82" fmla="*/ 102 w 135"/>
                    <a:gd name="T83" fmla="*/ 134 h 223"/>
                    <a:gd name="T84" fmla="*/ 96 w 135"/>
                    <a:gd name="T85" fmla="*/ 138 h 223"/>
                    <a:gd name="T86" fmla="*/ 91 w 135"/>
                    <a:gd name="T87" fmla="*/ 141 h 223"/>
                    <a:gd name="T88" fmla="*/ 90 w 135"/>
                    <a:gd name="T89" fmla="*/ 149 h 223"/>
                    <a:gd name="T90" fmla="*/ 86 w 135"/>
                    <a:gd name="T91" fmla="*/ 155 h 223"/>
                    <a:gd name="T92" fmla="*/ 85 w 135"/>
                    <a:gd name="T93" fmla="*/ 162 h 223"/>
                    <a:gd name="T94" fmla="*/ 69 w 135"/>
                    <a:gd name="T95" fmla="*/ 164 h 223"/>
                    <a:gd name="T96" fmla="*/ 62 w 135"/>
                    <a:gd name="T97" fmla="*/ 160 h 223"/>
                    <a:gd name="T98" fmla="*/ 50 w 135"/>
                    <a:gd name="T99" fmla="*/ 166 h 223"/>
                    <a:gd name="T100" fmla="*/ 42 w 135"/>
                    <a:gd name="T101" fmla="*/ 171 h 223"/>
                    <a:gd name="T102" fmla="*/ 44 w 135"/>
                    <a:gd name="T103" fmla="*/ 180 h 223"/>
                    <a:gd name="T104" fmla="*/ 40 w 135"/>
                    <a:gd name="T105" fmla="*/ 187 h 223"/>
                    <a:gd name="T106" fmla="*/ 36 w 135"/>
                    <a:gd name="T107" fmla="*/ 192 h 223"/>
                    <a:gd name="T108" fmla="*/ 31 w 135"/>
                    <a:gd name="T109" fmla="*/ 199 h 223"/>
                    <a:gd name="T110" fmla="*/ 30 w 135"/>
                    <a:gd name="T111" fmla="*/ 205 h 223"/>
                    <a:gd name="T112" fmla="*/ 21 w 135"/>
                    <a:gd name="T113" fmla="*/ 207 h 223"/>
                    <a:gd name="T114" fmla="*/ 14 w 135"/>
                    <a:gd name="T115" fmla="*/ 210 h 223"/>
                    <a:gd name="T116" fmla="*/ 6 w 135"/>
                    <a:gd name="T117" fmla="*/ 213 h 223"/>
                    <a:gd name="T118" fmla="*/ 2 w 135"/>
                    <a:gd name="T119" fmla="*/ 22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 h="223">
                      <a:moveTo>
                        <a:pt x="6" y="0"/>
                      </a:moveTo>
                      <a:lnTo>
                        <a:pt x="6" y="1"/>
                      </a:lnTo>
                      <a:lnTo>
                        <a:pt x="6" y="1"/>
                      </a:lnTo>
                      <a:lnTo>
                        <a:pt x="6" y="2"/>
                      </a:lnTo>
                      <a:lnTo>
                        <a:pt x="5" y="2"/>
                      </a:lnTo>
                      <a:lnTo>
                        <a:pt x="4" y="2"/>
                      </a:lnTo>
                      <a:lnTo>
                        <a:pt x="4" y="2"/>
                      </a:lnTo>
                      <a:lnTo>
                        <a:pt x="3" y="2"/>
                      </a:lnTo>
                      <a:lnTo>
                        <a:pt x="3" y="2"/>
                      </a:lnTo>
                      <a:lnTo>
                        <a:pt x="4" y="2"/>
                      </a:lnTo>
                      <a:lnTo>
                        <a:pt x="4" y="3"/>
                      </a:lnTo>
                      <a:lnTo>
                        <a:pt x="5" y="4"/>
                      </a:lnTo>
                      <a:lnTo>
                        <a:pt x="5" y="4"/>
                      </a:lnTo>
                      <a:lnTo>
                        <a:pt x="6" y="5"/>
                      </a:lnTo>
                      <a:lnTo>
                        <a:pt x="6" y="6"/>
                      </a:lnTo>
                      <a:lnTo>
                        <a:pt x="8" y="6"/>
                      </a:lnTo>
                      <a:lnTo>
                        <a:pt x="8" y="5"/>
                      </a:lnTo>
                      <a:lnTo>
                        <a:pt x="9" y="5"/>
                      </a:lnTo>
                      <a:lnTo>
                        <a:pt x="10" y="4"/>
                      </a:lnTo>
                      <a:lnTo>
                        <a:pt x="10" y="4"/>
                      </a:lnTo>
                      <a:lnTo>
                        <a:pt x="10" y="3"/>
                      </a:lnTo>
                      <a:lnTo>
                        <a:pt x="11" y="2"/>
                      </a:lnTo>
                      <a:lnTo>
                        <a:pt x="12" y="2"/>
                      </a:lnTo>
                      <a:lnTo>
                        <a:pt x="12" y="3"/>
                      </a:lnTo>
                      <a:lnTo>
                        <a:pt x="12" y="4"/>
                      </a:lnTo>
                      <a:lnTo>
                        <a:pt x="12" y="4"/>
                      </a:lnTo>
                      <a:lnTo>
                        <a:pt x="12" y="5"/>
                      </a:lnTo>
                      <a:lnTo>
                        <a:pt x="12" y="6"/>
                      </a:lnTo>
                      <a:lnTo>
                        <a:pt x="11" y="6"/>
                      </a:lnTo>
                      <a:lnTo>
                        <a:pt x="10" y="7"/>
                      </a:lnTo>
                      <a:lnTo>
                        <a:pt x="10" y="8"/>
                      </a:lnTo>
                      <a:lnTo>
                        <a:pt x="10" y="8"/>
                      </a:lnTo>
                      <a:lnTo>
                        <a:pt x="10" y="9"/>
                      </a:lnTo>
                      <a:lnTo>
                        <a:pt x="11" y="10"/>
                      </a:lnTo>
                      <a:lnTo>
                        <a:pt x="12" y="10"/>
                      </a:lnTo>
                      <a:lnTo>
                        <a:pt x="12" y="10"/>
                      </a:lnTo>
                      <a:lnTo>
                        <a:pt x="13" y="10"/>
                      </a:lnTo>
                      <a:lnTo>
                        <a:pt x="14" y="10"/>
                      </a:lnTo>
                      <a:lnTo>
                        <a:pt x="14" y="9"/>
                      </a:lnTo>
                      <a:lnTo>
                        <a:pt x="14" y="8"/>
                      </a:lnTo>
                      <a:lnTo>
                        <a:pt x="13" y="8"/>
                      </a:lnTo>
                      <a:lnTo>
                        <a:pt x="13" y="7"/>
                      </a:lnTo>
                      <a:lnTo>
                        <a:pt x="13" y="6"/>
                      </a:lnTo>
                      <a:lnTo>
                        <a:pt x="13" y="6"/>
                      </a:lnTo>
                      <a:lnTo>
                        <a:pt x="14" y="5"/>
                      </a:lnTo>
                      <a:lnTo>
                        <a:pt x="15" y="5"/>
                      </a:lnTo>
                      <a:lnTo>
                        <a:pt x="15" y="6"/>
                      </a:lnTo>
                      <a:lnTo>
                        <a:pt x="16" y="6"/>
                      </a:lnTo>
                      <a:lnTo>
                        <a:pt x="17" y="6"/>
                      </a:lnTo>
                      <a:lnTo>
                        <a:pt x="17" y="7"/>
                      </a:lnTo>
                      <a:lnTo>
                        <a:pt x="18" y="8"/>
                      </a:lnTo>
                      <a:lnTo>
                        <a:pt x="19" y="8"/>
                      </a:lnTo>
                      <a:lnTo>
                        <a:pt x="20" y="8"/>
                      </a:lnTo>
                      <a:lnTo>
                        <a:pt x="21" y="9"/>
                      </a:lnTo>
                      <a:lnTo>
                        <a:pt x="21" y="10"/>
                      </a:lnTo>
                      <a:lnTo>
                        <a:pt x="22" y="10"/>
                      </a:lnTo>
                      <a:lnTo>
                        <a:pt x="22" y="11"/>
                      </a:lnTo>
                      <a:lnTo>
                        <a:pt x="21" y="12"/>
                      </a:lnTo>
                      <a:lnTo>
                        <a:pt x="21" y="12"/>
                      </a:lnTo>
                      <a:lnTo>
                        <a:pt x="20" y="12"/>
                      </a:lnTo>
                      <a:lnTo>
                        <a:pt x="20" y="11"/>
                      </a:lnTo>
                      <a:lnTo>
                        <a:pt x="19" y="10"/>
                      </a:lnTo>
                      <a:lnTo>
                        <a:pt x="19" y="10"/>
                      </a:lnTo>
                      <a:lnTo>
                        <a:pt x="19" y="9"/>
                      </a:lnTo>
                      <a:lnTo>
                        <a:pt x="18" y="9"/>
                      </a:lnTo>
                      <a:lnTo>
                        <a:pt x="17" y="10"/>
                      </a:lnTo>
                      <a:lnTo>
                        <a:pt x="17" y="10"/>
                      </a:lnTo>
                      <a:lnTo>
                        <a:pt x="17" y="12"/>
                      </a:lnTo>
                      <a:lnTo>
                        <a:pt x="17" y="12"/>
                      </a:lnTo>
                      <a:lnTo>
                        <a:pt x="15" y="13"/>
                      </a:lnTo>
                      <a:lnTo>
                        <a:pt x="15" y="14"/>
                      </a:lnTo>
                      <a:lnTo>
                        <a:pt x="13" y="14"/>
                      </a:lnTo>
                      <a:lnTo>
                        <a:pt x="12" y="15"/>
                      </a:lnTo>
                      <a:lnTo>
                        <a:pt x="12" y="15"/>
                      </a:lnTo>
                      <a:lnTo>
                        <a:pt x="12" y="16"/>
                      </a:lnTo>
                      <a:lnTo>
                        <a:pt x="12" y="17"/>
                      </a:lnTo>
                      <a:lnTo>
                        <a:pt x="13" y="17"/>
                      </a:lnTo>
                      <a:lnTo>
                        <a:pt x="13" y="18"/>
                      </a:lnTo>
                      <a:lnTo>
                        <a:pt x="14" y="19"/>
                      </a:lnTo>
                      <a:lnTo>
                        <a:pt x="15" y="18"/>
                      </a:lnTo>
                      <a:lnTo>
                        <a:pt x="16" y="18"/>
                      </a:lnTo>
                      <a:lnTo>
                        <a:pt x="16" y="17"/>
                      </a:lnTo>
                      <a:lnTo>
                        <a:pt x="17" y="17"/>
                      </a:lnTo>
                      <a:lnTo>
                        <a:pt x="16" y="16"/>
                      </a:lnTo>
                      <a:lnTo>
                        <a:pt x="15" y="15"/>
                      </a:lnTo>
                      <a:lnTo>
                        <a:pt x="15" y="15"/>
                      </a:lnTo>
                      <a:lnTo>
                        <a:pt x="16" y="14"/>
                      </a:lnTo>
                      <a:lnTo>
                        <a:pt x="17" y="13"/>
                      </a:lnTo>
                      <a:lnTo>
                        <a:pt x="17" y="13"/>
                      </a:lnTo>
                      <a:lnTo>
                        <a:pt x="19" y="13"/>
                      </a:lnTo>
                      <a:lnTo>
                        <a:pt x="19" y="14"/>
                      </a:lnTo>
                      <a:lnTo>
                        <a:pt x="21" y="15"/>
                      </a:lnTo>
                      <a:lnTo>
                        <a:pt x="21" y="15"/>
                      </a:lnTo>
                      <a:lnTo>
                        <a:pt x="22" y="15"/>
                      </a:lnTo>
                      <a:lnTo>
                        <a:pt x="22" y="16"/>
                      </a:lnTo>
                      <a:lnTo>
                        <a:pt x="22" y="17"/>
                      </a:lnTo>
                      <a:lnTo>
                        <a:pt x="22" y="17"/>
                      </a:lnTo>
                      <a:lnTo>
                        <a:pt x="21" y="18"/>
                      </a:lnTo>
                      <a:lnTo>
                        <a:pt x="21" y="18"/>
                      </a:lnTo>
                      <a:lnTo>
                        <a:pt x="20" y="17"/>
                      </a:lnTo>
                      <a:lnTo>
                        <a:pt x="19" y="17"/>
                      </a:lnTo>
                      <a:lnTo>
                        <a:pt x="19" y="17"/>
                      </a:lnTo>
                      <a:lnTo>
                        <a:pt x="18" y="17"/>
                      </a:lnTo>
                      <a:lnTo>
                        <a:pt x="17" y="17"/>
                      </a:lnTo>
                      <a:lnTo>
                        <a:pt x="17" y="17"/>
                      </a:lnTo>
                      <a:lnTo>
                        <a:pt x="17" y="18"/>
                      </a:lnTo>
                      <a:lnTo>
                        <a:pt x="17" y="19"/>
                      </a:lnTo>
                      <a:lnTo>
                        <a:pt x="18" y="20"/>
                      </a:lnTo>
                      <a:lnTo>
                        <a:pt x="17" y="21"/>
                      </a:lnTo>
                      <a:lnTo>
                        <a:pt x="17" y="21"/>
                      </a:lnTo>
                      <a:lnTo>
                        <a:pt x="18" y="22"/>
                      </a:lnTo>
                      <a:lnTo>
                        <a:pt x="18" y="23"/>
                      </a:lnTo>
                      <a:lnTo>
                        <a:pt x="19" y="23"/>
                      </a:lnTo>
                      <a:lnTo>
                        <a:pt x="20" y="23"/>
                      </a:lnTo>
                      <a:lnTo>
                        <a:pt x="21" y="22"/>
                      </a:lnTo>
                      <a:lnTo>
                        <a:pt x="21" y="21"/>
                      </a:lnTo>
                      <a:lnTo>
                        <a:pt x="22" y="21"/>
                      </a:lnTo>
                      <a:lnTo>
                        <a:pt x="22" y="21"/>
                      </a:lnTo>
                      <a:lnTo>
                        <a:pt x="23" y="21"/>
                      </a:lnTo>
                      <a:lnTo>
                        <a:pt x="23" y="21"/>
                      </a:lnTo>
                      <a:lnTo>
                        <a:pt x="23" y="22"/>
                      </a:lnTo>
                      <a:lnTo>
                        <a:pt x="24" y="22"/>
                      </a:lnTo>
                      <a:lnTo>
                        <a:pt x="25" y="21"/>
                      </a:lnTo>
                      <a:lnTo>
                        <a:pt x="25" y="21"/>
                      </a:lnTo>
                      <a:lnTo>
                        <a:pt x="24" y="20"/>
                      </a:lnTo>
                      <a:lnTo>
                        <a:pt x="23" y="19"/>
                      </a:lnTo>
                      <a:lnTo>
                        <a:pt x="24" y="19"/>
                      </a:lnTo>
                      <a:lnTo>
                        <a:pt x="25" y="18"/>
                      </a:lnTo>
                      <a:lnTo>
                        <a:pt x="25" y="18"/>
                      </a:lnTo>
                      <a:lnTo>
                        <a:pt x="26" y="19"/>
                      </a:lnTo>
                      <a:lnTo>
                        <a:pt x="27" y="19"/>
                      </a:lnTo>
                      <a:lnTo>
                        <a:pt x="27" y="20"/>
                      </a:lnTo>
                      <a:lnTo>
                        <a:pt x="28" y="20"/>
                      </a:lnTo>
                      <a:lnTo>
                        <a:pt x="29" y="20"/>
                      </a:lnTo>
                      <a:lnTo>
                        <a:pt x="30" y="19"/>
                      </a:lnTo>
                      <a:lnTo>
                        <a:pt x="31" y="19"/>
                      </a:lnTo>
                      <a:lnTo>
                        <a:pt x="31" y="19"/>
                      </a:lnTo>
                      <a:lnTo>
                        <a:pt x="32" y="19"/>
                      </a:lnTo>
                      <a:lnTo>
                        <a:pt x="33" y="19"/>
                      </a:lnTo>
                      <a:lnTo>
                        <a:pt x="34" y="19"/>
                      </a:lnTo>
                      <a:lnTo>
                        <a:pt x="34" y="20"/>
                      </a:lnTo>
                      <a:lnTo>
                        <a:pt x="34" y="21"/>
                      </a:lnTo>
                      <a:lnTo>
                        <a:pt x="33" y="21"/>
                      </a:lnTo>
                      <a:lnTo>
                        <a:pt x="32" y="21"/>
                      </a:lnTo>
                      <a:lnTo>
                        <a:pt x="31" y="21"/>
                      </a:lnTo>
                      <a:lnTo>
                        <a:pt x="31" y="22"/>
                      </a:lnTo>
                      <a:lnTo>
                        <a:pt x="30" y="23"/>
                      </a:lnTo>
                      <a:lnTo>
                        <a:pt x="30" y="23"/>
                      </a:lnTo>
                      <a:lnTo>
                        <a:pt x="30" y="25"/>
                      </a:lnTo>
                      <a:lnTo>
                        <a:pt x="30" y="26"/>
                      </a:lnTo>
                      <a:lnTo>
                        <a:pt x="30" y="27"/>
                      </a:lnTo>
                      <a:lnTo>
                        <a:pt x="31" y="27"/>
                      </a:lnTo>
                      <a:lnTo>
                        <a:pt x="31" y="27"/>
                      </a:lnTo>
                      <a:lnTo>
                        <a:pt x="32" y="28"/>
                      </a:lnTo>
                      <a:lnTo>
                        <a:pt x="33" y="27"/>
                      </a:lnTo>
                      <a:lnTo>
                        <a:pt x="34" y="27"/>
                      </a:lnTo>
                      <a:lnTo>
                        <a:pt x="34" y="27"/>
                      </a:lnTo>
                      <a:lnTo>
                        <a:pt x="34" y="26"/>
                      </a:lnTo>
                      <a:lnTo>
                        <a:pt x="34" y="25"/>
                      </a:lnTo>
                      <a:lnTo>
                        <a:pt x="34" y="25"/>
                      </a:lnTo>
                      <a:lnTo>
                        <a:pt x="34" y="24"/>
                      </a:lnTo>
                      <a:lnTo>
                        <a:pt x="33" y="23"/>
                      </a:lnTo>
                      <a:lnTo>
                        <a:pt x="34" y="23"/>
                      </a:lnTo>
                      <a:lnTo>
                        <a:pt x="34" y="22"/>
                      </a:lnTo>
                      <a:lnTo>
                        <a:pt x="35" y="21"/>
                      </a:lnTo>
                      <a:lnTo>
                        <a:pt x="36" y="21"/>
                      </a:lnTo>
                      <a:lnTo>
                        <a:pt x="36" y="21"/>
                      </a:lnTo>
                      <a:lnTo>
                        <a:pt x="36" y="22"/>
                      </a:lnTo>
                      <a:lnTo>
                        <a:pt x="36" y="23"/>
                      </a:lnTo>
                      <a:lnTo>
                        <a:pt x="36" y="23"/>
                      </a:lnTo>
                      <a:lnTo>
                        <a:pt x="36" y="24"/>
                      </a:lnTo>
                      <a:lnTo>
                        <a:pt x="36" y="24"/>
                      </a:lnTo>
                      <a:lnTo>
                        <a:pt x="36" y="25"/>
                      </a:lnTo>
                      <a:lnTo>
                        <a:pt x="36" y="25"/>
                      </a:lnTo>
                      <a:lnTo>
                        <a:pt x="36" y="26"/>
                      </a:lnTo>
                      <a:lnTo>
                        <a:pt x="36" y="27"/>
                      </a:lnTo>
                      <a:lnTo>
                        <a:pt x="38" y="27"/>
                      </a:lnTo>
                      <a:lnTo>
                        <a:pt x="38" y="26"/>
                      </a:lnTo>
                      <a:lnTo>
                        <a:pt x="38" y="25"/>
                      </a:lnTo>
                      <a:lnTo>
                        <a:pt x="38" y="25"/>
                      </a:lnTo>
                      <a:lnTo>
                        <a:pt x="39" y="24"/>
                      </a:lnTo>
                      <a:lnTo>
                        <a:pt x="40" y="24"/>
                      </a:lnTo>
                      <a:lnTo>
                        <a:pt x="40" y="25"/>
                      </a:lnTo>
                      <a:lnTo>
                        <a:pt x="41" y="25"/>
                      </a:lnTo>
                      <a:lnTo>
                        <a:pt x="42" y="25"/>
                      </a:lnTo>
                      <a:lnTo>
                        <a:pt x="42" y="25"/>
                      </a:lnTo>
                      <a:lnTo>
                        <a:pt x="43" y="26"/>
                      </a:lnTo>
                      <a:lnTo>
                        <a:pt x="44" y="27"/>
                      </a:lnTo>
                      <a:lnTo>
                        <a:pt x="44" y="27"/>
                      </a:lnTo>
                      <a:lnTo>
                        <a:pt x="44" y="28"/>
                      </a:lnTo>
                      <a:lnTo>
                        <a:pt x="43" y="29"/>
                      </a:lnTo>
                      <a:lnTo>
                        <a:pt x="42" y="29"/>
                      </a:lnTo>
                      <a:lnTo>
                        <a:pt x="42" y="28"/>
                      </a:lnTo>
                      <a:lnTo>
                        <a:pt x="42" y="27"/>
                      </a:lnTo>
                      <a:lnTo>
                        <a:pt x="41" y="27"/>
                      </a:lnTo>
                      <a:lnTo>
                        <a:pt x="40" y="27"/>
                      </a:lnTo>
                      <a:lnTo>
                        <a:pt x="40" y="27"/>
                      </a:lnTo>
                      <a:lnTo>
                        <a:pt x="39" y="27"/>
                      </a:lnTo>
                      <a:lnTo>
                        <a:pt x="38" y="27"/>
                      </a:lnTo>
                      <a:lnTo>
                        <a:pt x="38" y="27"/>
                      </a:lnTo>
                      <a:lnTo>
                        <a:pt x="38" y="27"/>
                      </a:lnTo>
                      <a:lnTo>
                        <a:pt x="38" y="28"/>
                      </a:lnTo>
                      <a:lnTo>
                        <a:pt x="38" y="29"/>
                      </a:lnTo>
                      <a:lnTo>
                        <a:pt x="38" y="29"/>
                      </a:lnTo>
                      <a:lnTo>
                        <a:pt x="39" y="29"/>
                      </a:lnTo>
                      <a:lnTo>
                        <a:pt x="40" y="29"/>
                      </a:lnTo>
                      <a:lnTo>
                        <a:pt x="40" y="29"/>
                      </a:lnTo>
                      <a:lnTo>
                        <a:pt x="41" y="29"/>
                      </a:lnTo>
                      <a:lnTo>
                        <a:pt x="42" y="30"/>
                      </a:lnTo>
                      <a:lnTo>
                        <a:pt x="42" y="31"/>
                      </a:lnTo>
                      <a:lnTo>
                        <a:pt x="42" y="31"/>
                      </a:lnTo>
                      <a:lnTo>
                        <a:pt x="43" y="31"/>
                      </a:lnTo>
                      <a:lnTo>
                        <a:pt x="44" y="31"/>
                      </a:lnTo>
                      <a:lnTo>
                        <a:pt x="44" y="31"/>
                      </a:lnTo>
                      <a:lnTo>
                        <a:pt x="44" y="31"/>
                      </a:lnTo>
                      <a:lnTo>
                        <a:pt x="44" y="30"/>
                      </a:lnTo>
                      <a:lnTo>
                        <a:pt x="44" y="29"/>
                      </a:lnTo>
                      <a:lnTo>
                        <a:pt x="45" y="28"/>
                      </a:lnTo>
                      <a:lnTo>
                        <a:pt x="46" y="28"/>
                      </a:lnTo>
                      <a:lnTo>
                        <a:pt x="46" y="27"/>
                      </a:lnTo>
                      <a:lnTo>
                        <a:pt x="46" y="27"/>
                      </a:lnTo>
                      <a:lnTo>
                        <a:pt x="47" y="26"/>
                      </a:lnTo>
                      <a:lnTo>
                        <a:pt x="48" y="26"/>
                      </a:lnTo>
                      <a:lnTo>
                        <a:pt x="48" y="26"/>
                      </a:lnTo>
                      <a:lnTo>
                        <a:pt x="49" y="26"/>
                      </a:lnTo>
                      <a:lnTo>
                        <a:pt x="50" y="27"/>
                      </a:lnTo>
                      <a:lnTo>
                        <a:pt x="50" y="27"/>
                      </a:lnTo>
                      <a:lnTo>
                        <a:pt x="50" y="28"/>
                      </a:lnTo>
                      <a:lnTo>
                        <a:pt x="49" y="29"/>
                      </a:lnTo>
                      <a:lnTo>
                        <a:pt x="48" y="29"/>
                      </a:lnTo>
                      <a:lnTo>
                        <a:pt x="48" y="30"/>
                      </a:lnTo>
                      <a:lnTo>
                        <a:pt x="47" y="31"/>
                      </a:lnTo>
                      <a:lnTo>
                        <a:pt x="46" y="31"/>
                      </a:lnTo>
                      <a:lnTo>
                        <a:pt x="46" y="31"/>
                      </a:lnTo>
                      <a:lnTo>
                        <a:pt x="46" y="32"/>
                      </a:lnTo>
                      <a:lnTo>
                        <a:pt x="46" y="33"/>
                      </a:lnTo>
                      <a:lnTo>
                        <a:pt x="46" y="34"/>
                      </a:lnTo>
                      <a:lnTo>
                        <a:pt x="47" y="34"/>
                      </a:lnTo>
                      <a:lnTo>
                        <a:pt x="48" y="33"/>
                      </a:lnTo>
                      <a:lnTo>
                        <a:pt x="48" y="33"/>
                      </a:lnTo>
                      <a:lnTo>
                        <a:pt x="49" y="33"/>
                      </a:lnTo>
                      <a:lnTo>
                        <a:pt x="50" y="34"/>
                      </a:lnTo>
                      <a:lnTo>
                        <a:pt x="50" y="34"/>
                      </a:lnTo>
                      <a:lnTo>
                        <a:pt x="50" y="35"/>
                      </a:lnTo>
                      <a:lnTo>
                        <a:pt x="51" y="35"/>
                      </a:lnTo>
                      <a:lnTo>
                        <a:pt x="52" y="36"/>
                      </a:lnTo>
                      <a:lnTo>
                        <a:pt x="53" y="36"/>
                      </a:lnTo>
                      <a:lnTo>
                        <a:pt x="53" y="36"/>
                      </a:lnTo>
                      <a:lnTo>
                        <a:pt x="54" y="36"/>
                      </a:lnTo>
                      <a:lnTo>
                        <a:pt x="54" y="35"/>
                      </a:lnTo>
                      <a:lnTo>
                        <a:pt x="53" y="34"/>
                      </a:lnTo>
                      <a:lnTo>
                        <a:pt x="53" y="34"/>
                      </a:lnTo>
                      <a:lnTo>
                        <a:pt x="53" y="33"/>
                      </a:lnTo>
                      <a:lnTo>
                        <a:pt x="54" y="32"/>
                      </a:lnTo>
                      <a:lnTo>
                        <a:pt x="55" y="31"/>
                      </a:lnTo>
                      <a:lnTo>
                        <a:pt x="55" y="32"/>
                      </a:lnTo>
                      <a:lnTo>
                        <a:pt x="57" y="32"/>
                      </a:lnTo>
                      <a:lnTo>
                        <a:pt x="57" y="32"/>
                      </a:lnTo>
                      <a:lnTo>
                        <a:pt x="58" y="32"/>
                      </a:lnTo>
                      <a:lnTo>
                        <a:pt x="59" y="32"/>
                      </a:lnTo>
                      <a:lnTo>
                        <a:pt x="61" y="32"/>
                      </a:lnTo>
                      <a:lnTo>
                        <a:pt x="61" y="32"/>
                      </a:lnTo>
                      <a:lnTo>
                        <a:pt x="62" y="33"/>
                      </a:lnTo>
                      <a:lnTo>
                        <a:pt x="62" y="34"/>
                      </a:lnTo>
                      <a:lnTo>
                        <a:pt x="62" y="34"/>
                      </a:lnTo>
                      <a:lnTo>
                        <a:pt x="61" y="34"/>
                      </a:lnTo>
                      <a:lnTo>
                        <a:pt x="61" y="34"/>
                      </a:lnTo>
                      <a:lnTo>
                        <a:pt x="60" y="34"/>
                      </a:lnTo>
                      <a:lnTo>
                        <a:pt x="59" y="34"/>
                      </a:lnTo>
                      <a:lnTo>
                        <a:pt x="59" y="35"/>
                      </a:lnTo>
                      <a:lnTo>
                        <a:pt x="58" y="36"/>
                      </a:lnTo>
                      <a:lnTo>
                        <a:pt x="57" y="36"/>
                      </a:lnTo>
                      <a:lnTo>
                        <a:pt x="57" y="37"/>
                      </a:lnTo>
                      <a:lnTo>
                        <a:pt x="56" y="37"/>
                      </a:lnTo>
                      <a:lnTo>
                        <a:pt x="55" y="37"/>
                      </a:lnTo>
                      <a:lnTo>
                        <a:pt x="55" y="38"/>
                      </a:lnTo>
                      <a:lnTo>
                        <a:pt x="54" y="38"/>
                      </a:lnTo>
                      <a:lnTo>
                        <a:pt x="54" y="39"/>
                      </a:lnTo>
                      <a:lnTo>
                        <a:pt x="54" y="40"/>
                      </a:lnTo>
                      <a:lnTo>
                        <a:pt x="53" y="40"/>
                      </a:lnTo>
                      <a:lnTo>
                        <a:pt x="54" y="41"/>
                      </a:lnTo>
                      <a:lnTo>
                        <a:pt x="55" y="41"/>
                      </a:lnTo>
                      <a:lnTo>
                        <a:pt x="55" y="41"/>
                      </a:lnTo>
                      <a:lnTo>
                        <a:pt x="56" y="41"/>
                      </a:lnTo>
                      <a:lnTo>
                        <a:pt x="57" y="41"/>
                      </a:lnTo>
                      <a:lnTo>
                        <a:pt x="58" y="42"/>
                      </a:lnTo>
                      <a:lnTo>
                        <a:pt x="59" y="42"/>
                      </a:lnTo>
                      <a:lnTo>
                        <a:pt x="59" y="42"/>
                      </a:lnTo>
                      <a:lnTo>
                        <a:pt x="60" y="43"/>
                      </a:lnTo>
                      <a:lnTo>
                        <a:pt x="61" y="43"/>
                      </a:lnTo>
                      <a:lnTo>
                        <a:pt x="61" y="44"/>
                      </a:lnTo>
                      <a:lnTo>
                        <a:pt x="62" y="43"/>
                      </a:lnTo>
                      <a:lnTo>
                        <a:pt x="63" y="42"/>
                      </a:lnTo>
                      <a:lnTo>
                        <a:pt x="63" y="42"/>
                      </a:lnTo>
                      <a:lnTo>
                        <a:pt x="64" y="41"/>
                      </a:lnTo>
                      <a:lnTo>
                        <a:pt x="65" y="41"/>
                      </a:lnTo>
                      <a:lnTo>
                        <a:pt x="65" y="41"/>
                      </a:lnTo>
                      <a:lnTo>
                        <a:pt x="66" y="41"/>
                      </a:lnTo>
                      <a:lnTo>
                        <a:pt x="66" y="42"/>
                      </a:lnTo>
                      <a:lnTo>
                        <a:pt x="67" y="42"/>
                      </a:lnTo>
                      <a:lnTo>
                        <a:pt x="67" y="43"/>
                      </a:lnTo>
                      <a:lnTo>
                        <a:pt x="67" y="44"/>
                      </a:lnTo>
                      <a:lnTo>
                        <a:pt x="67" y="44"/>
                      </a:lnTo>
                      <a:lnTo>
                        <a:pt x="67" y="45"/>
                      </a:lnTo>
                      <a:lnTo>
                        <a:pt x="69" y="46"/>
                      </a:lnTo>
                      <a:lnTo>
                        <a:pt x="69" y="46"/>
                      </a:lnTo>
                      <a:lnTo>
                        <a:pt x="70" y="47"/>
                      </a:lnTo>
                      <a:lnTo>
                        <a:pt x="71" y="47"/>
                      </a:lnTo>
                      <a:lnTo>
                        <a:pt x="72" y="48"/>
                      </a:lnTo>
                      <a:lnTo>
                        <a:pt x="72" y="48"/>
                      </a:lnTo>
                      <a:lnTo>
                        <a:pt x="72" y="49"/>
                      </a:lnTo>
                      <a:lnTo>
                        <a:pt x="72" y="50"/>
                      </a:lnTo>
                      <a:lnTo>
                        <a:pt x="71" y="50"/>
                      </a:lnTo>
                      <a:lnTo>
                        <a:pt x="70" y="50"/>
                      </a:lnTo>
                      <a:lnTo>
                        <a:pt x="69" y="50"/>
                      </a:lnTo>
                      <a:lnTo>
                        <a:pt x="69" y="51"/>
                      </a:lnTo>
                      <a:lnTo>
                        <a:pt x="69" y="52"/>
                      </a:lnTo>
                      <a:lnTo>
                        <a:pt x="69" y="52"/>
                      </a:lnTo>
                      <a:lnTo>
                        <a:pt x="69" y="53"/>
                      </a:lnTo>
                      <a:lnTo>
                        <a:pt x="70" y="53"/>
                      </a:lnTo>
                      <a:lnTo>
                        <a:pt x="71" y="53"/>
                      </a:lnTo>
                      <a:lnTo>
                        <a:pt x="72" y="54"/>
                      </a:lnTo>
                      <a:lnTo>
                        <a:pt x="72" y="54"/>
                      </a:lnTo>
                      <a:lnTo>
                        <a:pt x="73" y="53"/>
                      </a:lnTo>
                      <a:lnTo>
                        <a:pt x="74" y="53"/>
                      </a:lnTo>
                      <a:lnTo>
                        <a:pt x="74" y="52"/>
                      </a:lnTo>
                      <a:lnTo>
                        <a:pt x="76" y="52"/>
                      </a:lnTo>
                      <a:lnTo>
                        <a:pt x="76" y="52"/>
                      </a:lnTo>
                      <a:lnTo>
                        <a:pt x="76" y="53"/>
                      </a:lnTo>
                      <a:lnTo>
                        <a:pt x="77" y="54"/>
                      </a:lnTo>
                      <a:lnTo>
                        <a:pt x="77" y="55"/>
                      </a:lnTo>
                      <a:lnTo>
                        <a:pt x="78" y="55"/>
                      </a:lnTo>
                      <a:lnTo>
                        <a:pt x="78" y="55"/>
                      </a:lnTo>
                      <a:lnTo>
                        <a:pt x="79" y="55"/>
                      </a:lnTo>
                      <a:lnTo>
                        <a:pt x="80" y="55"/>
                      </a:lnTo>
                      <a:lnTo>
                        <a:pt x="80" y="54"/>
                      </a:lnTo>
                      <a:lnTo>
                        <a:pt x="80" y="53"/>
                      </a:lnTo>
                      <a:lnTo>
                        <a:pt x="81" y="52"/>
                      </a:lnTo>
                      <a:lnTo>
                        <a:pt x="82" y="52"/>
                      </a:lnTo>
                      <a:lnTo>
                        <a:pt x="82" y="52"/>
                      </a:lnTo>
                      <a:lnTo>
                        <a:pt x="82" y="51"/>
                      </a:lnTo>
                      <a:lnTo>
                        <a:pt x="83" y="52"/>
                      </a:lnTo>
                      <a:lnTo>
                        <a:pt x="84" y="52"/>
                      </a:lnTo>
                      <a:lnTo>
                        <a:pt x="84" y="53"/>
                      </a:lnTo>
                      <a:lnTo>
                        <a:pt x="84" y="55"/>
                      </a:lnTo>
                      <a:lnTo>
                        <a:pt x="83" y="55"/>
                      </a:lnTo>
                      <a:lnTo>
                        <a:pt x="83" y="56"/>
                      </a:lnTo>
                      <a:lnTo>
                        <a:pt x="82" y="57"/>
                      </a:lnTo>
                      <a:lnTo>
                        <a:pt x="83" y="58"/>
                      </a:lnTo>
                      <a:lnTo>
                        <a:pt x="83" y="59"/>
                      </a:lnTo>
                      <a:lnTo>
                        <a:pt x="84" y="59"/>
                      </a:lnTo>
                      <a:lnTo>
                        <a:pt x="84" y="59"/>
                      </a:lnTo>
                      <a:lnTo>
                        <a:pt x="85" y="59"/>
                      </a:lnTo>
                      <a:lnTo>
                        <a:pt x="85" y="58"/>
                      </a:lnTo>
                      <a:lnTo>
                        <a:pt x="86" y="57"/>
                      </a:lnTo>
                      <a:lnTo>
                        <a:pt x="85" y="57"/>
                      </a:lnTo>
                      <a:lnTo>
                        <a:pt x="85" y="56"/>
                      </a:lnTo>
                      <a:lnTo>
                        <a:pt x="85" y="55"/>
                      </a:lnTo>
                      <a:lnTo>
                        <a:pt x="86" y="55"/>
                      </a:lnTo>
                      <a:lnTo>
                        <a:pt x="86" y="54"/>
                      </a:lnTo>
                      <a:lnTo>
                        <a:pt x="86" y="55"/>
                      </a:lnTo>
                      <a:lnTo>
                        <a:pt x="87" y="55"/>
                      </a:lnTo>
                      <a:lnTo>
                        <a:pt x="88" y="55"/>
                      </a:lnTo>
                      <a:lnTo>
                        <a:pt x="88" y="57"/>
                      </a:lnTo>
                      <a:lnTo>
                        <a:pt x="88" y="57"/>
                      </a:lnTo>
                      <a:lnTo>
                        <a:pt x="88" y="57"/>
                      </a:lnTo>
                      <a:lnTo>
                        <a:pt x="89" y="57"/>
                      </a:lnTo>
                      <a:lnTo>
                        <a:pt x="89" y="57"/>
                      </a:lnTo>
                      <a:lnTo>
                        <a:pt x="90" y="57"/>
                      </a:lnTo>
                      <a:lnTo>
                        <a:pt x="91" y="56"/>
                      </a:lnTo>
                      <a:lnTo>
                        <a:pt x="91" y="55"/>
                      </a:lnTo>
                      <a:lnTo>
                        <a:pt x="91" y="55"/>
                      </a:lnTo>
                      <a:lnTo>
                        <a:pt x="91" y="54"/>
                      </a:lnTo>
                      <a:lnTo>
                        <a:pt x="92" y="54"/>
                      </a:lnTo>
                      <a:lnTo>
                        <a:pt x="93" y="54"/>
                      </a:lnTo>
                      <a:lnTo>
                        <a:pt x="93" y="55"/>
                      </a:lnTo>
                      <a:lnTo>
                        <a:pt x="94" y="55"/>
                      </a:lnTo>
                      <a:lnTo>
                        <a:pt x="94" y="55"/>
                      </a:lnTo>
                      <a:lnTo>
                        <a:pt x="94" y="56"/>
                      </a:lnTo>
                      <a:lnTo>
                        <a:pt x="94" y="57"/>
                      </a:lnTo>
                      <a:lnTo>
                        <a:pt x="93" y="57"/>
                      </a:lnTo>
                      <a:lnTo>
                        <a:pt x="93" y="57"/>
                      </a:lnTo>
                      <a:lnTo>
                        <a:pt x="92" y="57"/>
                      </a:lnTo>
                      <a:lnTo>
                        <a:pt x="91" y="57"/>
                      </a:lnTo>
                      <a:lnTo>
                        <a:pt x="91" y="57"/>
                      </a:lnTo>
                      <a:lnTo>
                        <a:pt x="90" y="57"/>
                      </a:lnTo>
                      <a:lnTo>
                        <a:pt x="89" y="58"/>
                      </a:lnTo>
                      <a:lnTo>
                        <a:pt x="89" y="59"/>
                      </a:lnTo>
                      <a:lnTo>
                        <a:pt x="89" y="59"/>
                      </a:lnTo>
                      <a:lnTo>
                        <a:pt x="90" y="60"/>
                      </a:lnTo>
                      <a:lnTo>
                        <a:pt x="91" y="60"/>
                      </a:lnTo>
                      <a:lnTo>
                        <a:pt x="91" y="60"/>
                      </a:lnTo>
                      <a:lnTo>
                        <a:pt x="92" y="59"/>
                      </a:lnTo>
                      <a:lnTo>
                        <a:pt x="92" y="59"/>
                      </a:lnTo>
                      <a:lnTo>
                        <a:pt x="93" y="58"/>
                      </a:lnTo>
                      <a:lnTo>
                        <a:pt x="93" y="58"/>
                      </a:lnTo>
                      <a:lnTo>
                        <a:pt x="94" y="57"/>
                      </a:lnTo>
                      <a:lnTo>
                        <a:pt x="94" y="58"/>
                      </a:lnTo>
                      <a:lnTo>
                        <a:pt x="95" y="58"/>
                      </a:lnTo>
                      <a:lnTo>
                        <a:pt x="95" y="59"/>
                      </a:lnTo>
                      <a:lnTo>
                        <a:pt x="95" y="60"/>
                      </a:lnTo>
                      <a:lnTo>
                        <a:pt x="95" y="61"/>
                      </a:lnTo>
                      <a:lnTo>
                        <a:pt x="95" y="61"/>
                      </a:lnTo>
                      <a:lnTo>
                        <a:pt x="94" y="61"/>
                      </a:lnTo>
                      <a:lnTo>
                        <a:pt x="93" y="61"/>
                      </a:lnTo>
                      <a:lnTo>
                        <a:pt x="93" y="61"/>
                      </a:lnTo>
                      <a:lnTo>
                        <a:pt x="92" y="62"/>
                      </a:lnTo>
                      <a:lnTo>
                        <a:pt x="92" y="63"/>
                      </a:lnTo>
                      <a:lnTo>
                        <a:pt x="92" y="63"/>
                      </a:lnTo>
                      <a:lnTo>
                        <a:pt x="92" y="64"/>
                      </a:lnTo>
                      <a:lnTo>
                        <a:pt x="93" y="64"/>
                      </a:lnTo>
                      <a:lnTo>
                        <a:pt x="93" y="64"/>
                      </a:lnTo>
                      <a:lnTo>
                        <a:pt x="94" y="63"/>
                      </a:lnTo>
                      <a:lnTo>
                        <a:pt x="95" y="63"/>
                      </a:lnTo>
                      <a:lnTo>
                        <a:pt x="95" y="63"/>
                      </a:lnTo>
                      <a:lnTo>
                        <a:pt x="96" y="63"/>
                      </a:lnTo>
                      <a:lnTo>
                        <a:pt x="97" y="64"/>
                      </a:lnTo>
                      <a:lnTo>
                        <a:pt x="97" y="65"/>
                      </a:lnTo>
                      <a:lnTo>
                        <a:pt x="97" y="66"/>
                      </a:lnTo>
                      <a:lnTo>
                        <a:pt x="97" y="67"/>
                      </a:lnTo>
                      <a:lnTo>
                        <a:pt x="98" y="67"/>
                      </a:lnTo>
                      <a:lnTo>
                        <a:pt x="98" y="67"/>
                      </a:lnTo>
                      <a:lnTo>
                        <a:pt x="99" y="67"/>
                      </a:lnTo>
                      <a:lnTo>
                        <a:pt x="99" y="67"/>
                      </a:lnTo>
                      <a:lnTo>
                        <a:pt x="100" y="66"/>
                      </a:lnTo>
                      <a:lnTo>
                        <a:pt x="101" y="65"/>
                      </a:lnTo>
                      <a:lnTo>
                        <a:pt x="101" y="65"/>
                      </a:lnTo>
                      <a:lnTo>
                        <a:pt x="102" y="66"/>
                      </a:lnTo>
                      <a:lnTo>
                        <a:pt x="103" y="67"/>
                      </a:lnTo>
                      <a:lnTo>
                        <a:pt x="103" y="67"/>
                      </a:lnTo>
                      <a:lnTo>
                        <a:pt x="103" y="68"/>
                      </a:lnTo>
                      <a:lnTo>
                        <a:pt x="103" y="69"/>
                      </a:lnTo>
                      <a:lnTo>
                        <a:pt x="102" y="69"/>
                      </a:lnTo>
                      <a:lnTo>
                        <a:pt x="101" y="69"/>
                      </a:lnTo>
                      <a:lnTo>
                        <a:pt x="101" y="69"/>
                      </a:lnTo>
                      <a:lnTo>
                        <a:pt x="100" y="69"/>
                      </a:lnTo>
                      <a:lnTo>
                        <a:pt x="99" y="69"/>
                      </a:lnTo>
                      <a:lnTo>
                        <a:pt x="99" y="69"/>
                      </a:lnTo>
                      <a:lnTo>
                        <a:pt x="99" y="69"/>
                      </a:lnTo>
                      <a:lnTo>
                        <a:pt x="98" y="70"/>
                      </a:lnTo>
                      <a:lnTo>
                        <a:pt x="99" y="71"/>
                      </a:lnTo>
                      <a:lnTo>
                        <a:pt x="99" y="71"/>
                      </a:lnTo>
                      <a:lnTo>
                        <a:pt x="100" y="72"/>
                      </a:lnTo>
                      <a:lnTo>
                        <a:pt x="100" y="73"/>
                      </a:lnTo>
                      <a:lnTo>
                        <a:pt x="100" y="74"/>
                      </a:lnTo>
                      <a:lnTo>
                        <a:pt x="101" y="74"/>
                      </a:lnTo>
                      <a:lnTo>
                        <a:pt x="100" y="75"/>
                      </a:lnTo>
                      <a:lnTo>
                        <a:pt x="100" y="76"/>
                      </a:lnTo>
                      <a:lnTo>
                        <a:pt x="99" y="76"/>
                      </a:lnTo>
                      <a:lnTo>
                        <a:pt x="99" y="77"/>
                      </a:lnTo>
                      <a:lnTo>
                        <a:pt x="99" y="78"/>
                      </a:lnTo>
                      <a:lnTo>
                        <a:pt x="99" y="78"/>
                      </a:lnTo>
                      <a:lnTo>
                        <a:pt x="100" y="78"/>
                      </a:lnTo>
                      <a:lnTo>
                        <a:pt x="101" y="78"/>
                      </a:lnTo>
                      <a:lnTo>
                        <a:pt x="101" y="78"/>
                      </a:lnTo>
                      <a:lnTo>
                        <a:pt x="102" y="78"/>
                      </a:lnTo>
                      <a:lnTo>
                        <a:pt x="103" y="78"/>
                      </a:lnTo>
                      <a:lnTo>
                        <a:pt x="103" y="78"/>
                      </a:lnTo>
                      <a:lnTo>
                        <a:pt x="104" y="78"/>
                      </a:lnTo>
                      <a:lnTo>
                        <a:pt x="104" y="77"/>
                      </a:lnTo>
                      <a:lnTo>
                        <a:pt x="103" y="76"/>
                      </a:lnTo>
                      <a:lnTo>
                        <a:pt x="103" y="76"/>
                      </a:lnTo>
                      <a:lnTo>
                        <a:pt x="103" y="75"/>
                      </a:lnTo>
                      <a:lnTo>
                        <a:pt x="103" y="74"/>
                      </a:lnTo>
                      <a:lnTo>
                        <a:pt x="104" y="74"/>
                      </a:lnTo>
                      <a:lnTo>
                        <a:pt x="104" y="73"/>
                      </a:lnTo>
                      <a:lnTo>
                        <a:pt x="105" y="73"/>
                      </a:lnTo>
                      <a:lnTo>
                        <a:pt x="105" y="73"/>
                      </a:lnTo>
                      <a:lnTo>
                        <a:pt x="106" y="72"/>
                      </a:lnTo>
                      <a:lnTo>
                        <a:pt x="107" y="72"/>
                      </a:lnTo>
                      <a:lnTo>
                        <a:pt x="107" y="72"/>
                      </a:lnTo>
                      <a:lnTo>
                        <a:pt x="108" y="72"/>
                      </a:lnTo>
                      <a:lnTo>
                        <a:pt x="109" y="73"/>
                      </a:lnTo>
                      <a:lnTo>
                        <a:pt x="109" y="74"/>
                      </a:lnTo>
                      <a:lnTo>
                        <a:pt x="109" y="74"/>
                      </a:lnTo>
                      <a:lnTo>
                        <a:pt x="109" y="75"/>
                      </a:lnTo>
                      <a:lnTo>
                        <a:pt x="108" y="76"/>
                      </a:lnTo>
                      <a:lnTo>
                        <a:pt x="108" y="76"/>
                      </a:lnTo>
                      <a:lnTo>
                        <a:pt x="108" y="77"/>
                      </a:lnTo>
                      <a:lnTo>
                        <a:pt x="108" y="78"/>
                      </a:lnTo>
                      <a:lnTo>
                        <a:pt x="108" y="78"/>
                      </a:lnTo>
                      <a:lnTo>
                        <a:pt x="108" y="79"/>
                      </a:lnTo>
                      <a:lnTo>
                        <a:pt x="109" y="79"/>
                      </a:lnTo>
                      <a:lnTo>
                        <a:pt x="110" y="79"/>
                      </a:lnTo>
                      <a:lnTo>
                        <a:pt x="110" y="79"/>
                      </a:lnTo>
                      <a:lnTo>
                        <a:pt x="111" y="79"/>
                      </a:lnTo>
                      <a:lnTo>
                        <a:pt x="112" y="80"/>
                      </a:lnTo>
                      <a:lnTo>
                        <a:pt x="112" y="80"/>
                      </a:lnTo>
                      <a:lnTo>
                        <a:pt x="112" y="81"/>
                      </a:lnTo>
                      <a:lnTo>
                        <a:pt x="112" y="82"/>
                      </a:lnTo>
                      <a:lnTo>
                        <a:pt x="111" y="82"/>
                      </a:lnTo>
                      <a:lnTo>
                        <a:pt x="110" y="82"/>
                      </a:lnTo>
                      <a:lnTo>
                        <a:pt x="110" y="82"/>
                      </a:lnTo>
                      <a:lnTo>
                        <a:pt x="110" y="81"/>
                      </a:lnTo>
                      <a:lnTo>
                        <a:pt x="109" y="81"/>
                      </a:lnTo>
                      <a:lnTo>
                        <a:pt x="108" y="81"/>
                      </a:lnTo>
                      <a:lnTo>
                        <a:pt x="108" y="82"/>
                      </a:lnTo>
                      <a:lnTo>
                        <a:pt x="107" y="82"/>
                      </a:lnTo>
                      <a:lnTo>
                        <a:pt x="107" y="84"/>
                      </a:lnTo>
                      <a:lnTo>
                        <a:pt x="107" y="84"/>
                      </a:lnTo>
                      <a:lnTo>
                        <a:pt x="107" y="85"/>
                      </a:lnTo>
                      <a:lnTo>
                        <a:pt x="107" y="86"/>
                      </a:lnTo>
                      <a:lnTo>
                        <a:pt x="107" y="86"/>
                      </a:lnTo>
                      <a:lnTo>
                        <a:pt x="107" y="87"/>
                      </a:lnTo>
                      <a:lnTo>
                        <a:pt x="108" y="87"/>
                      </a:lnTo>
                      <a:lnTo>
                        <a:pt x="109" y="86"/>
                      </a:lnTo>
                      <a:lnTo>
                        <a:pt x="110" y="86"/>
                      </a:lnTo>
                      <a:lnTo>
                        <a:pt x="110" y="86"/>
                      </a:lnTo>
                      <a:lnTo>
                        <a:pt x="111" y="86"/>
                      </a:lnTo>
                      <a:lnTo>
                        <a:pt x="112" y="86"/>
                      </a:lnTo>
                      <a:lnTo>
                        <a:pt x="112" y="86"/>
                      </a:lnTo>
                      <a:lnTo>
                        <a:pt x="113" y="86"/>
                      </a:lnTo>
                      <a:lnTo>
                        <a:pt x="114" y="87"/>
                      </a:lnTo>
                      <a:lnTo>
                        <a:pt x="114" y="88"/>
                      </a:lnTo>
                      <a:lnTo>
                        <a:pt x="114" y="88"/>
                      </a:lnTo>
                      <a:lnTo>
                        <a:pt x="114" y="89"/>
                      </a:lnTo>
                      <a:lnTo>
                        <a:pt x="115" y="90"/>
                      </a:lnTo>
                      <a:lnTo>
                        <a:pt x="116" y="90"/>
                      </a:lnTo>
                      <a:lnTo>
                        <a:pt x="116" y="90"/>
                      </a:lnTo>
                      <a:lnTo>
                        <a:pt x="116" y="90"/>
                      </a:lnTo>
                      <a:lnTo>
                        <a:pt x="117" y="90"/>
                      </a:lnTo>
                      <a:lnTo>
                        <a:pt x="117" y="90"/>
                      </a:lnTo>
                      <a:lnTo>
                        <a:pt x="117" y="89"/>
                      </a:lnTo>
                      <a:lnTo>
                        <a:pt x="116" y="88"/>
                      </a:lnTo>
                      <a:lnTo>
                        <a:pt x="116" y="88"/>
                      </a:lnTo>
                      <a:lnTo>
                        <a:pt x="115" y="88"/>
                      </a:lnTo>
                      <a:lnTo>
                        <a:pt x="115" y="87"/>
                      </a:lnTo>
                      <a:lnTo>
                        <a:pt x="114" y="87"/>
                      </a:lnTo>
                      <a:lnTo>
                        <a:pt x="114" y="86"/>
                      </a:lnTo>
                      <a:lnTo>
                        <a:pt x="114" y="86"/>
                      </a:lnTo>
                      <a:lnTo>
                        <a:pt x="115" y="85"/>
                      </a:lnTo>
                      <a:lnTo>
                        <a:pt x="116" y="85"/>
                      </a:lnTo>
                      <a:lnTo>
                        <a:pt x="116" y="85"/>
                      </a:lnTo>
                      <a:lnTo>
                        <a:pt x="117" y="86"/>
                      </a:lnTo>
                      <a:lnTo>
                        <a:pt x="118" y="86"/>
                      </a:lnTo>
                      <a:lnTo>
                        <a:pt x="118" y="86"/>
                      </a:lnTo>
                      <a:lnTo>
                        <a:pt x="119" y="86"/>
                      </a:lnTo>
                      <a:lnTo>
                        <a:pt x="120" y="86"/>
                      </a:lnTo>
                      <a:lnTo>
                        <a:pt x="120" y="86"/>
                      </a:lnTo>
                      <a:lnTo>
                        <a:pt x="121" y="86"/>
                      </a:lnTo>
                      <a:lnTo>
                        <a:pt x="122" y="87"/>
                      </a:lnTo>
                      <a:lnTo>
                        <a:pt x="122" y="88"/>
                      </a:lnTo>
                      <a:lnTo>
                        <a:pt x="122" y="88"/>
                      </a:lnTo>
                      <a:lnTo>
                        <a:pt x="122" y="89"/>
                      </a:lnTo>
                      <a:lnTo>
                        <a:pt x="121" y="89"/>
                      </a:lnTo>
                      <a:lnTo>
                        <a:pt x="121" y="90"/>
                      </a:lnTo>
                      <a:lnTo>
                        <a:pt x="121" y="90"/>
                      </a:lnTo>
                      <a:lnTo>
                        <a:pt x="121" y="91"/>
                      </a:lnTo>
                      <a:lnTo>
                        <a:pt x="122" y="92"/>
                      </a:lnTo>
                      <a:lnTo>
                        <a:pt x="122" y="92"/>
                      </a:lnTo>
                      <a:lnTo>
                        <a:pt x="123" y="92"/>
                      </a:lnTo>
                      <a:lnTo>
                        <a:pt x="124" y="92"/>
                      </a:lnTo>
                      <a:lnTo>
                        <a:pt x="124" y="92"/>
                      </a:lnTo>
                      <a:lnTo>
                        <a:pt x="123" y="92"/>
                      </a:lnTo>
                      <a:lnTo>
                        <a:pt x="123" y="93"/>
                      </a:lnTo>
                      <a:lnTo>
                        <a:pt x="123" y="94"/>
                      </a:lnTo>
                      <a:lnTo>
                        <a:pt x="124" y="94"/>
                      </a:lnTo>
                      <a:lnTo>
                        <a:pt x="124" y="94"/>
                      </a:lnTo>
                      <a:lnTo>
                        <a:pt x="124" y="95"/>
                      </a:lnTo>
                      <a:lnTo>
                        <a:pt x="125" y="95"/>
                      </a:lnTo>
                      <a:lnTo>
                        <a:pt x="125" y="94"/>
                      </a:lnTo>
                      <a:lnTo>
                        <a:pt x="126" y="94"/>
                      </a:lnTo>
                      <a:lnTo>
                        <a:pt x="126" y="95"/>
                      </a:lnTo>
                      <a:lnTo>
                        <a:pt x="126" y="95"/>
                      </a:lnTo>
                      <a:lnTo>
                        <a:pt x="126" y="95"/>
                      </a:lnTo>
                      <a:lnTo>
                        <a:pt x="126" y="95"/>
                      </a:lnTo>
                      <a:lnTo>
                        <a:pt x="126" y="96"/>
                      </a:lnTo>
                      <a:lnTo>
                        <a:pt x="126" y="96"/>
                      </a:lnTo>
                      <a:lnTo>
                        <a:pt x="127" y="96"/>
                      </a:lnTo>
                      <a:lnTo>
                        <a:pt x="127" y="95"/>
                      </a:lnTo>
                      <a:lnTo>
                        <a:pt x="128" y="95"/>
                      </a:lnTo>
                      <a:lnTo>
                        <a:pt x="129" y="95"/>
                      </a:lnTo>
                      <a:lnTo>
                        <a:pt x="129" y="96"/>
                      </a:lnTo>
                      <a:lnTo>
                        <a:pt x="130" y="96"/>
                      </a:lnTo>
                      <a:lnTo>
                        <a:pt x="131" y="97"/>
                      </a:lnTo>
                      <a:lnTo>
                        <a:pt x="131" y="97"/>
                      </a:lnTo>
                      <a:lnTo>
                        <a:pt x="131" y="97"/>
                      </a:lnTo>
                      <a:lnTo>
                        <a:pt x="131" y="98"/>
                      </a:lnTo>
                      <a:lnTo>
                        <a:pt x="131" y="99"/>
                      </a:lnTo>
                      <a:lnTo>
                        <a:pt x="131" y="99"/>
                      </a:lnTo>
                      <a:lnTo>
                        <a:pt x="131" y="99"/>
                      </a:lnTo>
                      <a:lnTo>
                        <a:pt x="131" y="100"/>
                      </a:lnTo>
                      <a:lnTo>
                        <a:pt x="131" y="101"/>
                      </a:lnTo>
                      <a:lnTo>
                        <a:pt x="132" y="101"/>
                      </a:lnTo>
                      <a:lnTo>
                        <a:pt x="132" y="101"/>
                      </a:lnTo>
                      <a:lnTo>
                        <a:pt x="133" y="101"/>
                      </a:lnTo>
                      <a:lnTo>
                        <a:pt x="133" y="101"/>
                      </a:lnTo>
                      <a:lnTo>
                        <a:pt x="133" y="101"/>
                      </a:lnTo>
                      <a:lnTo>
                        <a:pt x="133" y="101"/>
                      </a:lnTo>
                      <a:lnTo>
                        <a:pt x="133" y="102"/>
                      </a:lnTo>
                      <a:lnTo>
                        <a:pt x="133" y="103"/>
                      </a:lnTo>
                      <a:lnTo>
                        <a:pt x="133" y="103"/>
                      </a:lnTo>
                      <a:lnTo>
                        <a:pt x="132" y="103"/>
                      </a:lnTo>
                      <a:lnTo>
                        <a:pt x="132" y="104"/>
                      </a:lnTo>
                      <a:lnTo>
                        <a:pt x="131" y="104"/>
                      </a:lnTo>
                      <a:lnTo>
                        <a:pt x="131" y="105"/>
                      </a:lnTo>
                      <a:lnTo>
                        <a:pt x="132" y="105"/>
                      </a:lnTo>
                      <a:lnTo>
                        <a:pt x="132" y="105"/>
                      </a:lnTo>
                      <a:lnTo>
                        <a:pt x="133" y="105"/>
                      </a:lnTo>
                      <a:lnTo>
                        <a:pt x="133" y="106"/>
                      </a:lnTo>
                      <a:lnTo>
                        <a:pt x="132" y="106"/>
                      </a:lnTo>
                      <a:lnTo>
                        <a:pt x="132" y="107"/>
                      </a:lnTo>
                      <a:lnTo>
                        <a:pt x="133" y="107"/>
                      </a:lnTo>
                      <a:lnTo>
                        <a:pt x="133" y="107"/>
                      </a:lnTo>
                      <a:lnTo>
                        <a:pt x="133" y="108"/>
                      </a:lnTo>
                      <a:lnTo>
                        <a:pt x="133" y="108"/>
                      </a:lnTo>
                      <a:lnTo>
                        <a:pt x="133" y="109"/>
                      </a:lnTo>
                      <a:lnTo>
                        <a:pt x="133" y="109"/>
                      </a:lnTo>
                      <a:lnTo>
                        <a:pt x="134" y="109"/>
                      </a:lnTo>
                      <a:lnTo>
                        <a:pt x="134" y="110"/>
                      </a:lnTo>
                      <a:lnTo>
                        <a:pt x="133" y="110"/>
                      </a:lnTo>
                      <a:lnTo>
                        <a:pt x="133" y="111"/>
                      </a:lnTo>
                      <a:lnTo>
                        <a:pt x="133" y="111"/>
                      </a:lnTo>
                      <a:lnTo>
                        <a:pt x="133" y="112"/>
                      </a:lnTo>
                      <a:lnTo>
                        <a:pt x="134" y="112"/>
                      </a:lnTo>
                      <a:lnTo>
                        <a:pt x="134" y="113"/>
                      </a:lnTo>
                      <a:lnTo>
                        <a:pt x="133" y="113"/>
                      </a:lnTo>
                      <a:lnTo>
                        <a:pt x="133" y="114"/>
                      </a:lnTo>
                      <a:lnTo>
                        <a:pt x="133" y="114"/>
                      </a:lnTo>
                      <a:lnTo>
                        <a:pt x="134" y="114"/>
                      </a:lnTo>
                      <a:lnTo>
                        <a:pt x="134" y="115"/>
                      </a:lnTo>
                      <a:lnTo>
                        <a:pt x="134" y="116"/>
                      </a:lnTo>
                      <a:lnTo>
                        <a:pt x="135" y="116"/>
                      </a:lnTo>
                      <a:lnTo>
                        <a:pt x="134" y="116"/>
                      </a:lnTo>
                      <a:lnTo>
                        <a:pt x="134" y="117"/>
                      </a:lnTo>
                      <a:lnTo>
                        <a:pt x="134" y="118"/>
                      </a:lnTo>
                      <a:lnTo>
                        <a:pt x="133" y="118"/>
                      </a:lnTo>
                      <a:lnTo>
                        <a:pt x="133" y="118"/>
                      </a:lnTo>
                      <a:lnTo>
                        <a:pt x="133" y="119"/>
                      </a:lnTo>
                      <a:lnTo>
                        <a:pt x="133" y="120"/>
                      </a:lnTo>
                      <a:lnTo>
                        <a:pt x="133" y="120"/>
                      </a:lnTo>
                      <a:lnTo>
                        <a:pt x="133" y="121"/>
                      </a:lnTo>
                      <a:lnTo>
                        <a:pt x="133" y="122"/>
                      </a:lnTo>
                      <a:lnTo>
                        <a:pt x="132" y="122"/>
                      </a:lnTo>
                      <a:lnTo>
                        <a:pt x="131" y="123"/>
                      </a:lnTo>
                      <a:lnTo>
                        <a:pt x="131" y="123"/>
                      </a:lnTo>
                      <a:lnTo>
                        <a:pt x="130" y="123"/>
                      </a:lnTo>
                      <a:lnTo>
                        <a:pt x="129" y="124"/>
                      </a:lnTo>
                      <a:lnTo>
                        <a:pt x="130" y="124"/>
                      </a:lnTo>
                      <a:lnTo>
                        <a:pt x="130" y="125"/>
                      </a:lnTo>
                      <a:lnTo>
                        <a:pt x="131" y="125"/>
                      </a:lnTo>
                      <a:lnTo>
                        <a:pt x="131" y="126"/>
                      </a:lnTo>
                      <a:lnTo>
                        <a:pt x="130" y="126"/>
                      </a:lnTo>
                      <a:lnTo>
                        <a:pt x="129" y="126"/>
                      </a:lnTo>
                      <a:lnTo>
                        <a:pt x="129" y="126"/>
                      </a:lnTo>
                      <a:lnTo>
                        <a:pt x="129" y="127"/>
                      </a:lnTo>
                      <a:lnTo>
                        <a:pt x="129" y="127"/>
                      </a:lnTo>
                      <a:lnTo>
                        <a:pt x="129" y="128"/>
                      </a:lnTo>
                      <a:lnTo>
                        <a:pt x="129" y="128"/>
                      </a:lnTo>
                      <a:lnTo>
                        <a:pt x="129" y="129"/>
                      </a:lnTo>
                      <a:lnTo>
                        <a:pt x="129" y="130"/>
                      </a:lnTo>
                      <a:lnTo>
                        <a:pt x="129" y="130"/>
                      </a:lnTo>
                      <a:lnTo>
                        <a:pt x="129" y="129"/>
                      </a:lnTo>
                      <a:lnTo>
                        <a:pt x="128" y="129"/>
                      </a:lnTo>
                      <a:lnTo>
                        <a:pt x="128" y="128"/>
                      </a:lnTo>
                      <a:lnTo>
                        <a:pt x="127" y="128"/>
                      </a:lnTo>
                      <a:lnTo>
                        <a:pt x="126" y="129"/>
                      </a:lnTo>
                      <a:lnTo>
                        <a:pt x="126" y="129"/>
                      </a:lnTo>
                      <a:lnTo>
                        <a:pt x="125" y="129"/>
                      </a:lnTo>
                      <a:lnTo>
                        <a:pt x="124" y="129"/>
                      </a:lnTo>
                      <a:lnTo>
                        <a:pt x="124" y="128"/>
                      </a:lnTo>
                      <a:lnTo>
                        <a:pt x="124" y="129"/>
                      </a:lnTo>
                      <a:lnTo>
                        <a:pt x="123" y="129"/>
                      </a:lnTo>
                      <a:lnTo>
                        <a:pt x="122" y="129"/>
                      </a:lnTo>
                      <a:lnTo>
                        <a:pt x="122" y="130"/>
                      </a:lnTo>
                      <a:lnTo>
                        <a:pt x="122" y="130"/>
                      </a:lnTo>
                      <a:lnTo>
                        <a:pt x="122" y="130"/>
                      </a:lnTo>
                      <a:lnTo>
                        <a:pt x="121" y="130"/>
                      </a:lnTo>
                      <a:lnTo>
                        <a:pt x="120" y="130"/>
                      </a:lnTo>
                      <a:lnTo>
                        <a:pt x="120" y="131"/>
                      </a:lnTo>
                      <a:lnTo>
                        <a:pt x="120" y="132"/>
                      </a:lnTo>
                      <a:lnTo>
                        <a:pt x="120" y="132"/>
                      </a:lnTo>
                      <a:lnTo>
                        <a:pt x="119" y="133"/>
                      </a:lnTo>
                      <a:lnTo>
                        <a:pt x="118" y="133"/>
                      </a:lnTo>
                      <a:lnTo>
                        <a:pt x="118" y="133"/>
                      </a:lnTo>
                      <a:lnTo>
                        <a:pt x="117" y="133"/>
                      </a:lnTo>
                      <a:lnTo>
                        <a:pt x="116" y="133"/>
                      </a:lnTo>
                      <a:lnTo>
                        <a:pt x="116" y="133"/>
                      </a:lnTo>
                      <a:lnTo>
                        <a:pt x="115" y="132"/>
                      </a:lnTo>
                      <a:lnTo>
                        <a:pt x="114" y="132"/>
                      </a:lnTo>
                      <a:lnTo>
                        <a:pt x="114" y="131"/>
                      </a:lnTo>
                      <a:lnTo>
                        <a:pt x="114" y="131"/>
                      </a:lnTo>
                      <a:lnTo>
                        <a:pt x="114" y="130"/>
                      </a:lnTo>
                      <a:lnTo>
                        <a:pt x="114" y="130"/>
                      </a:lnTo>
                      <a:lnTo>
                        <a:pt x="113" y="130"/>
                      </a:lnTo>
                      <a:lnTo>
                        <a:pt x="112" y="129"/>
                      </a:lnTo>
                      <a:lnTo>
                        <a:pt x="112" y="128"/>
                      </a:lnTo>
                      <a:lnTo>
                        <a:pt x="111" y="128"/>
                      </a:lnTo>
                      <a:lnTo>
                        <a:pt x="110" y="129"/>
                      </a:lnTo>
                      <a:lnTo>
                        <a:pt x="110" y="128"/>
                      </a:lnTo>
                      <a:lnTo>
                        <a:pt x="109" y="128"/>
                      </a:lnTo>
                      <a:lnTo>
                        <a:pt x="109" y="129"/>
                      </a:lnTo>
                      <a:lnTo>
                        <a:pt x="109" y="130"/>
                      </a:lnTo>
                      <a:lnTo>
                        <a:pt x="108" y="130"/>
                      </a:lnTo>
                      <a:lnTo>
                        <a:pt x="107" y="130"/>
                      </a:lnTo>
                      <a:lnTo>
                        <a:pt x="107" y="130"/>
                      </a:lnTo>
                      <a:lnTo>
                        <a:pt x="106" y="130"/>
                      </a:lnTo>
                      <a:lnTo>
                        <a:pt x="106" y="129"/>
                      </a:lnTo>
                      <a:lnTo>
                        <a:pt x="105" y="129"/>
                      </a:lnTo>
                      <a:lnTo>
                        <a:pt x="105" y="129"/>
                      </a:lnTo>
                      <a:lnTo>
                        <a:pt x="105" y="130"/>
                      </a:lnTo>
                      <a:lnTo>
                        <a:pt x="105" y="130"/>
                      </a:lnTo>
                      <a:lnTo>
                        <a:pt x="104" y="130"/>
                      </a:lnTo>
                      <a:lnTo>
                        <a:pt x="104" y="131"/>
                      </a:lnTo>
                      <a:lnTo>
                        <a:pt x="104" y="132"/>
                      </a:lnTo>
                      <a:lnTo>
                        <a:pt x="104" y="133"/>
                      </a:lnTo>
                      <a:lnTo>
                        <a:pt x="103" y="133"/>
                      </a:lnTo>
                      <a:lnTo>
                        <a:pt x="103" y="133"/>
                      </a:lnTo>
                      <a:lnTo>
                        <a:pt x="103" y="133"/>
                      </a:lnTo>
                      <a:lnTo>
                        <a:pt x="103" y="132"/>
                      </a:lnTo>
                      <a:lnTo>
                        <a:pt x="103" y="132"/>
                      </a:lnTo>
                      <a:lnTo>
                        <a:pt x="103" y="133"/>
                      </a:lnTo>
                      <a:lnTo>
                        <a:pt x="102" y="133"/>
                      </a:lnTo>
                      <a:lnTo>
                        <a:pt x="102" y="134"/>
                      </a:lnTo>
                      <a:lnTo>
                        <a:pt x="103" y="134"/>
                      </a:lnTo>
                      <a:lnTo>
                        <a:pt x="103" y="134"/>
                      </a:lnTo>
                      <a:lnTo>
                        <a:pt x="103" y="135"/>
                      </a:lnTo>
                      <a:lnTo>
                        <a:pt x="103" y="135"/>
                      </a:lnTo>
                      <a:lnTo>
                        <a:pt x="102" y="135"/>
                      </a:lnTo>
                      <a:lnTo>
                        <a:pt x="101" y="135"/>
                      </a:lnTo>
                      <a:lnTo>
                        <a:pt x="101" y="135"/>
                      </a:lnTo>
                      <a:lnTo>
                        <a:pt x="100" y="135"/>
                      </a:lnTo>
                      <a:lnTo>
                        <a:pt x="99" y="135"/>
                      </a:lnTo>
                      <a:lnTo>
                        <a:pt x="99" y="136"/>
                      </a:lnTo>
                      <a:lnTo>
                        <a:pt x="99" y="137"/>
                      </a:lnTo>
                      <a:lnTo>
                        <a:pt x="99" y="137"/>
                      </a:lnTo>
                      <a:lnTo>
                        <a:pt x="98" y="137"/>
                      </a:lnTo>
                      <a:lnTo>
                        <a:pt x="98" y="137"/>
                      </a:lnTo>
                      <a:lnTo>
                        <a:pt x="97" y="138"/>
                      </a:lnTo>
                      <a:lnTo>
                        <a:pt x="97" y="138"/>
                      </a:lnTo>
                      <a:lnTo>
                        <a:pt x="96" y="138"/>
                      </a:lnTo>
                      <a:lnTo>
                        <a:pt x="95" y="138"/>
                      </a:lnTo>
                      <a:lnTo>
                        <a:pt x="95" y="137"/>
                      </a:lnTo>
                      <a:lnTo>
                        <a:pt x="94" y="137"/>
                      </a:lnTo>
                      <a:lnTo>
                        <a:pt x="93" y="137"/>
                      </a:lnTo>
                      <a:lnTo>
                        <a:pt x="93" y="137"/>
                      </a:lnTo>
                      <a:lnTo>
                        <a:pt x="92" y="137"/>
                      </a:lnTo>
                      <a:lnTo>
                        <a:pt x="91" y="137"/>
                      </a:lnTo>
                      <a:lnTo>
                        <a:pt x="91" y="137"/>
                      </a:lnTo>
                      <a:lnTo>
                        <a:pt x="91" y="137"/>
                      </a:lnTo>
                      <a:lnTo>
                        <a:pt x="91" y="138"/>
                      </a:lnTo>
                      <a:lnTo>
                        <a:pt x="91" y="139"/>
                      </a:lnTo>
                      <a:lnTo>
                        <a:pt x="92" y="139"/>
                      </a:lnTo>
                      <a:lnTo>
                        <a:pt x="92" y="139"/>
                      </a:lnTo>
                      <a:lnTo>
                        <a:pt x="93" y="140"/>
                      </a:lnTo>
                      <a:lnTo>
                        <a:pt x="92" y="141"/>
                      </a:lnTo>
                      <a:lnTo>
                        <a:pt x="91" y="141"/>
                      </a:lnTo>
                      <a:lnTo>
                        <a:pt x="91" y="141"/>
                      </a:lnTo>
                      <a:lnTo>
                        <a:pt x="91" y="141"/>
                      </a:lnTo>
                      <a:lnTo>
                        <a:pt x="91" y="142"/>
                      </a:lnTo>
                      <a:lnTo>
                        <a:pt x="91" y="143"/>
                      </a:lnTo>
                      <a:lnTo>
                        <a:pt x="91" y="143"/>
                      </a:lnTo>
                      <a:lnTo>
                        <a:pt x="91" y="143"/>
                      </a:lnTo>
                      <a:lnTo>
                        <a:pt x="91" y="144"/>
                      </a:lnTo>
                      <a:lnTo>
                        <a:pt x="91" y="145"/>
                      </a:lnTo>
                      <a:lnTo>
                        <a:pt x="92" y="145"/>
                      </a:lnTo>
                      <a:lnTo>
                        <a:pt x="92" y="145"/>
                      </a:lnTo>
                      <a:lnTo>
                        <a:pt x="92" y="146"/>
                      </a:lnTo>
                      <a:lnTo>
                        <a:pt x="92" y="147"/>
                      </a:lnTo>
                      <a:lnTo>
                        <a:pt x="93" y="147"/>
                      </a:lnTo>
                      <a:lnTo>
                        <a:pt x="92" y="148"/>
                      </a:lnTo>
                      <a:lnTo>
                        <a:pt x="91" y="148"/>
                      </a:lnTo>
                      <a:lnTo>
                        <a:pt x="91" y="148"/>
                      </a:lnTo>
                      <a:lnTo>
                        <a:pt x="91" y="149"/>
                      </a:lnTo>
                      <a:lnTo>
                        <a:pt x="90" y="149"/>
                      </a:lnTo>
                      <a:lnTo>
                        <a:pt x="91" y="149"/>
                      </a:lnTo>
                      <a:lnTo>
                        <a:pt x="91" y="149"/>
                      </a:lnTo>
                      <a:lnTo>
                        <a:pt x="90" y="149"/>
                      </a:lnTo>
                      <a:lnTo>
                        <a:pt x="90" y="150"/>
                      </a:lnTo>
                      <a:lnTo>
                        <a:pt x="90" y="151"/>
                      </a:lnTo>
                      <a:lnTo>
                        <a:pt x="90" y="151"/>
                      </a:lnTo>
                      <a:lnTo>
                        <a:pt x="90" y="152"/>
                      </a:lnTo>
                      <a:lnTo>
                        <a:pt x="90" y="153"/>
                      </a:lnTo>
                      <a:lnTo>
                        <a:pt x="90" y="154"/>
                      </a:lnTo>
                      <a:lnTo>
                        <a:pt x="90" y="154"/>
                      </a:lnTo>
                      <a:lnTo>
                        <a:pt x="89" y="154"/>
                      </a:lnTo>
                      <a:lnTo>
                        <a:pt x="88" y="154"/>
                      </a:lnTo>
                      <a:lnTo>
                        <a:pt x="88" y="155"/>
                      </a:lnTo>
                      <a:lnTo>
                        <a:pt x="88" y="155"/>
                      </a:lnTo>
                      <a:lnTo>
                        <a:pt x="87" y="155"/>
                      </a:lnTo>
                      <a:lnTo>
                        <a:pt x="87" y="156"/>
                      </a:lnTo>
                      <a:lnTo>
                        <a:pt x="86" y="155"/>
                      </a:lnTo>
                      <a:lnTo>
                        <a:pt x="86" y="156"/>
                      </a:lnTo>
                      <a:lnTo>
                        <a:pt x="86" y="156"/>
                      </a:lnTo>
                      <a:lnTo>
                        <a:pt x="85" y="156"/>
                      </a:lnTo>
                      <a:lnTo>
                        <a:pt x="86" y="156"/>
                      </a:lnTo>
                      <a:lnTo>
                        <a:pt x="86" y="156"/>
                      </a:lnTo>
                      <a:lnTo>
                        <a:pt x="85" y="157"/>
                      </a:lnTo>
                      <a:lnTo>
                        <a:pt x="86" y="157"/>
                      </a:lnTo>
                      <a:lnTo>
                        <a:pt x="86" y="158"/>
                      </a:lnTo>
                      <a:lnTo>
                        <a:pt x="86" y="158"/>
                      </a:lnTo>
                      <a:lnTo>
                        <a:pt x="86" y="158"/>
                      </a:lnTo>
                      <a:lnTo>
                        <a:pt x="86" y="159"/>
                      </a:lnTo>
                      <a:lnTo>
                        <a:pt x="86" y="159"/>
                      </a:lnTo>
                      <a:lnTo>
                        <a:pt x="86" y="160"/>
                      </a:lnTo>
                      <a:lnTo>
                        <a:pt x="85" y="160"/>
                      </a:lnTo>
                      <a:lnTo>
                        <a:pt x="85" y="160"/>
                      </a:lnTo>
                      <a:lnTo>
                        <a:pt x="85" y="161"/>
                      </a:lnTo>
                      <a:lnTo>
                        <a:pt x="85" y="162"/>
                      </a:lnTo>
                      <a:lnTo>
                        <a:pt x="85" y="162"/>
                      </a:lnTo>
                      <a:lnTo>
                        <a:pt x="84" y="165"/>
                      </a:lnTo>
                      <a:lnTo>
                        <a:pt x="76" y="166"/>
                      </a:lnTo>
                      <a:lnTo>
                        <a:pt x="76" y="166"/>
                      </a:lnTo>
                      <a:lnTo>
                        <a:pt x="75" y="166"/>
                      </a:lnTo>
                      <a:lnTo>
                        <a:pt x="75" y="166"/>
                      </a:lnTo>
                      <a:lnTo>
                        <a:pt x="74" y="166"/>
                      </a:lnTo>
                      <a:lnTo>
                        <a:pt x="74" y="165"/>
                      </a:lnTo>
                      <a:lnTo>
                        <a:pt x="74" y="165"/>
                      </a:lnTo>
                      <a:lnTo>
                        <a:pt x="73" y="165"/>
                      </a:lnTo>
                      <a:lnTo>
                        <a:pt x="72" y="165"/>
                      </a:lnTo>
                      <a:lnTo>
                        <a:pt x="72" y="164"/>
                      </a:lnTo>
                      <a:lnTo>
                        <a:pt x="72" y="164"/>
                      </a:lnTo>
                      <a:lnTo>
                        <a:pt x="71" y="165"/>
                      </a:lnTo>
                      <a:lnTo>
                        <a:pt x="70" y="165"/>
                      </a:lnTo>
                      <a:lnTo>
                        <a:pt x="69" y="165"/>
                      </a:lnTo>
                      <a:lnTo>
                        <a:pt x="69" y="164"/>
                      </a:lnTo>
                      <a:lnTo>
                        <a:pt x="68" y="164"/>
                      </a:lnTo>
                      <a:lnTo>
                        <a:pt x="67" y="164"/>
                      </a:lnTo>
                      <a:lnTo>
                        <a:pt x="67" y="164"/>
                      </a:lnTo>
                      <a:lnTo>
                        <a:pt x="66" y="163"/>
                      </a:lnTo>
                      <a:lnTo>
                        <a:pt x="65" y="162"/>
                      </a:lnTo>
                      <a:lnTo>
                        <a:pt x="65" y="162"/>
                      </a:lnTo>
                      <a:lnTo>
                        <a:pt x="65" y="162"/>
                      </a:lnTo>
                      <a:lnTo>
                        <a:pt x="64" y="162"/>
                      </a:lnTo>
                      <a:lnTo>
                        <a:pt x="63" y="161"/>
                      </a:lnTo>
                      <a:lnTo>
                        <a:pt x="63" y="160"/>
                      </a:lnTo>
                      <a:lnTo>
                        <a:pt x="63" y="160"/>
                      </a:lnTo>
                      <a:lnTo>
                        <a:pt x="63" y="159"/>
                      </a:lnTo>
                      <a:lnTo>
                        <a:pt x="63" y="159"/>
                      </a:lnTo>
                      <a:lnTo>
                        <a:pt x="62" y="158"/>
                      </a:lnTo>
                      <a:lnTo>
                        <a:pt x="62" y="159"/>
                      </a:lnTo>
                      <a:lnTo>
                        <a:pt x="61" y="160"/>
                      </a:lnTo>
                      <a:lnTo>
                        <a:pt x="62" y="160"/>
                      </a:lnTo>
                      <a:lnTo>
                        <a:pt x="61" y="160"/>
                      </a:lnTo>
                      <a:lnTo>
                        <a:pt x="61" y="160"/>
                      </a:lnTo>
                      <a:lnTo>
                        <a:pt x="60" y="161"/>
                      </a:lnTo>
                      <a:lnTo>
                        <a:pt x="59" y="162"/>
                      </a:lnTo>
                      <a:lnTo>
                        <a:pt x="59" y="162"/>
                      </a:lnTo>
                      <a:lnTo>
                        <a:pt x="59" y="162"/>
                      </a:lnTo>
                      <a:lnTo>
                        <a:pt x="58" y="163"/>
                      </a:lnTo>
                      <a:lnTo>
                        <a:pt x="57" y="163"/>
                      </a:lnTo>
                      <a:lnTo>
                        <a:pt x="57" y="164"/>
                      </a:lnTo>
                      <a:lnTo>
                        <a:pt x="56" y="164"/>
                      </a:lnTo>
                      <a:lnTo>
                        <a:pt x="55" y="166"/>
                      </a:lnTo>
                      <a:lnTo>
                        <a:pt x="55" y="167"/>
                      </a:lnTo>
                      <a:lnTo>
                        <a:pt x="54" y="167"/>
                      </a:lnTo>
                      <a:lnTo>
                        <a:pt x="53" y="167"/>
                      </a:lnTo>
                      <a:lnTo>
                        <a:pt x="52" y="166"/>
                      </a:lnTo>
                      <a:lnTo>
                        <a:pt x="51" y="166"/>
                      </a:lnTo>
                      <a:lnTo>
                        <a:pt x="50" y="166"/>
                      </a:lnTo>
                      <a:lnTo>
                        <a:pt x="50" y="166"/>
                      </a:lnTo>
                      <a:lnTo>
                        <a:pt x="49" y="166"/>
                      </a:lnTo>
                      <a:lnTo>
                        <a:pt x="47" y="165"/>
                      </a:lnTo>
                      <a:lnTo>
                        <a:pt x="46" y="164"/>
                      </a:lnTo>
                      <a:lnTo>
                        <a:pt x="44" y="164"/>
                      </a:lnTo>
                      <a:lnTo>
                        <a:pt x="42" y="165"/>
                      </a:lnTo>
                      <a:lnTo>
                        <a:pt x="41" y="165"/>
                      </a:lnTo>
                      <a:lnTo>
                        <a:pt x="41" y="166"/>
                      </a:lnTo>
                      <a:lnTo>
                        <a:pt x="41" y="166"/>
                      </a:lnTo>
                      <a:lnTo>
                        <a:pt x="41" y="167"/>
                      </a:lnTo>
                      <a:lnTo>
                        <a:pt x="41" y="168"/>
                      </a:lnTo>
                      <a:lnTo>
                        <a:pt x="42" y="168"/>
                      </a:lnTo>
                      <a:lnTo>
                        <a:pt x="42" y="168"/>
                      </a:lnTo>
                      <a:lnTo>
                        <a:pt x="42" y="169"/>
                      </a:lnTo>
                      <a:lnTo>
                        <a:pt x="42" y="170"/>
                      </a:lnTo>
                      <a:lnTo>
                        <a:pt x="42" y="170"/>
                      </a:lnTo>
                      <a:lnTo>
                        <a:pt x="42" y="171"/>
                      </a:lnTo>
                      <a:lnTo>
                        <a:pt x="42" y="172"/>
                      </a:lnTo>
                      <a:lnTo>
                        <a:pt x="42" y="173"/>
                      </a:lnTo>
                      <a:lnTo>
                        <a:pt x="42" y="173"/>
                      </a:lnTo>
                      <a:lnTo>
                        <a:pt x="42" y="174"/>
                      </a:lnTo>
                      <a:lnTo>
                        <a:pt x="43" y="174"/>
                      </a:lnTo>
                      <a:lnTo>
                        <a:pt x="43" y="175"/>
                      </a:lnTo>
                      <a:lnTo>
                        <a:pt x="44" y="175"/>
                      </a:lnTo>
                      <a:lnTo>
                        <a:pt x="44" y="175"/>
                      </a:lnTo>
                      <a:lnTo>
                        <a:pt x="44" y="176"/>
                      </a:lnTo>
                      <a:lnTo>
                        <a:pt x="45" y="177"/>
                      </a:lnTo>
                      <a:lnTo>
                        <a:pt x="44" y="177"/>
                      </a:lnTo>
                      <a:lnTo>
                        <a:pt x="44" y="177"/>
                      </a:lnTo>
                      <a:lnTo>
                        <a:pt x="44" y="178"/>
                      </a:lnTo>
                      <a:lnTo>
                        <a:pt x="44" y="179"/>
                      </a:lnTo>
                      <a:lnTo>
                        <a:pt x="44" y="179"/>
                      </a:lnTo>
                      <a:lnTo>
                        <a:pt x="44" y="179"/>
                      </a:lnTo>
                      <a:lnTo>
                        <a:pt x="44" y="180"/>
                      </a:lnTo>
                      <a:lnTo>
                        <a:pt x="44" y="181"/>
                      </a:lnTo>
                      <a:lnTo>
                        <a:pt x="44" y="181"/>
                      </a:lnTo>
                      <a:lnTo>
                        <a:pt x="44" y="182"/>
                      </a:lnTo>
                      <a:lnTo>
                        <a:pt x="43" y="182"/>
                      </a:lnTo>
                      <a:lnTo>
                        <a:pt x="43" y="183"/>
                      </a:lnTo>
                      <a:lnTo>
                        <a:pt x="43" y="183"/>
                      </a:lnTo>
                      <a:lnTo>
                        <a:pt x="43" y="184"/>
                      </a:lnTo>
                      <a:lnTo>
                        <a:pt x="43" y="185"/>
                      </a:lnTo>
                      <a:lnTo>
                        <a:pt x="42" y="185"/>
                      </a:lnTo>
                      <a:lnTo>
                        <a:pt x="42" y="185"/>
                      </a:lnTo>
                      <a:lnTo>
                        <a:pt x="42" y="185"/>
                      </a:lnTo>
                      <a:lnTo>
                        <a:pt x="42" y="186"/>
                      </a:lnTo>
                      <a:lnTo>
                        <a:pt x="41" y="186"/>
                      </a:lnTo>
                      <a:lnTo>
                        <a:pt x="42" y="186"/>
                      </a:lnTo>
                      <a:lnTo>
                        <a:pt x="42" y="187"/>
                      </a:lnTo>
                      <a:lnTo>
                        <a:pt x="41" y="187"/>
                      </a:lnTo>
                      <a:lnTo>
                        <a:pt x="40" y="187"/>
                      </a:lnTo>
                      <a:lnTo>
                        <a:pt x="40" y="188"/>
                      </a:lnTo>
                      <a:lnTo>
                        <a:pt x="40" y="188"/>
                      </a:lnTo>
                      <a:lnTo>
                        <a:pt x="40" y="189"/>
                      </a:lnTo>
                      <a:lnTo>
                        <a:pt x="39" y="189"/>
                      </a:lnTo>
                      <a:lnTo>
                        <a:pt x="39" y="189"/>
                      </a:lnTo>
                      <a:lnTo>
                        <a:pt x="38" y="189"/>
                      </a:lnTo>
                      <a:lnTo>
                        <a:pt x="38" y="190"/>
                      </a:lnTo>
                      <a:lnTo>
                        <a:pt x="38" y="191"/>
                      </a:lnTo>
                      <a:lnTo>
                        <a:pt x="38" y="192"/>
                      </a:lnTo>
                      <a:lnTo>
                        <a:pt x="38" y="192"/>
                      </a:lnTo>
                      <a:lnTo>
                        <a:pt x="38" y="192"/>
                      </a:lnTo>
                      <a:lnTo>
                        <a:pt x="38" y="193"/>
                      </a:lnTo>
                      <a:lnTo>
                        <a:pt x="37" y="193"/>
                      </a:lnTo>
                      <a:lnTo>
                        <a:pt x="36" y="193"/>
                      </a:lnTo>
                      <a:lnTo>
                        <a:pt x="36" y="192"/>
                      </a:lnTo>
                      <a:lnTo>
                        <a:pt x="36" y="192"/>
                      </a:lnTo>
                      <a:lnTo>
                        <a:pt x="36" y="192"/>
                      </a:lnTo>
                      <a:lnTo>
                        <a:pt x="35" y="192"/>
                      </a:lnTo>
                      <a:lnTo>
                        <a:pt x="35" y="192"/>
                      </a:lnTo>
                      <a:lnTo>
                        <a:pt x="35" y="193"/>
                      </a:lnTo>
                      <a:lnTo>
                        <a:pt x="34" y="193"/>
                      </a:lnTo>
                      <a:lnTo>
                        <a:pt x="34" y="194"/>
                      </a:lnTo>
                      <a:lnTo>
                        <a:pt x="34" y="194"/>
                      </a:lnTo>
                      <a:lnTo>
                        <a:pt x="34" y="194"/>
                      </a:lnTo>
                      <a:lnTo>
                        <a:pt x="34" y="195"/>
                      </a:lnTo>
                      <a:lnTo>
                        <a:pt x="33" y="195"/>
                      </a:lnTo>
                      <a:lnTo>
                        <a:pt x="33" y="196"/>
                      </a:lnTo>
                      <a:lnTo>
                        <a:pt x="32" y="196"/>
                      </a:lnTo>
                      <a:lnTo>
                        <a:pt x="32" y="196"/>
                      </a:lnTo>
                      <a:lnTo>
                        <a:pt x="31" y="196"/>
                      </a:lnTo>
                      <a:lnTo>
                        <a:pt x="31" y="197"/>
                      </a:lnTo>
                      <a:lnTo>
                        <a:pt x="31" y="198"/>
                      </a:lnTo>
                      <a:lnTo>
                        <a:pt x="31" y="198"/>
                      </a:lnTo>
                      <a:lnTo>
                        <a:pt x="31" y="199"/>
                      </a:lnTo>
                      <a:lnTo>
                        <a:pt x="31" y="200"/>
                      </a:lnTo>
                      <a:lnTo>
                        <a:pt x="31" y="200"/>
                      </a:lnTo>
                      <a:lnTo>
                        <a:pt x="31" y="201"/>
                      </a:lnTo>
                      <a:lnTo>
                        <a:pt x="32" y="201"/>
                      </a:lnTo>
                      <a:lnTo>
                        <a:pt x="32" y="202"/>
                      </a:lnTo>
                      <a:lnTo>
                        <a:pt x="31" y="202"/>
                      </a:lnTo>
                      <a:lnTo>
                        <a:pt x="31" y="202"/>
                      </a:lnTo>
                      <a:lnTo>
                        <a:pt x="32" y="202"/>
                      </a:lnTo>
                      <a:lnTo>
                        <a:pt x="32" y="203"/>
                      </a:lnTo>
                      <a:lnTo>
                        <a:pt x="31" y="203"/>
                      </a:lnTo>
                      <a:lnTo>
                        <a:pt x="31" y="204"/>
                      </a:lnTo>
                      <a:lnTo>
                        <a:pt x="32" y="204"/>
                      </a:lnTo>
                      <a:lnTo>
                        <a:pt x="32" y="204"/>
                      </a:lnTo>
                      <a:lnTo>
                        <a:pt x="32" y="205"/>
                      </a:lnTo>
                      <a:lnTo>
                        <a:pt x="31" y="205"/>
                      </a:lnTo>
                      <a:lnTo>
                        <a:pt x="31" y="205"/>
                      </a:lnTo>
                      <a:lnTo>
                        <a:pt x="30" y="205"/>
                      </a:lnTo>
                      <a:lnTo>
                        <a:pt x="29" y="205"/>
                      </a:lnTo>
                      <a:lnTo>
                        <a:pt x="29" y="206"/>
                      </a:lnTo>
                      <a:lnTo>
                        <a:pt x="29" y="206"/>
                      </a:lnTo>
                      <a:lnTo>
                        <a:pt x="28" y="206"/>
                      </a:lnTo>
                      <a:lnTo>
                        <a:pt x="27" y="206"/>
                      </a:lnTo>
                      <a:lnTo>
                        <a:pt x="27" y="207"/>
                      </a:lnTo>
                      <a:lnTo>
                        <a:pt x="27" y="207"/>
                      </a:lnTo>
                      <a:lnTo>
                        <a:pt x="26" y="207"/>
                      </a:lnTo>
                      <a:lnTo>
                        <a:pt x="26" y="206"/>
                      </a:lnTo>
                      <a:lnTo>
                        <a:pt x="25" y="206"/>
                      </a:lnTo>
                      <a:lnTo>
                        <a:pt x="25" y="206"/>
                      </a:lnTo>
                      <a:lnTo>
                        <a:pt x="24" y="206"/>
                      </a:lnTo>
                      <a:lnTo>
                        <a:pt x="23" y="206"/>
                      </a:lnTo>
                      <a:lnTo>
                        <a:pt x="23" y="207"/>
                      </a:lnTo>
                      <a:lnTo>
                        <a:pt x="23" y="207"/>
                      </a:lnTo>
                      <a:lnTo>
                        <a:pt x="22" y="207"/>
                      </a:lnTo>
                      <a:lnTo>
                        <a:pt x="21" y="207"/>
                      </a:lnTo>
                      <a:lnTo>
                        <a:pt x="21" y="207"/>
                      </a:lnTo>
                      <a:lnTo>
                        <a:pt x="21" y="208"/>
                      </a:lnTo>
                      <a:lnTo>
                        <a:pt x="20" y="208"/>
                      </a:lnTo>
                      <a:lnTo>
                        <a:pt x="19" y="208"/>
                      </a:lnTo>
                      <a:lnTo>
                        <a:pt x="19" y="208"/>
                      </a:lnTo>
                      <a:lnTo>
                        <a:pt x="19" y="207"/>
                      </a:lnTo>
                      <a:lnTo>
                        <a:pt x="18" y="207"/>
                      </a:lnTo>
                      <a:lnTo>
                        <a:pt x="17" y="207"/>
                      </a:lnTo>
                      <a:lnTo>
                        <a:pt x="17" y="207"/>
                      </a:lnTo>
                      <a:lnTo>
                        <a:pt x="16" y="207"/>
                      </a:lnTo>
                      <a:lnTo>
                        <a:pt x="15" y="208"/>
                      </a:lnTo>
                      <a:lnTo>
                        <a:pt x="15" y="208"/>
                      </a:lnTo>
                      <a:lnTo>
                        <a:pt x="15" y="209"/>
                      </a:lnTo>
                      <a:lnTo>
                        <a:pt x="15" y="209"/>
                      </a:lnTo>
                      <a:lnTo>
                        <a:pt x="15" y="210"/>
                      </a:lnTo>
                      <a:lnTo>
                        <a:pt x="14" y="210"/>
                      </a:lnTo>
                      <a:lnTo>
                        <a:pt x="14" y="210"/>
                      </a:lnTo>
                      <a:lnTo>
                        <a:pt x="14" y="211"/>
                      </a:lnTo>
                      <a:lnTo>
                        <a:pt x="13" y="211"/>
                      </a:lnTo>
                      <a:lnTo>
                        <a:pt x="13" y="212"/>
                      </a:lnTo>
                      <a:lnTo>
                        <a:pt x="12" y="212"/>
                      </a:lnTo>
                      <a:lnTo>
                        <a:pt x="12" y="212"/>
                      </a:lnTo>
                      <a:lnTo>
                        <a:pt x="12" y="211"/>
                      </a:lnTo>
                      <a:lnTo>
                        <a:pt x="12" y="212"/>
                      </a:lnTo>
                      <a:lnTo>
                        <a:pt x="11" y="212"/>
                      </a:lnTo>
                      <a:lnTo>
                        <a:pt x="10" y="212"/>
                      </a:lnTo>
                      <a:lnTo>
                        <a:pt x="10" y="212"/>
                      </a:lnTo>
                      <a:lnTo>
                        <a:pt x="9" y="212"/>
                      </a:lnTo>
                      <a:lnTo>
                        <a:pt x="8" y="212"/>
                      </a:lnTo>
                      <a:lnTo>
                        <a:pt x="8" y="213"/>
                      </a:lnTo>
                      <a:lnTo>
                        <a:pt x="8" y="213"/>
                      </a:lnTo>
                      <a:lnTo>
                        <a:pt x="7" y="213"/>
                      </a:lnTo>
                      <a:lnTo>
                        <a:pt x="6" y="213"/>
                      </a:lnTo>
                      <a:lnTo>
                        <a:pt x="6" y="213"/>
                      </a:lnTo>
                      <a:lnTo>
                        <a:pt x="5" y="213"/>
                      </a:lnTo>
                      <a:lnTo>
                        <a:pt x="4" y="213"/>
                      </a:lnTo>
                      <a:lnTo>
                        <a:pt x="4" y="214"/>
                      </a:lnTo>
                      <a:lnTo>
                        <a:pt x="4" y="214"/>
                      </a:lnTo>
                      <a:lnTo>
                        <a:pt x="4" y="215"/>
                      </a:lnTo>
                      <a:lnTo>
                        <a:pt x="4" y="215"/>
                      </a:lnTo>
                      <a:lnTo>
                        <a:pt x="3" y="215"/>
                      </a:lnTo>
                      <a:lnTo>
                        <a:pt x="3" y="216"/>
                      </a:lnTo>
                      <a:lnTo>
                        <a:pt x="2" y="216"/>
                      </a:lnTo>
                      <a:lnTo>
                        <a:pt x="2" y="217"/>
                      </a:lnTo>
                      <a:lnTo>
                        <a:pt x="2" y="217"/>
                      </a:lnTo>
                      <a:lnTo>
                        <a:pt x="2" y="218"/>
                      </a:lnTo>
                      <a:lnTo>
                        <a:pt x="2" y="218"/>
                      </a:lnTo>
                      <a:lnTo>
                        <a:pt x="2" y="219"/>
                      </a:lnTo>
                      <a:lnTo>
                        <a:pt x="2" y="219"/>
                      </a:lnTo>
                      <a:lnTo>
                        <a:pt x="2" y="220"/>
                      </a:lnTo>
                      <a:lnTo>
                        <a:pt x="2" y="221"/>
                      </a:lnTo>
                      <a:lnTo>
                        <a:pt x="1" y="221"/>
                      </a:lnTo>
                      <a:lnTo>
                        <a:pt x="1" y="222"/>
                      </a:lnTo>
                      <a:lnTo>
                        <a:pt x="1" y="223"/>
                      </a:lnTo>
                      <a:lnTo>
                        <a:pt x="0" y="223"/>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9" name="Freeform 20">
                  <a:extLst>
                    <a:ext uri="{FF2B5EF4-FFF2-40B4-BE49-F238E27FC236}">
                      <a16:creationId xmlns:a16="http://schemas.microsoft.com/office/drawing/2014/main" xmlns="" id="{D2B3BF81-9626-E61F-F211-A9D67A4C2FD9}"/>
                    </a:ext>
                  </a:extLst>
                </p:cNvPr>
                <p:cNvSpPr>
                  <a:spLocks/>
                </p:cNvSpPr>
                <p:nvPr/>
              </p:nvSpPr>
              <p:spPr bwMode="auto">
                <a:xfrm>
                  <a:off x="3153" y="2866"/>
                  <a:ext cx="190" cy="238"/>
                </a:xfrm>
                <a:custGeom>
                  <a:avLst/>
                  <a:gdLst>
                    <a:gd name="T0" fmla="*/ 63 w 190"/>
                    <a:gd name="T1" fmla="*/ 10 h 238"/>
                    <a:gd name="T2" fmla="*/ 58 w 190"/>
                    <a:gd name="T3" fmla="*/ 37 h 238"/>
                    <a:gd name="T4" fmla="*/ 58 w 190"/>
                    <a:gd name="T5" fmla="*/ 51 h 238"/>
                    <a:gd name="T6" fmla="*/ 64 w 190"/>
                    <a:gd name="T7" fmla="*/ 54 h 238"/>
                    <a:gd name="T8" fmla="*/ 68 w 190"/>
                    <a:gd name="T9" fmla="*/ 63 h 238"/>
                    <a:gd name="T10" fmla="*/ 74 w 190"/>
                    <a:gd name="T11" fmla="*/ 70 h 238"/>
                    <a:gd name="T12" fmla="*/ 79 w 190"/>
                    <a:gd name="T13" fmla="*/ 74 h 238"/>
                    <a:gd name="T14" fmla="*/ 80 w 190"/>
                    <a:gd name="T15" fmla="*/ 80 h 238"/>
                    <a:gd name="T16" fmla="*/ 86 w 190"/>
                    <a:gd name="T17" fmla="*/ 86 h 238"/>
                    <a:gd name="T18" fmla="*/ 96 w 190"/>
                    <a:gd name="T19" fmla="*/ 86 h 238"/>
                    <a:gd name="T20" fmla="*/ 104 w 190"/>
                    <a:gd name="T21" fmla="*/ 84 h 238"/>
                    <a:gd name="T22" fmla="*/ 111 w 190"/>
                    <a:gd name="T23" fmla="*/ 89 h 238"/>
                    <a:gd name="T24" fmla="*/ 118 w 190"/>
                    <a:gd name="T25" fmla="*/ 93 h 238"/>
                    <a:gd name="T26" fmla="*/ 126 w 190"/>
                    <a:gd name="T27" fmla="*/ 100 h 238"/>
                    <a:gd name="T28" fmla="*/ 128 w 190"/>
                    <a:gd name="T29" fmla="*/ 105 h 238"/>
                    <a:gd name="T30" fmla="*/ 130 w 190"/>
                    <a:gd name="T31" fmla="*/ 111 h 238"/>
                    <a:gd name="T32" fmla="*/ 133 w 190"/>
                    <a:gd name="T33" fmla="*/ 118 h 238"/>
                    <a:gd name="T34" fmla="*/ 136 w 190"/>
                    <a:gd name="T35" fmla="*/ 124 h 238"/>
                    <a:gd name="T36" fmla="*/ 139 w 190"/>
                    <a:gd name="T37" fmla="*/ 131 h 238"/>
                    <a:gd name="T38" fmla="*/ 141 w 190"/>
                    <a:gd name="T39" fmla="*/ 138 h 238"/>
                    <a:gd name="T40" fmla="*/ 143 w 190"/>
                    <a:gd name="T41" fmla="*/ 143 h 238"/>
                    <a:gd name="T42" fmla="*/ 150 w 190"/>
                    <a:gd name="T43" fmla="*/ 147 h 238"/>
                    <a:gd name="T44" fmla="*/ 149 w 190"/>
                    <a:gd name="T45" fmla="*/ 154 h 238"/>
                    <a:gd name="T46" fmla="*/ 150 w 190"/>
                    <a:gd name="T47" fmla="*/ 157 h 238"/>
                    <a:gd name="T48" fmla="*/ 152 w 190"/>
                    <a:gd name="T49" fmla="*/ 167 h 238"/>
                    <a:gd name="T50" fmla="*/ 156 w 190"/>
                    <a:gd name="T51" fmla="*/ 175 h 238"/>
                    <a:gd name="T52" fmla="*/ 164 w 190"/>
                    <a:gd name="T53" fmla="*/ 179 h 238"/>
                    <a:gd name="T54" fmla="*/ 172 w 190"/>
                    <a:gd name="T55" fmla="*/ 183 h 238"/>
                    <a:gd name="T56" fmla="*/ 178 w 190"/>
                    <a:gd name="T57" fmla="*/ 190 h 238"/>
                    <a:gd name="T58" fmla="*/ 183 w 190"/>
                    <a:gd name="T59" fmla="*/ 192 h 238"/>
                    <a:gd name="T60" fmla="*/ 186 w 190"/>
                    <a:gd name="T61" fmla="*/ 200 h 238"/>
                    <a:gd name="T62" fmla="*/ 187 w 190"/>
                    <a:gd name="T63" fmla="*/ 204 h 238"/>
                    <a:gd name="T64" fmla="*/ 188 w 190"/>
                    <a:gd name="T65" fmla="*/ 212 h 238"/>
                    <a:gd name="T66" fmla="*/ 188 w 190"/>
                    <a:gd name="T67" fmla="*/ 218 h 238"/>
                    <a:gd name="T68" fmla="*/ 183 w 190"/>
                    <a:gd name="T69" fmla="*/ 223 h 238"/>
                    <a:gd name="T70" fmla="*/ 181 w 190"/>
                    <a:gd name="T71" fmla="*/ 229 h 238"/>
                    <a:gd name="T72" fmla="*/ 177 w 190"/>
                    <a:gd name="T73" fmla="*/ 235 h 238"/>
                    <a:gd name="T74" fmla="*/ 170 w 190"/>
                    <a:gd name="T75" fmla="*/ 225 h 238"/>
                    <a:gd name="T76" fmla="*/ 165 w 190"/>
                    <a:gd name="T77" fmla="*/ 223 h 238"/>
                    <a:gd name="T78" fmla="*/ 152 w 190"/>
                    <a:gd name="T79" fmla="*/ 225 h 238"/>
                    <a:gd name="T80" fmla="*/ 145 w 190"/>
                    <a:gd name="T81" fmla="*/ 232 h 238"/>
                    <a:gd name="T82" fmla="*/ 133 w 190"/>
                    <a:gd name="T83" fmla="*/ 236 h 238"/>
                    <a:gd name="T84" fmla="*/ 123 w 190"/>
                    <a:gd name="T85" fmla="*/ 237 h 238"/>
                    <a:gd name="T86" fmla="*/ 115 w 190"/>
                    <a:gd name="T87" fmla="*/ 232 h 238"/>
                    <a:gd name="T88" fmla="*/ 104 w 190"/>
                    <a:gd name="T89" fmla="*/ 227 h 238"/>
                    <a:gd name="T90" fmla="*/ 98 w 190"/>
                    <a:gd name="T91" fmla="*/ 219 h 238"/>
                    <a:gd name="T92" fmla="*/ 95 w 190"/>
                    <a:gd name="T93" fmla="*/ 211 h 238"/>
                    <a:gd name="T94" fmla="*/ 88 w 190"/>
                    <a:gd name="T95" fmla="*/ 202 h 238"/>
                    <a:gd name="T96" fmla="*/ 82 w 190"/>
                    <a:gd name="T97" fmla="*/ 201 h 238"/>
                    <a:gd name="T98" fmla="*/ 72 w 190"/>
                    <a:gd name="T99" fmla="*/ 201 h 238"/>
                    <a:gd name="T100" fmla="*/ 62 w 190"/>
                    <a:gd name="T101" fmla="*/ 198 h 238"/>
                    <a:gd name="T102" fmla="*/ 57 w 190"/>
                    <a:gd name="T103" fmla="*/ 190 h 238"/>
                    <a:gd name="T104" fmla="*/ 48 w 190"/>
                    <a:gd name="T105" fmla="*/ 188 h 238"/>
                    <a:gd name="T106" fmla="*/ 40 w 190"/>
                    <a:gd name="T107" fmla="*/ 190 h 238"/>
                    <a:gd name="T108" fmla="*/ 31 w 190"/>
                    <a:gd name="T109" fmla="*/ 193 h 238"/>
                    <a:gd name="T110" fmla="*/ 25 w 190"/>
                    <a:gd name="T111" fmla="*/ 198 h 238"/>
                    <a:gd name="T112" fmla="*/ 18 w 190"/>
                    <a:gd name="T113" fmla="*/ 204 h 238"/>
                    <a:gd name="T114" fmla="*/ 12 w 190"/>
                    <a:gd name="T115" fmla="*/ 208 h 238"/>
                    <a:gd name="T116" fmla="*/ 7 w 190"/>
                    <a:gd name="T117" fmla="*/ 211 h 238"/>
                    <a:gd name="T118" fmla="*/ 3 w 190"/>
                    <a:gd name="T119" fmla="*/ 21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38">
                      <a:moveTo>
                        <a:pt x="65" y="0"/>
                      </a:moveTo>
                      <a:lnTo>
                        <a:pt x="65" y="1"/>
                      </a:lnTo>
                      <a:lnTo>
                        <a:pt x="65" y="2"/>
                      </a:lnTo>
                      <a:lnTo>
                        <a:pt x="65" y="2"/>
                      </a:lnTo>
                      <a:lnTo>
                        <a:pt x="65" y="3"/>
                      </a:lnTo>
                      <a:lnTo>
                        <a:pt x="65" y="4"/>
                      </a:lnTo>
                      <a:lnTo>
                        <a:pt x="64" y="4"/>
                      </a:lnTo>
                      <a:lnTo>
                        <a:pt x="64" y="4"/>
                      </a:lnTo>
                      <a:lnTo>
                        <a:pt x="64" y="5"/>
                      </a:lnTo>
                      <a:lnTo>
                        <a:pt x="64" y="6"/>
                      </a:lnTo>
                      <a:lnTo>
                        <a:pt x="63" y="6"/>
                      </a:lnTo>
                      <a:lnTo>
                        <a:pt x="63" y="7"/>
                      </a:lnTo>
                      <a:lnTo>
                        <a:pt x="63" y="8"/>
                      </a:lnTo>
                      <a:lnTo>
                        <a:pt x="63" y="9"/>
                      </a:lnTo>
                      <a:lnTo>
                        <a:pt x="63" y="9"/>
                      </a:lnTo>
                      <a:lnTo>
                        <a:pt x="63" y="9"/>
                      </a:lnTo>
                      <a:lnTo>
                        <a:pt x="63" y="10"/>
                      </a:lnTo>
                      <a:lnTo>
                        <a:pt x="63" y="11"/>
                      </a:lnTo>
                      <a:lnTo>
                        <a:pt x="63" y="11"/>
                      </a:lnTo>
                      <a:lnTo>
                        <a:pt x="63" y="11"/>
                      </a:lnTo>
                      <a:lnTo>
                        <a:pt x="63" y="12"/>
                      </a:lnTo>
                      <a:lnTo>
                        <a:pt x="63" y="13"/>
                      </a:lnTo>
                      <a:lnTo>
                        <a:pt x="63" y="13"/>
                      </a:lnTo>
                      <a:lnTo>
                        <a:pt x="63" y="13"/>
                      </a:lnTo>
                      <a:lnTo>
                        <a:pt x="63" y="14"/>
                      </a:lnTo>
                      <a:lnTo>
                        <a:pt x="63" y="15"/>
                      </a:lnTo>
                      <a:lnTo>
                        <a:pt x="62" y="15"/>
                      </a:lnTo>
                      <a:lnTo>
                        <a:pt x="62" y="15"/>
                      </a:lnTo>
                      <a:lnTo>
                        <a:pt x="61" y="15"/>
                      </a:lnTo>
                      <a:lnTo>
                        <a:pt x="61" y="16"/>
                      </a:lnTo>
                      <a:lnTo>
                        <a:pt x="58" y="18"/>
                      </a:lnTo>
                      <a:lnTo>
                        <a:pt x="55" y="31"/>
                      </a:lnTo>
                      <a:lnTo>
                        <a:pt x="56" y="32"/>
                      </a:lnTo>
                      <a:lnTo>
                        <a:pt x="58" y="37"/>
                      </a:lnTo>
                      <a:lnTo>
                        <a:pt x="61" y="42"/>
                      </a:lnTo>
                      <a:lnTo>
                        <a:pt x="54" y="45"/>
                      </a:lnTo>
                      <a:lnTo>
                        <a:pt x="55" y="45"/>
                      </a:lnTo>
                      <a:lnTo>
                        <a:pt x="55" y="46"/>
                      </a:lnTo>
                      <a:lnTo>
                        <a:pt x="55" y="46"/>
                      </a:lnTo>
                      <a:lnTo>
                        <a:pt x="56" y="46"/>
                      </a:lnTo>
                      <a:lnTo>
                        <a:pt x="56" y="47"/>
                      </a:lnTo>
                      <a:lnTo>
                        <a:pt x="56" y="47"/>
                      </a:lnTo>
                      <a:lnTo>
                        <a:pt x="56" y="48"/>
                      </a:lnTo>
                      <a:lnTo>
                        <a:pt x="57" y="48"/>
                      </a:lnTo>
                      <a:lnTo>
                        <a:pt x="57" y="49"/>
                      </a:lnTo>
                      <a:lnTo>
                        <a:pt x="57" y="49"/>
                      </a:lnTo>
                      <a:lnTo>
                        <a:pt x="57" y="50"/>
                      </a:lnTo>
                      <a:lnTo>
                        <a:pt x="58" y="50"/>
                      </a:lnTo>
                      <a:lnTo>
                        <a:pt x="58" y="51"/>
                      </a:lnTo>
                      <a:lnTo>
                        <a:pt x="58" y="51"/>
                      </a:lnTo>
                      <a:lnTo>
                        <a:pt x="58" y="51"/>
                      </a:lnTo>
                      <a:lnTo>
                        <a:pt x="59" y="52"/>
                      </a:lnTo>
                      <a:lnTo>
                        <a:pt x="60" y="52"/>
                      </a:lnTo>
                      <a:lnTo>
                        <a:pt x="60" y="53"/>
                      </a:lnTo>
                      <a:lnTo>
                        <a:pt x="61" y="53"/>
                      </a:lnTo>
                      <a:lnTo>
                        <a:pt x="61" y="53"/>
                      </a:lnTo>
                      <a:lnTo>
                        <a:pt x="61" y="54"/>
                      </a:lnTo>
                      <a:lnTo>
                        <a:pt x="61" y="54"/>
                      </a:lnTo>
                      <a:lnTo>
                        <a:pt x="61" y="55"/>
                      </a:lnTo>
                      <a:lnTo>
                        <a:pt x="62" y="55"/>
                      </a:lnTo>
                      <a:lnTo>
                        <a:pt x="62" y="54"/>
                      </a:lnTo>
                      <a:lnTo>
                        <a:pt x="63" y="54"/>
                      </a:lnTo>
                      <a:lnTo>
                        <a:pt x="63" y="55"/>
                      </a:lnTo>
                      <a:lnTo>
                        <a:pt x="63" y="55"/>
                      </a:lnTo>
                      <a:lnTo>
                        <a:pt x="63" y="54"/>
                      </a:lnTo>
                      <a:lnTo>
                        <a:pt x="63" y="53"/>
                      </a:lnTo>
                      <a:lnTo>
                        <a:pt x="64" y="53"/>
                      </a:lnTo>
                      <a:lnTo>
                        <a:pt x="64" y="54"/>
                      </a:lnTo>
                      <a:lnTo>
                        <a:pt x="65" y="55"/>
                      </a:lnTo>
                      <a:lnTo>
                        <a:pt x="65" y="55"/>
                      </a:lnTo>
                      <a:lnTo>
                        <a:pt x="65" y="55"/>
                      </a:lnTo>
                      <a:lnTo>
                        <a:pt x="66" y="56"/>
                      </a:lnTo>
                      <a:lnTo>
                        <a:pt x="65" y="56"/>
                      </a:lnTo>
                      <a:lnTo>
                        <a:pt x="65" y="57"/>
                      </a:lnTo>
                      <a:lnTo>
                        <a:pt x="65" y="57"/>
                      </a:lnTo>
                      <a:lnTo>
                        <a:pt x="66" y="58"/>
                      </a:lnTo>
                      <a:lnTo>
                        <a:pt x="66" y="59"/>
                      </a:lnTo>
                      <a:lnTo>
                        <a:pt x="66" y="59"/>
                      </a:lnTo>
                      <a:lnTo>
                        <a:pt x="67" y="60"/>
                      </a:lnTo>
                      <a:lnTo>
                        <a:pt x="67" y="61"/>
                      </a:lnTo>
                      <a:lnTo>
                        <a:pt x="67" y="61"/>
                      </a:lnTo>
                      <a:lnTo>
                        <a:pt x="67" y="61"/>
                      </a:lnTo>
                      <a:lnTo>
                        <a:pt x="68" y="61"/>
                      </a:lnTo>
                      <a:lnTo>
                        <a:pt x="68" y="62"/>
                      </a:lnTo>
                      <a:lnTo>
                        <a:pt x="68" y="63"/>
                      </a:lnTo>
                      <a:lnTo>
                        <a:pt x="69" y="63"/>
                      </a:lnTo>
                      <a:lnTo>
                        <a:pt x="69" y="63"/>
                      </a:lnTo>
                      <a:lnTo>
                        <a:pt x="69" y="63"/>
                      </a:lnTo>
                      <a:lnTo>
                        <a:pt x="69" y="64"/>
                      </a:lnTo>
                      <a:lnTo>
                        <a:pt x="70" y="64"/>
                      </a:lnTo>
                      <a:lnTo>
                        <a:pt x="70" y="65"/>
                      </a:lnTo>
                      <a:lnTo>
                        <a:pt x="70" y="65"/>
                      </a:lnTo>
                      <a:lnTo>
                        <a:pt x="70" y="66"/>
                      </a:lnTo>
                      <a:lnTo>
                        <a:pt x="71" y="66"/>
                      </a:lnTo>
                      <a:lnTo>
                        <a:pt x="71" y="67"/>
                      </a:lnTo>
                      <a:lnTo>
                        <a:pt x="71" y="68"/>
                      </a:lnTo>
                      <a:lnTo>
                        <a:pt x="71" y="68"/>
                      </a:lnTo>
                      <a:lnTo>
                        <a:pt x="72" y="68"/>
                      </a:lnTo>
                      <a:lnTo>
                        <a:pt x="73" y="69"/>
                      </a:lnTo>
                      <a:lnTo>
                        <a:pt x="73" y="70"/>
                      </a:lnTo>
                      <a:lnTo>
                        <a:pt x="73" y="70"/>
                      </a:lnTo>
                      <a:lnTo>
                        <a:pt x="74" y="70"/>
                      </a:lnTo>
                      <a:lnTo>
                        <a:pt x="75" y="70"/>
                      </a:lnTo>
                      <a:lnTo>
                        <a:pt x="75" y="70"/>
                      </a:lnTo>
                      <a:lnTo>
                        <a:pt x="75" y="70"/>
                      </a:lnTo>
                      <a:lnTo>
                        <a:pt x="76" y="70"/>
                      </a:lnTo>
                      <a:lnTo>
                        <a:pt x="77" y="70"/>
                      </a:lnTo>
                      <a:lnTo>
                        <a:pt x="77" y="71"/>
                      </a:lnTo>
                      <a:lnTo>
                        <a:pt x="77" y="71"/>
                      </a:lnTo>
                      <a:lnTo>
                        <a:pt x="77" y="70"/>
                      </a:lnTo>
                      <a:lnTo>
                        <a:pt x="78" y="70"/>
                      </a:lnTo>
                      <a:lnTo>
                        <a:pt x="78" y="71"/>
                      </a:lnTo>
                      <a:lnTo>
                        <a:pt x="78" y="72"/>
                      </a:lnTo>
                      <a:lnTo>
                        <a:pt x="78" y="72"/>
                      </a:lnTo>
                      <a:lnTo>
                        <a:pt x="79" y="72"/>
                      </a:lnTo>
                      <a:lnTo>
                        <a:pt x="79" y="73"/>
                      </a:lnTo>
                      <a:lnTo>
                        <a:pt x="78" y="73"/>
                      </a:lnTo>
                      <a:lnTo>
                        <a:pt x="78" y="74"/>
                      </a:lnTo>
                      <a:lnTo>
                        <a:pt x="79" y="74"/>
                      </a:lnTo>
                      <a:lnTo>
                        <a:pt x="79" y="74"/>
                      </a:lnTo>
                      <a:lnTo>
                        <a:pt x="78" y="74"/>
                      </a:lnTo>
                      <a:lnTo>
                        <a:pt x="78" y="75"/>
                      </a:lnTo>
                      <a:lnTo>
                        <a:pt x="77" y="75"/>
                      </a:lnTo>
                      <a:lnTo>
                        <a:pt x="77" y="76"/>
                      </a:lnTo>
                      <a:lnTo>
                        <a:pt x="78" y="76"/>
                      </a:lnTo>
                      <a:lnTo>
                        <a:pt x="78" y="76"/>
                      </a:lnTo>
                      <a:lnTo>
                        <a:pt x="79" y="76"/>
                      </a:lnTo>
                      <a:lnTo>
                        <a:pt x="79" y="77"/>
                      </a:lnTo>
                      <a:lnTo>
                        <a:pt x="79" y="78"/>
                      </a:lnTo>
                      <a:lnTo>
                        <a:pt x="79" y="78"/>
                      </a:lnTo>
                      <a:lnTo>
                        <a:pt x="79" y="79"/>
                      </a:lnTo>
                      <a:lnTo>
                        <a:pt x="79" y="78"/>
                      </a:lnTo>
                      <a:lnTo>
                        <a:pt x="80" y="78"/>
                      </a:lnTo>
                      <a:lnTo>
                        <a:pt x="80" y="79"/>
                      </a:lnTo>
                      <a:lnTo>
                        <a:pt x="80" y="80"/>
                      </a:lnTo>
                      <a:lnTo>
                        <a:pt x="80" y="80"/>
                      </a:lnTo>
                      <a:lnTo>
                        <a:pt x="80" y="80"/>
                      </a:lnTo>
                      <a:lnTo>
                        <a:pt x="80" y="81"/>
                      </a:lnTo>
                      <a:lnTo>
                        <a:pt x="81" y="81"/>
                      </a:lnTo>
                      <a:lnTo>
                        <a:pt x="81" y="82"/>
                      </a:lnTo>
                      <a:lnTo>
                        <a:pt x="82" y="82"/>
                      </a:lnTo>
                      <a:lnTo>
                        <a:pt x="82" y="82"/>
                      </a:lnTo>
                      <a:lnTo>
                        <a:pt x="82" y="82"/>
                      </a:lnTo>
                      <a:lnTo>
                        <a:pt x="82" y="83"/>
                      </a:lnTo>
                      <a:lnTo>
                        <a:pt x="83" y="83"/>
                      </a:lnTo>
                      <a:lnTo>
                        <a:pt x="83" y="84"/>
                      </a:lnTo>
                      <a:lnTo>
                        <a:pt x="84" y="84"/>
                      </a:lnTo>
                      <a:lnTo>
                        <a:pt x="84" y="84"/>
                      </a:lnTo>
                      <a:lnTo>
                        <a:pt x="84" y="84"/>
                      </a:lnTo>
                      <a:lnTo>
                        <a:pt x="84" y="85"/>
                      </a:lnTo>
                      <a:lnTo>
                        <a:pt x="85" y="85"/>
                      </a:lnTo>
                      <a:lnTo>
                        <a:pt x="86" y="85"/>
                      </a:lnTo>
                      <a:lnTo>
                        <a:pt x="86" y="86"/>
                      </a:lnTo>
                      <a:lnTo>
                        <a:pt x="86" y="86"/>
                      </a:lnTo>
                      <a:lnTo>
                        <a:pt x="86" y="85"/>
                      </a:lnTo>
                      <a:lnTo>
                        <a:pt x="87" y="85"/>
                      </a:lnTo>
                      <a:lnTo>
                        <a:pt x="87" y="86"/>
                      </a:lnTo>
                      <a:lnTo>
                        <a:pt x="88" y="86"/>
                      </a:lnTo>
                      <a:lnTo>
                        <a:pt x="88" y="86"/>
                      </a:lnTo>
                      <a:lnTo>
                        <a:pt x="89" y="86"/>
                      </a:lnTo>
                      <a:lnTo>
                        <a:pt x="90" y="86"/>
                      </a:lnTo>
                      <a:lnTo>
                        <a:pt x="90" y="86"/>
                      </a:lnTo>
                      <a:lnTo>
                        <a:pt x="91" y="86"/>
                      </a:lnTo>
                      <a:lnTo>
                        <a:pt x="92" y="86"/>
                      </a:lnTo>
                      <a:lnTo>
                        <a:pt x="92" y="86"/>
                      </a:lnTo>
                      <a:lnTo>
                        <a:pt x="93" y="86"/>
                      </a:lnTo>
                      <a:lnTo>
                        <a:pt x="94" y="86"/>
                      </a:lnTo>
                      <a:lnTo>
                        <a:pt x="94" y="86"/>
                      </a:lnTo>
                      <a:lnTo>
                        <a:pt x="95" y="86"/>
                      </a:lnTo>
                      <a:lnTo>
                        <a:pt x="96" y="86"/>
                      </a:lnTo>
                      <a:lnTo>
                        <a:pt x="96" y="86"/>
                      </a:lnTo>
                      <a:lnTo>
                        <a:pt x="96" y="86"/>
                      </a:lnTo>
                      <a:lnTo>
                        <a:pt x="96" y="86"/>
                      </a:lnTo>
                      <a:lnTo>
                        <a:pt x="97" y="86"/>
                      </a:lnTo>
                      <a:lnTo>
                        <a:pt x="98" y="85"/>
                      </a:lnTo>
                      <a:lnTo>
                        <a:pt x="99" y="85"/>
                      </a:lnTo>
                      <a:lnTo>
                        <a:pt x="99" y="84"/>
                      </a:lnTo>
                      <a:lnTo>
                        <a:pt x="99" y="84"/>
                      </a:lnTo>
                      <a:lnTo>
                        <a:pt x="100" y="84"/>
                      </a:lnTo>
                      <a:lnTo>
                        <a:pt x="101" y="84"/>
                      </a:lnTo>
                      <a:lnTo>
                        <a:pt x="101" y="84"/>
                      </a:lnTo>
                      <a:lnTo>
                        <a:pt x="102" y="84"/>
                      </a:lnTo>
                      <a:lnTo>
                        <a:pt x="102" y="84"/>
                      </a:lnTo>
                      <a:lnTo>
                        <a:pt x="103" y="84"/>
                      </a:lnTo>
                      <a:lnTo>
                        <a:pt x="103" y="84"/>
                      </a:lnTo>
                      <a:lnTo>
                        <a:pt x="103" y="84"/>
                      </a:lnTo>
                      <a:lnTo>
                        <a:pt x="104" y="84"/>
                      </a:lnTo>
                      <a:lnTo>
                        <a:pt x="105" y="84"/>
                      </a:lnTo>
                      <a:lnTo>
                        <a:pt x="105" y="84"/>
                      </a:lnTo>
                      <a:lnTo>
                        <a:pt x="105" y="84"/>
                      </a:lnTo>
                      <a:lnTo>
                        <a:pt x="105" y="85"/>
                      </a:lnTo>
                      <a:lnTo>
                        <a:pt x="105" y="86"/>
                      </a:lnTo>
                      <a:lnTo>
                        <a:pt x="105" y="86"/>
                      </a:lnTo>
                      <a:lnTo>
                        <a:pt x="106" y="86"/>
                      </a:lnTo>
                      <a:lnTo>
                        <a:pt x="107" y="87"/>
                      </a:lnTo>
                      <a:lnTo>
                        <a:pt x="107" y="88"/>
                      </a:lnTo>
                      <a:lnTo>
                        <a:pt x="107" y="88"/>
                      </a:lnTo>
                      <a:lnTo>
                        <a:pt x="108" y="88"/>
                      </a:lnTo>
                      <a:lnTo>
                        <a:pt x="109" y="88"/>
                      </a:lnTo>
                      <a:lnTo>
                        <a:pt x="109" y="88"/>
                      </a:lnTo>
                      <a:lnTo>
                        <a:pt x="109" y="89"/>
                      </a:lnTo>
                      <a:lnTo>
                        <a:pt x="110" y="89"/>
                      </a:lnTo>
                      <a:lnTo>
                        <a:pt x="111" y="89"/>
                      </a:lnTo>
                      <a:lnTo>
                        <a:pt x="111" y="89"/>
                      </a:lnTo>
                      <a:lnTo>
                        <a:pt x="111" y="89"/>
                      </a:lnTo>
                      <a:lnTo>
                        <a:pt x="112" y="89"/>
                      </a:lnTo>
                      <a:lnTo>
                        <a:pt x="113" y="89"/>
                      </a:lnTo>
                      <a:lnTo>
                        <a:pt x="113" y="89"/>
                      </a:lnTo>
                      <a:lnTo>
                        <a:pt x="113" y="90"/>
                      </a:lnTo>
                      <a:lnTo>
                        <a:pt x="114" y="90"/>
                      </a:lnTo>
                      <a:lnTo>
                        <a:pt x="114" y="91"/>
                      </a:lnTo>
                      <a:lnTo>
                        <a:pt x="115" y="91"/>
                      </a:lnTo>
                      <a:lnTo>
                        <a:pt x="115" y="91"/>
                      </a:lnTo>
                      <a:lnTo>
                        <a:pt x="115" y="91"/>
                      </a:lnTo>
                      <a:lnTo>
                        <a:pt x="116" y="91"/>
                      </a:lnTo>
                      <a:lnTo>
                        <a:pt x="117" y="91"/>
                      </a:lnTo>
                      <a:lnTo>
                        <a:pt x="117" y="92"/>
                      </a:lnTo>
                      <a:lnTo>
                        <a:pt x="118" y="92"/>
                      </a:lnTo>
                      <a:lnTo>
                        <a:pt x="118" y="92"/>
                      </a:lnTo>
                      <a:lnTo>
                        <a:pt x="118" y="93"/>
                      </a:lnTo>
                      <a:lnTo>
                        <a:pt x="118" y="93"/>
                      </a:lnTo>
                      <a:lnTo>
                        <a:pt x="119" y="93"/>
                      </a:lnTo>
                      <a:lnTo>
                        <a:pt x="119" y="94"/>
                      </a:lnTo>
                      <a:lnTo>
                        <a:pt x="120" y="94"/>
                      </a:lnTo>
                      <a:lnTo>
                        <a:pt x="120" y="95"/>
                      </a:lnTo>
                      <a:lnTo>
                        <a:pt x="121" y="95"/>
                      </a:lnTo>
                      <a:lnTo>
                        <a:pt x="122" y="95"/>
                      </a:lnTo>
                      <a:lnTo>
                        <a:pt x="122" y="95"/>
                      </a:lnTo>
                      <a:lnTo>
                        <a:pt x="122" y="96"/>
                      </a:lnTo>
                      <a:lnTo>
                        <a:pt x="123" y="97"/>
                      </a:lnTo>
                      <a:lnTo>
                        <a:pt x="124" y="97"/>
                      </a:lnTo>
                      <a:lnTo>
                        <a:pt x="124" y="98"/>
                      </a:lnTo>
                      <a:lnTo>
                        <a:pt x="124" y="99"/>
                      </a:lnTo>
                      <a:lnTo>
                        <a:pt x="124" y="99"/>
                      </a:lnTo>
                      <a:lnTo>
                        <a:pt x="124" y="99"/>
                      </a:lnTo>
                      <a:lnTo>
                        <a:pt x="125" y="99"/>
                      </a:lnTo>
                      <a:lnTo>
                        <a:pt x="126" y="99"/>
                      </a:lnTo>
                      <a:lnTo>
                        <a:pt x="126" y="100"/>
                      </a:lnTo>
                      <a:lnTo>
                        <a:pt x="126" y="100"/>
                      </a:lnTo>
                      <a:lnTo>
                        <a:pt x="126" y="101"/>
                      </a:lnTo>
                      <a:lnTo>
                        <a:pt x="126" y="101"/>
                      </a:lnTo>
                      <a:lnTo>
                        <a:pt x="126" y="101"/>
                      </a:lnTo>
                      <a:lnTo>
                        <a:pt x="127" y="101"/>
                      </a:lnTo>
                      <a:lnTo>
                        <a:pt x="127" y="101"/>
                      </a:lnTo>
                      <a:lnTo>
                        <a:pt x="128" y="101"/>
                      </a:lnTo>
                      <a:lnTo>
                        <a:pt x="128" y="101"/>
                      </a:lnTo>
                      <a:lnTo>
                        <a:pt x="128" y="102"/>
                      </a:lnTo>
                      <a:lnTo>
                        <a:pt x="127" y="102"/>
                      </a:lnTo>
                      <a:lnTo>
                        <a:pt x="127" y="103"/>
                      </a:lnTo>
                      <a:lnTo>
                        <a:pt x="127" y="103"/>
                      </a:lnTo>
                      <a:lnTo>
                        <a:pt x="128" y="103"/>
                      </a:lnTo>
                      <a:lnTo>
                        <a:pt x="128" y="104"/>
                      </a:lnTo>
                      <a:lnTo>
                        <a:pt x="128" y="104"/>
                      </a:lnTo>
                      <a:lnTo>
                        <a:pt x="128" y="105"/>
                      </a:lnTo>
                      <a:lnTo>
                        <a:pt x="128" y="105"/>
                      </a:lnTo>
                      <a:lnTo>
                        <a:pt x="128" y="106"/>
                      </a:lnTo>
                      <a:lnTo>
                        <a:pt x="128" y="107"/>
                      </a:lnTo>
                      <a:lnTo>
                        <a:pt x="128" y="107"/>
                      </a:lnTo>
                      <a:lnTo>
                        <a:pt x="128" y="108"/>
                      </a:lnTo>
                      <a:lnTo>
                        <a:pt x="129" y="108"/>
                      </a:lnTo>
                      <a:lnTo>
                        <a:pt x="130" y="108"/>
                      </a:lnTo>
                      <a:lnTo>
                        <a:pt x="130" y="108"/>
                      </a:lnTo>
                      <a:lnTo>
                        <a:pt x="130" y="108"/>
                      </a:lnTo>
                      <a:lnTo>
                        <a:pt x="130" y="108"/>
                      </a:lnTo>
                      <a:lnTo>
                        <a:pt x="130" y="108"/>
                      </a:lnTo>
                      <a:lnTo>
                        <a:pt x="131" y="108"/>
                      </a:lnTo>
                      <a:lnTo>
                        <a:pt x="131" y="109"/>
                      </a:lnTo>
                      <a:lnTo>
                        <a:pt x="131" y="110"/>
                      </a:lnTo>
                      <a:lnTo>
                        <a:pt x="131" y="110"/>
                      </a:lnTo>
                      <a:lnTo>
                        <a:pt x="130" y="110"/>
                      </a:lnTo>
                      <a:lnTo>
                        <a:pt x="130" y="111"/>
                      </a:lnTo>
                      <a:lnTo>
                        <a:pt x="130" y="111"/>
                      </a:lnTo>
                      <a:lnTo>
                        <a:pt x="130" y="112"/>
                      </a:lnTo>
                      <a:lnTo>
                        <a:pt x="130" y="112"/>
                      </a:lnTo>
                      <a:lnTo>
                        <a:pt x="131" y="112"/>
                      </a:lnTo>
                      <a:lnTo>
                        <a:pt x="131" y="112"/>
                      </a:lnTo>
                      <a:lnTo>
                        <a:pt x="132" y="113"/>
                      </a:lnTo>
                      <a:lnTo>
                        <a:pt x="132" y="113"/>
                      </a:lnTo>
                      <a:lnTo>
                        <a:pt x="133" y="114"/>
                      </a:lnTo>
                      <a:lnTo>
                        <a:pt x="133" y="114"/>
                      </a:lnTo>
                      <a:lnTo>
                        <a:pt x="134" y="114"/>
                      </a:lnTo>
                      <a:lnTo>
                        <a:pt x="134" y="115"/>
                      </a:lnTo>
                      <a:lnTo>
                        <a:pt x="134" y="115"/>
                      </a:lnTo>
                      <a:lnTo>
                        <a:pt x="134" y="116"/>
                      </a:lnTo>
                      <a:lnTo>
                        <a:pt x="134" y="116"/>
                      </a:lnTo>
                      <a:lnTo>
                        <a:pt x="134" y="116"/>
                      </a:lnTo>
                      <a:lnTo>
                        <a:pt x="133" y="117"/>
                      </a:lnTo>
                      <a:lnTo>
                        <a:pt x="133" y="118"/>
                      </a:lnTo>
                      <a:lnTo>
                        <a:pt x="133" y="118"/>
                      </a:lnTo>
                      <a:lnTo>
                        <a:pt x="134" y="118"/>
                      </a:lnTo>
                      <a:lnTo>
                        <a:pt x="134" y="118"/>
                      </a:lnTo>
                      <a:lnTo>
                        <a:pt x="134" y="119"/>
                      </a:lnTo>
                      <a:lnTo>
                        <a:pt x="134" y="120"/>
                      </a:lnTo>
                      <a:lnTo>
                        <a:pt x="134" y="120"/>
                      </a:lnTo>
                      <a:lnTo>
                        <a:pt x="134" y="121"/>
                      </a:lnTo>
                      <a:lnTo>
                        <a:pt x="134" y="121"/>
                      </a:lnTo>
                      <a:lnTo>
                        <a:pt x="135" y="121"/>
                      </a:lnTo>
                      <a:lnTo>
                        <a:pt x="135" y="120"/>
                      </a:lnTo>
                      <a:lnTo>
                        <a:pt x="136" y="121"/>
                      </a:lnTo>
                      <a:lnTo>
                        <a:pt x="135" y="121"/>
                      </a:lnTo>
                      <a:lnTo>
                        <a:pt x="135" y="122"/>
                      </a:lnTo>
                      <a:lnTo>
                        <a:pt x="136" y="122"/>
                      </a:lnTo>
                      <a:lnTo>
                        <a:pt x="136" y="122"/>
                      </a:lnTo>
                      <a:lnTo>
                        <a:pt x="136" y="123"/>
                      </a:lnTo>
                      <a:lnTo>
                        <a:pt x="136" y="124"/>
                      </a:lnTo>
                      <a:lnTo>
                        <a:pt x="136" y="124"/>
                      </a:lnTo>
                      <a:lnTo>
                        <a:pt x="137" y="125"/>
                      </a:lnTo>
                      <a:lnTo>
                        <a:pt x="137" y="126"/>
                      </a:lnTo>
                      <a:lnTo>
                        <a:pt x="137" y="127"/>
                      </a:lnTo>
                      <a:lnTo>
                        <a:pt x="137" y="127"/>
                      </a:lnTo>
                      <a:lnTo>
                        <a:pt x="137" y="128"/>
                      </a:lnTo>
                      <a:lnTo>
                        <a:pt x="138" y="128"/>
                      </a:lnTo>
                      <a:lnTo>
                        <a:pt x="139" y="128"/>
                      </a:lnTo>
                      <a:lnTo>
                        <a:pt x="138" y="128"/>
                      </a:lnTo>
                      <a:lnTo>
                        <a:pt x="138" y="129"/>
                      </a:lnTo>
                      <a:lnTo>
                        <a:pt x="137" y="129"/>
                      </a:lnTo>
                      <a:lnTo>
                        <a:pt x="137" y="130"/>
                      </a:lnTo>
                      <a:lnTo>
                        <a:pt x="137" y="130"/>
                      </a:lnTo>
                      <a:lnTo>
                        <a:pt x="137" y="131"/>
                      </a:lnTo>
                      <a:lnTo>
                        <a:pt x="137" y="131"/>
                      </a:lnTo>
                      <a:lnTo>
                        <a:pt x="137" y="131"/>
                      </a:lnTo>
                      <a:lnTo>
                        <a:pt x="138" y="131"/>
                      </a:lnTo>
                      <a:lnTo>
                        <a:pt x="139" y="131"/>
                      </a:lnTo>
                      <a:lnTo>
                        <a:pt x="138" y="132"/>
                      </a:lnTo>
                      <a:lnTo>
                        <a:pt x="139" y="132"/>
                      </a:lnTo>
                      <a:lnTo>
                        <a:pt x="139" y="133"/>
                      </a:lnTo>
                      <a:lnTo>
                        <a:pt x="139" y="133"/>
                      </a:lnTo>
                      <a:lnTo>
                        <a:pt x="138" y="133"/>
                      </a:lnTo>
                      <a:lnTo>
                        <a:pt x="138" y="134"/>
                      </a:lnTo>
                      <a:lnTo>
                        <a:pt x="138" y="135"/>
                      </a:lnTo>
                      <a:lnTo>
                        <a:pt x="138" y="135"/>
                      </a:lnTo>
                      <a:lnTo>
                        <a:pt x="137" y="136"/>
                      </a:lnTo>
                      <a:lnTo>
                        <a:pt x="137" y="137"/>
                      </a:lnTo>
                      <a:lnTo>
                        <a:pt x="138" y="137"/>
                      </a:lnTo>
                      <a:lnTo>
                        <a:pt x="139" y="137"/>
                      </a:lnTo>
                      <a:lnTo>
                        <a:pt x="139" y="137"/>
                      </a:lnTo>
                      <a:lnTo>
                        <a:pt x="140" y="137"/>
                      </a:lnTo>
                      <a:lnTo>
                        <a:pt x="141" y="137"/>
                      </a:lnTo>
                      <a:lnTo>
                        <a:pt x="141" y="137"/>
                      </a:lnTo>
                      <a:lnTo>
                        <a:pt x="141" y="138"/>
                      </a:lnTo>
                      <a:lnTo>
                        <a:pt x="141" y="139"/>
                      </a:lnTo>
                      <a:lnTo>
                        <a:pt x="141" y="139"/>
                      </a:lnTo>
                      <a:lnTo>
                        <a:pt x="141" y="139"/>
                      </a:lnTo>
                      <a:lnTo>
                        <a:pt x="142" y="139"/>
                      </a:lnTo>
                      <a:lnTo>
                        <a:pt x="143" y="139"/>
                      </a:lnTo>
                      <a:lnTo>
                        <a:pt x="143" y="140"/>
                      </a:lnTo>
                      <a:lnTo>
                        <a:pt x="142" y="141"/>
                      </a:lnTo>
                      <a:lnTo>
                        <a:pt x="141" y="141"/>
                      </a:lnTo>
                      <a:lnTo>
                        <a:pt x="141" y="141"/>
                      </a:lnTo>
                      <a:lnTo>
                        <a:pt x="141" y="142"/>
                      </a:lnTo>
                      <a:lnTo>
                        <a:pt x="142" y="143"/>
                      </a:lnTo>
                      <a:lnTo>
                        <a:pt x="143" y="143"/>
                      </a:lnTo>
                      <a:lnTo>
                        <a:pt x="143" y="144"/>
                      </a:lnTo>
                      <a:lnTo>
                        <a:pt x="143" y="144"/>
                      </a:lnTo>
                      <a:lnTo>
                        <a:pt x="143" y="145"/>
                      </a:lnTo>
                      <a:lnTo>
                        <a:pt x="143" y="144"/>
                      </a:lnTo>
                      <a:lnTo>
                        <a:pt x="143" y="143"/>
                      </a:lnTo>
                      <a:lnTo>
                        <a:pt x="144" y="143"/>
                      </a:lnTo>
                      <a:lnTo>
                        <a:pt x="144" y="144"/>
                      </a:lnTo>
                      <a:lnTo>
                        <a:pt x="144" y="145"/>
                      </a:lnTo>
                      <a:lnTo>
                        <a:pt x="145" y="145"/>
                      </a:lnTo>
                      <a:lnTo>
                        <a:pt x="145" y="144"/>
                      </a:lnTo>
                      <a:lnTo>
                        <a:pt x="145" y="144"/>
                      </a:lnTo>
                      <a:lnTo>
                        <a:pt x="146" y="144"/>
                      </a:lnTo>
                      <a:lnTo>
                        <a:pt x="146" y="145"/>
                      </a:lnTo>
                      <a:lnTo>
                        <a:pt x="146" y="145"/>
                      </a:lnTo>
                      <a:lnTo>
                        <a:pt x="147" y="145"/>
                      </a:lnTo>
                      <a:lnTo>
                        <a:pt x="147" y="145"/>
                      </a:lnTo>
                      <a:lnTo>
                        <a:pt x="147" y="145"/>
                      </a:lnTo>
                      <a:lnTo>
                        <a:pt x="148" y="145"/>
                      </a:lnTo>
                      <a:lnTo>
                        <a:pt x="149" y="145"/>
                      </a:lnTo>
                      <a:lnTo>
                        <a:pt x="149" y="145"/>
                      </a:lnTo>
                      <a:lnTo>
                        <a:pt x="149" y="146"/>
                      </a:lnTo>
                      <a:lnTo>
                        <a:pt x="150" y="147"/>
                      </a:lnTo>
                      <a:lnTo>
                        <a:pt x="150" y="148"/>
                      </a:lnTo>
                      <a:lnTo>
                        <a:pt x="151" y="148"/>
                      </a:lnTo>
                      <a:lnTo>
                        <a:pt x="151" y="148"/>
                      </a:lnTo>
                      <a:lnTo>
                        <a:pt x="150" y="148"/>
                      </a:lnTo>
                      <a:lnTo>
                        <a:pt x="150" y="149"/>
                      </a:lnTo>
                      <a:lnTo>
                        <a:pt x="150" y="150"/>
                      </a:lnTo>
                      <a:lnTo>
                        <a:pt x="149" y="150"/>
                      </a:lnTo>
                      <a:lnTo>
                        <a:pt x="149" y="150"/>
                      </a:lnTo>
                      <a:lnTo>
                        <a:pt x="149" y="151"/>
                      </a:lnTo>
                      <a:lnTo>
                        <a:pt x="149" y="152"/>
                      </a:lnTo>
                      <a:lnTo>
                        <a:pt x="149" y="152"/>
                      </a:lnTo>
                      <a:lnTo>
                        <a:pt x="148" y="152"/>
                      </a:lnTo>
                      <a:lnTo>
                        <a:pt x="148" y="153"/>
                      </a:lnTo>
                      <a:lnTo>
                        <a:pt x="147" y="153"/>
                      </a:lnTo>
                      <a:lnTo>
                        <a:pt x="148" y="153"/>
                      </a:lnTo>
                      <a:lnTo>
                        <a:pt x="148" y="154"/>
                      </a:lnTo>
                      <a:lnTo>
                        <a:pt x="149" y="154"/>
                      </a:lnTo>
                      <a:lnTo>
                        <a:pt x="149" y="154"/>
                      </a:lnTo>
                      <a:lnTo>
                        <a:pt x="149" y="155"/>
                      </a:lnTo>
                      <a:lnTo>
                        <a:pt x="149" y="156"/>
                      </a:lnTo>
                      <a:lnTo>
                        <a:pt x="148" y="156"/>
                      </a:lnTo>
                      <a:lnTo>
                        <a:pt x="147" y="156"/>
                      </a:lnTo>
                      <a:lnTo>
                        <a:pt x="147" y="156"/>
                      </a:lnTo>
                      <a:lnTo>
                        <a:pt x="147" y="157"/>
                      </a:lnTo>
                      <a:lnTo>
                        <a:pt x="147" y="157"/>
                      </a:lnTo>
                      <a:lnTo>
                        <a:pt x="147" y="158"/>
                      </a:lnTo>
                      <a:lnTo>
                        <a:pt x="147" y="158"/>
                      </a:lnTo>
                      <a:lnTo>
                        <a:pt x="148" y="157"/>
                      </a:lnTo>
                      <a:lnTo>
                        <a:pt x="148" y="158"/>
                      </a:lnTo>
                      <a:lnTo>
                        <a:pt x="148" y="157"/>
                      </a:lnTo>
                      <a:lnTo>
                        <a:pt x="149" y="156"/>
                      </a:lnTo>
                      <a:lnTo>
                        <a:pt x="149" y="156"/>
                      </a:lnTo>
                      <a:lnTo>
                        <a:pt x="149" y="157"/>
                      </a:lnTo>
                      <a:lnTo>
                        <a:pt x="150" y="157"/>
                      </a:lnTo>
                      <a:lnTo>
                        <a:pt x="151" y="157"/>
                      </a:lnTo>
                      <a:lnTo>
                        <a:pt x="151" y="158"/>
                      </a:lnTo>
                      <a:lnTo>
                        <a:pt x="151" y="158"/>
                      </a:lnTo>
                      <a:lnTo>
                        <a:pt x="151" y="159"/>
                      </a:lnTo>
                      <a:lnTo>
                        <a:pt x="151" y="160"/>
                      </a:lnTo>
                      <a:lnTo>
                        <a:pt x="151" y="160"/>
                      </a:lnTo>
                      <a:lnTo>
                        <a:pt x="151" y="161"/>
                      </a:lnTo>
                      <a:lnTo>
                        <a:pt x="151" y="162"/>
                      </a:lnTo>
                      <a:lnTo>
                        <a:pt x="151" y="162"/>
                      </a:lnTo>
                      <a:lnTo>
                        <a:pt x="151" y="163"/>
                      </a:lnTo>
                      <a:lnTo>
                        <a:pt x="151" y="164"/>
                      </a:lnTo>
                      <a:lnTo>
                        <a:pt x="151" y="164"/>
                      </a:lnTo>
                      <a:lnTo>
                        <a:pt x="151" y="164"/>
                      </a:lnTo>
                      <a:lnTo>
                        <a:pt x="151" y="165"/>
                      </a:lnTo>
                      <a:lnTo>
                        <a:pt x="151" y="166"/>
                      </a:lnTo>
                      <a:lnTo>
                        <a:pt x="152" y="166"/>
                      </a:lnTo>
                      <a:lnTo>
                        <a:pt x="152" y="167"/>
                      </a:lnTo>
                      <a:lnTo>
                        <a:pt x="152" y="167"/>
                      </a:lnTo>
                      <a:lnTo>
                        <a:pt x="152" y="168"/>
                      </a:lnTo>
                      <a:lnTo>
                        <a:pt x="152" y="169"/>
                      </a:lnTo>
                      <a:lnTo>
                        <a:pt x="152" y="169"/>
                      </a:lnTo>
                      <a:lnTo>
                        <a:pt x="153" y="170"/>
                      </a:lnTo>
                      <a:lnTo>
                        <a:pt x="153" y="170"/>
                      </a:lnTo>
                      <a:lnTo>
                        <a:pt x="153" y="171"/>
                      </a:lnTo>
                      <a:lnTo>
                        <a:pt x="154" y="171"/>
                      </a:lnTo>
                      <a:lnTo>
                        <a:pt x="154" y="171"/>
                      </a:lnTo>
                      <a:lnTo>
                        <a:pt x="154" y="172"/>
                      </a:lnTo>
                      <a:lnTo>
                        <a:pt x="154" y="173"/>
                      </a:lnTo>
                      <a:lnTo>
                        <a:pt x="155" y="173"/>
                      </a:lnTo>
                      <a:lnTo>
                        <a:pt x="155" y="173"/>
                      </a:lnTo>
                      <a:lnTo>
                        <a:pt x="156" y="173"/>
                      </a:lnTo>
                      <a:lnTo>
                        <a:pt x="156" y="174"/>
                      </a:lnTo>
                      <a:lnTo>
                        <a:pt x="156" y="174"/>
                      </a:lnTo>
                      <a:lnTo>
                        <a:pt x="156" y="175"/>
                      </a:lnTo>
                      <a:lnTo>
                        <a:pt x="156" y="175"/>
                      </a:lnTo>
                      <a:lnTo>
                        <a:pt x="157" y="176"/>
                      </a:lnTo>
                      <a:lnTo>
                        <a:pt x="158" y="176"/>
                      </a:lnTo>
                      <a:lnTo>
                        <a:pt x="158" y="177"/>
                      </a:lnTo>
                      <a:lnTo>
                        <a:pt x="158" y="177"/>
                      </a:lnTo>
                      <a:lnTo>
                        <a:pt x="159" y="178"/>
                      </a:lnTo>
                      <a:lnTo>
                        <a:pt x="159" y="177"/>
                      </a:lnTo>
                      <a:lnTo>
                        <a:pt x="160" y="177"/>
                      </a:lnTo>
                      <a:lnTo>
                        <a:pt x="160" y="177"/>
                      </a:lnTo>
                      <a:lnTo>
                        <a:pt x="161" y="177"/>
                      </a:lnTo>
                      <a:lnTo>
                        <a:pt x="162" y="177"/>
                      </a:lnTo>
                      <a:lnTo>
                        <a:pt x="162" y="178"/>
                      </a:lnTo>
                      <a:lnTo>
                        <a:pt x="162" y="178"/>
                      </a:lnTo>
                      <a:lnTo>
                        <a:pt x="163" y="178"/>
                      </a:lnTo>
                      <a:lnTo>
                        <a:pt x="164" y="179"/>
                      </a:lnTo>
                      <a:lnTo>
                        <a:pt x="164" y="179"/>
                      </a:lnTo>
                      <a:lnTo>
                        <a:pt x="164" y="179"/>
                      </a:lnTo>
                      <a:lnTo>
                        <a:pt x="165" y="180"/>
                      </a:lnTo>
                      <a:lnTo>
                        <a:pt x="166" y="180"/>
                      </a:lnTo>
                      <a:lnTo>
                        <a:pt x="166" y="180"/>
                      </a:lnTo>
                      <a:lnTo>
                        <a:pt x="166" y="181"/>
                      </a:lnTo>
                      <a:lnTo>
                        <a:pt x="167" y="181"/>
                      </a:lnTo>
                      <a:lnTo>
                        <a:pt x="168" y="181"/>
                      </a:lnTo>
                      <a:lnTo>
                        <a:pt x="168" y="181"/>
                      </a:lnTo>
                      <a:lnTo>
                        <a:pt x="168" y="182"/>
                      </a:lnTo>
                      <a:lnTo>
                        <a:pt x="168" y="183"/>
                      </a:lnTo>
                      <a:lnTo>
                        <a:pt x="169" y="183"/>
                      </a:lnTo>
                      <a:lnTo>
                        <a:pt x="170" y="183"/>
                      </a:lnTo>
                      <a:lnTo>
                        <a:pt x="170" y="182"/>
                      </a:lnTo>
                      <a:lnTo>
                        <a:pt x="170" y="182"/>
                      </a:lnTo>
                      <a:lnTo>
                        <a:pt x="170" y="183"/>
                      </a:lnTo>
                      <a:lnTo>
                        <a:pt x="171" y="183"/>
                      </a:lnTo>
                      <a:lnTo>
                        <a:pt x="171" y="183"/>
                      </a:lnTo>
                      <a:lnTo>
                        <a:pt x="172" y="183"/>
                      </a:lnTo>
                      <a:lnTo>
                        <a:pt x="172" y="184"/>
                      </a:lnTo>
                      <a:lnTo>
                        <a:pt x="172" y="184"/>
                      </a:lnTo>
                      <a:lnTo>
                        <a:pt x="173" y="184"/>
                      </a:lnTo>
                      <a:lnTo>
                        <a:pt x="174" y="184"/>
                      </a:lnTo>
                      <a:lnTo>
                        <a:pt x="175" y="184"/>
                      </a:lnTo>
                      <a:lnTo>
                        <a:pt x="175" y="184"/>
                      </a:lnTo>
                      <a:lnTo>
                        <a:pt x="176" y="184"/>
                      </a:lnTo>
                      <a:lnTo>
                        <a:pt x="176" y="185"/>
                      </a:lnTo>
                      <a:lnTo>
                        <a:pt x="176" y="185"/>
                      </a:lnTo>
                      <a:lnTo>
                        <a:pt x="176" y="186"/>
                      </a:lnTo>
                      <a:lnTo>
                        <a:pt x="176" y="187"/>
                      </a:lnTo>
                      <a:lnTo>
                        <a:pt x="177" y="187"/>
                      </a:lnTo>
                      <a:lnTo>
                        <a:pt x="177" y="188"/>
                      </a:lnTo>
                      <a:lnTo>
                        <a:pt x="177" y="188"/>
                      </a:lnTo>
                      <a:lnTo>
                        <a:pt x="178" y="188"/>
                      </a:lnTo>
                      <a:lnTo>
                        <a:pt x="178" y="189"/>
                      </a:lnTo>
                      <a:lnTo>
                        <a:pt x="178" y="190"/>
                      </a:lnTo>
                      <a:lnTo>
                        <a:pt x="179" y="190"/>
                      </a:lnTo>
                      <a:lnTo>
                        <a:pt x="179" y="190"/>
                      </a:lnTo>
                      <a:lnTo>
                        <a:pt x="179" y="190"/>
                      </a:lnTo>
                      <a:lnTo>
                        <a:pt x="180" y="190"/>
                      </a:lnTo>
                      <a:lnTo>
                        <a:pt x="181" y="190"/>
                      </a:lnTo>
                      <a:lnTo>
                        <a:pt x="181" y="190"/>
                      </a:lnTo>
                      <a:lnTo>
                        <a:pt x="182" y="190"/>
                      </a:lnTo>
                      <a:lnTo>
                        <a:pt x="182" y="190"/>
                      </a:lnTo>
                      <a:lnTo>
                        <a:pt x="182" y="190"/>
                      </a:lnTo>
                      <a:lnTo>
                        <a:pt x="183" y="190"/>
                      </a:lnTo>
                      <a:lnTo>
                        <a:pt x="183" y="190"/>
                      </a:lnTo>
                      <a:lnTo>
                        <a:pt x="183" y="190"/>
                      </a:lnTo>
                      <a:lnTo>
                        <a:pt x="184" y="190"/>
                      </a:lnTo>
                      <a:lnTo>
                        <a:pt x="184" y="191"/>
                      </a:lnTo>
                      <a:lnTo>
                        <a:pt x="184" y="192"/>
                      </a:lnTo>
                      <a:lnTo>
                        <a:pt x="183" y="192"/>
                      </a:lnTo>
                      <a:lnTo>
                        <a:pt x="183" y="192"/>
                      </a:lnTo>
                      <a:lnTo>
                        <a:pt x="183" y="193"/>
                      </a:lnTo>
                      <a:lnTo>
                        <a:pt x="183" y="194"/>
                      </a:lnTo>
                      <a:lnTo>
                        <a:pt x="183" y="194"/>
                      </a:lnTo>
                      <a:lnTo>
                        <a:pt x="183" y="195"/>
                      </a:lnTo>
                      <a:lnTo>
                        <a:pt x="183" y="196"/>
                      </a:lnTo>
                      <a:lnTo>
                        <a:pt x="184" y="196"/>
                      </a:lnTo>
                      <a:lnTo>
                        <a:pt x="185" y="196"/>
                      </a:lnTo>
                      <a:lnTo>
                        <a:pt x="185" y="196"/>
                      </a:lnTo>
                      <a:lnTo>
                        <a:pt x="185" y="196"/>
                      </a:lnTo>
                      <a:lnTo>
                        <a:pt x="185" y="197"/>
                      </a:lnTo>
                      <a:lnTo>
                        <a:pt x="185" y="197"/>
                      </a:lnTo>
                      <a:lnTo>
                        <a:pt x="185" y="198"/>
                      </a:lnTo>
                      <a:lnTo>
                        <a:pt x="185" y="198"/>
                      </a:lnTo>
                      <a:lnTo>
                        <a:pt x="185" y="199"/>
                      </a:lnTo>
                      <a:lnTo>
                        <a:pt x="185" y="200"/>
                      </a:lnTo>
                      <a:lnTo>
                        <a:pt x="185" y="200"/>
                      </a:lnTo>
                      <a:lnTo>
                        <a:pt x="186" y="200"/>
                      </a:lnTo>
                      <a:lnTo>
                        <a:pt x="187" y="200"/>
                      </a:lnTo>
                      <a:lnTo>
                        <a:pt x="187" y="200"/>
                      </a:lnTo>
                      <a:lnTo>
                        <a:pt x="187" y="200"/>
                      </a:lnTo>
                      <a:lnTo>
                        <a:pt x="187" y="201"/>
                      </a:lnTo>
                      <a:lnTo>
                        <a:pt x="187" y="202"/>
                      </a:lnTo>
                      <a:lnTo>
                        <a:pt x="187" y="202"/>
                      </a:lnTo>
                      <a:lnTo>
                        <a:pt x="187" y="202"/>
                      </a:lnTo>
                      <a:lnTo>
                        <a:pt x="187" y="203"/>
                      </a:lnTo>
                      <a:lnTo>
                        <a:pt x="187" y="204"/>
                      </a:lnTo>
                      <a:lnTo>
                        <a:pt x="188" y="204"/>
                      </a:lnTo>
                      <a:lnTo>
                        <a:pt x="188" y="204"/>
                      </a:lnTo>
                      <a:lnTo>
                        <a:pt x="189" y="204"/>
                      </a:lnTo>
                      <a:lnTo>
                        <a:pt x="189" y="205"/>
                      </a:lnTo>
                      <a:lnTo>
                        <a:pt x="188" y="205"/>
                      </a:lnTo>
                      <a:lnTo>
                        <a:pt x="187" y="205"/>
                      </a:lnTo>
                      <a:lnTo>
                        <a:pt x="187" y="204"/>
                      </a:lnTo>
                      <a:lnTo>
                        <a:pt x="187" y="204"/>
                      </a:lnTo>
                      <a:lnTo>
                        <a:pt x="187" y="205"/>
                      </a:lnTo>
                      <a:lnTo>
                        <a:pt x="186" y="205"/>
                      </a:lnTo>
                      <a:lnTo>
                        <a:pt x="186" y="206"/>
                      </a:lnTo>
                      <a:lnTo>
                        <a:pt x="185" y="206"/>
                      </a:lnTo>
                      <a:lnTo>
                        <a:pt x="185" y="207"/>
                      </a:lnTo>
                      <a:lnTo>
                        <a:pt x="186" y="207"/>
                      </a:lnTo>
                      <a:lnTo>
                        <a:pt x="187" y="207"/>
                      </a:lnTo>
                      <a:lnTo>
                        <a:pt x="186" y="207"/>
                      </a:lnTo>
                      <a:lnTo>
                        <a:pt x="185" y="208"/>
                      </a:lnTo>
                      <a:lnTo>
                        <a:pt x="186" y="208"/>
                      </a:lnTo>
                      <a:lnTo>
                        <a:pt x="186" y="209"/>
                      </a:lnTo>
                      <a:lnTo>
                        <a:pt x="187" y="209"/>
                      </a:lnTo>
                      <a:lnTo>
                        <a:pt x="187" y="209"/>
                      </a:lnTo>
                      <a:lnTo>
                        <a:pt x="188" y="210"/>
                      </a:lnTo>
                      <a:lnTo>
                        <a:pt x="188" y="211"/>
                      </a:lnTo>
                      <a:lnTo>
                        <a:pt x="188" y="211"/>
                      </a:lnTo>
                      <a:lnTo>
                        <a:pt x="188" y="212"/>
                      </a:lnTo>
                      <a:lnTo>
                        <a:pt x="187" y="213"/>
                      </a:lnTo>
                      <a:lnTo>
                        <a:pt x="187" y="213"/>
                      </a:lnTo>
                      <a:lnTo>
                        <a:pt x="187" y="213"/>
                      </a:lnTo>
                      <a:lnTo>
                        <a:pt x="187" y="214"/>
                      </a:lnTo>
                      <a:lnTo>
                        <a:pt x="187" y="214"/>
                      </a:lnTo>
                      <a:lnTo>
                        <a:pt x="188" y="214"/>
                      </a:lnTo>
                      <a:lnTo>
                        <a:pt x="188" y="215"/>
                      </a:lnTo>
                      <a:lnTo>
                        <a:pt x="189" y="215"/>
                      </a:lnTo>
                      <a:lnTo>
                        <a:pt x="189" y="215"/>
                      </a:lnTo>
                      <a:lnTo>
                        <a:pt x="189" y="216"/>
                      </a:lnTo>
                      <a:lnTo>
                        <a:pt x="189" y="216"/>
                      </a:lnTo>
                      <a:lnTo>
                        <a:pt x="190" y="216"/>
                      </a:lnTo>
                      <a:lnTo>
                        <a:pt x="190" y="217"/>
                      </a:lnTo>
                      <a:lnTo>
                        <a:pt x="189" y="217"/>
                      </a:lnTo>
                      <a:lnTo>
                        <a:pt x="189" y="217"/>
                      </a:lnTo>
                      <a:lnTo>
                        <a:pt x="189" y="218"/>
                      </a:lnTo>
                      <a:lnTo>
                        <a:pt x="188" y="218"/>
                      </a:lnTo>
                      <a:lnTo>
                        <a:pt x="188" y="219"/>
                      </a:lnTo>
                      <a:lnTo>
                        <a:pt x="188" y="219"/>
                      </a:lnTo>
                      <a:lnTo>
                        <a:pt x="187" y="219"/>
                      </a:lnTo>
                      <a:lnTo>
                        <a:pt x="187" y="220"/>
                      </a:lnTo>
                      <a:lnTo>
                        <a:pt x="187" y="221"/>
                      </a:lnTo>
                      <a:lnTo>
                        <a:pt x="187" y="221"/>
                      </a:lnTo>
                      <a:lnTo>
                        <a:pt x="187" y="221"/>
                      </a:lnTo>
                      <a:lnTo>
                        <a:pt x="187" y="221"/>
                      </a:lnTo>
                      <a:lnTo>
                        <a:pt x="186" y="220"/>
                      </a:lnTo>
                      <a:lnTo>
                        <a:pt x="186" y="221"/>
                      </a:lnTo>
                      <a:lnTo>
                        <a:pt x="185" y="221"/>
                      </a:lnTo>
                      <a:lnTo>
                        <a:pt x="185" y="221"/>
                      </a:lnTo>
                      <a:lnTo>
                        <a:pt x="185" y="221"/>
                      </a:lnTo>
                      <a:lnTo>
                        <a:pt x="184" y="221"/>
                      </a:lnTo>
                      <a:lnTo>
                        <a:pt x="183" y="222"/>
                      </a:lnTo>
                      <a:lnTo>
                        <a:pt x="183" y="223"/>
                      </a:lnTo>
                      <a:lnTo>
                        <a:pt x="183" y="223"/>
                      </a:lnTo>
                      <a:lnTo>
                        <a:pt x="183" y="223"/>
                      </a:lnTo>
                      <a:lnTo>
                        <a:pt x="182" y="223"/>
                      </a:lnTo>
                      <a:lnTo>
                        <a:pt x="181" y="223"/>
                      </a:lnTo>
                      <a:lnTo>
                        <a:pt x="181" y="224"/>
                      </a:lnTo>
                      <a:lnTo>
                        <a:pt x="181" y="225"/>
                      </a:lnTo>
                      <a:lnTo>
                        <a:pt x="181" y="226"/>
                      </a:lnTo>
                      <a:lnTo>
                        <a:pt x="181" y="226"/>
                      </a:lnTo>
                      <a:lnTo>
                        <a:pt x="181" y="226"/>
                      </a:lnTo>
                      <a:lnTo>
                        <a:pt x="181" y="227"/>
                      </a:lnTo>
                      <a:lnTo>
                        <a:pt x="181" y="228"/>
                      </a:lnTo>
                      <a:lnTo>
                        <a:pt x="182" y="228"/>
                      </a:lnTo>
                      <a:lnTo>
                        <a:pt x="182" y="228"/>
                      </a:lnTo>
                      <a:lnTo>
                        <a:pt x="183" y="229"/>
                      </a:lnTo>
                      <a:lnTo>
                        <a:pt x="183" y="230"/>
                      </a:lnTo>
                      <a:lnTo>
                        <a:pt x="182" y="230"/>
                      </a:lnTo>
                      <a:lnTo>
                        <a:pt x="181" y="230"/>
                      </a:lnTo>
                      <a:lnTo>
                        <a:pt x="181" y="229"/>
                      </a:lnTo>
                      <a:lnTo>
                        <a:pt x="181" y="229"/>
                      </a:lnTo>
                      <a:lnTo>
                        <a:pt x="181" y="228"/>
                      </a:lnTo>
                      <a:lnTo>
                        <a:pt x="181" y="229"/>
                      </a:lnTo>
                      <a:lnTo>
                        <a:pt x="181" y="230"/>
                      </a:lnTo>
                      <a:lnTo>
                        <a:pt x="180" y="230"/>
                      </a:lnTo>
                      <a:lnTo>
                        <a:pt x="180" y="230"/>
                      </a:lnTo>
                      <a:lnTo>
                        <a:pt x="180" y="231"/>
                      </a:lnTo>
                      <a:lnTo>
                        <a:pt x="180" y="232"/>
                      </a:lnTo>
                      <a:lnTo>
                        <a:pt x="179" y="232"/>
                      </a:lnTo>
                      <a:lnTo>
                        <a:pt x="179" y="232"/>
                      </a:lnTo>
                      <a:lnTo>
                        <a:pt x="179" y="232"/>
                      </a:lnTo>
                      <a:lnTo>
                        <a:pt x="179" y="233"/>
                      </a:lnTo>
                      <a:lnTo>
                        <a:pt x="179" y="234"/>
                      </a:lnTo>
                      <a:lnTo>
                        <a:pt x="178" y="234"/>
                      </a:lnTo>
                      <a:lnTo>
                        <a:pt x="178" y="234"/>
                      </a:lnTo>
                      <a:lnTo>
                        <a:pt x="177" y="234"/>
                      </a:lnTo>
                      <a:lnTo>
                        <a:pt x="177" y="235"/>
                      </a:lnTo>
                      <a:lnTo>
                        <a:pt x="176" y="235"/>
                      </a:lnTo>
                      <a:lnTo>
                        <a:pt x="175" y="235"/>
                      </a:lnTo>
                      <a:lnTo>
                        <a:pt x="175" y="235"/>
                      </a:lnTo>
                      <a:lnTo>
                        <a:pt x="174" y="234"/>
                      </a:lnTo>
                      <a:lnTo>
                        <a:pt x="173" y="234"/>
                      </a:lnTo>
                      <a:lnTo>
                        <a:pt x="173" y="233"/>
                      </a:lnTo>
                      <a:lnTo>
                        <a:pt x="172" y="232"/>
                      </a:lnTo>
                      <a:lnTo>
                        <a:pt x="172" y="232"/>
                      </a:lnTo>
                      <a:lnTo>
                        <a:pt x="172" y="231"/>
                      </a:lnTo>
                      <a:lnTo>
                        <a:pt x="172" y="230"/>
                      </a:lnTo>
                      <a:lnTo>
                        <a:pt x="172" y="230"/>
                      </a:lnTo>
                      <a:lnTo>
                        <a:pt x="171" y="229"/>
                      </a:lnTo>
                      <a:lnTo>
                        <a:pt x="170" y="228"/>
                      </a:lnTo>
                      <a:lnTo>
                        <a:pt x="170" y="227"/>
                      </a:lnTo>
                      <a:lnTo>
                        <a:pt x="170" y="226"/>
                      </a:lnTo>
                      <a:lnTo>
                        <a:pt x="170" y="226"/>
                      </a:lnTo>
                      <a:lnTo>
                        <a:pt x="170" y="225"/>
                      </a:lnTo>
                      <a:lnTo>
                        <a:pt x="170" y="224"/>
                      </a:lnTo>
                      <a:lnTo>
                        <a:pt x="170" y="223"/>
                      </a:lnTo>
                      <a:lnTo>
                        <a:pt x="170" y="223"/>
                      </a:lnTo>
                      <a:lnTo>
                        <a:pt x="170" y="222"/>
                      </a:lnTo>
                      <a:lnTo>
                        <a:pt x="169" y="222"/>
                      </a:lnTo>
                      <a:lnTo>
                        <a:pt x="170" y="221"/>
                      </a:lnTo>
                      <a:lnTo>
                        <a:pt x="169" y="221"/>
                      </a:lnTo>
                      <a:lnTo>
                        <a:pt x="168" y="221"/>
                      </a:lnTo>
                      <a:lnTo>
                        <a:pt x="168" y="222"/>
                      </a:lnTo>
                      <a:lnTo>
                        <a:pt x="168" y="223"/>
                      </a:lnTo>
                      <a:lnTo>
                        <a:pt x="168" y="223"/>
                      </a:lnTo>
                      <a:lnTo>
                        <a:pt x="168" y="223"/>
                      </a:lnTo>
                      <a:lnTo>
                        <a:pt x="167" y="223"/>
                      </a:lnTo>
                      <a:lnTo>
                        <a:pt x="166" y="223"/>
                      </a:lnTo>
                      <a:lnTo>
                        <a:pt x="166" y="223"/>
                      </a:lnTo>
                      <a:lnTo>
                        <a:pt x="166" y="223"/>
                      </a:lnTo>
                      <a:lnTo>
                        <a:pt x="165" y="223"/>
                      </a:lnTo>
                      <a:lnTo>
                        <a:pt x="164" y="223"/>
                      </a:lnTo>
                      <a:lnTo>
                        <a:pt x="164" y="223"/>
                      </a:lnTo>
                      <a:lnTo>
                        <a:pt x="163" y="223"/>
                      </a:lnTo>
                      <a:lnTo>
                        <a:pt x="162" y="223"/>
                      </a:lnTo>
                      <a:lnTo>
                        <a:pt x="162" y="223"/>
                      </a:lnTo>
                      <a:lnTo>
                        <a:pt x="161" y="223"/>
                      </a:lnTo>
                      <a:lnTo>
                        <a:pt x="161" y="223"/>
                      </a:lnTo>
                      <a:lnTo>
                        <a:pt x="160" y="223"/>
                      </a:lnTo>
                      <a:lnTo>
                        <a:pt x="160" y="223"/>
                      </a:lnTo>
                      <a:lnTo>
                        <a:pt x="157" y="224"/>
                      </a:lnTo>
                      <a:lnTo>
                        <a:pt x="156" y="225"/>
                      </a:lnTo>
                      <a:lnTo>
                        <a:pt x="156" y="225"/>
                      </a:lnTo>
                      <a:lnTo>
                        <a:pt x="155" y="225"/>
                      </a:lnTo>
                      <a:lnTo>
                        <a:pt x="154" y="225"/>
                      </a:lnTo>
                      <a:lnTo>
                        <a:pt x="153" y="225"/>
                      </a:lnTo>
                      <a:lnTo>
                        <a:pt x="153" y="225"/>
                      </a:lnTo>
                      <a:lnTo>
                        <a:pt x="152" y="225"/>
                      </a:lnTo>
                      <a:lnTo>
                        <a:pt x="152" y="226"/>
                      </a:lnTo>
                      <a:lnTo>
                        <a:pt x="151" y="226"/>
                      </a:lnTo>
                      <a:lnTo>
                        <a:pt x="151" y="226"/>
                      </a:lnTo>
                      <a:lnTo>
                        <a:pt x="151" y="226"/>
                      </a:lnTo>
                      <a:lnTo>
                        <a:pt x="151" y="227"/>
                      </a:lnTo>
                      <a:lnTo>
                        <a:pt x="151" y="228"/>
                      </a:lnTo>
                      <a:lnTo>
                        <a:pt x="150" y="228"/>
                      </a:lnTo>
                      <a:lnTo>
                        <a:pt x="150" y="229"/>
                      </a:lnTo>
                      <a:lnTo>
                        <a:pt x="150" y="230"/>
                      </a:lnTo>
                      <a:lnTo>
                        <a:pt x="150" y="230"/>
                      </a:lnTo>
                      <a:lnTo>
                        <a:pt x="149" y="231"/>
                      </a:lnTo>
                      <a:lnTo>
                        <a:pt x="149" y="231"/>
                      </a:lnTo>
                      <a:lnTo>
                        <a:pt x="148" y="232"/>
                      </a:lnTo>
                      <a:lnTo>
                        <a:pt x="147" y="232"/>
                      </a:lnTo>
                      <a:lnTo>
                        <a:pt x="147" y="232"/>
                      </a:lnTo>
                      <a:lnTo>
                        <a:pt x="146" y="232"/>
                      </a:lnTo>
                      <a:lnTo>
                        <a:pt x="145" y="232"/>
                      </a:lnTo>
                      <a:lnTo>
                        <a:pt x="145" y="232"/>
                      </a:lnTo>
                      <a:lnTo>
                        <a:pt x="144" y="234"/>
                      </a:lnTo>
                      <a:lnTo>
                        <a:pt x="143" y="234"/>
                      </a:lnTo>
                      <a:lnTo>
                        <a:pt x="143" y="235"/>
                      </a:lnTo>
                      <a:lnTo>
                        <a:pt x="142" y="236"/>
                      </a:lnTo>
                      <a:lnTo>
                        <a:pt x="141" y="236"/>
                      </a:lnTo>
                      <a:lnTo>
                        <a:pt x="141" y="236"/>
                      </a:lnTo>
                      <a:lnTo>
                        <a:pt x="140" y="236"/>
                      </a:lnTo>
                      <a:lnTo>
                        <a:pt x="139" y="236"/>
                      </a:lnTo>
                      <a:lnTo>
                        <a:pt x="139" y="236"/>
                      </a:lnTo>
                      <a:lnTo>
                        <a:pt x="138" y="236"/>
                      </a:lnTo>
                      <a:lnTo>
                        <a:pt x="137" y="236"/>
                      </a:lnTo>
                      <a:lnTo>
                        <a:pt x="136" y="236"/>
                      </a:lnTo>
                      <a:lnTo>
                        <a:pt x="135" y="236"/>
                      </a:lnTo>
                      <a:lnTo>
                        <a:pt x="134" y="236"/>
                      </a:lnTo>
                      <a:lnTo>
                        <a:pt x="134" y="236"/>
                      </a:lnTo>
                      <a:lnTo>
                        <a:pt x="133" y="236"/>
                      </a:lnTo>
                      <a:lnTo>
                        <a:pt x="132" y="236"/>
                      </a:lnTo>
                      <a:lnTo>
                        <a:pt x="132" y="236"/>
                      </a:lnTo>
                      <a:lnTo>
                        <a:pt x="131" y="236"/>
                      </a:lnTo>
                      <a:lnTo>
                        <a:pt x="130" y="236"/>
                      </a:lnTo>
                      <a:lnTo>
                        <a:pt x="130" y="237"/>
                      </a:lnTo>
                      <a:lnTo>
                        <a:pt x="130" y="238"/>
                      </a:lnTo>
                      <a:lnTo>
                        <a:pt x="130" y="238"/>
                      </a:lnTo>
                      <a:lnTo>
                        <a:pt x="129" y="238"/>
                      </a:lnTo>
                      <a:lnTo>
                        <a:pt x="128" y="238"/>
                      </a:lnTo>
                      <a:lnTo>
                        <a:pt x="127" y="238"/>
                      </a:lnTo>
                      <a:lnTo>
                        <a:pt x="126" y="238"/>
                      </a:lnTo>
                      <a:lnTo>
                        <a:pt x="126" y="238"/>
                      </a:lnTo>
                      <a:lnTo>
                        <a:pt x="125" y="238"/>
                      </a:lnTo>
                      <a:lnTo>
                        <a:pt x="124" y="238"/>
                      </a:lnTo>
                      <a:lnTo>
                        <a:pt x="124" y="238"/>
                      </a:lnTo>
                      <a:lnTo>
                        <a:pt x="124" y="237"/>
                      </a:lnTo>
                      <a:lnTo>
                        <a:pt x="123" y="237"/>
                      </a:lnTo>
                      <a:lnTo>
                        <a:pt x="122" y="238"/>
                      </a:lnTo>
                      <a:lnTo>
                        <a:pt x="122" y="237"/>
                      </a:lnTo>
                      <a:lnTo>
                        <a:pt x="121" y="237"/>
                      </a:lnTo>
                      <a:lnTo>
                        <a:pt x="120" y="237"/>
                      </a:lnTo>
                      <a:lnTo>
                        <a:pt x="120" y="238"/>
                      </a:lnTo>
                      <a:lnTo>
                        <a:pt x="120" y="237"/>
                      </a:lnTo>
                      <a:lnTo>
                        <a:pt x="119" y="236"/>
                      </a:lnTo>
                      <a:lnTo>
                        <a:pt x="119" y="236"/>
                      </a:lnTo>
                      <a:lnTo>
                        <a:pt x="119" y="235"/>
                      </a:lnTo>
                      <a:lnTo>
                        <a:pt x="118" y="235"/>
                      </a:lnTo>
                      <a:lnTo>
                        <a:pt x="118" y="234"/>
                      </a:lnTo>
                      <a:lnTo>
                        <a:pt x="118" y="234"/>
                      </a:lnTo>
                      <a:lnTo>
                        <a:pt x="118" y="233"/>
                      </a:lnTo>
                      <a:lnTo>
                        <a:pt x="117" y="233"/>
                      </a:lnTo>
                      <a:lnTo>
                        <a:pt x="116" y="232"/>
                      </a:lnTo>
                      <a:lnTo>
                        <a:pt x="115" y="232"/>
                      </a:lnTo>
                      <a:lnTo>
                        <a:pt x="115" y="232"/>
                      </a:lnTo>
                      <a:lnTo>
                        <a:pt x="114" y="232"/>
                      </a:lnTo>
                      <a:lnTo>
                        <a:pt x="113" y="232"/>
                      </a:lnTo>
                      <a:lnTo>
                        <a:pt x="113" y="232"/>
                      </a:lnTo>
                      <a:lnTo>
                        <a:pt x="112" y="231"/>
                      </a:lnTo>
                      <a:lnTo>
                        <a:pt x="111" y="230"/>
                      </a:lnTo>
                      <a:lnTo>
                        <a:pt x="111" y="230"/>
                      </a:lnTo>
                      <a:lnTo>
                        <a:pt x="110" y="229"/>
                      </a:lnTo>
                      <a:lnTo>
                        <a:pt x="109" y="229"/>
                      </a:lnTo>
                      <a:lnTo>
                        <a:pt x="109" y="229"/>
                      </a:lnTo>
                      <a:lnTo>
                        <a:pt x="108" y="230"/>
                      </a:lnTo>
                      <a:lnTo>
                        <a:pt x="107" y="230"/>
                      </a:lnTo>
                      <a:lnTo>
                        <a:pt x="107" y="229"/>
                      </a:lnTo>
                      <a:lnTo>
                        <a:pt x="107" y="228"/>
                      </a:lnTo>
                      <a:lnTo>
                        <a:pt x="106" y="228"/>
                      </a:lnTo>
                      <a:lnTo>
                        <a:pt x="105" y="228"/>
                      </a:lnTo>
                      <a:lnTo>
                        <a:pt x="105" y="228"/>
                      </a:lnTo>
                      <a:lnTo>
                        <a:pt x="104" y="227"/>
                      </a:lnTo>
                      <a:lnTo>
                        <a:pt x="104" y="226"/>
                      </a:lnTo>
                      <a:lnTo>
                        <a:pt x="103" y="226"/>
                      </a:lnTo>
                      <a:lnTo>
                        <a:pt x="103" y="226"/>
                      </a:lnTo>
                      <a:lnTo>
                        <a:pt x="103" y="225"/>
                      </a:lnTo>
                      <a:lnTo>
                        <a:pt x="103" y="224"/>
                      </a:lnTo>
                      <a:lnTo>
                        <a:pt x="103" y="223"/>
                      </a:lnTo>
                      <a:lnTo>
                        <a:pt x="102" y="223"/>
                      </a:lnTo>
                      <a:lnTo>
                        <a:pt x="101" y="223"/>
                      </a:lnTo>
                      <a:lnTo>
                        <a:pt x="101" y="222"/>
                      </a:lnTo>
                      <a:lnTo>
                        <a:pt x="101" y="221"/>
                      </a:lnTo>
                      <a:lnTo>
                        <a:pt x="101" y="221"/>
                      </a:lnTo>
                      <a:lnTo>
                        <a:pt x="100" y="220"/>
                      </a:lnTo>
                      <a:lnTo>
                        <a:pt x="100" y="219"/>
                      </a:lnTo>
                      <a:lnTo>
                        <a:pt x="100" y="219"/>
                      </a:lnTo>
                      <a:lnTo>
                        <a:pt x="99" y="219"/>
                      </a:lnTo>
                      <a:lnTo>
                        <a:pt x="99" y="219"/>
                      </a:lnTo>
                      <a:lnTo>
                        <a:pt x="98" y="219"/>
                      </a:lnTo>
                      <a:lnTo>
                        <a:pt x="98" y="219"/>
                      </a:lnTo>
                      <a:lnTo>
                        <a:pt x="97" y="219"/>
                      </a:lnTo>
                      <a:lnTo>
                        <a:pt x="97" y="218"/>
                      </a:lnTo>
                      <a:lnTo>
                        <a:pt x="97" y="217"/>
                      </a:lnTo>
                      <a:lnTo>
                        <a:pt x="97" y="217"/>
                      </a:lnTo>
                      <a:lnTo>
                        <a:pt x="97" y="216"/>
                      </a:lnTo>
                      <a:lnTo>
                        <a:pt x="98" y="216"/>
                      </a:lnTo>
                      <a:lnTo>
                        <a:pt x="98" y="215"/>
                      </a:lnTo>
                      <a:lnTo>
                        <a:pt x="99" y="215"/>
                      </a:lnTo>
                      <a:lnTo>
                        <a:pt x="99" y="215"/>
                      </a:lnTo>
                      <a:lnTo>
                        <a:pt x="98" y="215"/>
                      </a:lnTo>
                      <a:lnTo>
                        <a:pt x="98" y="214"/>
                      </a:lnTo>
                      <a:lnTo>
                        <a:pt x="98" y="213"/>
                      </a:lnTo>
                      <a:lnTo>
                        <a:pt x="96" y="213"/>
                      </a:lnTo>
                      <a:lnTo>
                        <a:pt x="96" y="212"/>
                      </a:lnTo>
                      <a:lnTo>
                        <a:pt x="96" y="211"/>
                      </a:lnTo>
                      <a:lnTo>
                        <a:pt x="95" y="211"/>
                      </a:lnTo>
                      <a:lnTo>
                        <a:pt x="95" y="210"/>
                      </a:lnTo>
                      <a:lnTo>
                        <a:pt x="94" y="211"/>
                      </a:lnTo>
                      <a:lnTo>
                        <a:pt x="93" y="210"/>
                      </a:lnTo>
                      <a:lnTo>
                        <a:pt x="92" y="209"/>
                      </a:lnTo>
                      <a:lnTo>
                        <a:pt x="91" y="209"/>
                      </a:lnTo>
                      <a:lnTo>
                        <a:pt x="90" y="209"/>
                      </a:lnTo>
                      <a:lnTo>
                        <a:pt x="90" y="208"/>
                      </a:lnTo>
                      <a:lnTo>
                        <a:pt x="90" y="207"/>
                      </a:lnTo>
                      <a:lnTo>
                        <a:pt x="90" y="207"/>
                      </a:lnTo>
                      <a:lnTo>
                        <a:pt x="90" y="206"/>
                      </a:lnTo>
                      <a:lnTo>
                        <a:pt x="89" y="205"/>
                      </a:lnTo>
                      <a:lnTo>
                        <a:pt x="89" y="204"/>
                      </a:lnTo>
                      <a:lnTo>
                        <a:pt x="89" y="204"/>
                      </a:lnTo>
                      <a:lnTo>
                        <a:pt x="88" y="204"/>
                      </a:lnTo>
                      <a:lnTo>
                        <a:pt x="88" y="203"/>
                      </a:lnTo>
                      <a:lnTo>
                        <a:pt x="88" y="202"/>
                      </a:lnTo>
                      <a:lnTo>
                        <a:pt x="88" y="202"/>
                      </a:lnTo>
                      <a:lnTo>
                        <a:pt x="88" y="202"/>
                      </a:lnTo>
                      <a:lnTo>
                        <a:pt x="87" y="202"/>
                      </a:lnTo>
                      <a:lnTo>
                        <a:pt x="86" y="202"/>
                      </a:lnTo>
                      <a:lnTo>
                        <a:pt x="86" y="202"/>
                      </a:lnTo>
                      <a:lnTo>
                        <a:pt x="85" y="202"/>
                      </a:lnTo>
                      <a:lnTo>
                        <a:pt x="85" y="201"/>
                      </a:lnTo>
                      <a:lnTo>
                        <a:pt x="85" y="200"/>
                      </a:lnTo>
                      <a:lnTo>
                        <a:pt x="85" y="200"/>
                      </a:lnTo>
                      <a:lnTo>
                        <a:pt x="84" y="199"/>
                      </a:lnTo>
                      <a:lnTo>
                        <a:pt x="84" y="199"/>
                      </a:lnTo>
                      <a:lnTo>
                        <a:pt x="84" y="200"/>
                      </a:lnTo>
                      <a:lnTo>
                        <a:pt x="83" y="200"/>
                      </a:lnTo>
                      <a:lnTo>
                        <a:pt x="83" y="201"/>
                      </a:lnTo>
                      <a:lnTo>
                        <a:pt x="83" y="202"/>
                      </a:lnTo>
                      <a:lnTo>
                        <a:pt x="82" y="202"/>
                      </a:lnTo>
                      <a:lnTo>
                        <a:pt x="82" y="202"/>
                      </a:lnTo>
                      <a:lnTo>
                        <a:pt x="82" y="201"/>
                      </a:lnTo>
                      <a:lnTo>
                        <a:pt x="81" y="201"/>
                      </a:lnTo>
                      <a:lnTo>
                        <a:pt x="80" y="201"/>
                      </a:lnTo>
                      <a:lnTo>
                        <a:pt x="80" y="201"/>
                      </a:lnTo>
                      <a:lnTo>
                        <a:pt x="79" y="201"/>
                      </a:lnTo>
                      <a:lnTo>
                        <a:pt x="78" y="201"/>
                      </a:lnTo>
                      <a:lnTo>
                        <a:pt x="77" y="201"/>
                      </a:lnTo>
                      <a:lnTo>
                        <a:pt x="77" y="200"/>
                      </a:lnTo>
                      <a:lnTo>
                        <a:pt x="77" y="200"/>
                      </a:lnTo>
                      <a:lnTo>
                        <a:pt x="76" y="201"/>
                      </a:lnTo>
                      <a:lnTo>
                        <a:pt x="75" y="201"/>
                      </a:lnTo>
                      <a:lnTo>
                        <a:pt x="75" y="202"/>
                      </a:lnTo>
                      <a:lnTo>
                        <a:pt x="75" y="202"/>
                      </a:lnTo>
                      <a:lnTo>
                        <a:pt x="74" y="201"/>
                      </a:lnTo>
                      <a:lnTo>
                        <a:pt x="73" y="201"/>
                      </a:lnTo>
                      <a:lnTo>
                        <a:pt x="73" y="200"/>
                      </a:lnTo>
                      <a:lnTo>
                        <a:pt x="72" y="200"/>
                      </a:lnTo>
                      <a:lnTo>
                        <a:pt x="72" y="201"/>
                      </a:lnTo>
                      <a:lnTo>
                        <a:pt x="71" y="201"/>
                      </a:lnTo>
                      <a:lnTo>
                        <a:pt x="71" y="200"/>
                      </a:lnTo>
                      <a:lnTo>
                        <a:pt x="70" y="200"/>
                      </a:lnTo>
                      <a:lnTo>
                        <a:pt x="69" y="200"/>
                      </a:lnTo>
                      <a:lnTo>
                        <a:pt x="69" y="200"/>
                      </a:lnTo>
                      <a:lnTo>
                        <a:pt x="68" y="200"/>
                      </a:lnTo>
                      <a:lnTo>
                        <a:pt x="68" y="199"/>
                      </a:lnTo>
                      <a:lnTo>
                        <a:pt x="67" y="199"/>
                      </a:lnTo>
                      <a:lnTo>
                        <a:pt x="67" y="199"/>
                      </a:lnTo>
                      <a:lnTo>
                        <a:pt x="66" y="199"/>
                      </a:lnTo>
                      <a:lnTo>
                        <a:pt x="66" y="200"/>
                      </a:lnTo>
                      <a:lnTo>
                        <a:pt x="66" y="199"/>
                      </a:lnTo>
                      <a:lnTo>
                        <a:pt x="65" y="199"/>
                      </a:lnTo>
                      <a:lnTo>
                        <a:pt x="65" y="199"/>
                      </a:lnTo>
                      <a:lnTo>
                        <a:pt x="64" y="199"/>
                      </a:lnTo>
                      <a:lnTo>
                        <a:pt x="63" y="198"/>
                      </a:lnTo>
                      <a:lnTo>
                        <a:pt x="62" y="198"/>
                      </a:lnTo>
                      <a:lnTo>
                        <a:pt x="62" y="198"/>
                      </a:lnTo>
                      <a:lnTo>
                        <a:pt x="61" y="197"/>
                      </a:lnTo>
                      <a:lnTo>
                        <a:pt x="62" y="197"/>
                      </a:lnTo>
                      <a:lnTo>
                        <a:pt x="62" y="196"/>
                      </a:lnTo>
                      <a:lnTo>
                        <a:pt x="62" y="196"/>
                      </a:lnTo>
                      <a:lnTo>
                        <a:pt x="61" y="196"/>
                      </a:lnTo>
                      <a:lnTo>
                        <a:pt x="61" y="195"/>
                      </a:lnTo>
                      <a:lnTo>
                        <a:pt x="61" y="194"/>
                      </a:lnTo>
                      <a:lnTo>
                        <a:pt x="61" y="194"/>
                      </a:lnTo>
                      <a:lnTo>
                        <a:pt x="60" y="194"/>
                      </a:lnTo>
                      <a:lnTo>
                        <a:pt x="59" y="193"/>
                      </a:lnTo>
                      <a:lnTo>
                        <a:pt x="59" y="192"/>
                      </a:lnTo>
                      <a:lnTo>
                        <a:pt x="59" y="192"/>
                      </a:lnTo>
                      <a:lnTo>
                        <a:pt x="59" y="191"/>
                      </a:lnTo>
                      <a:lnTo>
                        <a:pt x="58" y="190"/>
                      </a:lnTo>
                      <a:lnTo>
                        <a:pt x="58" y="190"/>
                      </a:lnTo>
                      <a:lnTo>
                        <a:pt x="57" y="190"/>
                      </a:lnTo>
                      <a:lnTo>
                        <a:pt x="57" y="189"/>
                      </a:lnTo>
                      <a:lnTo>
                        <a:pt x="56" y="189"/>
                      </a:lnTo>
                      <a:lnTo>
                        <a:pt x="56" y="189"/>
                      </a:lnTo>
                      <a:lnTo>
                        <a:pt x="55" y="189"/>
                      </a:lnTo>
                      <a:lnTo>
                        <a:pt x="54" y="189"/>
                      </a:lnTo>
                      <a:lnTo>
                        <a:pt x="54" y="189"/>
                      </a:lnTo>
                      <a:lnTo>
                        <a:pt x="53" y="189"/>
                      </a:lnTo>
                      <a:lnTo>
                        <a:pt x="52" y="189"/>
                      </a:lnTo>
                      <a:lnTo>
                        <a:pt x="52" y="189"/>
                      </a:lnTo>
                      <a:lnTo>
                        <a:pt x="51" y="189"/>
                      </a:lnTo>
                      <a:lnTo>
                        <a:pt x="50" y="189"/>
                      </a:lnTo>
                      <a:lnTo>
                        <a:pt x="50" y="189"/>
                      </a:lnTo>
                      <a:lnTo>
                        <a:pt x="50" y="188"/>
                      </a:lnTo>
                      <a:lnTo>
                        <a:pt x="49" y="188"/>
                      </a:lnTo>
                      <a:lnTo>
                        <a:pt x="49" y="188"/>
                      </a:lnTo>
                      <a:lnTo>
                        <a:pt x="48" y="188"/>
                      </a:lnTo>
                      <a:lnTo>
                        <a:pt x="48" y="188"/>
                      </a:lnTo>
                      <a:lnTo>
                        <a:pt x="47" y="188"/>
                      </a:lnTo>
                      <a:lnTo>
                        <a:pt x="47" y="188"/>
                      </a:lnTo>
                      <a:lnTo>
                        <a:pt x="46" y="188"/>
                      </a:lnTo>
                      <a:lnTo>
                        <a:pt x="46" y="189"/>
                      </a:lnTo>
                      <a:lnTo>
                        <a:pt x="46" y="189"/>
                      </a:lnTo>
                      <a:lnTo>
                        <a:pt x="45" y="189"/>
                      </a:lnTo>
                      <a:lnTo>
                        <a:pt x="44" y="189"/>
                      </a:lnTo>
                      <a:lnTo>
                        <a:pt x="44" y="188"/>
                      </a:lnTo>
                      <a:lnTo>
                        <a:pt x="44" y="188"/>
                      </a:lnTo>
                      <a:lnTo>
                        <a:pt x="44" y="189"/>
                      </a:lnTo>
                      <a:lnTo>
                        <a:pt x="43" y="190"/>
                      </a:lnTo>
                      <a:lnTo>
                        <a:pt x="43" y="190"/>
                      </a:lnTo>
                      <a:lnTo>
                        <a:pt x="42" y="190"/>
                      </a:lnTo>
                      <a:lnTo>
                        <a:pt x="42" y="190"/>
                      </a:lnTo>
                      <a:lnTo>
                        <a:pt x="41" y="190"/>
                      </a:lnTo>
                      <a:lnTo>
                        <a:pt x="41" y="190"/>
                      </a:lnTo>
                      <a:lnTo>
                        <a:pt x="40" y="190"/>
                      </a:lnTo>
                      <a:lnTo>
                        <a:pt x="40" y="190"/>
                      </a:lnTo>
                      <a:lnTo>
                        <a:pt x="40" y="189"/>
                      </a:lnTo>
                      <a:lnTo>
                        <a:pt x="39" y="189"/>
                      </a:lnTo>
                      <a:lnTo>
                        <a:pt x="39" y="189"/>
                      </a:lnTo>
                      <a:lnTo>
                        <a:pt x="39" y="190"/>
                      </a:lnTo>
                      <a:lnTo>
                        <a:pt x="38" y="190"/>
                      </a:lnTo>
                      <a:lnTo>
                        <a:pt x="37" y="190"/>
                      </a:lnTo>
                      <a:lnTo>
                        <a:pt x="37" y="190"/>
                      </a:lnTo>
                      <a:lnTo>
                        <a:pt x="37" y="191"/>
                      </a:lnTo>
                      <a:lnTo>
                        <a:pt x="36" y="192"/>
                      </a:lnTo>
                      <a:lnTo>
                        <a:pt x="35" y="192"/>
                      </a:lnTo>
                      <a:lnTo>
                        <a:pt x="35" y="192"/>
                      </a:lnTo>
                      <a:lnTo>
                        <a:pt x="34" y="192"/>
                      </a:lnTo>
                      <a:lnTo>
                        <a:pt x="33" y="192"/>
                      </a:lnTo>
                      <a:lnTo>
                        <a:pt x="33" y="193"/>
                      </a:lnTo>
                      <a:lnTo>
                        <a:pt x="32" y="193"/>
                      </a:lnTo>
                      <a:lnTo>
                        <a:pt x="31" y="193"/>
                      </a:lnTo>
                      <a:lnTo>
                        <a:pt x="31" y="193"/>
                      </a:lnTo>
                      <a:lnTo>
                        <a:pt x="31" y="194"/>
                      </a:lnTo>
                      <a:lnTo>
                        <a:pt x="31" y="194"/>
                      </a:lnTo>
                      <a:lnTo>
                        <a:pt x="30" y="194"/>
                      </a:lnTo>
                      <a:lnTo>
                        <a:pt x="30" y="195"/>
                      </a:lnTo>
                      <a:lnTo>
                        <a:pt x="29" y="195"/>
                      </a:lnTo>
                      <a:lnTo>
                        <a:pt x="29" y="195"/>
                      </a:lnTo>
                      <a:lnTo>
                        <a:pt x="28" y="196"/>
                      </a:lnTo>
                      <a:lnTo>
                        <a:pt x="27" y="196"/>
                      </a:lnTo>
                      <a:lnTo>
                        <a:pt x="27" y="196"/>
                      </a:lnTo>
                      <a:lnTo>
                        <a:pt x="27" y="196"/>
                      </a:lnTo>
                      <a:lnTo>
                        <a:pt x="26" y="196"/>
                      </a:lnTo>
                      <a:lnTo>
                        <a:pt x="25" y="196"/>
                      </a:lnTo>
                      <a:lnTo>
                        <a:pt x="25" y="197"/>
                      </a:lnTo>
                      <a:lnTo>
                        <a:pt x="25" y="197"/>
                      </a:lnTo>
                      <a:lnTo>
                        <a:pt x="25" y="198"/>
                      </a:lnTo>
                      <a:lnTo>
                        <a:pt x="25" y="198"/>
                      </a:lnTo>
                      <a:lnTo>
                        <a:pt x="25" y="199"/>
                      </a:lnTo>
                      <a:lnTo>
                        <a:pt x="25" y="200"/>
                      </a:lnTo>
                      <a:lnTo>
                        <a:pt x="24" y="200"/>
                      </a:lnTo>
                      <a:lnTo>
                        <a:pt x="24" y="200"/>
                      </a:lnTo>
                      <a:lnTo>
                        <a:pt x="23" y="200"/>
                      </a:lnTo>
                      <a:lnTo>
                        <a:pt x="23" y="200"/>
                      </a:lnTo>
                      <a:lnTo>
                        <a:pt x="23" y="201"/>
                      </a:lnTo>
                      <a:lnTo>
                        <a:pt x="22" y="201"/>
                      </a:lnTo>
                      <a:lnTo>
                        <a:pt x="21" y="201"/>
                      </a:lnTo>
                      <a:lnTo>
                        <a:pt x="21" y="202"/>
                      </a:lnTo>
                      <a:lnTo>
                        <a:pt x="20" y="202"/>
                      </a:lnTo>
                      <a:lnTo>
                        <a:pt x="20" y="202"/>
                      </a:lnTo>
                      <a:lnTo>
                        <a:pt x="20" y="202"/>
                      </a:lnTo>
                      <a:lnTo>
                        <a:pt x="19" y="203"/>
                      </a:lnTo>
                      <a:lnTo>
                        <a:pt x="18" y="203"/>
                      </a:lnTo>
                      <a:lnTo>
                        <a:pt x="18" y="204"/>
                      </a:lnTo>
                      <a:lnTo>
                        <a:pt x="18" y="204"/>
                      </a:lnTo>
                      <a:lnTo>
                        <a:pt x="18" y="205"/>
                      </a:lnTo>
                      <a:lnTo>
                        <a:pt x="19" y="205"/>
                      </a:lnTo>
                      <a:lnTo>
                        <a:pt x="19" y="206"/>
                      </a:lnTo>
                      <a:lnTo>
                        <a:pt x="18" y="206"/>
                      </a:lnTo>
                      <a:lnTo>
                        <a:pt x="18" y="207"/>
                      </a:lnTo>
                      <a:lnTo>
                        <a:pt x="18" y="207"/>
                      </a:lnTo>
                      <a:lnTo>
                        <a:pt x="17" y="207"/>
                      </a:lnTo>
                      <a:lnTo>
                        <a:pt x="16" y="207"/>
                      </a:lnTo>
                      <a:lnTo>
                        <a:pt x="16" y="207"/>
                      </a:lnTo>
                      <a:lnTo>
                        <a:pt x="16" y="207"/>
                      </a:lnTo>
                      <a:lnTo>
                        <a:pt x="15" y="207"/>
                      </a:lnTo>
                      <a:lnTo>
                        <a:pt x="15" y="207"/>
                      </a:lnTo>
                      <a:lnTo>
                        <a:pt x="14" y="207"/>
                      </a:lnTo>
                      <a:lnTo>
                        <a:pt x="14" y="208"/>
                      </a:lnTo>
                      <a:lnTo>
                        <a:pt x="14" y="208"/>
                      </a:lnTo>
                      <a:lnTo>
                        <a:pt x="13" y="208"/>
                      </a:lnTo>
                      <a:lnTo>
                        <a:pt x="12" y="208"/>
                      </a:lnTo>
                      <a:lnTo>
                        <a:pt x="12" y="209"/>
                      </a:lnTo>
                      <a:lnTo>
                        <a:pt x="12" y="208"/>
                      </a:lnTo>
                      <a:lnTo>
                        <a:pt x="11" y="208"/>
                      </a:lnTo>
                      <a:lnTo>
                        <a:pt x="11" y="209"/>
                      </a:lnTo>
                      <a:lnTo>
                        <a:pt x="10" y="209"/>
                      </a:lnTo>
                      <a:lnTo>
                        <a:pt x="10" y="208"/>
                      </a:lnTo>
                      <a:lnTo>
                        <a:pt x="10" y="208"/>
                      </a:lnTo>
                      <a:lnTo>
                        <a:pt x="10" y="207"/>
                      </a:lnTo>
                      <a:lnTo>
                        <a:pt x="9" y="207"/>
                      </a:lnTo>
                      <a:lnTo>
                        <a:pt x="9" y="208"/>
                      </a:lnTo>
                      <a:lnTo>
                        <a:pt x="8" y="208"/>
                      </a:lnTo>
                      <a:lnTo>
                        <a:pt x="8" y="208"/>
                      </a:lnTo>
                      <a:lnTo>
                        <a:pt x="8" y="209"/>
                      </a:lnTo>
                      <a:lnTo>
                        <a:pt x="8" y="209"/>
                      </a:lnTo>
                      <a:lnTo>
                        <a:pt x="8" y="210"/>
                      </a:lnTo>
                      <a:lnTo>
                        <a:pt x="8" y="211"/>
                      </a:lnTo>
                      <a:lnTo>
                        <a:pt x="7" y="211"/>
                      </a:lnTo>
                      <a:lnTo>
                        <a:pt x="7" y="211"/>
                      </a:lnTo>
                      <a:lnTo>
                        <a:pt x="6" y="212"/>
                      </a:lnTo>
                      <a:lnTo>
                        <a:pt x="6" y="212"/>
                      </a:lnTo>
                      <a:lnTo>
                        <a:pt x="5" y="213"/>
                      </a:lnTo>
                      <a:lnTo>
                        <a:pt x="4" y="213"/>
                      </a:lnTo>
                      <a:lnTo>
                        <a:pt x="4" y="213"/>
                      </a:lnTo>
                      <a:lnTo>
                        <a:pt x="4" y="214"/>
                      </a:lnTo>
                      <a:lnTo>
                        <a:pt x="4" y="214"/>
                      </a:lnTo>
                      <a:lnTo>
                        <a:pt x="3" y="214"/>
                      </a:lnTo>
                      <a:lnTo>
                        <a:pt x="3" y="215"/>
                      </a:lnTo>
                      <a:lnTo>
                        <a:pt x="3" y="215"/>
                      </a:lnTo>
                      <a:lnTo>
                        <a:pt x="3" y="216"/>
                      </a:lnTo>
                      <a:lnTo>
                        <a:pt x="3" y="217"/>
                      </a:lnTo>
                      <a:lnTo>
                        <a:pt x="2" y="217"/>
                      </a:lnTo>
                      <a:lnTo>
                        <a:pt x="3" y="217"/>
                      </a:lnTo>
                      <a:lnTo>
                        <a:pt x="3" y="218"/>
                      </a:lnTo>
                      <a:lnTo>
                        <a:pt x="3" y="219"/>
                      </a:lnTo>
                      <a:lnTo>
                        <a:pt x="2" y="219"/>
                      </a:lnTo>
                      <a:lnTo>
                        <a:pt x="1" y="219"/>
                      </a:lnTo>
                      <a:lnTo>
                        <a:pt x="1" y="218"/>
                      </a:lnTo>
                      <a:lnTo>
                        <a:pt x="0" y="218"/>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1" name="Freeform 21">
                  <a:extLst>
                    <a:ext uri="{FF2B5EF4-FFF2-40B4-BE49-F238E27FC236}">
                      <a16:creationId xmlns:a16="http://schemas.microsoft.com/office/drawing/2014/main" xmlns="" id="{04DF6370-FE07-2A70-AE57-9BF9FD3DA1BF}"/>
                    </a:ext>
                  </a:extLst>
                </p:cNvPr>
                <p:cNvSpPr>
                  <a:spLocks/>
                </p:cNvSpPr>
                <p:nvPr/>
              </p:nvSpPr>
              <p:spPr bwMode="auto">
                <a:xfrm>
                  <a:off x="2752" y="2879"/>
                  <a:ext cx="401" cy="227"/>
                </a:xfrm>
                <a:custGeom>
                  <a:avLst/>
                  <a:gdLst>
                    <a:gd name="T0" fmla="*/ 398 w 401"/>
                    <a:gd name="T1" fmla="*/ 213 h 227"/>
                    <a:gd name="T2" fmla="*/ 400 w 401"/>
                    <a:gd name="T3" fmla="*/ 219 h 227"/>
                    <a:gd name="T4" fmla="*/ 397 w 401"/>
                    <a:gd name="T5" fmla="*/ 227 h 227"/>
                    <a:gd name="T6" fmla="*/ 390 w 401"/>
                    <a:gd name="T7" fmla="*/ 222 h 227"/>
                    <a:gd name="T8" fmla="*/ 384 w 401"/>
                    <a:gd name="T9" fmla="*/ 217 h 227"/>
                    <a:gd name="T10" fmla="*/ 377 w 401"/>
                    <a:gd name="T11" fmla="*/ 213 h 227"/>
                    <a:gd name="T12" fmla="*/ 371 w 401"/>
                    <a:gd name="T13" fmla="*/ 209 h 227"/>
                    <a:gd name="T14" fmla="*/ 362 w 401"/>
                    <a:gd name="T15" fmla="*/ 211 h 227"/>
                    <a:gd name="T16" fmla="*/ 354 w 401"/>
                    <a:gd name="T17" fmla="*/ 210 h 227"/>
                    <a:gd name="T18" fmla="*/ 347 w 401"/>
                    <a:gd name="T19" fmla="*/ 205 h 227"/>
                    <a:gd name="T20" fmla="*/ 349 w 401"/>
                    <a:gd name="T21" fmla="*/ 195 h 227"/>
                    <a:gd name="T22" fmla="*/ 347 w 401"/>
                    <a:gd name="T23" fmla="*/ 184 h 227"/>
                    <a:gd name="T24" fmla="*/ 338 w 401"/>
                    <a:gd name="T25" fmla="*/ 183 h 227"/>
                    <a:gd name="T26" fmla="*/ 335 w 401"/>
                    <a:gd name="T27" fmla="*/ 175 h 227"/>
                    <a:gd name="T28" fmla="*/ 331 w 401"/>
                    <a:gd name="T29" fmla="*/ 166 h 227"/>
                    <a:gd name="T30" fmla="*/ 324 w 401"/>
                    <a:gd name="T31" fmla="*/ 168 h 227"/>
                    <a:gd name="T32" fmla="*/ 324 w 401"/>
                    <a:gd name="T33" fmla="*/ 160 h 227"/>
                    <a:gd name="T34" fmla="*/ 316 w 401"/>
                    <a:gd name="T35" fmla="*/ 154 h 227"/>
                    <a:gd name="T36" fmla="*/ 309 w 401"/>
                    <a:gd name="T37" fmla="*/ 148 h 227"/>
                    <a:gd name="T38" fmla="*/ 301 w 401"/>
                    <a:gd name="T39" fmla="*/ 145 h 227"/>
                    <a:gd name="T40" fmla="*/ 293 w 401"/>
                    <a:gd name="T41" fmla="*/ 141 h 227"/>
                    <a:gd name="T42" fmla="*/ 288 w 401"/>
                    <a:gd name="T43" fmla="*/ 133 h 227"/>
                    <a:gd name="T44" fmla="*/ 287 w 401"/>
                    <a:gd name="T45" fmla="*/ 126 h 227"/>
                    <a:gd name="T46" fmla="*/ 282 w 401"/>
                    <a:gd name="T47" fmla="*/ 120 h 227"/>
                    <a:gd name="T48" fmla="*/ 276 w 401"/>
                    <a:gd name="T49" fmla="*/ 115 h 227"/>
                    <a:gd name="T50" fmla="*/ 269 w 401"/>
                    <a:gd name="T51" fmla="*/ 113 h 227"/>
                    <a:gd name="T52" fmla="*/ 263 w 401"/>
                    <a:gd name="T53" fmla="*/ 107 h 227"/>
                    <a:gd name="T54" fmla="*/ 257 w 401"/>
                    <a:gd name="T55" fmla="*/ 102 h 227"/>
                    <a:gd name="T56" fmla="*/ 253 w 401"/>
                    <a:gd name="T57" fmla="*/ 94 h 227"/>
                    <a:gd name="T58" fmla="*/ 247 w 401"/>
                    <a:gd name="T59" fmla="*/ 87 h 227"/>
                    <a:gd name="T60" fmla="*/ 241 w 401"/>
                    <a:gd name="T61" fmla="*/ 84 h 227"/>
                    <a:gd name="T62" fmla="*/ 233 w 401"/>
                    <a:gd name="T63" fmla="*/ 76 h 227"/>
                    <a:gd name="T64" fmla="*/ 227 w 401"/>
                    <a:gd name="T65" fmla="*/ 69 h 227"/>
                    <a:gd name="T66" fmla="*/ 220 w 401"/>
                    <a:gd name="T67" fmla="*/ 65 h 227"/>
                    <a:gd name="T68" fmla="*/ 214 w 401"/>
                    <a:gd name="T69" fmla="*/ 60 h 227"/>
                    <a:gd name="T70" fmla="*/ 208 w 401"/>
                    <a:gd name="T71" fmla="*/ 54 h 227"/>
                    <a:gd name="T72" fmla="*/ 199 w 401"/>
                    <a:gd name="T73" fmla="*/ 50 h 227"/>
                    <a:gd name="T74" fmla="*/ 193 w 401"/>
                    <a:gd name="T75" fmla="*/ 44 h 227"/>
                    <a:gd name="T76" fmla="*/ 185 w 401"/>
                    <a:gd name="T77" fmla="*/ 44 h 227"/>
                    <a:gd name="T78" fmla="*/ 177 w 401"/>
                    <a:gd name="T79" fmla="*/ 46 h 227"/>
                    <a:gd name="T80" fmla="*/ 170 w 401"/>
                    <a:gd name="T81" fmla="*/ 46 h 227"/>
                    <a:gd name="T82" fmla="*/ 166 w 401"/>
                    <a:gd name="T83" fmla="*/ 38 h 227"/>
                    <a:gd name="T84" fmla="*/ 160 w 401"/>
                    <a:gd name="T85" fmla="*/ 36 h 227"/>
                    <a:gd name="T86" fmla="*/ 153 w 401"/>
                    <a:gd name="T87" fmla="*/ 27 h 227"/>
                    <a:gd name="T88" fmla="*/ 149 w 401"/>
                    <a:gd name="T89" fmla="*/ 19 h 227"/>
                    <a:gd name="T90" fmla="*/ 145 w 401"/>
                    <a:gd name="T91" fmla="*/ 12 h 227"/>
                    <a:gd name="T92" fmla="*/ 138 w 401"/>
                    <a:gd name="T93" fmla="*/ 5 h 227"/>
                    <a:gd name="T94" fmla="*/ 130 w 401"/>
                    <a:gd name="T95" fmla="*/ 0 h 227"/>
                    <a:gd name="T96" fmla="*/ 125 w 401"/>
                    <a:gd name="T97" fmla="*/ 5 h 227"/>
                    <a:gd name="T98" fmla="*/ 124 w 401"/>
                    <a:gd name="T99" fmla="*/ 14 h 227"/>
                    <a:gd name="T100" fmla="*/ 111 w 401"/>
                    <a:gd name="T101" fmla="*/ 31 h 227"/>
                    <a:gd name="T102" fmla="*/ 98 w 401"/>
                    <a:gd name="T103" fmla="*/ 35 h 227"/>
                    <a:gd name="T104" fmla="*/ 87 w 401"/>
                    <a:gd name="T105" fmla="*/ 36 h 227"/>
                    <a:gd name="T106" fmla="*/ 79 w 401"/>
                    <a:gd name="T107" fmla="*/ 42 h 227"/>
                    <a:gd name="T108" fmla="*/ 71 w 401"/>
                    <a:gd name="T109" fmla="*/ 39 h 227"/>
                    <a:gd name="T110" fmla="*/ 54 w 401"/>
                    <a:gd name="T111" fmla="*/ 43 h 227"/>
                    <a:gd name="T112" fmla="*/ 33 w 401"/>
                    <a:gd name="T113" fmla="*/ 55 h 227"/>
                    <a:gd name="T114" fmla="*/ 21 w 401"/>
                    <a:gd name="T115" fmla="*/ 74 h 227"/>
                    <a:gd name="T116" fmla="*/ 14 w 401"/>
                    <a:gd name="T117" fmla="*/ 74 h 227"/>
                    <a:gd name="T118" fmla="*/ 3 w 401"/>
                    <a:gd name="T119" fmla="*/ 7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1" h="227">
                      <a:moveTo>
                        <a:pt x="401" y="205"/>
                      </a:moveTo>
                      <a:lnTo>
                        <a:pt x="400" y="205"/>
                      </a:lnTo>
                      <a:lnTo>
                        <a:pt x="400" y="206"/>
                      </a:lnTo>
                      <a:lnTo>
                        <a:pt x="400" y="206"/>
                      </a:lnTo>
                      <a:lnTo>
                        <a:pt x="400" y="206"/>
                      </a:lnTo>
                      <a:lnTo>
                        <a:pt x="400" y="207"/>
                      </a:lnTo>
                      <a:lnTo>
                        <a:pt x="400" y="208"/>
                      </a:lnTo>
                      <a:lnTo>
                        <a:pt x="399" y="208"/>
                      </a:lnTo>
                      <a:lnTo>
                        <a:pt x="399" y="208"/>
                      </a:lnTo>
                      <a:lnTo>
                        <a:pt x="398" y="209"/>
                      </a:lnTo>
                      <a:lnTo>
                        <a:pt x="398" y="209"/>
                      </a:lnTo>
                      <a:lnTo>
                        <a:pt x="397" y="209"/>
                      </a:lnTo>
                      <a:lnTo>
                        <a:pt x="397" y="210"/>
                      </a:lnTo>
                      <a:lnTo>
                        <a:pt x="397" y="210"/>
                      </a:lnTo>
                      <a:lnTo>
                        <a:pt x="398" y="211"/>
                      </a:lnTo>
                      <a:lnTo>
                        <a:pt x="398" y="212"/>
                      </a:lnTo>
                      <a:lnTo>
                        <a:pt x="398" y="213"/>
                      </a:lnTo>
                      <a:lnTo>
                        <a:pt x="397" y="213"/>
                      </a:lnTo>
                      <a:lnTo>
                        <a:pt x="396" y="213"/>
                      </a:lnTo>
                      <a:lnTo>
                        <a:pt x="396" y="214"/>
                      </a:lnTo>
                      <a:lnTo>
                        <a:pt x="396" y="215"/>
                      </a:lnTo>
                      <a:lnTo>
                        <a:pt x="397" y="215"/>
                      </a:lnTo>
                      <a:lnTo>
                        <a:pt x="397" y="215"/>
                      </a:lnTo>
                      <a:lnTo>
                        <a:pt x="397" y="216"/>
                      </a:lnTo>
                      <a:lnTo>
                        <a:pt x="397" y="217"/>
                      </a:lnTo>
                      <a:lnTo>
                        <a:pt x="397" y="217"/>
                      </a:lnTo>
                      <a:lnTo>
                        <a:pt x="397" y="218"/>
                      </a:lnTo>
                      <a:lnTo>
                        <a:pt x="397" y="219"/>
                      </a:lnTo>
                      <a:lnTo>
                        <a:pt x="398" y="219"/>
                      </a:lnTo>
                      <a:lnTo>
                        <a:pt x="398" y="219"/>
                      </a:lnTo>
                      <a:lnTo>
                        <a:pt x="398" y="219"/>
                      </a:lnTo>
                      <a:lnTo>
                        <a:pt x="399" y="219"/>
                      </a:lnTo>
                      <a:lnTo>
                        <a:pt x="399" y="219"/>
                      </a:lnTo>
                      <a:lnTo>
                        <a:pt x="400" y="219"/>
                      </a:lnTo>
                      <a:lnTo>
                        <a:pt x="400" y="220"/>
                      </a:lnTo>
                      <a:lnTo>
                        <a:pt x="400" y="221"/>
                      </a:lnTo>
                      <a:lnTo>
                        <a:pt x="400" y="221"/>
                      </a:lnTo>
                      <a:lnTo>
                        <a:pt x="400" y="222"/>
                      </a:lnTo>
                      <a:lnTo>
                        <a:pt x="400" y="223"/>
                      </a:lnTo>
                      <a:lnTo>
                        <a:pt x="401" y="223"/>
                      </a:lnTo>
                      <a:lnTo>
                        <a:pt x="401" y="224"/>
                      </a:lnTo>
                      <a:lnTo>
                        <a:pt x="401" y="225"/>
                      </a:lnTo>
                      <a:lnTo>
                        <a:pt x="400" y="225"/>
                      </a:lnTo>
                      <a:lnTo>
                        <a:pt x="400" y="226"/>
                      </a:lnTo>
                      <a:lnTo>
                        <a:pt x="400" y="227"/>
                      </a:lnTo>
                      <a:lnTo>
                        <a:pt x="399" y="227"/>
                      </a:lnTo>
                      <a:lnTo>
                        <a:pt x="399" y="227"/>
                      </a:lnTo>
                      <a:lnTo>
                        <a:pt x="398" y="227"/>
                      </a:lnTo>
                      <a:lnTo>
                        <a:pt x="398" y="227"/>
                      </a:lnTo>
                      <a:lnTo>
                        <a:pt x="398" y="227"/>
                      </a:lnTo>
                      <a:lnTo>
                        <a:pt x="397" y="227"/>
                      </a:lnTo>
                      <a:lnTo>
                        <a:pt x="397" y="226"/>
                      </a:lnTo>
                      <a:lnTo>
                        <a:pt x="397" y="225"/>
                      </a:lnTo>
                      <a:lnTo>
                        <a:pt x="396" y="225"/>
                      </a:lnTo>
                      <a:lnTo>
                        <a:pt x="396" y="226"/>
                      </a:lnTo>
                      <a:lnTo>
                        <a:pt x="395" y="226"/>
                      </a:lnTo>
                      <a:lnTo>
                        <a:pt x="394" y="226"/>
                      </a:lnTo>
                      <a:lnTo>
                        <a:pt x="394" y="225"/>
                      </a:lnTo>
                      <a:lnTo>
                        <a:pt x="394" y="225"/>
                      </a:lnTo>
                      <a:lnTo>
                        <a:pt x="394" y="225"/>
                      </a:lnTo>
                      <a:lnTo>
                        <a:pt x="393" y="225"/>
                      </a:lnTo>
                      <a:lnTo>
                        <a:pt x="393" y="224"/>
                      </a:lnTo>
                      <a:lnTo>
                        <a:pt x="392" y="223"/>
                      </a:lnTo>
                      <a:lnTo>
                        <a:pt x="392" y="223"/>
                      </a:lnTo>
                      <a:lnTo>
                        <a:pt x="392" y="223"/>
                      </a:lnTo>
                      <a:lnTo>
                        <a:pt x="391" y="223"/>
                      </a:lnTo>
                      <a:lnTo>
                        <a:pt x="391" y="222"/>
                      </a:lnTo>
                      <a:lnTo>
                        <a:pt x="390" y="222"/>
                      </a:lnTo>
                      <a:lnTo>
                        <a:pt x="390" y="221"/>
                      </a:lnTo>
                      <a:lnTo>
                        <a:pt x="389" y="222"/>
                      </a:lnTo>
                      <a:lnTo>
                        <a:pt x="388" y="222"/>
                      </a:lnTo>
                      <a:lnTo>
                        <a:pt x="388" y="222"/>
                      </a:lnTo>
                      <a:lnTo>
                        <a:pt x="387" y="222"/>
                      </a:lnTo>
                      <a:lnTo>
                        <a:pt x="387" y="221"/>
                      </a:lnTo>
                      <a:lnTo>
                        <a:pt x="386" y="221"/>
                      </a:lnTo>
                      <a:lnTo>
                        <a:pt x="385" y="221"/>
                      </a:lnTo>
                      <a:lnTo>
                        <a:pt x="385" y="221"/>
                      </a:lnTo>
                      <a:lnTo>
                        <a:pt x="385" y="221"/>
                      </a:lnTo>
                      <a:lnTo>
                        <a:pt x="385" y="220"/>
                      </a:lnTo>
                      <a:lnTo>
                        <a:pt x="384" y="220"/>
                      </a:lnTo>
                      <a:lnTo>
                        <a:pt x="384" y="219"/>
                      </a:lnTo>
                      <a:lnTo>
                        <a:pt x="384" y="219"/>
                      </a:lnTo>
                      <a:lnTo>
                        <a:pt x="383" y="219"/>
                      </a:lnTo>
                      <a:lnTo>
                        <a:pt x="384" y="218"/>
                      </a:lnTo>
                      <a:lnTo>
                        <a:pt x="384" y="217"/>
                      </a:lnTo>
                      <a:lnTo>
                        <a:pt x="383" y="217"/>
                      </a:lnTo>
                      <a:lnTo>
                        <a:pt x="383" y="217"/>
                      </a:lnTo>
                      <a:lnTo>
                        <a:pt x="383" y="217"/>
                      </a:lnTo>
                      <a:lnTo>
                        <a:pt x="383" y="216"/>
                      </a:lnTo>
                      <a:lnTo>
                        <a:pt x="382" y="216"/>
                      </a:lnTo>
                      <a:lnTo>
                        <a:pt x="381" y="216"/>
                      </a:lnTo>
                      <a:lnTo>
                        <a:pt x="381" y="215"/>
                      </a:lnTo>
                      <a:lnTo>
                        <a:pt x="380" y="215"/>
                      </a:lnTo>
                      <a:lnTo>
                        <a:pt x="379" y="215"/>
                      </a:lnTo>
                      <a:lnTo>
                        <a:pt x="379" y="215"/>
                      </a:lnTo>
                      <a:lnTo>
                        <a:pt x="379" y="215"/>
                      </a:lnTo>
                      <a:lnTo>
                        <a:pt x="378" y="215"/>
                      </a:lnTo>
                      <a:lnTo>
                        <a:pt x="378" y="215"/>
                      </a:lnTo>
                      <a:lnTo>
                        <a:pt x="378" y="214"/>
                      </a:lnTo>
                      <a:lnTo>
                        <a:pt x="377" y="214"/>
                      </a:lnTo>
                      <a:lnTo>
                        <a:pt x="377" y="213"/>
                      </a:lnTo>
                      <a:lnTo>
                        <a:pt x="377" y="213"/>
                      </a:lnTo>
                      <a:lnTo>
                        <a:pt x="376" y="213"/>
                      </a:lnTo>
                      <a:lnTo>
                        <a:pt x="375" y="213"/>
                      </a:lnTo>
                      <a:lnTo>
                        <a:pt x="375" y="212"/>
                      </a:lnTo>
                      <a:lnTo>
                        <a:pt x="374" y="212"/>
                      </a:lnTo>
                      <a:lnTo>
                        <a:pt x="374" y="211"/>
                      </a:lnTo>
                      <a:lnTo>
                        <a:pt x="373" y="211"/>
                      </a:lnTo>
                      <a:lnTo>
                        <a:pt x="373" y="210"/>
                      </a:lnTo>
                      <a:lnTo>
                        <a:pt x="372" y="210"/>
                      </a:lnTo>
                      <a:lnTo>
                        <a:pt x="372" y="210"/>
                      </a:lnTo>
                      <a:lnTo>
                        <a:pt x="372" y="209"/>
                      </a:lnTo>
                      <a:lnTo>
                        <a:pt x="372" y="208"/>
                      </a:lnTo>
                      <a:lnTo>
                        <a:pt x="373" y="208"/>
                      </a:lnTo>
                      <a:lnTo>
                        <a:pt x="372" y="208"/>
                      </a:lnTo>
                      <a:lnTo>
                        <a:pt x="372" y="208"/>
                      </a:lnTo>
                      <a:lnTo>
                        <a:pt x="371" y="208"/>
                      </a:lnTo>
                      <a:lnTo>
                        <a:pt x="371" y="209"/>
                      </a:lnTo>
                      <a:lnTo>
                        <a:pt x="371" y="209"/>
                      </a:lnTo>
                      <a:lnTo>
                        <a:pt x="371" y="210"/>
                      </a:lnTo>
                      <a:lnTo>
                        <a:pt x="370" y="210"/>
                      </a:lnTo>
                      <a:lnTo>
                        <a:pt x="369" y="210"/>
                      </a:lnTo>
                      <a:lnTo>
                        <a:pt x="369" y="209"/>
                      </a:lnTo>
                      <a:lnTo>
                        <a:pt x="369" y="209"/>
                      </a:lnTo>
                      <a:lnTo>
                        <a:pt x="368" y="209"/>
                      </a:lnTo>
                      <a:lnTo>
                        <a:pt x="367" y="209"/>
                      </a:lnTo>
                      <a:lnTo>
                        <a:pt x="366" y="209"/>
                      </a:lnTo>
                      <a:lnTo>
                        <a:pt x="366" y="210"/>
                      </a:lnTo>
                      <a:lnTo>
                        <a:pt x="366" y="210"/>
                      </a:lnTo>
                      <a:lnTo>
                        <a:pt x="366" y="210"/>
                      </a:lnTo>
                      <a:lnTo>
                        <a:pt x="365" y="210"/>
                      </a:lnTo>
                      <a:lnTo>
                        <a:pt x="365" y="211"/>
                      </a:lnTo>
                      <a:lnTo>
                        <a:pt x="364" y="211"/>
                      </a:lnTo>
                      <a:lnTo>
                        <a:pt x="364" y="211"/>
                      </a:lnTo>
                      <a:lnTo>
                        <a:pt x="363" y="211"/>
                      </a:lnTo>
                      <a:lnTo>
                        <a:pt x="362" y="211"/>
                      </a:lnTo>
                      <a:lnTo>
                        <a:pt x="362" y="211"/>
                      </a:lnTo>
                      <a:lnTo>
                        <a:pt x="361" y="212"/>
                      </a:lnTo>
                      <a:lnTo>
                        <a:pt x="360" y="212"/>
                      </a:lnTo>
                      <a:lnTo>
                        <a:pt x="360" y="212"/>
                      </a:lnTo>
                      <a:lnTo>
                        <a:pt x="360" y="213"/>
                      </a:lnTo>
                      <a:lnTo>
                        <a:pt x="359" y="213"/>
                      </a:lnTo>
                      <a:lnTo>
                        <a:pt x="358" y="213"/>
                      </a:lnTo>
                      <a:lnTo>
                        <a:pt x="358" y="213"/>
                      </a:lnTo>
                      <a:lnTo>
                        <a:pt x="357" y="213"/>
                      </a:lnTo>
                      <a:lnTo>
                        <a:pt x="357" y="212"/>
                      </a:lnTo>
                      <a:lnTo>
                        <a:pt x="357" y="211"/>
                      </a:lnTo>
                      <a:lnTo>
                        <a:pt x="356" y="210"/>
                      </a:lnTo>
                      <a:lnTo>
                        <a:pt x="356" y="210"/>
                      </a:lnTo>
                      <a:lnTo>
                        <a:pt x="355" y="210"/>
                      </a:lnTo>
                      <a:lnTo>
                        <a:pt x="355" y="209"/>
                      </a:lnTo>
                      <a:lnTo>
                        <a:pt x="354" y="209"/>
                      </a:lnTo>
                      <a:lnTo>
                        <a:pt x="354" y="210"/>
                      </a:lnTo>
                      <a:lnTo>
                        <a:pt x="353" y="210"/>
                      </a:lnTo>
                      <a:lnTo>
                        <a:pt x="352" y="210"/>
                      </a:lnTo>
                      <a:lnTo>
                        <a:pt x="352" y="210"/>
                      </a:lnTo>
                      <a:lnTo>
                        <a:pt x="351" y="210"/>
                      </a:lnTo>
                      <a:lnTo>
                        <a:pt x="350" y="210"/>
                      </a:lnTo>
                      <a:lnTo>
                        <a:pt x="350" y="210"/>
                      </a:lnTo>
                      <a:lnTo>
                        <a:pt x="349" y="210"/>
                      </a:lnTo>
                      <a:lnTo>
                        <a:pt x="348" y="210"/>
                      </a:lnTo>
                      <a:lnTo>
                        <a:pt x="347" y="209"/>
                      </a:lnTo>
                      <a:lnTo>
                        <a:pt x="347" y="208"/>
                      </a:lnTo>
                      <a:lnTo>
                        <a:pt x="347" y="208"/>
                      </a:lnTo>
                      <a:lnTo>
                        <a:pt x="347" y="207"/>
                      </a:lnTo>
                      <a:lnTo>
                        <a:pt x="346" y="207"/>
                      </a:lnTo>
                      <a:lnTo>
                        <a:pt x="347" y="206"/>
                      </a:lnTo>
                      <a:lnTo>
                        <a:pt x="347" y="206"/>
                      </a:lnTo>
                      <a:lnTo>
                        <a:pt x="347" y="206"/>
                      </a:lnTo>
                      <a:lnTo>
                        <a:pt x="347" y="205"/>
                      </a:lnTo>
                      <a:lnTo>
                        <a:pt x="347" y="205"/>
                      </a:lnTo>
                      <a:lnTo>
                        <a:pt x="347" y="204"/>
                      </a:lnTo>
                      <a:lnTo>
                        <a:pt x="347" y="204"/>
                      </a:lnTo>
                      <a:lnTo>
                        <a:pt x="347" y="203"/>
                      </a:lnTo>
                      <a:lnTo>
                        <a:pt x="347" y="202"/>
                      </a:lnTo>
                      <a:lnTo>
                        <a:pt x="347" y="202"/>
                      </a:lnTo>
                      <a:lnTo>
                        <a:pt x="347" y="201"/>
                      </a:lnTo>
                      <a:lnTo>
                        <a:pt x="347" y="201"/>
                      </a:lnTo>
                      <a:lnTo>
                        <a:pt x="347" y="200"/>
                      </a:lnTo>
                      <a:lnTo>
                        <a:pt x="347" y="199"/>
                      </a:lnTo>
                      <a:lnTo>
                        <a:pt x="347" y="198"/>
                      </a:lnTo>
                      <a:lnTo>
                        <a:pt x="348" y="198"/>
                      </a:lnTo>
                      <a:lnTo>
                        <a:pt x="348" y="198"/>
                      </a:lnTo>
                      <a:lnTo>
                        <a:pt x="349" y="197"/>
                      </a:lnTo>
                      <a:lnTo>
                        <a:pt x="349" y="196"/>
                      </a:lnTo>
                      <a:lnTo>
                        <a:pt x="349" y="196"/>
                      </a:lnTo>
                      <a:lnTo>
                        <a:pt x="349" y="195"/>
                      </a:lnTo>
                      <a:lnTo>
                        <a:pt x="349" y="194"/>
                      </a:lnTo>
                      <a:lnTo>
                        <a:pt x="349" y="194"/>
                      </a:lnTo>
                      <a:lnTo>
                        <a:pt x="349" y="193"/>
                      </a:lnTo>
                      <a:lnTo>
                        <a:pt x="348" y="192"/>
                      </a:lnTo>
                      <a:lnTo>
                        <a:pt x="348" y="191"/>
                      </a:lnTo>
                      <a:lnTo>
                        <a:pt x="348" y="191"/>
                      </a:lnTo>
                      <a:lnTo>
                        <a:pt x="347" y="190"/>
                      </a:lnTo>
                      <a:lnTo>
                        <a:pt x="347" y="189"/>
                      </a:lnTo>
                      <a:lnTo>
                        <a:pt x="347" y="189"/>
                      </a:lnTo>
                      <a:lnTo>
                        <a:pt x="347" y="189"/>
                      </a:lnTo>
                      <a:lnTo>
                        <a:pt x="347" y="188"/>
                      </a:lnTo>
                      <a:lnTo>
                        <a:pt x="347" y="187"/>
                      </a:lnTo>
                      <a:lnTo>
                        <a:pt x="347" y="187"/>
                      </a:lnTo>
                      <a:lnTo>
                        <a:pt x="347" y="186"/>
                      </a:lnTo>
                      <a:lnTo>
                        <a:pt x="347" y="185"/>
                      </a:lnTo>
                      <a:lnTo>
                        <a:pt x="347" y="185"/>
                      </a:lnTo>
                      <a:lnTo>
                        <a:pt x="347" y="184"/>
                      </a:lnTo>
                      <a:lnTo>
                        <a:pt x="347" y="183"/>
                      </a:lnTo>
                      <a:lnTo>
                        <a:pt x="347" y="183"/>
                      </a:lnTo>
                      <a:lnTo>
                        <a:pt x="347" y="182"/>
                      </a:lnTo>
                      <a:lnTo>
                        <a:pt x="347" y="181"/>
                      </a:lnTo>
                      <a:lnTo>
                        <a:pt x="346" y="181"/>
                      </a:lnTo>
                      <a:lnTo>
                        <a:pt x="345" y="181"/>
                      </a:lnTo>
                      <a:lnTo>
                        <a:pt x="345" y="181"/>
                      </a:lnTo>
                      <a:lnTo>
                        <a:pt x="344" y="181"/>
                      </a:lnTo>
                      <a:lnTo>
                        <a:pt x="343" y="181"/>
                      </a:lnTo>
                      <a:lnTo>
                        <a:pt x="343" y="182"/>
                      </a:lnTo>
                      <a:lnTo>
                        <a:pt x="342" y="182"/>
                      </a:lnTo>
                      <a:lnTo>
                        <a:pt x="341" y="182"/>
                      </a:lnTo>
                      <a:lnTo>
                        <a:pt x="341" y="182"/>
                      </a:lnTo>
                      <a:lnTo>
                        <a:pt x="340" y="183"/>
                      </a:lnTo>
                      <a:lnTo>
                        <a:pt x="339" y="183"/>
                      </a:lnTo>
                      <a:lnTo>
                        <a:pt x="339" y="183"/>
                      </a:lnTo>
                      <a:lnTo>
                        <a:pt x="338" y="183"/>
                      </a:lnTo>
                      <a:lnTo>
                        <a:pt x="338" y="182"/>
                      </a:lnTo>
                      <a:lnTo>
                        <a:pt x="337" y="182"/>
                      </a:lnTo>
                      <a:lnTo>
                        <a:pt x="337" y="181"/>
                      </a:lnTo>
                      <a:lnTo>
                        <a:pt x="337" y="181"/>
                      </a:lnTo>
                      <a:lnTo>
                        <a:pt x="337" y="181"/>
                      </a:lnTo>
                      <a:lnTo>
                        <a:pt x="336" y="181"/>
                      </a:lnTo>
                      <a:lnTo>
                        <a:pt x="336" y="180"/>
                      </a:lnTo>
                      <a:lnTo>
                        <a:pt x="336" y="179"/>
                      </a:lnTo>
                      <a:lnTo>
                        <a:pt x="336" y="179"/>
                      </a:lnTo>
                      <a:lnTo>
                        <a:pt x="335" y="179"/>
                      </a:lnTo>
                      <a:lnTo>
                        <a:pt x="335" y="178"/>
                      </a:lnTo>
                      <a:lnTo>
                        <a:pt x="335" y="178"/>
                      </a:lnTo>
                      <a:lnTo>
                        <a:pt x="335" y="177"/>
                      </a:lnTo>
                      <a:lnTo>
                        <a:pt x="335" y="177"/>
                      </a:lnTo>
                      <a:lnTo>
                        <a:pt x="335" y="177"/>
                      </a:lnTo>
                      <a:lnTo>
                        <a:pt x="335" y="176"/>
                      </a:lnTo>
                      <a:lnTo>
                        <a:pt x="335" y="175"/>
                      </a:lnTo>
                      <a:lnTo>
                        <a:pt x="335" y="175"/>
                      </a:lnTo>
                      <a:lnTo>
                        <a:pt x="335" y="174"/>
                      </a:lnTo>
                      <a:lnTo>
                        <a:pt x="335" y="173"/>
                      </a:lnTo>
                      <a:lnTo>
                        <a:pt x="335" y="172"/>
                      </a:lnTo>
                      <a:lnTo>
                        <a:pt x="335" y="172"/>
                      </a:lnTo>
                      <a:lnTo>
                        <a:pt x="335" y="171"/>
                      </a:lnTo>
                      <a:lnTo>
                        <a:pt x="335" y="170"/>
                      </a:lnTo>
                      <a:lnTo>
                        <a:pt x="334" y="170"/>
                      </a:lnTo>
                      <a:lnTo>
                        <a:pt x="334" y="169"/>
                      </a:lnTo>
                      <a:lnTo>
                        <a:pt x="334" y="168"/>
                      </a:lnTo>
                      <a:lnTo>
                        <a:pt x="333" y="168"/>
                      </a:lnTo>
                      <a:lnTo>
                        <a:pt x="333" y="168"/>
                      </a:lnTo>
                      <a:lnTo>
                        <a:pt x="333" y="167"/>
                      </a:lnTo>
                      <a:lnTo>
                        <a:pt x="332" y="167"/>
                      </a:lnTo>
                      <a:lnTo>
                        <a:pt x="332" y="166"/>
                      </a:lnTo>
                      <a:lnTo>
                        <a:pt x="331" y="166"/>
                      </a:lnTo>
                      <a:lnTo>
                        <a:pt x="331" y="166"/>
                      </a:lnTo>
                      <a:lnTo>
                        <a:pt x="331" y="166"/>
                      </a:lnTo>
                      <a:lnTo>
                        <a:pt x="331" y="165"/>
                      </a:lnTo>
                      <a:lnTo>
                        <a:pt x="330" y="165"/>
                      </a:lnTo>
                      <a:lnTo>
                        <a:pt x="329" y="165"/>
                      </a:lnTo>
                      <a:lnTo>
                        <a:pt x="328" y="166"/>
                      </a:lnTo>
                      <a:lnTo>
                        <a:pt x="328" y="166"/>
                      </a:lnTo>
                      <a:lnTo>
                        <a:pt x="328" y="166"/>
                      </a:lnTo>
                      <a:lnTo>
                        <a:pt x="328" y="167"/>
                      </a:lnTo>
                      <a:lnTo>
                        <a:pt x="328" y="168"/>
                      </a:lnTo>
                      <a:lnTo>
                        <a:pt x="327" y="168"/>
                      </a:lnTo>
                      <a:lnTo>
                        <a:pt x="326" y="168"/>
                      </a:lnTo>
                      <a:lnTo>
                        <a:pt x="326" y="169"/>
                      </a:lnTo>
                      <a:lnTo>
                        <a:pt x="326" y="170"/>
                      </a:lnTo>
                      <a:lnTo>
                        <a:pt x="326" y="169"/>
                      </a:lnTo>
                      <a:lnTo>
                        <a:pt x="325" y="169"/>
                      </a:lnTo>
                      <a:lnTo>
                        <a:pt x="324" y="169"/>
                      </a:lnTo>
                      <a:lnTo>
                        <a:pt x="324" y="168"/>
                      </a:lnTo>
                      <a:lnTo>
                        <a:pt x="324" y="168"/>
                      </a:lnTo>
                      <a:lnTo>
                        <a:pt x="324" y="168"/>
                      </a:lnTo>
                      <a:lnTo>
                        <a:pt x="324" y="167"/>
                      </a:lnTo>
                      <a:lnTo>
                        <a:pt x="324" y="166"/>
                      </a:lnTo>
                      <a:lnTo>
                        <a:pt x="324" y="166"/>
                      </a:lnTo>
                      <a:lnTo>
                        <a:pt x="324" y="166"/>
                      </a:lnTo>
                      <a:lnTo>
                        <a:pt x="324" y="165"/>
                      </a:lnTo>
                      <a:lnTo>
                        <a:pt x="324" y="164"/>
                      </a:lnTo>
                      <a:lnTo>
                        <a:pt x="324" y="164"/>
                      </a:lnTo>
                      <a:lnTo>
                        <a:pt x="324" y="163"/>
                      </a:lnTo>
                      <a:lnTo>
                        <a:pt x="324" y="163"/>
                      </a:lnTo>
                      <a:lnTo>
                        <a:pt x="324" y="163"/>
                      </a:lnTo>
                      <a:lnTo>
                        <a:pt x="324" y="162"/>
                      </a:lnTo>
                      <a:lnTo>
                        <a:pt x="324" y="162"/>
                      </a:lnTo>
                      <a:lnTo>
                        <a:pt x="325" y="161"/>
                      </a:lnTo>
                      <a:lnTo>
                        <a:pt x="325" y="160"/>
                      </a:lnTo>
                      <a:lnTo>
                        <a:pt x="324" y="160"/>
                      </a:lnTo>
                      <a:lnTo>
                        <a:pt x="324" y="160"/>
                      </a:lnTo>
                      <a:lnTo>
                        <a:pt x="324" y="160"/>
                      </a:lnTo>
                      <a:lnTo>
                        <a:pt x="322" y="160"/>
                      </a:lnTo>
                      <a:lnTo>
                        <a:pt x="322" y="159"/>
                      </a:lnTo>
                      <a:lnTo>
                        <a:pt x="321" y="158"/>
                      </a:lnTo>
                      <a:lnTo>
                        <a:pt x="321" y="158"/>
                      </a:lnTo>
                      <a:lnTo>
                        <a:pt x="320" y="158"/>
                      </a:lnTo>
                      <a:lnTo>
                        <a:pt x="320" y="157"/>
                      </a:lnTo>
                      <a:lnTo>
                        <a:pt x="320" y="156"/>
                      </a:lnTo>
                      <a:lnTo>
                        <a:pt x="320" y="156"/>
                      </a:lnTo>
                      <a:lnTo>
                        <a:pt x="319" y="156"/>
                      </a:lnTo>
                      <a:lnTo>
                        <a:pt x="318" y="155"/>
                      </a:lnTo>
                      <a:lnTo>
                        <a:pt x="318" y="155"/>
                      </a:lnTo>
                      <a:lnTo>
                        <a:pt x="318" y="154"/>
                      </a:lnTo>
                      <a:lnTo>
                        <a:pt x="317" y="154"/>
                      </a:lnTo>
                      <a:lnTo>
                        <a:pt x="316" y="154"/>
                      </a:lnTo>
                      <a:lnTo>
                        <a:pt x="316" y="154"/>
                      </a:lnTo>
                      <a:lnTo>
                        <a:pt x="316" y="154"/>
                      </a:lnTo>
                      <a:lnTo>
                        <a:pt x="316" y="153"/>
                      </a:lnTo>
                      <a:lnTo>
                        <a:pt x="315" y="153"/>
                      </a:lnTo>
                      <a:lnTo>
                        <a:pt x="314" y="153"/>
                      </a:lnTo>
                      <a:lnTo>
                        <a:pt x="314" y="152"/>
                      </a:lnTo>
                      <a:lnTo>
                        <a:pt x="314" y="152"/>
                      </a:lnTo>
                      <a:lnTo>
                        <a:pt x="314" y="151"/>
                      </a:lnTo>
                      <a:lnTo>
                        <a:pt x="313" y="151"/>
                      </a:lnTo>
                      <a:lnTo>
                        <a:pt x="313" y="151"/>
                      </a:lnTo>
                      <a:lnTo>
                        <a:pt x="312" y="151"/>
                      </a:lnTo>
                      <a:lnTo>
                        <a:pt x="312" y="150"/>
                      </a:lnTo>
                      <a:lnTo>
                        <a:pt x="312" y="149"/>
                      </a:lnTo>
                      <a:lnTo>
                        <a:pt x="311" y="149"/>
                      </a:lnTo>
                      <a:lnTo>
                        <a:pt x="311" y="149"/>
                      </a:lnTo>
                      <a:lnTo>
                        <a:pt x="310" y="149"/>
                      </a:lnTo>
                      <a:lnTo>
                        <a:pt x="309" y="148"/>
                      </a:lnTo>
                      <a:lnTo>
                        <a:pt x="309" y="148"/>
                      </a:lnTo>
                      <a:lnTo>
                        <a:pt x="309" y="147"/>
                      </a:lnTo>
                      <a:lnTo>
                        <a:pt x="308" y="147"/>
                      </a:lnTo>
                      <a:lnTo>
                        <a:pt x="307" y="147"/>
                      </a:lnTo>
                      <a:lnTo>
                        <a:pt x="307" y="146"/>
                      </a:lnTo>
                      <a:lnTo>
                        <a:pt x="307" y="146"/>
                      </a:lnTo>
                      <a:lnTo>
                        <a:pt x="307" y="145"/>
                      </a:lnTo>
                      <a:lnTo>
                        <a:pt x="306" y="145"/>
                      </a:lnTo>
                      <a:lnTo>
                        <a:pt x="305" y="145"/>
                      </a:lnTo>
                      <a:lnTo>
                        <a:pt x="305" y="145"/>
                      </a:lnTo>
                      <a:lnTo>
                        <a:pt x="305" y="145"/>
                      </a:lnTo>
                      <a:lnTo>
                        <a:pt x="304" y="145"/>
                      </a:lnTo>
                      <a:lnTo>
                        <a:pt x="303" y="145"/>
                      </a:lnTo>
                      <a:lnTo>
                        <a:pt x="303" y="144"/>
                      </a:lnTo>
                      <a:lnTo>
                        <a:pt x="302" y="144"/>
                      </a:lnTo>
                      <a:lnTo>
                        <a:pt x="301" y="144"/>
                      </a:lnTo>
                      <a:lnTo>
                        <a:pt x="301" y="145"/>
                      </a:lnTo>
                      <a:lnTo>
                        <a:pt x="301" y="145"/>
                      </a:lnTo>
                      <a:lnTo>
                        <a:pt x="301" y="145"/>
                      </a:lnTo>
                      <a:lnTo>
                        <a:pt x="300" y="146"/>
                      </a:lnTo>
                      <a:lnTo>
                        <a:pt x="299" y="146"/>
                      </a:lnTo>
                      <a:lnTo>
                        <a:pt x="299" y="145"/>
                      </a:lnTo>
                      <a:lnTo>
                        <a:pt x="298" y="145"/>
                      </a:lnTo>
                      <a:lnTo>
                        <a:pt x="297" y="145"/>
                      </a:lnTo>
                      <a:lnTo>
                        <a:pt x="297" y="145"/>
                      </a:lnTo>
                      <a:lnTo>
                        <a:pt x="297" y="144"/>
                      </a:lnTo>
                      <a:lnTo>
                        <a:pt x="297" y="144"/>
                      </a:lnTo>
                      <a:lnTo>
                        <a:pt x="297" y="143"/>
                      </a:lnTo>
                      <a:lnTo>
                        <a:pt x="296" y="143"/>
                      </a:lnTo>
                      <a:lnTo>
                        <a:pt x="295" y="143"/>
                      </a:lnTo>
                      <a:lnTo>
                        <a:pt x="295" y="143"/>
                      </a:lnTo>
                      <a:lnTo>
                        <a:pt x="295" y="142"/>
                      </a:lnTo>
                      <a:lnTo>
                        <a:pt x="295" y="142"/>
                      </a:lnTo>
                      <a:lnTo>
                        <a:pt x="294" y="141"/>
                      </a:lnTo>
                      <a:lnTo>
                        <a:pt x="293" y="141"/>
                      </a:lnTo>
                      <a:lnTo>
                        <a:pt x="293" y="141"/>
                      </a:lnTo>
                      <a:lnTo>
                        <a:pt x="293" y="140"/>
                      </a:lnTo>
                      <a:lnTo>
                        <a:pt x="293" y="139"/>
                      </a:lnTo>
                      <a:lnTo>
                        <a:pt x="292" y="139"/>
                      </a:lnTo>
                      <a:lnTo>
                        <a:pt x="291" y="139"/>
                      </a:lnTo>
                      <a:lnTo>
                        <a:pt x="291" y="139"/>
                      </a:lnTo>
                      <a:lnTo>
                        <a:pt x="291" y="138"/>
                      </a:lnTo>
                      <a:lnTo>
                        <a:pt x="291" y="137"/>
                      </a:lnTo>
                      <a:lnTo>
                        <a:pt x="291" y="137"/>
                      </a:lnTo>
                      <a:lnTo>
                        <a:pt x="290" y="137"/>
                      </a:lnTo>
                      <a:lnTo>
                        <a:pt x="290" y="136"/>
                      </a:lnTo>
                      <a:lnTo>
                        <a:pt x="290" y="136"/>
                      </a:lnTo>
                      <a:lnTo>
                        <a:pt x="290" y="135"/>
                      </a:lnTo>
                      <a:lnTo>
                        <a:pt x="289" y="135"/>
                      </a:lnTo>
                      <a:lnTo>
                        <a:pt x="289" y="134"/>
                      </a:lnTo>
                      <a:lnTo>
                        <a:pt x="288" y="134"/>
                      </a:lnTo>
                      <a:lnTo>
                        <a:pt x="288" y="133"/>
                      </a:lnTo>
                      <a:lnTo>
                        <a:pt x="288" y="132"/>
                      </a:lnTo>
                      <a:lnTo>
                        <a:pt x="288" y="132"/>
                      </a:lnTo>
                      <a:lnTo>
                        <a:pt x="288" y="132"/>
                      </a:lnTo>
                      <a:lnTo>
                        <a:pt x="288" y="131"/>
                      </a:lnTo>
                      <a:lnTo>
                        <a:pt x="288" y="130"/>
                      </a:lnTo>
                      <a:lnTo>
                        <a:pt x="288" y="130"/>
                      </a:lnTo>
                      <a:lnTo>
                        <a:pt x="288" y="129"/>
                      </a:lnTo>
                      <a:lnTo>
                        <a:pt x="288" y="128"/>
                      </a:lnTo>
                      <a:lnTo>
                        <a:pt x="288" y="128"/>
                      </a:lnTo>
                      <a:lnTo>
                        <a:pt x="287" y="128"/>
                      </a:lnTo>
                      <a:lnTo>
                        <a:pt x="287" y="128"/>
                      </a:lnTo>
                      <a:lnTo>
                        <a:pt x="287" y="127"/>
                      </a:lnTo>
                      <a:lnTo>
                        <a:pt x="287" y="126"/>
                      </a:lnTo>
                      <a:lnTo>
                        <a:pt x="288" y="126"/>
                      </a:lnTo>
                      <a:lnTo>
                        <a:pt x="287" y="126"/>
                      </a:lnTo>
                      <a:lnTo>
                        <a:pt x="287" y="126"/>
                      </a:lnTo>
                      <a:lnTo>
                        <a:pt x="287" y="126"/>
                      </a:lnTo>
                      <a:lnTo>
                        <a:pt x="286" y="126"/>
                      </a:lnTo>
                      <a:lnTo>
                        <a:pt x="286" y="127"/>
                      </a:lnTo>
                      <a:lnTo>
                        <a:pt x="286" y="126"/>
                      </a:lnTo>
                      <a:lnTo>
                        <a:pt x="285" y="126"/>
                      </a:lnTo>
                      <a:lnTo>
                        <a:pt x="285" y="126"/>
                      </a:lnTo>
                      <a:lnTo>
                        <a:pt x="284" y="126"/>
                      </a:lnTo>
                      <a:lnTo>
                        <a:pt x="284" y="125"/>
                      </a:lnTo>
                      <a:lnTo>
                        <a:pt x="284" y="124"/>
                      </a:lnTo>
                      <a:lnTo>
                        <a:pt x="284" y="124"/>
                      </a:lnTo>
                      <a:lnTo>
                        <a:pt x="284" y="124"/>
                      </a:lnTo>
                      <a:lnTo>
                        <a:pt x="284" y="123"/>
                      </a:lnTo>
                      <a:lnTo>
                        <a:pt x="284" y="122"/>
                      </a:lnTo>
                      <a:lnTo>
                        <a:pt x="283" y="122"/>
                      </a:lnTo>
                      <a:lnTo>
                        <a:pt x="283" y="122"/>
                      </a:lnTo>
                      <a:lnTo>
                        <a:pt x="282" y="122"/>
                      </a:lnTo>
                      <a:lnTo>
                        <a:pt x="282" y="121"/>
                      </a:lnTo>
                      <a:lnTo>
                        <a:pt x="282" y="120"/>
                      </a:lnTo>
                      <a:lnTo>
                        <a:pt x="282" y="120"/>
                      </a:lnTo>
                      <a:lnTo>
                        <a:pt x="282" y="120"/>
                      </a:lnTo>
                      <a:lnTo>
                        <a:pt x="281" y="120"/>
                      </a:lnTo>
                      <a:lnTo>
                        <a:pt x="281" y="119"/>
                      </a:lnTo>
                      <a:lnTo>
                        <a:pt x="281" y="118"/>
                      </a:lnTo>
                      <a:lnTo>
                        <a:pt x="281" y="118"/>
                      </a:lnTo>
                      <a:lnTo>
                        <a:pt x="281" y="117"/>
                      </a:lnTo>
                      <a:lnTo>
                        <a:pt x="281" y="116"/>
                      </a:lnTo>
                      <a:lnTo>
                        <a:pt x="280" y="116"/>
                      </a:lnTo>
                      <a:lnTo>
                        <a:pt x="280" y="116"/>
                      </a:lnTo>
                      <a:lnTo>
                        <a:pt x="279" y="116"/>
                      </a:lnTo>
                      <a:lnTo>
                        <a:pt x="278" y="116"/>
                      </a:lnTo>
                      <a:lnTo>
                        <a:pt x="278" y="116"/>
                      </a:lnTo>
                      <a:lnTo>
                        <a:pt x="277" y="116"/>
                      </a:lnTo>
                      <a:lnTo>
                        <a:pt x="276" y="116"/>
                      </a:lnTo>
                      <a:lnTo>
                        <a:pt x="276" y="116"/>
                      </a:lnTo>
                      <a:lnTo>
                        <a:pt x="276" y="115"/>
                      </a:lnTo>
                      <a:lnTo>
                        <a:pt x="276" y="114"/>
                      </a:lnTo>
                      <a:lnTo>
                        <a:pt x="275" y="114"/>
                      </a:lnTo>
                      <a:lnTo>
                        <a:pt x="275" y="114"/>
                      </a:lnTo>
                      <a:lnTo>
                        <a:pt x="274" y="114"/>
                      </a:lnTo>
                      <a:lnTo>
                        <a:pt x="274" y="114"/>
                      </a:lnTo>
                      <a:lnTo>
                        <a:pt x="274" y="113"/>
                      </a:lnTo>
                      <a:lnTo>
                        <a:pt x="273" y="113"/>
                      </a:lnTo>
                      <a:lnTo>
                        <a:pt x="273" y="114"/>
                      </a:lnTo>
                      <a:lnTo>
                        <a:pt x="273" y="114"/>
                      </a:lnTo>
                      <a:lnTo>
                        <a:pt x="272" y="114"/>
                      </a:lnTo>
                      <a:lnTo>
                        <a:pt x="272" y="114"/>
                      </a:lnTo>
                      <a:lnTo>
                        <a:pt x="271" y="114"/>
                      </a:lnTo>
                      <a:lnTo>
                        <a:pt x="271" y="114"/>
                      </a:lnTo>
                      <a:lnTo>
                        <a:pt x="271" y="114"/>
                      </a:lnTo>
                      <a:lnTo>
                        <a:pt x="270" y="114"/>
                      </a:lnTo>
                      <a:lnTo>
                        <a:pt x="270" y="114"/>
                      </a:lnTo>
                      <a:lnTo>
                        <a:pt x="269" y="113"/>
                      </a:lnTo>
                      <a:lnTo>
                        <a:pt x="269" y="112"/>
                      </a:lnTo>
                      <a:lnTo>
                        <a:pt x="269" y="111"/>
                      </a:lnTo>
                      <a:lnTo>
                        <a:pt x="269" y="111"/>
                      </a:lnTo>
                      <a:lnTo>
                        <a:pt x="268" y="111"/>
                      </a:lnTo>
                      <a:lnTo>
                        <a:pt x="267" y="111"/>
                      </a:lnTo>
                      <a:lnTo>
                        <a:pt x="267" y="111"/>
                      </a:lnTo>
                      <a:lnTo>
                        <a:pt x="267" y="111"/>
                      </a:lnTo>
                      <a:lnTo>
                        <a:pt x="266" y="111"/>
                      </a:lnTo>
                      <a:lnTo>
                        <a:pt x="265" y="111"/>
                      </a:lnTo>
                      <a:lnTo>
                        <a:pt x="265" y="111"/>
                      </a:lnTo>
                      <a:lnTo>
                        <a:pt x="265" y="110"/>
                      </a:lnTo>
                      <a:lnTo>
                        <a:pt x="265" y="109"/>
                      </a:lnTo>
                      <a:lnTo>
                        <a:pt x="264" y="109"/>
                      </a:lnTo>
                      <a:lnTo>
                        <a:pt x="264" y="109"/>
                      </a:lnTo>
                      <a:lnTo>
                        <a:pt x="264" y="108"/>
                      </a:lnTo>
                      <a:lnTo>
                        <a:pt x="263" y="108"/>
                      </a:lnTo>
                      <a:lnTo>
                        <a:pt x="263" y="107"/>
                      </a:lnTo>
                      <a:lnTo>
                        <a:pt x="263" y="107"/>
                      </a:lnTo>
                      <a:lnTo>
                        <a:pt x="262" y="107"/>
                      </a:lnTo>
                      <a:lnTo>
                        <a:pt x="262" y="106"/>
                      </a:lnTo>
                      <a:lnTo>
                        <a:pt x="261" y="106"/>
                      </a:lnTo>
                      <a:lnTo>
                        <a:pt x="261" y="106"/>
                      </a:lnTo>
                      <a:lnTo>
                        <a:pt x="261" y="105"/>
                      </a:lnTo>
                      <a:lnTo>
                        <a:pt x="260" y="105"/>
                      </a:lnTo>
                      <a:lnTo>
                        <a:pt x="260" y="105"/>
                      </a:lnTo>
                      <a:lnTo>
                        <a:pt x="260" y="104"/>
                      </a:lnTo>
                      <a:lnTo>
                        <a:pt x="259" y="104"/>
                      </a:lnTo>
                      <a:lnTo>
                        <a:pt x="259" y="104"/>
                      </a:lnTo>
                      <a:lnTo>
                        <a:pt x="258" y="104"/>
                      </a:lnTo>
                      <a:lnTo>
                        <a:pt x="258" y="103"/>
                      </a:lnTo>
                      <a:lnTo>
                        <a:pt x="258" y="103"/>
                      </a:lnTo>
                      <a:lnTo>
                        <a:pt x="257" y="103"/>
                      </a:lnTo>
                      <a:lnTo>
                        <a:pt x="257" y="103"/>
                      </a:lnTo>
                      <a:lnTo>
                        <a:pt x="257" y="102"/>
                      </a:lnTo>
                      <a:lnTo>
                        <a:pt x="257" y="101"/>
                      </a:lnTo>
                      <a:lnTo>
                        <a:pt x="257" y="101"/>
                      </a:lnTo>
                      <a:lnTo>
                        <a:pt x="257" y="100"/>
                      </a:lnTo>
                      <a:lnTo>
                        <a:pt x="256" y="100"/>
                      </a:lnTo>
                      <a:lnTo>
                        <a:pt x="256" y="99"/>
                      </a:lnTo>
                      <a:lnTo>
                        <a:pt x="256" y="99"/>
                      </a:lnTo>
                      <a:lnTo>
                        <a:pt x="255" y="99"/>
                      </a:lnTo>
                      <a:lnTo>
                        <a:pt x="255" y="98"/>
                      </a:lnTo>
                      <a:lnTo>
                        <a:pt x="255" y="97"/>
                      </a:lnTo>
                      <a:lnTo>
                        <a:pt x="255" y="97"/>
                      </a:lnTo>
                      <a:lnTo>
                        <a:pt x="255" y="96"/>
                      </a:lnTo>
                      <a:lnTo>
                        <a:pt x="255" y="95"/>
                      </a:lnTo>
                      <a:lnTo>
                        <a:pt x="255" y="95"/>
                      </a:lnTo>
                      <a:lnTo>
                        <a:pt x="255" y="95"/>
                      </a:lnTo>
                      <a:lnTo>
                        <a:pt x="254" y="95"/>
                      </a:lnTo>
                      <a:lnTo>
                        <a:pt x="253" y="95"/>
                      </a:lnTo>
                      <a:lnTo>
                        <a:pt x="253" y="94"/>
                      </a:lnTo>
                      <a:lnTo>
                        <a:pt x="252" y="94"/>
                      </a:lnTo>
                      <a:lnTo>
                        <a:pt x="252" y="93"/>
                      </a:lnTo>
                      <a:lnTo>
                        <a:pt x="252" y="92"/>
                      </a:lnTo>
                      <a:lnTo>
                        <a:pt x="252" y="92"/>
                      </a:lnTo>
                      <a:lnTo>
                        <a:pt x="251" y="92"/>
                      </a:lnTo>
                      <a:lnTo>
                        <a:pt x="251" y="91"/>
                      </a:lnTo>
                      <a:lnTo>
                        <a:pt x="250" y="91"/>
                      </a:lnTo>
                      <a:lnTo>
                        <a:pt x="250" y="90"/>
                      </a:lnTo>
                      <a:lnTo>
                        <a:pt x="250" y="90"/>
                      </a:lnTo>
                      <a:lnTo>
                        <a:pt x="249" y="90"/>
                      </a:lnTo>
                      <a:lnTo>
                        <a:pt x="249" y="90"/>
                      </a:lnTo>
                      <a:lnTo>
                        <a:pt x="248" y="90"/>
                      </a:lnTo>
                      <a:lnTo>
                        <a:pt x="248" y="89"/>
                      </a:lnTo>
                      <a:lnTo>
                        <a:pt x="248" y="88"/>
                      </a:lnTo>
                      <a:lnTo>
                        <a:pt x="248" y="88"/>
                      </a:lnTo>
                      <a:lnTo>
                        <a:pt x="247" y="88"/>
                      </a:lnTo>
                      <a:lnTo>
                        <a:pt x="247" y="87"/>
                      </a:lnTo>
                      <a:lnTo>
                        <a:pt x="246" y="87"/>
                      </a:lnTo>
                      <a:lnTo>
                        <a:pt x="246" y="87"/>
                      </a:lnTo>
                      <a:lnTo>
                        <a:pt x="246" y="86"/>
                      </a:lnTo>
                      <a:lnTo>
                        <a:pt x="246" y="86"/>
                      </a:lnTo>
                      <a:lnTo>
                        <a:pt x="246" y="86"/>
                      </a:lnTo>
                      <a:lnTo>
                        <a:pt x="246" y="85"/>
                      </a:lnTo>
                      <a:lnTo>
                        <a:pt x="246" y="85"/>
                      </a:lnTo>
                      <a:lnTo>
                        <a:pt x="245" y="85"/>
                      </a:lnTo>
                      <a:lnTo>
                        <a:pt x="245" y="86"/>
                      </a:lnTo>
                      <a:lnTo>
                        <a:pt x="244" y="86"/>
                      </a:lnTo>
                      <a:lnTo>
                        <a:pt x="244" y="86"/>
                      </a:lnTo>
                      <a:lnTo>
                        <a:pt x="243" y="86"/>
                      </a:lnTo>
                      <a:lnTo>
                        <a:pt x="243" y="85"/>
                      </a:lnTo>
                      <a:lnTo>
                        <a:pt x="242" y="85"/>
                      </a:lnTo>
                      <a:lnTo>
                        <a:pt x="242" y="84"/>
                      </a:lnTo>
                      <a:lnTo>
                        <a:pt x="242" y="84"/>
                      </a:lnTo>
                      <a:lnTo>
                        <a:pt x="241" y="84"/>
                      </a:lnTo>
                      <a:lnTo>
                        <a:pt x="240" y="84"/>
                      </a:lnTo>
                      <a:lnTo>
                        <a:pt x="240" y="83"/>
                      </a:lnTo>
                      <a:lnTo>
                        <a:pt x="239" y="82"/>
                      </a:lnTo>
                      <a:lnTo>
                        <a:pt x="238" y="82"/>
                      </a:lnTo>
                      <a:lnTo>
                        <a:pt x="238" y="82"/>
                      </a:lnTo>
                      <a:lnTo>
                        <a:pt x="238" y="81"/>
                      </a:lnTo>
                      <a:lnTo>
                        <a:pt x="237" y="81"/>
                      </a:lnTo>
                      <a:lnTo>
                        <a:pt x="236" y="81"/>
                      </a:lnTo>
                      <a:lnTo>
                        <a:pt x="236" y="80"/>
                      </a:lnTo>
                      <a:lnTo>
                        <a:pt x="236" y="80"/>
                      </a:lnTo>
                      <a:lnTo>
                        <a:pt x="235" y="80"/>
                      </a:lnTo>
                      <a:lnTo>
                        <a:pt x="235" y="79"/>
                      </a:lnTo>
                      <a:lnTo>
                        <a:pt x="234" y="79"/>
                      </a:lnTo>
                      <a:lnTo>
                        <a:pt x="234" y="78"/>
                      </a:lnTo>
                      <a:lnTo>
                        <a:pt x="234" y="78"/>
                      </a:lnTo>
                      <a:lnTo>
                        <a:pt x="234" y="77"/>
                      </a:lnTo>
                      <a:lnTo>
                        <a:pt x="233" y="76"/>
                      </a:lnTo>
                      <a:lnTo>
                        <a:pt x="233" y="76"/>
                      </a:lnTo>
                      <a:lnTo>
                        <a:pt x="233" y="75"/>
                      </a:lnTo>
                      <a:lnTo>
                        <a:pt x="232" y="74"/>
                      </a:lnTo>
                      <a:lnTo>
                        <a:pt x="231" y="74"/>
                      </a:lnTo>
                      <a:lnTo>
                        <a:pt x="231" y="74"/>
                      </a:lnTo>
                      <a:lnTo>
                        <a:pt x="231" y="73"/>
                      </a:lnTo>
                      <a:lnTo>
                        <a:pt x="230" y="73"/>
                      </a:lnTo>
                      <a:lnTo>
                        <a:pt x="230" y="73"/>
                      </a:lnTo>
                      <a:lnTo>
                        <a:pt x="229" y="73"/>
                      </a:lnTo>
                      <a:lnTo>
                        <a:pt x="229" y="72"/>
                      </a:lnTo>
                      <a:lnTo>
                        <a:pt x="229" y="71"/>
                      </a:lnTo>
                      <a:lnTo>
                        <a:pt x="228" y="71"/>
                      </a:lnTo>
                      <a:lnTo>
                        <a:pt x="228" y="71"/>
                      </a:lnTo>
                      <a:lnTo>
                        <a:pt x="228" y="70"/>
                      </a:lnTo>
                      <a:lnTo>
                        <a:pt x="227" y="70"/>
                      </a:lnTo>
                      <a:lnTo>
                        <a:pt x="227" y="69"/>
                      </a:lnTo>
                      <a:lnTo>
                        <a:pt x="227" y="69"/>
                      </a:lnTo>
                      <a:lnTo>
                        <a:pt x="226" y="69"/>
                      </a:lnTo>
                      <a:lnTo>
                        <a:pt x="226" y="69"/>
                      </a:lnTo>
                      <a:lnTo>
                        <a:pt x="225" y="69"/>
                      </a:lnTo>
                      <a:lnTo>
                        <a:pt x="225" y="68"/>
                      </a:lnTo>
                      <a:lnTo>
                        <a:pt x="225" y="69"/>
                      </a:lnTo>
                      <a:lnTo>
                        <a:pt x="225" y="68"/>
                      </a:lnTo>
                      <a:lnTo>
                        <a:pt x="225" y="68"/>
                      </a:lnTo>
                      <a:lnTo>
                        <a:pt x="225" y="67"/>
                      </a:lnTo>
                      <a:lnTo>
                        <a:pt x="224" y="67"/>
                      </a:lnTo>
                      <a:lnTo>
                        <a:pt x="223" y="67"/>
                      </a:lnTo>
                      <a:lnTo>
                        <a:pt x="223" y="67"/>
                      </a:lnTo>
                      <a:lnTo>
                        <a:pt x="223" y="66"/>
                      </a:lnTo>
                      <a:lnTo>
                        <a:pt x="223" y="65"/>
                      </a:lnTo>
                      <a:lnTo>
                        <a:pt x="222" y="65"/>
                      </a:lnTo>
                      <a:lnTo>
                        <a:pt x="221" y="65"/>
                      </a:lnTo>
                      <a:lnTo>
                        <a:pt x="221" y="65"/>
                      </a:lnTo>
                      <a:lnTo>
                        <a:pt x="220" y="65"/>
                      </a:lnTo>
                      <a:lnTo>
                        <a:pt x="220" y="65"/>
                      </a:lnTo>
                      <a:lnTo>
                        <a:pt x="220" y="64"/>
                      </a:lnTo>
                      <a:lnTo>
                        <a:pt x="220" y="63"/>
                      </a:lnTo>
                      <a:lnTo>
                        <a:pt x="219" y="63"/>
                      </a:lnTo>
                      <a:lnTo>
                        <a:pt x="219" y="63"/>
                      </a:lnTo>
                      <a:lnTo>
                        <a:pt x="219" y="63"/>
                      </a:lnTo>
                      <a:lnTo>
                        <a:pt x="218" y="63"/>
                      </a:lnTo>
                      <a:lnTo>
                        <a:pt x="217" y="63"/>
                      </a:lnTo>
                      <a:lnTo>
                        <a:pt x="217" y="62"/>
                      </a:lnTo>
                      <a:lnTo>
                        <a:pt x="217" y="62"/>
                      </a:lnTo>
                      <a:lnTo>
                        <a:pt x="217" y="61"/>
                      </a:lnTo>
                      <a:lnTo>
                        <a:pt x="216" y="61"/>
                      </a:lnTo>
                      <a:lnTo>
                        <a:pt x="216" y="61"/>
                      </a:lnTo>
                      <a:lnTo>
                        <a:pt x="215" y="61"/>
                      </a:lnTo>
                      <a:lnTo>
                        <a:pt x="214" y="61"/>
                      </a:lnTo>
                      <a:lnTo>
                        <a:pt x="214" y="61"/>
                      </a:lnTo>
                      <a:lnTo>
                        <a:pt x="214" y="60"/>
                      </a:lnTo>
                      <a:lnTo>
                        <a:pt x="213" y="60"/>
                      </a:lnTo>
                      <a:lnTo>
                        <a:pt x="213" y="59"/>
                      </a:lnTo>
                      <a:lnTo>
                        <a:pt x="212" y="59"/>
                      </a:lnTo>
                      <a:lnTo>
                        <a:pt x="212" y="59"/>
                      </a:lnTo>
                      <a:lnTo>
                        <a:pt x="211" y="59"/>
                      </a:lnTo>
                      <a:lnTo>
                        <a:pt x="211" y="59"/>
                      </a:lnTo>
                      <a:lnTo>
                        <a:pt x="210" y="59"/>
                      </a:lnTo>
                      <a:lnTo>
                        <a:pt x="210" y="59"/>
                      </a:lnTo>
                      <a:lnTo>
                        <a:pt x="209" y="58"/>
                      </a:lnTo>
                      <a:lnTo>
                        <a:pt x="209" y="57"/>
                      </a:lnTo>
                      <a:lnTo>
                        <a:pt x="209" y="57"/>
                      </a:lnTo>
                      <a:lnTo>
                        <a:pt x="209" y="56"/>
                      </a:lnTo>
                      <a:lnTo>
                        <a:pt x="210" y="56"/>
                      </a:lnTo>
                      <a:lnTo>
                        <a:pt x="209" y="55"/>
                      </a:lnTo>
                      <a:lnTo>
                        <a:pt x="208" y="55"/>
                      </a:lnTo>
                      <a:lnTo>
                        <a:pt x="208" y="55"/>
                      </a:lnTo>
                      <a:lnTo>
                        <a:pt x="208" y="54"/>
                      </a:lnTo>
                      <a:lnTo>
                        <a:pt x="207" y="53"/>
                      </a:lnTo>
                      <a:lnTo>
                        <a:pt x="206" y="53"/>
                      </a:lnTo>
                      <a:lnTo>
                        <a:pt x="206" y="53"/>
                      </a:lnTo>
                      <a:lnTo>
                        <a:pt x="205" y="53"/>
                      </a:lnTo>
                      <a:lnTo>
                        <a:pt x="205" y="52"/>
                      </a:lnTo>
                      <a:lnTo>
                        <a:pt x="204" y="52"/>
                      </a:lnTo>
                      <a:lnTo>
                        <a:pt x="204" y="52"/>
                      </a:lnTo>
                      <a:lnTo>
                        <a:pt x="204" y="52"/>
                      </a:lnTo>
                      <a:lnTo>
                        <a:pt x="203" y="52"/>
                      </a:lnTo>
                      <a:lnTo>
                        <a:pt x="202" y="52"/>
                      </a:lnTo>
                      <a:lnTo>
                        <a:pt x="202" y="52"/>
                      </a:lnTo>
                      <a:lnTo>
                        <a:pt x="201" y="51"/>
                      </a:lnTo>
                      <a:lnTo>
                        <a:pt x="201" y="50"/>
                      </a:lnTo>
                      <a:lnTo>
                        <a:pt x="200" y="50"/>
                      </a:lnTo>
                      <a:lnTo>
                        <a:pt x="200" y="50"/>
                      </a:lnTo>
                      <a:lnTo>
                        <a:pt x="200" y="50"/>
                      </a:lnTo>
                      <a:lnTo>
                        <a:pt x="199" y="50"/>
                      </a:lnTo>
                      <a:lnTo>
                        <a:pt x="199" y="49"/>
                      </a:lnTo>
                      <a:lnTo>
                        <a:pt x="198" y="49"/>
                      </a:lnTo>
                      <a:lnTo>
                        <a:pt x="198" y="49"/>
                      </a:lnTo>
                      <a:lnTo>
                        <a:pt x="198" y="48"/>
                      </a:lnTo>
                      <a:lnTo>
                        <a:pt x="198" y="48"/>
                      </a:lnTo>
                      <a:lnTo>
                        <a:pt x="198" y="47"/>
                      </a:lnTo>
                      <a:lnTo>
                        <a:pt x="197" y="47"/>
                      </a:lnTo>
                      <a:lnTo>
                        <a:pt x="197" y="46"/>
                      </a:lnTo>
                      <a:lnTo>
                        <a:pt x="196" y="46"/>
                      </a:lnTo>
                      <a:lnTo>
                        <a:pt x="195" y="46"/>
                      </a:lnTo>
                      <a:lnTo>
                        <a:pt x="195" y="46"/>
                      </a:lnTo>
                      <a:lnTo>
                        <a:pt x="195" y="46"/>
                      </a:lnTo>
                      <a:lnTo>
                        <a:pt x="195" y="45"/>
                      </a:lnTo>
                      <a:lnTo>
                        <a:pt x="194" y="45"/>
                      </a:lnTo>
                      <a:lnTo>
                        <a:pt x="194" y="44"/>
                      </a:lnTo>
                      <a:lnTo>
                        <a:pt x="193" y="44"/>
                      </a:lnTo>
                      <a:lnTo>
                        <a:pt x="193" y="44"/>
                      </a:lnTo>
                      <a:lnTo>
                        <a:pt x="193" y="43"/>
                      </a:lnTo>
                      <a:lnTo>
                        <a:pt x="193" y="43"/>
                      </a:lnTo>
                      <a:lnTo>
                        <a:pt x="192" y="43"/>
                      </a:lnTo>
                      <a:lnTo>
                        <a:pt x="191" y="43"/>
                      </a:lnTo>
                      <a:lnTo>
                        <a:pt x="191" y="44"/>
                      </a:lnTo>
                      <a:lnTo>
                        <a:pt x="191" y="43"/>
                      </a:lnTo>
                      <a:lnTo>
                        <a:pt x="191" y="43"/>
                      </a:lnTo>
                      <a:lnTo>
                        <a:pt x="190" y="43"/>
                      </a:lnTo>
                      <a:lnTo>
                        <a:pt x="189" y="43"/>
                      </a:lnTo>
                      <a:lnTo>
                        <a:pt x="189" y="42"/>
                      </a:lnTo>
                      <a:lnTo>
                        <a:pt x="188" y="42"/>
                      </a:lnTo>
                      <a:lnTo>
                        <a:pt x="187" y="42"/>
                      </a:lnTo>
                      <a:lnTo>
                        <a:pt x="187" y="42"/>
                      </a:lnTo>
                      <a:lnTo>
                        <a:pt x="187" y="43"/>
                      </a:lnTo>
                      <a:lnTo>
                        <a:pt x="187" y="44"/>
                      </a:lnTo>
                      <a:lnTo>
                        <a:pt x="186" y="44"/>
                      </a:lnTo>
                      <a:lnTo>
                        <a:pt x="185" y="44"/>
                      </a:lnTo>
                      <a:lnTo>
                        <a:pt x="185" y="44"/>
                      </a:lnTo>
                      <a:lnTo>
                        <a:pt x="185" y="44"/>
                      </a:lnTo>
                      <a:lnTo>
                        <a:pt x="184" y="44"/>
                      </a:lnTo>
                      <a:lnTo>
                        <a:pt x="183" y="44"/>
                      </a:lnTo>
                      <a:lnTo>
                        <a:pt x="183" y="44"/>
                      </a:lnTo>
                      <a:lnTo>
                        <a:pt x="182" y="44"/>
                      </a:lnTo>
                      <a:lnTo>
                        <a:pt x="182" y="45"/>
                      </a:lnTo>
                      <a:lnTo>
                        <a:pt x="183" y="45"/>
                      </a:lnTo>
                      <a:lnTo>
                        <a:pt x="182" y="46"/>
                      </a:lnTo>
                      <a:lnTo>
                        <a:pt x="181" y="46"/>
                      </a:lnTo>
                      <a:lnTo>
                        <a:pt x="181" y="46"/>
                      </a:lnTo>
                      <a:lnTo>
                        <a:pt x="181" y="46"/>
                      </a:lnTo>
                      <a:lnTo>
                        <a:pt x="180" y="46"/>
                      </a:lnTo>
                      <a:lnTo>
                        <a:pt x="179" y="46"/>
                      </a:lnTo>
                      <a:lnTo>
                        <a:pt x="179" y="46"/>
                      </a:lnTo>
                      <a:lnTo>
                        <a:pt x="178" y="46"/>
                      </a:lnTo>
                      <a:lnTo>
                        <a:pt x="177" y="46"/>
                      </a:lnTo>
                      <a:lnTo>
                        <a:pt x="177" y="47"/>
                      </a:lnTo>
                      <a:lnTo>
                        <a:pt x="176" y="47"/>
                      </a:lnTo>
                      <a:lnTo>
                        <a:pt x="176" y="48"/>
                      </a:lnTo>
                      <a:lnTo>
                        <a:pt x="175" y="48"/>
                      </a:lnTo>
                      <a:lnTo>
                        <a:pt x="174" y="48"/>
                      </a:lnTo>
                      <a:lnTo>
                        <a:pt x="174" y="48"/>
                      </a:lnTo>
                      <a:lnTo>
                        <a:pt x="174" y="48"/>
                      </a:lnTo>
                      <a:lnTo>
                        <a:pt x="173" y="48"/>
                      </a:lnTo>
                      <a:lnTo>
                        <a:pt x="172" y="48"/>
                      </a:lnTo>
                      <a:lnTo>
                        <a:pt x="172" y="48"/>
                      </a:lnTo>
                      <a:lnTo>
                        <a:pt x="171" y="48"/>
                      </a:lnTo>
                      <a:lnTo>
                        <a:pt x="170" y="48"/>
                      </a:lnTo>
                      <a:lnTo>
                        <a:pt x="170" y="48"/>
                      </a:lnTo>
                      <a:lnTo>
                        <a:pt x="170" y="47"/>
                      </a:lnTo>
                      <a:lnTo>
                        <a:pt x="170" y="46"/>
                      </a:lnTo>
                      <a:lnTo>
                        <a:pt x="170" y="46"/>
                      </a:lnTo>
                      <a:lnTo>
                        <a:pt x="170" y="46"/>
                      </a:lnTo>
                      <a:lnTo>
                        <a:pt x="169" y="46"/>
                      </a:lnTo>
                      <a:lnTo>
                        <a:pt x="169" y="45"/>
                      </a:lnTo>
                      <a:lnTo>
                        <a:pt x="168" y="45"/>
                      </a:lnTo>
                      <a:lnTo>
                        <a:pt x="168" y="44"/>
                      </a:lnTo>
                      <a:lnTo>
                        <a:pt x="168" y="44"/>
                      </a:lnTo>
                      <a:lnTo>
                        <a:pt x="168" y="43"/>
                      </a:lnTo>
                      <a:lnTo>
                        <a:pt x="168" y="42"/>
                      </a:lnTo>
                      <a:lnTo>
                        <a:pt x="168" y="42"/>
                      </a:lnTo>
                      <a:lnTo>
                        <a:pt x="168" y="41"/>
                      </a:lnTo>
                      <a:lnTo>
                        <a:pt x="168" y="40"/>
                      </a:lnTo>
                      <a:lnTo>
                        <a:pt x="168" y="40"/>
                      </a:lnTo>
                      <a:lnTo>
                        <a:pt x="168" y="39"/>
                      </a:lnTo>
                      <a:lnTo>
                        <a:pt x="168" y="38"/>
                      </a:lnTo>
                      <a:lnTo>
                        <a:pt x="168" y="38"/>
                      </a:lnTo>
                      <a:lnTo>
                        <a:pt x="167" y="38"/>
                      </a:lnTo>
                      <a:lnTo>
                        <a:pt x="166" y="38"/>
                      </a:lnTo>
                      <a:lnTo>
                        <a:pt x="166" y="38"/>
                      </a:lnTo>
                      <a:lnTo>
                        <a:pt x="166" y="37"/>
                      </a:lnTo>
                      <a:lnTo>
                        <a:pt x="166" y="36"/>
                      </a:lnTo>
                      <a:lnTo>
                        <a:pt x="166" y="36"/>
                      </a:lnTo>
                      <a:lnTo>
                        <a:pt x="165" y="36"/>
                      </a:lnTo>
                      <a:lnTo>
                        <a:pt x="164" y="36"/>
                      </a:lnTo>
                      <a:lnTo>
                        <a:pt x="164" y="36"/>
                      </a:lnTo>
                      <a:lnTo>
                        <a:pt x="164" y="37"/>
                      </a:lnTo>
                      <a:lnTo>
                        <a:pt x="164" y="38"/>
                      </a:lnTo>
                      <a:lnTo>
                        <a:pt x="164" y="38"/>
                      </a:lnTo>
                      <a:lnTo>
                        <a:pt x="163" y="38"/>
                      </a:lnTo>
                      <a:lnTo>
                        <a:pt x="163" y="38"/>
                      </a:lnTo>
                      <a:lnTo>
                        <a:pt x="162" y="38"/>
                      </a:lnTo>
                      <a:lnTo>
                        <a:pt x="162" y="38"/>
                      </a:lnTo>
                      <a:lnTo>
                        <a:pt x="162" y="37"/>
                      </a:lnTo>
                      <a:lnTo>
                        <a:pt x="162" y="36"/>
                      </a:lnTo>
                      <a:lnTo>
                        <a:pt x="161" y="36"/>
                      </a:lnTo>
                      <a:lnTo>
                        <a:pt x="160" y="36"/>
                      </a:lnTo>
                      <a:lnTo>
                        <a:pt x="160" y="35"/>
                      </a:lnTo>
                      <a:lnTo>
                        <a:pt x="160" y="35"/>
                      </a:lnTo>
                      <a:lnTo>
                        <a:pt x="159" y="35"/>
                      </a:lnTo>
                      <a:lnTo>
                        <a:pt x="158" y="34"/>
                      </a:lnTo>
                      <a:lnTo>
                        <a:pt x="157" y="34"/>
                      </a:lnTo>
                      <a:lnTo>
                        <a:pt x="157" y="33"/>
                      </a:lnTo>
                      <a:lnTo>
                        <a:pt x="156" y="33"/>
                      </a:lnTo>
                      <a:lnTo>
                        <a:pt x="156" y="32"/>
                      </a:lnTo>
                      <a:lnTo>
                        <a:pt x="156" y="31"/>
                      </a:lnTo>
                      <a:lnTo>
                        <a:pt x="156" y="31"/>
                      </a:lnTo>
                      <a:lnTo>
                        <a:pt x="156" y="30"/>
                      </a:lnTo>
                      <a:lnTo>
                        <a:pt x="155" y="30"/>
                      </a:lnTo>
                      <a:lnTo>
                        <a:pt x="155" y="29"/>
                      </a:lnTo>
                      <a:lnTo>
                        <a:pt x="155" y="29"/>
                      </a:lnTo>
                      <a:lnTo>
                        <a:pt x="155" y="28"/>
                      </a:lnTo>
                      <a:lnTo>
                        <a:pt x="154" y="27"/>
                      </a:lnTo>
                      <a:lnTo>
                        <a:pt x="153" y="27"/>
                      </a:lnTo>
                      <a:lnTo>
                        <a:pt x="153" y="27"/>
                      </a:lnTo>
                      <a:lnTo>
                        <a:pt x="153" y="27"/>
                      </a:lnTo>
                      <a:lnTo>
                        <a:pt x="153" y="26"/>
                      </a:lnTo>
                      <a:lnTo>
                        <a:pt x="153" y="25"/>
                      </a:lnTo>
                      <a:lnTo>
                        <a:pt x="152" y="25"/>
                      </a:lnTo>
                      <a:lnTo>
                        <a:pt x="152" y="25"/>
                      </a:lnTo>
                      <a:lnTo>
                        <a:pt x="152" y="24"/>
                      </a:lnTo>
                      <a:lnTo>
                        <a:pt x="151" y="24"/>
                      </a:lnTo>
                      <a:lnTo>
                        <a:pt x="151" y="23"/>
                      </a:lnTo>
                      <a:lnTo>
                        <a:pt x="151" y="23"/>
                      </a:lnTo>
                      <a:lnTo>
                        <a:pt x="151" y="22"/>
                      </a:lnTo>
                      <a:lnTo>
                        <a:pt x="150" y="22"/>
                      </a:lnTo>
                      <a:lnTo>
                        <a:pt x="150" y="21"/>
                      </a:lnTo>
                      <a:lnTo>
                        <a:pt x="150" y="21"/>
                      </a:lnTo>
                      <a:lnTo>
                        <a:pt x="149" y="21"/>
                      </a:lnTo>
                      <a:lnTo>
                        <a:pt x="149" y="20"/>
                      </a:lnTo>
                      <a:lnTo>
                        <a:pt x="149" y="19"/>
                      </a:lnTo>
                      <a:lnTo>
                        <a:pt x="149" y="19"/>
                      </a:lnTo>
                      <a:lnTo>
                        <a:pt x="149" y="19"/>
                      </a:lnTo>
                      <a:lnTo>
                        <a:pt x="149" y="18"/>
                      </a:lnTo>
                      <a:lnTo>
                        <a:pt x="149" y="17"/>
                      </a:lnTo>
                      <a:lnTo>
                        <a:pt x="149" y="17"/>
                      </a:lnTo>
                      <a:lnTo>
                        <a:pt x="148" y="17"/>
                      </a:lnTo>
                      <a:lnTo>
                        <a:pt x="147" y="17"/>
                      </a:lnTo>
                      <a:lnTo>
                        <a:pt x="147" y="17"/>
                      </a:lnTo>
                      <a:lnTo>
                        <a:pt x="147" y="16"/>
                      </a:lnTo>
                      <a:lnTo>
                        <a:pt x="147" y="16"/>
                      </a:lnTo>
                      <a:lnTo>
                        <a:pt x="147" y="15"/>
                      </a:lnTo>
                      <a:lnTo>
                        <a:pt x="147" y="14"/>
                      </a:lnTo>
                      <a:lnTo>
                        <a:pt x="147" y="14"/>
                      </a:lnTo>
                      <a:lnTo>
                        <a:pt x="146" y="14"/>
                      </a:lnTo>
                      <a:lnTo>
                        <a:pt x="146" y="13"/>
                      </a:lnTo>
                      <a:lnTo>
                        <a:pt x="145" y="13"/>
                      </a:lnTo>
                      <a:lnTo>
                        <a:pt x="145" y="12"/>
                      </a:lnTo>
                      <a:lnTo>
                        <a:pt x="144" y="12"/>
                      </a:lnTo>
                      <a:lnTo>
                        <a:pt x="144" y="11"/>
                      </a:lnTo>
                      <a:lnTo>
                        <a:pt x="144" y="10"/>
                      </a:lnTo>
                      <a:lnTo>
                        <a:pt x="143" y="10"/>
                      </a:lnTo>
                      <a:lnTo>
                        <a:pt x="143" y="10"/>
                      </a:lnTo>
                      <a:lnTo>
                        <a:pt x="143" y="10"/>
                      </a:lnTo>
                      <a:lnTo>
                        <a:pt x="143" y="9"/>
                      </a:lnTo>
                      <a:lnTo>
                        <a:pt x="143" y="8"/>
                      </a:lnTo>
                      <a:lnTo>
                        <a:pt x="142" y="8"/>
                      </a:lnTo>
                      <a:lnTo>
                        <a:pt x="141" y="7"/>
                      </a:lnTo>
                      <a:lnTo>
                        <a:pt x="141" y="7"/>
                      </a:lnTo>
                      <a:lnTo>
                        <a:pt x="140" y="7"/>
                      </a:lnTo>
                      <a:lnTo>
                        <a:pt x="139" y="6"/>
                      </a:lnTo>
                      <a:lnTo>
                        <a:pt x="139" y="6"/>
                      </a:lnTo>
                      <a:lnTo>
                        <a:pt x="138" y="6"/>
                      </a:lnTo>
                      <a:lnTo>
                        <a:pt x="138" y="5"/>
                      </a:lnTo>
                      <a:lnTo>
                        <a:pt x="138" y="5"/>
                      </a:lnTo>
                      <a:lnTo>
                        <a:pt x="137" y="5"/>
                      </a:lnTo>
                      <a:lnTo>
                        <a:pt x="136" y="4"/>
                      </a:lnTo>
                      <a:lnTo>
                        <a:pt x="136" y="4"/>
                      </a:lnTo>
                      <a:lnTo>
                        <a:pt x="135" y="4"/>
                      </a:lnTo>
                      <a:lnTo>
                        <a:pt x="134" y="4"/>
                      </a:lnTo>
                      <a:lnTo>
                        <a:pt x="134" y="3"/>
                      </a:lnTo>
                      <a:lnTo>
                        <a:pt x="134" y="3"/>
                      </a:lnTo>
                      <a:lnTo>
                        <a:pt x="133" y="3"/>
                      </a:lnTo>
                      <a:lnTo>
                        <a:pt x="132" y="3"/>
                      </a:lnTo>
                      <a:lnTo>
                        <a:pt x="132" y="2"/>
                      </a:lnTo>
                      <a:lnTo>
                        <a:pt x="132" y="2"/>
                      </a:lnTo>
                      <a:lnTo>
                        <a:pt x="132" y="2"/>
                      </a:lnTo>
                      <a:lnTo>
                        <a:pt x="132" y="1"/>
                      </a:lnTo>
                      <a:lnTo>
                        <a:pt x="131" y="1"/>
                      </a:lnTo>
                      <a:lnTo>
                        <a:pt x="131" y="0"/>
                      </a:lnTo>
                      <a:lnTo>
                        <a:pt x="130" y="0"/>
                      </a:lnTo>
                      <a:lnTo>
                        <a:pt x="130" y="0"/>
                      </a:lnTo>
                      <a:lnTo>
                        <a:pt x="129" y="0"/>
                      </a:lnTo>
                      <a:lnTo>
                        <a:pt x="129" y="0"/>
                      </a:lnTo>
                      <a:lnTo>
                        <a:pt x="128" y="0"/>
                      </a:lnTo>
                      <a:lnTo>
                        <a:pt x="128" y="0"/>
                      </a:lnTo>
                      <a:lnTo>
                        <a:pt x="128" y="0"/>
                      </a:lnTo>
                      <a:lnTo>
                        <a:pt x="128" y="0"/>
                      </a:lnTo>
                      <a:lnTo>
                        <a:pt x="127" y="0"/>
                      </a:lnTo>
                      <a:lnTo>
                        <a:pt x="127" y="1"/>
                      </a:lnTo>
                      <a:lnTo>
                        <a:pt x="127" y="2"/>
                      </a:lnTo>
                      <a:lnTo>
                        <a:pt x="127" y="2"/>
                      </a:lnTo>
                      <a:lnTo>
                        <a:pt x="126" y="2"/>
                      </a:lnTo>
                      <a:lnTo>
                        <a:pt x="126" y="3"/>
                      </a:lnTo>
                      <a:lnTo>
                        <a:pt x="126" y="3"/>
                      </a:lnTo>
                      <a:lnTo>
                        <a:pt x="126" y="4"/>
                      </a:lnTo>
                      <a:lnTo>
                        <a:pt x="126" y="4"/>
                      </a:lnTo>
                      <a:lnTo>
                        <a:pt x="126" y="5"/>
                      </a:lnTo>
                      <a:lnTo>
                        <a:pt x="125" y="5"/>
                      </a:lnTo>
                      <a:lnTo>
                        <a:pt x="124" y="5"/>
                      </a:lnTo>
                      <a:lnTo>
                        <a:pt x="124" y="6"/>
                      </a:lnTo>
                      <a:lnTo>
                        <a:pt x="125" y="6"/>
                      </a:lnTo>
                      <a:lnTo>
                        <a:pt x="124" y="6"/>
                      </a:lnTo>
                      <a:lnTo>
                        <a:pt x="124" y="6"/>
                      </a:lnTo>
                      <a:lnTo>
                        <a:pt x="124" y="7"/>
                      </a:lnTo>
                      <a:lnTo>
                        <a:pt x="124" y="8"/>
                      </a:lnTo>
                      <a:lnTo>
                        <a:pt x="124" y="8"/>
                      </a:lnTo>
                      <a:lnTo>
                        <a:pt x="124" y="8"/>
                      </a:lnTo>
                      <a:lnTo>
                        <a:pt x="124" y="9"/>
                      </a:lnTo>
                      <a:lnTo>
                        <a:pt x="124" y="10"/>
                      </a:lnTo>
                      <a:lnTo>
                        <a:pt x="124" y="10"/>
                      </a:lnTo>
                      <a:lnTo>
                        <a:pt x="124" y="11"/>
                      </a:lnTo>
                      <a:lnTo>
                        <a:pt x="124" y="12"/>
                      </a:lnTo>
                      <a:lnTo>
                        <a:pt x="124" y="12"/>
                      </a:lnTo>
                      <a:lnTo>
                        <a:pt x="124" y="13"/>
                      </a:lnTo>
                      <a:lnTo>
                        <a:pt x="124" y="14"/>
                      </a:lnTo>
                      <a:lnTo>
                        <a:pt x="123" y="14"/>
                      </a:lnTo>
                      <a:lnTo>
                        <a:pt x="119" y="19"/>
                      </a:lnTo>
                      <a:lnTo>
                        <a:pt x="116" y="21"/>
                      </a:lnTo>
                      <a:lnTo>
                        <a:pt x="115" y="22"/>
                      </a:lnTo>
                      <a:lnTo>
                        <a:pt x="113" y="25"/>
                      </a:lnTo>
                      <a:lnTo>
                        <a:pt x="113" y="25"/>
                      </a:lnTo>
                      <a:lnTo>
                        <a:pt x="113" y="25"/>
                      </a:lnTo>
                      <a:lnTo>
                        <a:pt x="113" y="26"/>
                      </a:lnTo>
                      <a:lnTo>
                        <a:pt x="112" y="27"/>
                      </a:lnTo>
                      <a:lnTo>
                        <a:pt x="112" y="27"/>
                      </a:lnTo>
                      <a:lnTo>
                        <a:pt x="113" y="27"/>
                      </a:lnTo>
                      <a:lnTo>
                        <a:pt x="112" y="28"/>
                      </a:lnTo>
                      <a:lnTo>
                        <a:pt x="111" y="28"/>
                      </a:lnTo>
                      <a:lnTo>
                        <a:pt x="111" y="29"/>
                      </a:lnTo>
                      <a:lnTo>
                        <a:pt x="111" y="29"/>
                      </a:lnTo>
                      <a:lnTo>
                        <a:pt x="111" y="30"/>
                      </a:lnTo>
                      <a:lnTo>
                        <a:pt x="111" y="31"/>
                      </a:lnTo>
                      <a:lnTo>
                        <a:pt x="112" y="31"/>
                      </a:lnTo>
                      <a:lnTo>
                        <a:pt x="111" y="31"/>
                      </a:lnTo>
                      <a:lnTo>
                        <a:pt x="110" y="32"/>
                      </a:lnTo>
                      <a:lnTo>
                        <a:pt x="109" y="33"/>
                      </a:lnTo>
                      <a:lnTo>
                        <a:pt x="109" y="33"/>
                      </a:lnTo>
                      <a:lnTo>
                        <a:pt x="108" y="33"/>
                      </a:lnTo>
                      <a:lnTo>
                        <a:pt x="107" y="33"/>
                      </a:lnTo>
                      <a:lnTo>
                        <a:pt x="107" y="33"/>
                      </a:lnTo>
                      <a:lnTo>
                        <a:pt x="106" y="33"/>
                      </a:lnTo>
                      <a:lnTo>
                        <a:pt x="105" y="33"/>
                      </a:lnTo>
                      <a:lnTo>
                        <a:pt x="104" y="31"/>
                      </a:lnTo>
                      <a:lnTo>
                        <a:pt x="102" y="33"/>
                      </a:lnTo>
                      <a:lnTo>
                        <a:pt x="101" y="33"/>
                      </a:lnTo>
                      <a:lnTo>
                        <a:pt x="100" y="33"/>
                      </a:lnTo>
                      <a:lnTo>
                        <a:pt x="100" y="34"/>
                      </a:lnTo>
                      <a:lnTo>
                        <a:pt x="98" y="34"/>
                      </a:lnTo>
                      <a:lnTo>
                        <a:pt x="98" y="35"/>
                      </a:lnTo>
                      <a:lnTo>
                        <a:pt x="98" y="36"/>
                      </a:lnTo>
                      <a:lnTo>
                        <a:pt x="97" y="36"/>
                      </a:lnTo>
                      <a:lnTo>
                        <a:pt x="97" y="38"/>
                      </a:lnTo>
                      <a:lnTo>
                        <a:pt x="96" y="39"/>
                      </a:lnTo>
                      <a:lnTo>
                        <a:pt x="96" y="39"/>
                      </a:lnTo>
                      <a:lnTo>
                        <a:pt x="95" y="38"/>
                      </a:lnTo>
                      <a:lnTo>
                        <a:pt x="94" y="38"/>
                      </a:lnTo>
                      <a:lnTo>
                        <a:pt x="92" y="38"/>
                      </a:lnTo>
                      <a:lnTo>
                        <a:pt x="91" y="39"/>
                      </a:lnTo>
                      <a:lnTo>
                        <a:pt x="90" y="38"/>
                      </a:lnTo>
                      <a:lnTo>
                        <a:pt x="91" y="37"/>
                      </a:lnTo>
                      <a:lnTo>
                        <a:pt x="90" y="35"/>
                      </a:lnTo>
                      <a:lnTo>
                        <a:pt x="90" y="34"/>
                      </a:lnTo>
                      <a:lnTo>
                        <a:pt x="88" y="35"/>
                      </a:lnTo>
                      <a:lnTo>
                        <a:pt x="88" y="35"/>
                      </a:lnTo>
                      <a:lnTo>
                        <a:pt x="88" y="36"/>
                      </a:lnTo>
                      <a:lnTo>
                        <a:pt x="87" y="36"/>
                      </a:lnTo>
                      <a:lnTo>
                        <a:pt x="87" y="36"/>
                      </a:lnTo>
                      <a:lnTo>
                        <a:pt x="87" y="37"/>
                      </a:lnTo>
                      <a:lnTo>
                        <a:pt x="86" y="37"/>
                      </a:lnTo>
                      <a:lnTo>
                        <a:pt x="86" y="38"/>
                      </a:lnTo>
                      <a:lnTo>
                        <a:pt x="86" y="38"/>
                      </a:lnTo>
                      <a:lnTo>
                        <a:pt x="86" y="39"/>
                      </a:lnTo>
                      <a:lnTo>
                        <a:pt x="86" y="39"/>
                      </a:lnTo>
                      <a:lnTo>
                        <a:pt x="85" y="39"/>
                      </a:lnTo>
                      <a:lnTo>
                        <a:pt x="85" y="40"/>
                      </a:lnTo>
                      <a:lnTo>
                        <a:pt x="84" y="40"/>
                      </a:lnTo>
                      <a:lnTo>
                        <a:pt x="83" y="41"/>
                      </a:lnTo>
                      <a:lnTo>
                        <a:pt x="83" y="42"/>
                      </a:lnTo>
                      <a:lnTo>
                        <a:pt x="82" y="42"/>
                      </a:lnTo>
                      <a:lnTo>
                        <a:pt x="81" y="42"/>
                      </a:lnTo>
                      <a:lnTo>
                        <a:pt x="81" y="42"/>
                      </a:lnTo>
                      <a:lnTo>
                        <a:pt x="80" y="42"/>
                      </a:lnTo>
                      <a:lnTo>
                        <a:pt x="79" y="42"/>
                      </a:lnTo>
                      <a:lnTo>
                        <a:pt x="79" y="42"/>
                      </a:lnTo>
                      <a:lnTo>
                        <a:pt x="78" y="42"/>
                      </a:lnTo>
                      <a:lnTo>
                        <a:pt x="77" y="42"/>
                      </a:lnTo>
                      <a:lnTo>
                        <a:pt x="77" y="42"/>
                      </a:lnTo>
                      <a:lnTo>
                        <a:pt x="76" y="42"/>
                      </a:lnTo>
                      <a:lnTo>
                        <a:pt x="75" y="42"/>
                      </a:lnTo>
                      <a:lnTo>
                        <a:pt x="75" y="41"/>
                      </a:lnTo>
                      <a:lnTo>
                        <a:pt x="75" y="40"/>
                      </a:lnTo>
                      <a:lnTo>
                        <a:pt x="74" y="40"/>
                      </a:lnTo>
                      <a:lnTo>
                        <a:pt x="73" y="40"/>
                      </a:lnTo>
                      <a:lnTo>
                        <a:pt x="73" y="39"/>
                      </a:lnTo>
                      <a:lnTo>
                        <a:pt x="73" y="39"/>
                      </a:lnTo>
                      <a:lnTo>
                        <a:pt x="73" y="38"/>
                      </a:lnTo>
                      <a:lnTo>
                        <a:pt x="72" y="38"/>
                      </a:lnTo>
                      <a:lnTo>
                        <a:pt x="72" y="39"/>
                      </a:lnTo>
                      <a:lnTo>
                        <a:pt x="71" y="39"/>
                      </a:lnTo>
                      <a:lnTo>
                        <a:pt x="71" y="39"/>
                      </a:lnTo>
                      <a:lnTo>
                        <a:pt x="71" y="40"/>
                      </a:lnTo>
                      <a:lnTo>
                        <a:pt x="70" y="40"/>
                      </a:lnTo>
                      <a:lnTo>
                        <a:pt x="68" y="40"/>
                      </a:lnTo>
                      <a:lnTo>
                        <a:pt x="67" y="40"/>
                      </a:lnTo>
                      <a:lnTo>
                        <a:pt x="67" y="41"/>
                      </a:lnTo>
                      <a:lnTo>
                        <a:pt x="65" y="41"/>
                      </a:lnTo>
                      <a:lnTo>
                        <a:pt x="64" y="42"/>
                      </a:lnTo>
                      <a:lnTo>
                        <a:pt x="62" y="40"/>
                      </a:lnTo>
                      <a:lnTo>
                        <a:pt x="59" y="40"/>
                      </a:lnTo>
                      <a:lnTo>
                        <a:pt x="59" y="41"/>
                      </a:lnTo>
                      <a:lnTo>
                        <a:pt x="58" y="42"/>
                      </a:lnTo>
                      <a:lnTo>
                        <a:pt x="57" y="42"/>
                      </a:lnTo>
                      <a:lnTo>
                        <a:pt x="56" y="42"/>
                      </a:lnTo>
                      <a:lnTo>
                        <a:pt x="56" y="42"/>
                      </a:lnTo>
                      <a:lnTo>
                        <a:pt x="55" y="42"/>
                      </a:lnTo>
                      <a:lnTo>
                        <a:pt x="54" y="42"/>
                      </a:lnTo>
                      <a:lnTo>
                        <a:pt x="54" y="43"/>
                      </a:lnTo>
                      <a:lnTo>
                        <a:pt x="54" y="42"/>
                      </a:lnTo>
                      <a:lnTo>
                        <a:pt x="51" y="44"/>
                      </a:lnTo>
                      <a:lnTo>
                        <a:pt x="49" y="44"/>
                      </a:lnTo>
                      <a:lnTo>
                        <a:pt x="48" y="45"/>
                      </a:lnTo>
                      <a:lnTo>
                        <a:pt x="48" y="46"/>
                      </a:lnTo>
                      <a:lnTo>
                        <a:pt x="48" y="46"/>
                      </a:lnTo>
                      <a:lnTo>
                        <a:pt x="46" y="46"/>
                      </a:lnTo>
                      <a:lnTo>
                        <a:pt x="45" y="46"/>
                      </a:lnTo>
                      <a:lnTo>
                        <a:pt x="44" y="45"/>
                      </a:lnTo>
                      <a:lnTo>
                        <a:pt x="43" y="46"/>
                      </a:lnTo>
                      <a:lnTo>
                        <a:pt x="43" y="46"/>
                      </a:lnTo>
                      <a:lnTo>
                        <a:pt x="41" y="46"/>
                      </a:lnTo>
                      <a:lnTo>
                        <a:pt x="41" y="47"/>
                      </a:lnTo>
                      <a:lnTo>
                        <a:pt x="37" y="50"/>
                      </a:lnTo>
                      <a:lnTo>
                        <a:pt x="34" y="52"/>
                      </a:lnTo>
                      <a:lnTo>
                        <a:pt x="34" y="53"/>
                      </a:lnTo>
                      <a:lnTo>
                        <a:pt x="33" y="55"/>
                      </a:lnTo>
                      <a:lnTo>
                        <a:pt x="33" y="55"/>
                      </a:lnTo>
                      <a:lnTo>
                        <a:pt x="31" y="56"/>
                      </a:lnTo>
                      <a:lnTo>
                        <a:pt x="29" y="59"/>
                      </a:lnTo>
                      <a:lnTo>
                        <a:pt x="28" y="59"/>
                      </a:lnTo>
                      <a:lnTo>
                        <a:pt x="26" y="60"/>
                      </a:lnTo>
                      <a:lnTo>
                        <a:pt x="24" y="62"/>
                      </a:lnTo>
                      <a:lnTo>
                        <a:pt x="22" y="65"/>
                      </a:lnTo>
                      <a:lnTo>
                        <a:pt x="19" y="68"/>
                      </a:lnTo>
                      <a:lnTo>
                        <a:pt x="19" y="69"/>
                      </a:lnTo>
                      <a:lnTo>
                        <a:pt x="19" y="70"/>
                      </a:lnTo>
                      <a:lnTo>
                        <a:pt x="20" y="71"/>
                      </a:lnTo>
                      <a:lnTo>
                        <a:pt x="20" y="71"/>
                      </a:lnTo>
                      <a:lnTo>
                        <a:pt x="20" y="71"/>
                      </a:lnTo>
                      <a:lnTo>
                        <a:pt x="20" y="72"/>
                      </a:lnTo>
                      <a:lnTo>
                        <a:pt x="20" y="73"/>
                      </a:lnTo>
                      <a:lnTo>
                        <a:pt x="21" y="73"/>
                      </a:lnTo>
                      <a:lnTo>
                        <a:pt x="21" y="74"/>
                      </a:lnTo>
                      <a:lnTo>
                        <a:pt x="21" y="75"/>
                      </a:lnTo>
                      <a:lnTo>
                        <a:pt x="22" y="76"/>
                      </a:lnTo>
                      <a:lnTo>
                        <a:pt x="22" y="76"/>
                      </a:lnTo>
                      <a:lnTo>
                        <a:pt x="21" y="76"/>
                      </a:lnTo>
                      <a:lnTo>
                        <a:pt x="20" y="76"/>
                      </a:lnTo>
                      <a:lnTo>
                        <a:pt x="20" y="76"/>
                      </a:lnTo>
                      <a:lnTo>
                        <a:pt x="20" y="76"/>
                      </a:lnTo>
                      <a:lnTo>
                        <a:pt x="19" y="76"/>
                      </a:lnTo>
                      <a:lnTo>
                        <a:pt x="18" y="76"/>
                      </a:lnTo>
                      <a:lnTo>
                        <a:pt x="18" y="75"/>
                      </a:lnTo>
                      <a:lnTo>
                        <a:pt x="18" y="75"/>
                      </a:lnTo>
                      <a:lnTo>
                        <a:pt x="17" y="75"/>
                      </a:lnTo>
                      <a:lnTo>
                        <a:pt x="16" y="75"/>
                      </a:lnTo>
                      <a:lnTo>
                        <a:pt x="16" y="75"/>
                      </a:lnTo>
                      <a:lnTo>
                        <a:pt x="16" y="74"/>
                      </a:lnTo>
                      <a:lnTo>
                        <a:pt x="15" y="74"/>
                      </a:lnTo>
                      <a:lnTo>
                        <a:pt x="14" y="74"/>
                      </a:lnTo>
                      <a:lnTo>
                        <a:pt x="14" y="74"/>
                      </a:lnTo>
                      <a:lnTo>
                        <a:pt x="13" y="73"/>
                      </a:lnTo>
                      <a:lnTo>
                        <a:pt x="12" y="73"/>
                      </a:lnTo>
                      <a:lnTo>
                        <a:pt x="12" y="73"/>
                      </a:lnTo>
                      <a:lnTo>
                        <a:pt x="12" y="73"/>
                      </a:lnTo>
                      <a:lnTo>
                        <a:pt x="11" y="73"/>
                      </a:lnTo>
                      <a:lnTo>
                        <a:pt x="11" y="73"/>
                      </a:lnTo>
                      <a:lnTo>
                        <a:pt x="10" y="73"/>
                      </a:lnTo>
                      <a:lnTo>
                        <a:pt x="10" y="73"/>
                      </a:lnTo>
                      <a:lnTo>
                        <a:pt x="10" y="74"/>
                      </a:lnTo>
                      <a:lnTo>
                        <a:pt x="9" y="74"/>
                      </a:lnTo>
                      <a:lnTo>
                        <a:pt x="8" y="74"/>
                      </a:lnTo>
                      <a:lnTo>
                        <a:pt x="8" y="75"/>
                      </a:lnTo>
                      <a:lnTo>
                        <a:pt x="7" y="75"/>
                      </a:lnTo>
                      <a:lnTo>
                        <a:pt x="7" y="75"/>
                      </a:lnTo>
                      <a:lnTo>
                        <a:pt x="5" y="75"/>
                      </a:lnTo>
                      <a:lnTo>
                        <a:pt x="3" y="76"/>
                      </a:lnTo>
                      <a:lnTo>
                        <a:pt x="2" y="75"/>
                      </a:lnTo>
                      <a:lnTo>
                        <a:pt x="1" y="76"/>
                      </a:lnTo>
                      <a:lnTo>
                        <a:pt x="0" y="76"/>
                      </a:lnTo>
                      <a:lnTo>
                        <a:pt x="0" y="76"/>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2" name="Freeform 22">
                  <a:extLst>
                    <a:ext uri="{FF2B5EF4-FFF2-40B4-BE49-F238E27FC236}">
                      <a16:creationId xmlns:a16="http://schemas.microsoft.com/office/drawing/2014/main" xmlns="" id="{64EC6ADC-23C7-B539-6F0C-67BF6E112CB1}"/>
                    </a:ext>
                  </a:extLst>
                </p:cNvPr>
                <p:cNvSpPr>
                  <a:spLocks/>
                </p:cNvSpPr>
                <p:nvPr/>
              </p:nvSpPr>
              <p:spPr bwMode="auto">
                <a:xfrm>
                  <a:off x="2645" y="2451"/>
                  <a:ext cx="107" cy="518"/>
                </a:xfrm>
                <a:custGeom>
                  <a:avLst/>
                  <a:gdLst>
                    <a:gd name="T0" fmla="*/ 102 w 107"/>
                    <a:gd name="T1" fmla="*/ 512 h 518"/>
                    <a:gd name="T2" fmla="*/ 93 w 107"/>
                    <a:gd name="T3" fmla="*/ 512 h 518"/>
                    <a:gd name="T4" fmla="*/ 87 w 107"/>
                    <a:gd name="T5" fmla="*/ 513 h 518"/>
                    <a:gd name="T6" fmla="*/ 53 w 107"/>
                    <a:gd name="T7" fmla="*/ 509 h 518"/>
                    <a:gd name="T8" fmla="*/ 50 w 107"/>
                    <a:gd name="T9" fmla="*/ 499 h 518"/>
                    <a:gd name="T10" fmla="*/ 79 w 107"/>
                    <a:gd name="T11" fmla="*/ 453 h 518"/>
                    <a:gd name="T12" fmla="*/ 75 w 107"/>
                    <a:gd name="T13" fmla="*/ 440 h 518"/>
                    <a:gd name="T14" fmla="*/ 65 w 107"/>
                    <a:gd name="T15" fmla="*/ 429 h 518"/>
                    <a:gd name="T16" fmla="*/ 56 w 107"/>
                    <a:gd name="T17" fmla="*/ 421 h 518"/>
                    <a:gd name="T18" fmla="*/ 32 w 107"/>
                    <a:gd name="T19" fmla="*/ 373 h 518"/>
                    <a:gd name="T20" fmla="*/ 37 w 107"/>
                    <a:gd name="T21" fmla="*/ 365 h 518"/>
                    <a:gd name="T22" fmla="*/ 41 w 107"/>
                    <a:gd name="T23" fmla="*/ 360 h 518"/>
                    <a:gd name="T24" fmla="*/ 49 w 107"/>
                    <a:gd name="T25" fmla="*/ 356 h 518"/>
                    <a:gd name="T26" fmla="*/ 49 w 107"/>
                    <a:gd name="T27" fmla="*/ 348 h 518"/>
                    <a:gd name="T28" fmla="*/ 46 w 107"/>
                    <a:gd name="T29" fmla="*/ 339 h 518"/>
                    <a:gd name="T30" fmla="*/ 42 w 107"/>
                    <a:gd name="T31" fmla="*/ 333 h 518"/>
                    <a:gd name="T32" fmla="*/ 36 w 107"/>
                    <a:gd name="T33" fmla="*/ 327 h 518"/>
                    <a:gd name="T34" fmla="*/ 41 w 107"/>
                    <a:gd name="T35" fmla="*/ 320 h 518"/>
                    <a:gd name="T36" fmla="*/ 43 w 107"/>
                    <a:gd name="T37" fmla="*/ 314 h 518"/>
                    <a:gd name="T38" fmla="*/ 41 w 107"/>
                    <a:gd name="T39" fmla="*/ 307 h 518"/>
                    <a:gd name="T40" fmla="*/ 41 w 107"/>
                    <a:gd name="T41" fmla="*/ 300 h 518"/>
                    <a:gd name="T42" fmla="*/ 34 w 107"/>
                    <a:gd name="T43" fmla="*/ 296 h 518"/>
                    <a:gd name="T44" fmla="*/ 32 w 107"/>
                    <a:gd name="T45" fmla="*/ 287 h 518"/>
                    <a:gd name="T46" fmla="*/ 34 w 107"/>
                    <a:gd name="T47" fmla="*/ 279 h 518"/>
                    <a:gd name="T48" fmla="*/ 31 w 107"/>
                    <a:gd name="T49" fmla="*/ 270 h 518"/>
                    <a:gd name="T50" fmla="*/ 32 w 107"/>
                    <a:gd name="T51" fmla="*/ 259 h 518"/>
                    <a:gd name="T52" fmla="*/ 27 w 107"/>
                    <a:gd name="T53" fmla="*/ 251 h 518"/>
                    <a:gd name="T54" fmla="*/ 19 w 107"/>
                    <a:gd name="T55" fmla="*/ 245 h 518"/>
                    <a:gd name="T56" fmla="*/ 14 w 107"/>
                    <a:gd name="T57" fmla="*/ 238 h 518"/>
                    <a:gd name="T58" fmla="*/ 9 w 107"/>
                    <a:gd name="T59" fmla="*/ 232 h 518"/>
                    <a:gd name="T60" fmla="*/ 4 w 107"/>
                    <a:gd name="T61" fmla="*/ 223 h 518"/>
                    <a:gd name="T62" fmla="*/ 1 w 107"/>
                    <a:gd name="T63" fmla="*/ 215 h 518"/>
                    <a:gd name="T64" fmla="*/ 0 w 107"/>
                    <a:gd name="T65" fmla="*/ 205 h 518"/>
                    <a:gd name="T66" fmla="*/ 6 w 107"/>
                    <a:gd name="T67" fmla="*/ 199 h 518"/>
                    <a:gd name="T68" fmla="*/ 8 w 107"/>
                    <a:gd name="T69" fmla="*/ 190 h 518"/>
                    <a:gd name="T70" fmla="*/ 16 w 107"/>
                    <a:gd name="T71" fmla="*/ 179 h 518"/>
                    <a:gd name="T72" fmla="*/ 24 w 107"/>
                    <a:gd name="T73" fmla="*/ 174 h 518"/>
                    <a:gd name="T74" fmla="*/ 30 w 107"/>
                    <a:gd name="T75" fmla="*/ 174 h 518"/>
                    <a:gd name="T76" fmla="*/ 40 w 107"/>
                    <a:gd name="T77" fmla="*/ 175 h 518"/>
                    <a:gd name="T78" fmla="*/ 47 w 107"/>
                    <a:gd name="T79" fmla="*/ 173 h 518"/>
                    <a:gd name="T80" fmla="*/ 55 w 107"/>
                    <a:gd name="T81" fmla="*/ 166 h 518"/>
                    <a:gd name="T82" fmla="*/ 59 w 107"/>
                    <a:gd name="T83" fmla="*/ 160 h 518"/>
                    <a:gd name="T84" fmla="*/ 66 w 107"/>
                    <a:gd name="T85" fmla="*/ 153 h 518"/>
                    <a:gd name="T86" fmla="*/ 65 w 107"/>
                    <a:gd name="T87" fmla="*/ 142 h 518"/>
                    <a:gd name="T88" fmla="*/ 62 w 107"/>
                    <a:gd name="T89" fmla="*/ 135 h 518"/>
                    <a:gd name="T90" fmla="*/ 66 w 107"/>
                    <a:gd name="T91" fmla="*/ 126 h 518"/>
                    <a:gd name="T92" fmla="*/ 66 w 107"/>
                    <a:gd name="T93" fmla="*/ 117 h 518"/>
                    <a:gd name="T94" fmla="*/ 68 w 107"/>
                    <a:gd name="T95" fmla="*/ 109 h 518"/>
                    <a:gd name="T96" fmla="*/ 63 w 107"/>
                    <a:gd name="T97" fmla="*/ 100 h 518"/>
                    <a:gd name="T98" fmla="*/ 58 w 107"/>
                    <a:gd name="T99" fmla="*/ 94 h 518"/>
                    <a:gd name="T100" fmla="*/ 57 w 107"/>
                    <a:gd name="T101" fmla="*/ 85 h 518"/>
                    <a:gd name="T102" fmla="*/ 54 w 107"/>
                    <a:gd name="T103" fmla="*/ 76 h 518"/>
                    <a:gd name="T104" fmla="*/ 53 w 107"/>
                    <a:gd name="T105" fmla="*/ 65 h 518"/>
                    <a:gd name="T106" fmla="*/ 51 w 107"/>
                    <a:gd name="T107" fmla="*/ 55 h 518"/>
                    <a:gd name="T108" fmla="*/ 50 w 107"/>
                    <a:gd name="T109" fmla="*/ 44 h 518"/>
                    <a:gd name="T110" fmla="*/ 49 w 107"/>
                    <a:gd name="T111" fmla="*/ 34 h 518"/>
                    <a:gd name="T112" fmla="*/ 45 w 107"/>
                    <a:gd name="T113" fmla="*/ 25 h 518"/>
                    <a:gd name="T114" fmla="*/ 36 w 107"/>
                    <a:gd name="T115" fmla="*/ 19 h 518"/>
                    <a:gd name="T116" fmla="*/ 36 w 107"/>
                    <a:gd name="T117" fmla="*/ 12 h 518"/>
                    <a:gd name="T118" fmla="*/ 36 w 107"/>
                    <a:gd name="T119" fmla="*/ 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 h="518">
                      <a:moveTo>
                        <a:pt x="107" y="504"/>
                      </a:moveTo>
                      <a:lnTo>
                        <a:pt x="106" y="505"/>
                      </a:lnTo>
                      <a:lnTo>
                        <a:pt x="106" y="506"/>
                      </a:lnTo>
                      <a:lnTo>
                        <a:pt x="106" y="506"/>
                      </a:lnTo>
                      <a:lnTo>
                        <a:pt x="106" y="506"/>
                      </a:lnTo>
                      <a:lnTo>
                        <a:pt x="106" y="507"/>
                      </a:lnTo>
                      <a:lnTo>
                        <a:pt x="105" y="507"/>
                      </a:lnTo>
                      <a:lnTo>
                        <a:pt x="104" y="507"/>
                      </a:lnTo>
                      <a:lnTo>
                        <a:pt x="104" y="508"/>
                      </a:lnTo>
                      <a:lnTo>
                        <a:pt x="104" y="508"/>
                      </a:lnTo>
                      <a:lnTo>
                        <a:pt x="104" y="509"/>
                      </a:lnTo>
                      <a:lnTo>
                        <a:pt x="104" y="510"/>
                      </a:lnTo>
                      <a:lnTo>
                        <a:pt x="104" y="510"/>
                      </a:lnTo>
                      <a:lnTo>
                        <a:pt x="103" y="510"/>
                      </a:lnTo>
                      <a:lnTo>
                        <a:pt x="103" y="511"/>
                      </a:lnTo>
                      <a:lnTo>
                        <a:pt x="102" y="511"/>
                      </a:lnTo>
                      <a:lnTo>
                        <a:pt x="102" y="512"/>
                      </a:lnTo>
                      <a:lnTo>
                        <a:pt x="102" y="512"/>
                      </a:lnTo>
                      <a:lnTo>
                        <a:pt x="102" y="512"/>
                      </a:lnTo>
                      <a:lnTo>
                        <a:pt x="101" y="512"/>
                      </a:lnTo>
                      <a:lnTo>
                        <a:pt x="100" y="512"/>
                      </a:lnTo>
                      <a:lnTo>
                        <a:pt x="100" y="513"/>
                      </a:lnTo>
                      <a:lnTo>
                        <a:pt x="100" y="513"/>
                      </a:lnTo>
                      <a:lnTo>
                        <a:pt x="99" y="513"/>
                      </a:lnTo>
                      <a:lnTo>
                        <a:pt x="98" y="513"/>
                      </a:lnTo>
                      <a:lnTo>
                        <a:pt x="98" y="512"/>
                      </a:lnTo>
                      <a:lnTo>
                        <a:pt x="98" y="513"/>
                      </a:lnTo>
                      <a:lnTo>
                        <a:pt x="97" y="513"/>
                      </a:lnTo>
                      <a:lnTo>
                        <a:pt x="96" y="513"/>
                      </a:lnTo>
                      <a:lnTo>
                        <a:pt x="95" y="513"/>
                      </a:lnTo>
                      <a:lnTo>
                        <a:pt x="95" y="512"/>
                      </a:lnTo>
                      <a:lnTo>
                        <a:pt x="94" y="512"/>
                      </a:lnTo>
                      <a:lnTo>
                        <a:pt x="93" y="512"/>
                      </a:lnTo>
                      <a:lnTo>
                        <a:pt x="93" y="512"/>
                      </a:lnTo>
                      <a:lnTo>
                        <a:pt x="93" y="512"/>
                      </a:lnTo>
                      <a:lnTo>
                        <a:pt x="92" y="512"/>
                      </a:lnTo>
                      <a:lnTo>
                        <a:pt x="92" y="511"/>
                      </a:lnTo>
                      <a:lnTo>
                        <a:pt x="91" y="511"/>
                      </a:lnTo>
                      <a:lnTo>
                        <a:pt x="91" y="511"/>
                      </a:lnTo>
                      <a:lnTo>
                        <a:pt x="90" y="510"/>
                      </a:lnTo>
                      <a:lnTo>
                        <a:pt x="89" y="511"/>
                      </a:lnTo>
                      <a:lnTo>
                        <a:pt x="89" y="512"/>
                      </a:lnTo>
                      <a:lnTo>
                        <a:pt x="89" y="512"/>
                      </a:lnTo>
                      <a:lnTo>
                        <a:pt x="89" y="511"/>
                      </a:lnTo>
                      <a:lnTo>
                        <a:pt x="88" y="511"/>
                      </a:lnTo>
                      <a:lnTo>
                        <a:pt x="87" y="512"/>
                      </a:lnTo>
                      <a:lnTo>
                        <a:pt x="88" y="512"/>
                      </a:lnTo>
                      <a:lnTo>
                        <a:pt x="88" y="512"/>
                      </a:lnTo>
                      <a:lnTo>
                        <a:pt x="87" y="512"/>
                      </a:lnTo>
                      <a:lnTo>
                        <a:pt x="87" y="513"/>
                      </a:lnTo>
                      <a:lnTo>
                        <a:pt x="87" y="513"/>
                      </a:lnTo>
                      <a:lnTo>
                        <a:pt x="87" y="514"/>
                      </a:lnTo>
                      <a:lnTo>
                        <a:pt x="86" y="514"/>
                      </a:lnTo>
                      <a:lnTo>
                        <a:pt x="85" y="514"/>
                      </a:lnTo>
                      <a:lnTo>
                        <a:pt x="83" y="514"/>
                      </a:lnTo>
                      <a:lnTo>
                        <a:pt x="81" y="512"/>
                      </a:lnTo>
                      <a:lnTo>
                        <a:pt x="78" y="512"/>
                      </a:lnTo>
                      <a:lnTo>
                        <a:pt x="70" y="518"/>
                      </a:lnTo>
                      <a:lnTo>
                        <a:pt x="68" y="518"/>
                      </a:lnTo>
                      <a:lnTo>
                        <a:pt x="62" y="518"/>
                      </a:lnTo>
                      <a:lnTo>
                        <a:pt x="62" y="517"/>
                      </a:lnTo>
                      <a:lnTo>
                        <a:pt x="60" y="517"/>
                      </a:lnTo>
                      <a:lnTo>
                        <a:pt x="60" y="516"/>
                      </a:lnTo>
                      <a:lnTo>
                        <a:pt x="59" y="515"/>
                      </a:lnTo>
                      <a:lnTo>
                        <a:pt x="56" y="513"/>
                      </a:lnTo>
                      <a:lnTo>
                        <a:pt x="55" y="512"/>
                      </a:lnTo>
                      <a:lnTo>
                        <a:pt x="54" y="509"/>
                      </a:lnTo>
                      <a:lnTo>
                        <a:pt x="53" y="509"/>
                      </a:lnTo>
                      <a:lnTo>
                        <a:pt x="53" y="508"/>
                      </a:lnTo>
                      <a:lnTo>
                        <a:pt x="53" y="508"/>
                      </a:lnTo>
                      <a:lnTo>
                        <a:pt x="53" y="508"/>
                      </a:lnTo>
                      <a:lnTo>
                        <a:pt x="53" y="507"/>
                      </a:lnTo>
                      <a:lnTo>
                        <a:pt x="52" y="506"/>
                      </a:lnTo>
                      <a:lnTo>
                        <a:pt x="51" y="506"/>
                      </a:lnTo>
                      <a:lnTo>
                        <a:pt x="51" y="506"/>
                      </a:lnTo>
                      <a:lnTo>
                        <a:pt x="51" y="506"/>
                      </a:lnTo>
                      <a:lnTo>
                        <a:pt x="51" y="505"/>
                      </a:lnTo>
                      <a:lnTo>
                        <a:pt x="50" y="504"/>
                      </a:lnTo>
                      <a:lnTo>
                        <a:pt x="50" y="504"/>
                      </a:lnTo>
                      <a:lnTo>
                        <a:pt x="50" y="503"/>
                      </a:lnTo>
                      <a:lnTo>
                        <a:pt x="50" y="502"/>
                      </a:lnTo>
                      <a:lnTo>
                        <a:pt x="50" y="501"/>
                      </a:lnTo>
                      <a:lnTo>
                        <a:pt x="50" y="501"/>
                      </a:lnTo>
                      <a:lnTo>
                        <a:pt x="50" y="500"/>
                      </a:lnTo>
                      <a:lnTo>
                        <a:pt x="50" y="499"/>
                      </a:lnTo>
                      <a:lnTo>
                        <a:pt x="50" y="499"/>
                      </a:lnTo>
                      <a:lnTo>
                        <a:pt x="49" y="497"/>
                      </a:lnTo>
                      <a:lnTo>
                        <a:pt x="48" y="496"/>
                      </a:lnTo>
                      <a:lnTo>
                        <a:pt x="49" y="495"/>
                      </a:lnTo>
                      <a:lnTo>
                        <a:pt x="50" y="494"/>
                      </a:lnTo>
                      <a:lnTo>
                        <a:pt x="51" y="492"/>
                      </a:lnTo>
                      <a:lnTo>
                        <a:pt x="52" y="489"/>
                      </a:lnTo>
                      <a:lnTo>
                        <a:pt x="53" y="489"/>
                      </a:lnTo>
                      <a:lnTo>
                        <a:pt x="57" y="483"/>
                      </a:lnTo>
                      <a:lnTo>
                        <a:pt x="61" y="479"/>
                      </a:lnTo>
                      <a:lnTo>
                        <a:pt x="62" y="478"/>
                      </a:lnTo>
                      <a:lnTo>
                        <a:pt x="66" y="474"/>
                      </a:lnTo>
                      <a:lnTo>
                        <a:pt x="71" y="470"/>
                      </a:lnTo>
                      <a:lnTo>
                        <a:pt x="72" y="468"/>
                      </a:lnTo>
                      <a:lnTo>
                        <a:pt x="73" y="466"/>
                      </a:lnTo>
                      <a:lnTo>
                        <a:pt x="79" y="455"/>
                      </a:lnTo>
                      <a:lnTo>
                        <a:pt x="79" y="453"/>
                      </a:lnTo>
                      <a:lnTo>
                        <a:pt x="79" y="451"/>
                      </a:lnTo>
                      <a:lnTo>
                        <a:pt x="79" y="449"/>
                      </a:lnTo>
                      <a:lnTo>
                        <a:pt x="77" y="448"/>
                      </a:lnTo>
                      <a:lnTo>
                        <a:pt x="77" y="447"/>
                      </a:lnTo>
                      <a:lnTo>
                        <a:pt x="77" y="447"/>
                      </a:lnTo>
                      <a:lnTo>
                        <a:pt x="76" y="447"/>
                      </a:lnTo>
                      <a:lnTo>
                        <a:pt x="76" y="446"/>
                      </a:lnTo>
                      <a:lnTo>
                        <a:pt x="77" y="446"/>
                      </a:lnTo>
                      <a:lnTo>
                        <a:pt x="77" y="445"/>
                      </a:lnTo>
                      <a:lnTo>
                        <a:pt x="77" y="445"/>
                      </a:lnTo>
                      <a:lnTo>
                        <a:pt x="77" y="444"/>
                      </a:lnTo>
                      <a:lnTo>
                        <a:pt x="77" y="443"/>
                      </a:lnTo>
                      <a:lnTo>
                        <a:pt x="77" y="442"/>
                      </a:lnTo>
                      <a:lnTo>
                        <a:pt x="76" y="442"/>
                      </a:lnTo>
                      <a:lnTo>
                        <a:pt x="76" y="442"/>
                      </a:lnTo>
                      <a:lnTo>
                        <a:pt x="76" y="441"/>
                      </a:lnTo>
                      <a:lnTo>
                        <a:pt x="75" y="440"/>
                      </a:lnTo>
                      <a:lnTo>
                        <a:pt x="75" y="440"/>
                      </a:lnTo>
                      <a:lnTo>
                        <a:pt x="74" y="440"/>
                      </a:lnTo>
                      <a:lnTo>
                        <a:pt x="74" y="440"/>
                      </a:lnTo>
                      <a:lnTo>
                        <a:pt x="74" y="439"/>
                      </a:lnTo>
                      <a:lnTo>
                        <a:pt x="73" y="439"/>
                      </a:lnTo>
                      <a:lnTo>
                        <a:pt x="72" y="439"/>
                      </a:lnTo>
                      <a:lnTo>
                        <a:pt x="70" y="439"/>
                      </a:lnTo>
                      <a:lnTo>
                        <a:pt x="70" y="438"/>
                      </a:lnTo>
                      <a:lnTo>
                        <a:pt x="70" y="438"/>
                      </a:lnTo>
                      <a:lnTo>
                        <a:pt x="69" y="437"/>
                      </a:lnTo>
                      <a:lnTo>
                        <a:pt x="68" y="436"/>
                      </a:lnTo>
                      <a:lnTo>
                        <a:pt x="68" y="435"/>
                      </a:lnTo>
                      <a:lnTo>
                        <a:pt x="66" y="430"/>
                      </a:lnTo>
                      <a:lnTo>
                        <a:pt x="66" y="430"/>
                      </a:lnTo>
                      <a:lnTo>
                        <a:pt x="66" y="430"/>
                      </a:lnTo>
                      <a:lnTo>
                        <a:pt x="66" y="429"/>
                      </a:lnTo>
                      <a:lnTo>
                        <a:pt x="65" y="429"/>
                      </a:lnTo>
                      <a:lnTo>
                        <a:pt x="65" y="428"/>
                      </a:lnTo>
                      <a:lnTo>
                        <a:pt x="65" y="428"/>
                      </a:lnTo>
                      <a:lnTo>
                        <a:pt x="64" y="428"/>
                      </a:lnTo>
                      <a:lnTo>
                        <a:pt x="64" y="427"/>
                      </a:lnTo>
                      <a:lnTo>
                        <a:pt x="64" y="427"/>
                      </a:lnTo>
                      <a:lnTo>
                        <a:pt x="63" y="427"/>
                      </a:lnTo>
                      <a:lnTo>
                        <a:pt x="64" y="424"/>
                      </a:lnTo>
                      <a:lnTo>
                        <a:pt x="63" y="424"/>
                      </a:lnTo>
                      <a:lnTo>
                        <a:pt x="62" y="425"/>
                      </a:lnTo>
                      <a:lnTo>
                        <a:pt x="62" y="424"/>
                      </a:lnTo>
                      <a:lnTo>
                        <a:pt x="60" y="424"/>
                      </a:lnTo>
                      <a:lnTo>
                        <a:pt x="59" y="424"/>
                      </a:lnTo>
                      <a:lnTo>
                        <a:pt x="58" y="424"/>
                      </a:lnTo>
                      <a:lnTo>
                        <a:pt x="57" y="424"/>
                      </a:lnTo>
                      <a:lnTo>
                        <a:pt x="57" y="423"/>
                      </a:lnTo>
                      <a:lnTo>
                        <a:pt x="57" y="422"/>
                      </a:lnTo>
                      <a:lnTo>
                        <a:pt x="56" y="421"/>
                      </a:lnTo>
                      <a:lnTo>
                        <a:pt x="53" y="417"/>
                      </a:lnTo>
                      <a:lnTo>
                        <a:pt x="51" y="413"/>
                      </a:lnTo>
                      <a:lnTo>
                        <a:pt x="48" y="410"/>
                      </a:lnTo>
                      <a:lnTo>
                        <a:pt x="43" y="408"/>
                      </a:lnTo>
                      <a:lnTo>
                        <a:pt x="41" y="407"/>
                      </a:lnTo>
                      <a:lnTo>
                        <a:pt x="38" y="403"/>
                      </a:lnTo>
                      <a:lnTo>
                        <a:pt x="38" y="401"/>
                      </a:lnTo>
                      <a:lnTo>
                        <a:pt x="36" y="400"/>
                      </a:lnTo>
                      <a:lnTo>
                        <a:pt x="36" y="398"/>
                      </a:lnTo>
                      <a:lnTo>
                        <a:pt x="33" y="394"/>
                      </a:lnTo>
                      <a:lnTo>
                        <a:pt x="34" y="387"/>
                      </a:lnTo>
                      <a:lnTo>
                        <a:pt x="35" y="386"/>
                      </a:lnTo>
                      <a:lnTo>
                        <a:pt x="38" y="383"/>
                      </a:lnTo>
                      <a:lnTo>
                        <a:pt x="37" y="381"/>
                      </a:lnTo>
                      <a:lnTo>
                        <a:pt x="34" y="377"/>
                      </a:lnTo>
                      <a:lnTo>
                        <a:pt x="30" y="374"/>
                      </a:lnTo>
                      <a:lnTo>
                        <a:pt x="32" y="373"/>
                      </a:lnTo>
                      <a:lnTo>
                        <a:pt x="32" y="372"/>
                      </a:lnTo>
                      <a:lnTo>
                        <a:pt x="33" y="372"/>
                      </a:lnTo>
                      <a:lnTo>
                        <a:pt x="33" y="371"/>
                      </a:lnTo>
                      <a:lnTo>
                        <a:pt x="34" y="371"/>
                      </a:lnTo>
                      <a:lnTo>
                        <a:pt x="34" y="370"/>
                      </a:lnTo>
                      <a:lnTo>
                        <a:pt x="34" y="369"/>
                      </a:lnTo>
                      <a:lnTo>
                        <a:pt x="34" y="369"/>
                      </a:lnTo>
                      <a:lnTo>
                        <a:pt x="34" y="368"/>
                      </a:lnTo>
                      <a:lnTo>
                        <a:pt x="34" y="368"/>
                      </a:lnTo>
                      <a:lnTo>
                        <a:pt x="34" y="367"/>
                      </a:lnTo>
                      <a:lnTo>
                        <a:pt x="34" y="367"/>
                      </a:lnTo>
                      <a:lnTo>
                        <a:pt x="35" y="367"/>
                      </a:lnTo>
                      <a:lnTo>
                        <a:pt x="35" y="366"/>
                      </a:lnTo>
                      <a:lnTo>
                        <a:pt x="36" y="366"/>
                      </a:lnTo>
                      <a:lnTo>
                        <a:pt x="36" y="366"/>
                      </a:lnTo>
                      <a:lnTo>
                        <a:pt x="36" y="365"/>
                      </a:lnTo>
                      <a:lnTo>
                        <a:pt x="37" y="365"/>
                      </a:lnTo>
                      <a:lnTo>
                        <a:pt x="37" y="365"/>
                      </a:lnTo>
                      <a:lnTo>
                        <a:pt x="36" y="365"/>
                      </a:lnTo>
                      <a:lnTo>
                        <a:pt x="36" y="364"/>
                      </a:lnTo>
                      <a:lnTo>
                        <a:pt x="36" y="363"/>
                      </a:lnTo>
                      <a:lnTo>
                        <a:pt x="36" y="362"/>
                      </a:lnTo>
                      <a:lnTo>
                        <a:pt x="36" y="362"/>
                      </a:lnTo>
                      <a:lnTo>
                        <a:pt x="36" y="361"/>
                      </a:lnTo>
                      <a:lnTo>
                        <a:pt x="36" y="361"/>
                      </a:lnTo>
                      <a:lnTo>
                        <a:pt x="36" y="360"/>
                      </a:lnTo>
                      <a:lnTo>
                        <a:pt x="37" y="360"/>
                      </a:lnTo>
                      <a:lnTo>
                        <a:pt x="38" y="360"/>
                      </a:lnTo>
                      <a:lnTo>
                        <a:pt x="38" y="360"/>
                      </a:lnTo>
                      <a:lnTo>
                        <a:pt x="39" y="360"/>
                      </a:lnTo>
                      <a:lnTo>
                        <a:pt x="40" y="360"/>
                      </a:lnTo>
                      <a:lnTo>
                        <a:pt x="41" y="360"/>
                      </a:lnTo>
                      <a:lnTo>
                        <a:pt x="41" y="360"/>
                      </a:lnTo>
                      <a:lnTo>
                        <a:pt x="41" y="360"/>
                      </a:lnTo>
                      <a:lnTo>
                        <a:pt x="42" y="360"/>
                      </a:lnTo>
                      <a:lnTo>
                        <a:pt x="42" y="359"/>
                      </a:lnTo>
                      <a:lnTo>
                        <a:pt x="43" y="359"/>
                      </a:lnTo>
                      <a:lnTo>
                        <a:pt x="43" y="359"/>
                      </a:lnTo>
                      <a:lnTo>
                        <a:pt x="44" y="359"/>
                      </a:lnTo>
                      <a:lnTo>
                        <a:pt x="45" y="358"/>
                      </a:lnTo>
                      <a:lnTo>
                        <a:pt x="45" y="358"/>
                      </a:lnTo>
                      <a:lnTo>
                        <a:pt x="46" y="358"/>
                      </a:lnTo>
                      <a:lnTo>
                        <a:pt x="46" y="358"/>
                      </a:lnTo>
                      <a:lnTo>
                        <a:pt x="46" y="357"/>
                      </a:lnTo>
                      <a:lnTo>
                        <a:pt x="47" y="357"/>
                      </a:lnTo>
                      <a:lnTo>
                        <a:pt x="47" y="357"/>
                      </a:lnTo>
                      <a:lnTo>
                        <a:pt x="48" y="357"/>
                      </a:lnTo>
                      <a:lnTo>
                        <a:pt x="49" y="357"/>
                      </a:lnTo>
                      <a:lnTo>
                        <a:pt x="49" y="356"/>
                      </a:lnTo>
                      <a:lnTo>
                        <a:pt x="49" y="356"/>
                      </a:lnTo>
                      <a:lnTo>
                        <a:pt x="49" y="356"/>
                      </a:lnTo>
                      <a:lnTo>
                        <a:pt x="50" y="356"/>
                      </a:lnTo>
                      <a:lnTo>
                        <a:pt x="50" y="355"/>
                      </a:lnTo>
                      <a:lnTo>
                        <a:pt x="51" y="354"/>
                      </a:lnTo>
                      <a:lnTo>
                        <a:pt x="51" y="354"/>
                      </a:lnTo>
                      <a:lnTo>
                        <a:pt x="51" y="353"/>
                      </a:lnTo>
                      <a:lnTo>
                        <a:pt x="51" y="352"/>
                      </a:lnTo>
                      <a:lnTo>
                        <a:pt x="51" y="352"/>
                      </a:lnTo>
                      <a:lnTo>
                        <a:pt x="51" y="351"/>
                      </a:lnTo>
                      <a:lnTo>
                        <a:pt x="51" y="351"/>
                      </a:lnTo>
                      <a:lnTo>
                        <a:pt x="51" y="350"/>
                      </a:lnTo>
                      <a:lnTo>
                        <a:pt x="50" y="350"/>
                      </a:lnTo>
                      <a:lnTo>
                        <a:pt x="50" y="350"/>
                      </a:lnTo>
                      <a:lnTo>
                        <a:pt x="49" y="350"/>
                      </a:lnTo>
                      <a:lnTo>
                        <a:pt x="49" y="349"/>
                      </a:lnTo>
                      <a:lnTo>
                        <a:pt x="49" y="348"/>
                      </a:lnTo>
                      <a:lnTo>
                        <a:pt x="49" y="348"/>
                      </a:lnTo>
                      <a:lnTo>
                        <a:pt x="49" y="348"/>
                      </a:lnTo>
                      <a:lnTo>
                        <a:pt x="49" y="347"/>
                      </a:lnTo>
                      <a:lnTo>
                        <a:pt x="48" y="347"/>
                      </a:lnTo>
                      <a:lnTo>
                        <a:pt x="48" y="346"/>
                      </a:lnTo>
                      <a:lnTo>
                        <a:pt x="48" y="346"/>
                      </a:lnTo>
                      <a:lnTo>
                        <a:pt x="47" y="346"/>
                      </a:lnTo>
                      <a:lnTo>
                        <a:pt x="47" y="345"/>
                      </a:lnTo>
                      <a:lnTo>
                        <a:pt x="47" y="344"/>
                      </a:lnTo>
                      <a:lnTo>
                        <a:pt x="47" y="344"/>
                      </a:lnTo>
                      <a:lnTo>
                        <a:pt x="46" y="343"/>
                      </a:lnTo>
                      <a:lnTo>
                        <a:pt x="46" y="343"/>
                      </a:lnTo>
                      <a:lnTo>
                        <a:pt x="46" y="342"/>
                      </a:lnTo>
                      <a:lnTo>
                        <a:pt x="46" y="341"/>
                      </a:lnTo>
                      <a:lnTo>
                        <a:pt x="46" y="341"/>
                      </a:lnTo>
                      <a:lnTo>
                        <a:pt x="46" y="340"/>
                      </a:lnTo>
                      <a:lnTo>
                        <a:pt x="45" y="340"/>
                      </a:lnTo>
                      <a:lnTo>
                        <a:pt x="46" y="340"/>
                      </a:lnTo>
                      <a:lnTo>
                        <a:pt x="46" y="339"/>
                      </a:lnTo>
                      <a:lnTo>
                        <a:pt x="45" y="339"/>
                      </a:lnTo>
                      <a:lnTo>
                        <a:pt x="46" y="339"/>
                      </a:lnTo>
                      <a:lnTo>
                        <a:pt x="46" y="339"/>
                      </a:lnTo>
                      <a:lnTo>
                        <a:pt x="46" y="338"/>
                      </a:lnTo>
                      <a:lnTo>
                        <a:pt x="46" y="337"/>
                      </a:lnTo>
                      <a:lnTo>
                        <a:pt x="46" y="337"/>
                      </a:lnTo>
                      <a:lnTo>
                        <a:pt x="45" y="337"/>
                      </a:lnTo>
                      <a:lnTo>
                        <a:pt x="45" y="336"/>
                      </a:lnTo>
                      <a:lnTo>
                        <a:pt x="45" y="336"/>
                      </a:lnTo>
                      <a:lnTo>
                        <a:pt x="45" y="335"/>
                      </a:lnTo>
                      <a:lnTo>
                        <a:pt x="45" y="335"/>
                      </a:lnTo>
                      <a:lnTo>
                        <a:pt x="44" y="335"/>
                      </a:lnTo>
                      <a:lnTo>
                        <a:pt x="44" y="334"/>
                      </a:lnTo>
                      <a:lnTo>
                        <a:pt x="43" y="334"/>
                      </a:lnTo>
                      <a:lnTo>
                        <a:pt x="43" y="334"/>
                      </a:lnTo>
                      <a:lnTo>
                        <a:pt x="42" y="334"/>
                      </a:lnTo>
                      <a:lnTo>
                        <a:pt x="42" y="333"/>
                      </a:lnTo>
                      <a:lnTo>
                        <a:pt x="41" y="333"/>
                      </a:lnTo>
                      <a:lnTo>
                        <a:pt x="41" y="333"/>
                      </a:lnTo>
                      <a:lnTo>
                        <a:pt x="40" y="333"/>
                      </a:lnTo>
                      <a:lnTo>
                        <a:pt x="39" y="333"/>
                      </a:lnTo>
                      <a:lnTo>
                        <a:pt x="38" y="333"/>
                      </a:lnTo>
                      <a:lnTo>
                        <a:pt x="38" y="332"/>
                      </a:lnTo>
                      <a:lnTo>
                        <a:pt x="38" y="332"/>
                      </a:lnTo>
                      <a:lnTo>
                        <a:pt x="38" y="331"/>
                      </a:lnTo>
                      <a:lnTo>
                        <a:pt x="37" y="331"/>
                      </a:lnTo>
                      <a:lnTo>
                        <a:pt x="36" y="331"/>
                      </a:lnTo>
                      <a:lnTo>
                        <a:pt x="36" y="330"/>
                      </a:lnTo>
                      <a:lnTo>
                        <a:pt x="36" y="330"/>
                      </a:lnTo>
                      <a:lnTo>
                        <a:pt x="36" y="329"/>
                      </a:lnTo>
                      <a:lnTo>
                        <a:pt x="36" y="329"/>
                      </a:lnTo>
                      <a:lnTo>
                        <a:pt x="35" y="328"/>
                      </a:lnTo>
                      <a:lnTo>
                        <a:pt x="35" y="327"/>
                      </a:lnTo>
                      <a:lnTo>
                        <a:pt x="36" y="327"/>
                      </a:lnTo>
                      <a:lnTo>
                        <a:pt x="36" y="327"/>
                      </a:lnTo>
                      <a:lnTo>
                        <a:pt x="36" y="326"/>
                      </a:lnTo>
                      <a:lnTo>
                        <a:pt x="36" y="326"/>
                      </a:lnTo>
                      <a:lnTo>
                        <a:pt x="36" y="325"/>
                      </a:lnTo>
                      <a:lnTo>
                        <a:pt x="37" y="325"/>
                      </a:lnTo>
                      <a:lnTo>
                        <a:pt x="37" y="325"/>
                      </a:lnTo>
                      <a:lnTo>
                        <a:pt x="38" y="325"/>
                      </a:lnTo>
                      <a:lnTo>
                        <a:pt x="38" y="324"/>
                      </a:lnTo>
                      <a:lnTo>
                        <a:pt x="38" y="323"/>
                      </a:lnTo>
                      <a:lnTo>
                        <a:pt x="38" y="322"/>
                      </a:lnTo>
                      <a:lnTo>
                        <a:pt x="38" y="322"/>
                      </a:lnTo>
                      <a:lnTo>
                        <a:pt x="38" y="321"/>
                      </a:lnTo>
                      <a:lnTo>
                        <a:pt x="38" y="320"/>
                      </a:lnTo>
                      <a:lnTo>
                        <a:pt x="38" y="320"/>
                      </a:lnTo>
                      <a:lnTo>
                        <a:pt x="39" y="320"/>
                      </a:lnTo>
                      <a:lnTo>
                        <a:pt x="40" y="320"/>
                      </a:lnTo>
                      <a:lnTo>
                        <a:pt x="41" y="320"/>
                      </a:lnTo>
                      <a:lnTo>
                        <a:pt x="41" y="319"/>
                      </a:lnTo>
                      <a:lnTo>
                        <a:pt x="41" y="319"/>
                      </a:lnTo>
                      <a:lnTo>
                        <a:pt x="41" y="320"/>
                      </a:lnTo>
                      <a:lnTo>
                        <a:pt x="42" y="320"/>
                      </a:lnTo>
                      <a:lnTo>
                        <a:pt x="43" y="320"/>
                      </a:lnTo>
                      <a:lnTo>
                        <a:pt x="43" y="319"/>
                      </a:lnTo>
                      <a:lnTo>
                        <a:pt x="42" y="319"/>
                      </a:lnTo>
                      <a:lnTo>
                        <a:pt x="42" y="318"/>
                      </a:lnTo>
                      <a:lnTo>
                        <a:pt x="42" y="318"/>
                      </a:lnTo>
                      <a:lnTo>
                        <a:pt x="41" y="318"/>
                      </a:lnTo>
                      <a:lnTo>
                        <a:pt x="42" y="317"/>
                      </a:lnTo>
                      <a:lnTo>
                        <a:pt x="42" y="316"/>
                      </a:lnTo>
                      <a:lnTo>
                        <a:pt x="42" y="316"/>
                      </a:lnTo>
                      <a:lnTo>
                        <a:pt x="43" y="316"/>
                      </a:lnTo>
                      <a:lnTo>
                        <a:pt x="43" y="315"/>
                      </a:lnTo>
                      <a:lnTo>
                        <a:pt x="43" y="314"/>
                      </a:lnTo>
                      <a:lnTo>
                        <a:pt x="43" y="314"/>
                      </a:lnTo>
                      <a:lnTo>
                        <a:pt x="43" y="313"/>
                      </a:lnTo>
                      <a:lnTo>
                        <a:pt x="43" y="312"/>
                      </a:lnTo>
                      <a:lnTo>
                        <a:pt x="43" y="312"/>
                      </a:lnTo>
                      <a:lnTo>
                        <a:pt x="43" y="311"/>
                      </a:lnTo>
                      <a:lnTo>
                        <a:pt x="43" y="311"/>
                      </a:lnTo>
                      <a:lnTo>
                        <a:pt x="43" y="310"/>
                      </a:lnTo>
                      <a:lnTo>
                        <a:pt x="42" y="310"/>
                      </a:lnTo>
                      <a:lnTo>
                        <a:pt x="42" y="310"/>
                      </a:lnTo>
                      <a:lnTo>
                        <a:pt x="41" y="310"/>
                      </a:lnTo>
                      <a:lnTo>
                        <a:pt x="41" y="310"/>
                      </a:lnTo>
                      <a:lnTo>
                        <a:pt x="40" y="310"/>
                      </a:lnTo>
                      <a:lnTo>
                        <a:pt x="39" y="309"/>
                      </a:lnTo>
                      <a:lnTo>
                        <a:pt x="39" y="308"/>
                      </a:lnTo>
                      <a:lnTo>
                        <a:pt x="39" y="308"/>
                      </a:lnTo>
                      <a:lnTo>
                        <a:pt x="40" y="308"/>
                      </a:lnTo>
                      <a:lnTo>
                        <a:pt x="40" y="307"/>
                      </a:lnTo>
                      <a:lnTo>
                        <a:pt x="41" y="307"/>
                      </a:lnTo>
                      <a:lnTo>
                        <a:pt x="41" y="307"/>
                      </a:lnTo>
                      <a:lnTo>
                        <a:pt x="42" y="307"/>
                      </a:lnTo>
                      <a:lnTo>
                        <a:pt x="43" y="307"/>
                      </a:lnTo>
                      <a:lnTo>
                        <a:pt x="43" y="306"/>
                      </a:lnTo>
                      <a:lnTo>
                        <a:pt x="43" y="306"/>
                      </a:lnTo>
                      <a:lnTo>
                        <a:pt x="43" y="305"/>
                      </a:lnTo>
                      <a:lnTo>
                        <a:pt x="43" y="304"/>
                      </a:lnTo>
                      <a:lnTo>
                        <a:pt x="43" y="304"/>
                      </a:lnTo>
                      <a:lnTo>
                        <a:pt x="43" y="303"/>
                      </a:lnTo>
                      <a:lnTo>
                        <a:pt x="43" y="303"/>
                      </a:lnTo>
                      <a:lnTo>
                        <a:pt x="43" y="302"/>
                      </a:lnTo>
                      <a:lnTo>
                        <a:pt x="43" y="301"/>
                      </a:lnTo>
                      <a:lnTo>
                        <a:pt x="43" y="301"/>
                      </a:lnTo>
                      <a:lnTo>
                        <a:pt x="43" y="301"/>
                      </a:lnTo>
                      <a:lnTo>
                        <a:pt x="42" y="301"/>
                      </a:lnTo>
                      <a:lnTo>
                        <a:pt x="41" y="301"/>
                      </a:lnTo>
                      <a:lnTo>
                        <a:pt x="41" y="300"/>
                      </a:lnTo>
                      <a:lnTo>
                        <a:pt x="41" y="300"/>
                      </a:lnTo>
                      <a:lnTo>
                        <a:pt x="40" y="300"/>
                      </a:lnTo>
                      <a:lnTo>
                        <a:pt x="40" y="299"/>
                      </a:lnTo>
                      <a:lnTo>
                        <a:pt x="39" y="299"/>
                      </a:lnTo>
                      <a:lnTo>
                        <a:pt x="38" y="299"/>
                      </a:lnTo>
                      <a:lnTo>
                        <a:pt x="38" y="299"/>
                      </a:lnTo>
                      <a:lnTo>
                        <a:pt x="38" y="299"/>
                      </a:lnTo>
                      <a:lnTo>
                        <a:pt x="38" y="298"/>
                      </a:lnTo>
                      <a:lnTo>
                        <a:pt x="37" y="298"/>
                      </a:lnTo>
                      <a:lnTo>
                        <a:pt x="36" y="298"/>
                      </a:lnTo>
                      <a:lnTo>
                        <a:pt x="36" y="297"/>
                      </a:lnTo>
                      <a:lnTo>
                        <a:pt x="36" y="297"/>
                      </a:lnTo>
                      <a:lnTo>
                        <a:pt x="35" y="297"/>
                      </a:lnTo>
                      <a:lnTo>
                        <a:pt x="35" y="297"/>
                      </a:lnTo>
                      <a:lnTo>
                        <a:pt x="34" y="297"/>
                      </a:lnTo>
                      <a:lnTo>
                        <a:pt x="34" y="296"/>
                      </a:lnTo>
                      <a:lnTo>
                        <a:pt x="34" y="296"/>
                      </a:lnTo>
                      <a:lnTo>
                        <a:pt x="34" y="295"/>
                      </a:lnTo>
                      <a:lnTo>
                        <a:pt x="33" y="295"/>
                      </a:lnTo>
                      <a:lnTo>
                        <a:pt x="33" y="295"/>
                      </a:lnTo>
                      <a:lnTo>
                        <a:pt x="32" y="295"/>
                      </a:lnTo>
                      <a:lnTo>
                        <a:pt x="32" y="295"/>
                      </a:lnTo>
                      <a:lnTo>
                        <a:pt x="32" y="294"/>
                      </a:lnTo>
                      <a:lnTo>
                        <a:pt x="32" y="293"/>
                      </a:lnTo>
                      <a:lnTo>
                        <a:pt x="32" y="293"/>
                      </a:lnTo>
                      <a:lnTo>
                        <a:pt x="32" y="292"/>
                      </a:lnTo>
                      <a:lnTo>
                        <a:pt x="32" y="291"/>
                      </a:lnTo>
                      <a:lnTo>
                        <a:pt x="31" y="291"/>
                      </a:lnTo>
                      <a:lnTo>
                        <a:pt x="32" y="291"/>
                      </a:lnTo>
                      <a:lnTo>
                        <a:pt x="32" y="290"/>
                      </a:lnTo>
                      <a:lnTo>
                        <a:pt x="32" y="289"/>
                      </a:lnTo>
                      <a:lnTo>
                        <a:pt x="32" y="289"/>
                      </a:lnTo>
                      <a:lnTo>
                        <a:pt x="32" y="288"/>
                      </a:lnTo>
                      <a:lnTo>
                        <a:pt x="32" y="287"/>
                      </a:lnTo>
                      <a:lnTo>
                        <a:pt x="32" y="287"/>
                      </a:lnTo>
                      <a:lnTo>
                        <a:pt x="32" y="287"/>
                      </a:lnTo>
                      <a:lnTo>
                        <a:pt x="32" y="286"/>
                      </a:lnTo>
                      <a:lnTo>
                        <a:pt x="32" y="285"/>
                      </a:lnTo>
                      <a:lnTo>
                        <a:pt x="33" y="285"/>
                      </a:lnTo>
                      <a:lnTo>
                        <a:pt x="33" y="284"/>
                      </a:lnTo>
                      <a:lnTo>
                        <a:pt x="34" y="284"/>
                      </a:lnTo>
                      <a:lnTo>
                        <a:pt x="34" y="284"/>
                      </a:lnTo>
                      <a:lnTo>
                        <a:pt x="34" y="283"/>
                      </a:lnTo>
                      <a:lnTo>
                        <a:pt x="34" y="282"/>
                      </a:lnTo>
                      <a:lnTo>
                        <a:pt x="34" y="282"/>
                      </a:lnTo>
                      <a:lnTo>
                        <a:pt x="34" y="281"/>
                      </a:lnTo>
                      <a:lnTo>
                        <a:pt x="34" y="281"/>
                      </a:lnTo>
                      <a:lnTo>
                        <a:pt x="34" y="281"/>
                      </a:lnTo>
                      <a:lnTo>
                        <a:pt x="34" y="280"/>
                      </a:lnTo>
                      <a:lnTo>
                        <a:pt x="34" y="280"/>
                      </a:lnTo>
                      <a:lnTo>
                        <a:pt x="34" y="279"/>
                      </a:lnTo>
                      <a:lnTo>
                        <a:pt x="34" y="278"/>
                      </a:lnTo>
                      <a:lnTo>
                        <a:pt x="33" y="278"/>
                      </a:lnTo>
                      <a:lnTo>
                        <a:pt x="33" y="278"/>
                      </a:lnTo>
                      <a:lnTo>
                        <a:pt x="33" y="277"/>
                      </a:lnTo>
                      <a:lnTo>
                        <a:pt x="33" y="276"/>
                      </a:lnTo>
                      <a:lnTo>
                        <a:pt x="33" y="276"/>
                      </a:lnTo>
                      <a:lnTo>
                        <a:pt x="32" y="276"/>
                      </a:lnTo>
                      <a:lnTo>
                        <a:pt x="32" y="275"/>
                      </a:lnTo>
                      <a:lnTo>
                        <a:pt x="32" y="274"/>
                      </a:lnTo>
                      <a:lnTo>
                        <a:pt x="31" y="274"/>
                      </a:lnTo>
                      <a:lnTo>
                        <a:pt x="31" y="274"/>
                      </a:lnTo>
                      <a:lnTo>
                        <a:pt x="31" y="273"/>
                      </a:lnTo>
                      <a:lnTo>
                        <a:pt x="31" y="272"/>
                      </a:lnTo>
                      <a:lnTo>
                        <a:pt x="31" y="272"/>
                      </a:lnTo>
                      <a:lnTo>
                        <a:pt x="31" y="271"/>
                      </a:lnTo>
                      <a:lnTo>
                        <a:pt x="31" y="270"/>
                      </a:lnTo>
                      <a:lnTo>
                        <a:pt x="31" y="270"/>
                      </a:lnTo>
                      <a:lnTo>
                        <a:pt x="30" y="269"/>
                      </a:lnTo>
                      <a:lnTo>
                        <a:pt x="31" y="269"/>
                      </a:lnTo>
                      <a:lnTo>
                        <a:pt x="31" y="268"/>
                      </a:lnTo>
                      <a:lnTo>
                        <a:pt x="31" y="268"/>
                      </a:lnTo>
                      <a:lnTo>
                        <a:pt x="32" y="267"/>
                      </a:lnTo>
                      <a:lnTo>
                        <a:pt x="32" y="266"/>
                      </a:lnTo>
                      <a:lnTo>
                        <a:pt x="32" y="266"/>
                      </a:lnTo>
                      <a:lnTo>
                        <a:pt x="32" y="265"/>
                      </a:lnTo>
                      <a:lnTo>
                        <a:pt x="32" y="264"/>
                      </a:lnTo>
                      <a:lnTo>
                        <a:pt x="32" y="263"/>
                      </a:lnTo>
                      <a:lnTo>
                        <a:pt x="32" y="263"/>
                      </a:lnTo>
                      <a:lnTo>
                        <a:pt x="32" y="262"/>
                      </a:lnTo>
                      <a:lnTo>
                        <a:pt x="32" y="261"/>
                      </a:lnTo>
                      <a:lnTo>
                        <a:pt x="32" y="261"/>
                      </a:lnTo>
                      <a:lnTo>
                        <a:pt x="32" y="261"/>
                      </a:lnTo>
                      <a:lnTo>
                        <a:pt x="32" y="260"/>
                      </a:lnTo>
                      <a:lnTo>
                        <a:pt x="32" y="259"/>
                      </a:lnTo>
                      <a:lnTo>
                        <a:pt x="32" y="259"/>
                      </a:lnTo>
                      <a:lnTo>
                        <a:pt x="32" y="258"/>
                      </a:lnTo>
                      <a:lnTo>
                        <a:pt x="31" y="258"/>
                      </a:lnTo>
                      <a:lnTo>
                        <a:pt x="31" y="257"/>
                      </a:lnTo>
                      <a:lnTo>
                        <a:pt x="30" y="257"/>
                      </a:lnTo>
                      <a:lnTo>
                        <a:pt x="30" y="256"/>
                      </a:lnTo>
                      <a:lnTo>
                        <a:pt x="30" y="255"/>
                      </a:lnTo>
                      <a:lnTo>
                        <a:pt x="30" y="255"/>
                      </a:lnTo>
                      <a:lnTo>
                        <a:pt x="30" y="254"/>
                      </a:lnTo>
                      <a:lnTo>
                        <a:pt x="30" y="253"/>
                      </a:lnTo>
                      <a:lnTo>
                        <a:pt x="29" y="253"/>
                      </a:lnTo>
                      <a:lnTo>
                        <a:pt x="28" y="253"/>
                      </a:lnTo>
                      <a:lnTo>
                        <a:pt x="28" y="253"/>
                      </a:lnTo>
                      <a:lnTo>
                        <a:pt x="28" y="252"/>
                      </a:lnTo>
                      <a:lnTo>
                        <a:pt x="28" y="252"/>
                      </a:lnTo>
                      <a:lnTo>
                        <a:pt x="28" y="251"/>
                      </a:lnTo>
                      <a:lnTo>
                        <a:pt x="27" y="251"/>
                      </a:lnTo>
                      <a:lnTo>
                        <a:pt x="27" y="251"/>
                      </a:lnTo>
                      <a:lnTo>
                        <a:pt x="26" y="250"/>
                      </a:lnTo>
                      <a:lnTo>
                        <a:pt x="26" y="250"/>
                      </a:lnTo>
                      <a:lnTo>
                        <a:pt x="26" y="249"/>
                      </a:lnTo>
                      <a:lnTo>
                        <a:pt x="25" y="249"/>
                      </a:lnTo>
                      <a:lnTo>
                        <a:pt x="25" y="249"/>
                      </a:lnTo>
                      <a:lnTo>
                        <a:pt x="24" y="249"/>
                      </a:lnTo>
                      <a:lnTo>
                        <a:pt x="24" y="248"/>
                      </a:lnTo>
                      <a:lnTo>
                        <a:pt x="24" y="248"/>
                      </a:lnTo>
                      <a:lnTo>
                        <a:pt x="23" y="248"/>
                      </a:lnTo>
                      <a:lnTo>
                        <a:pt x="22" y="247"/>
                      </a:lnTo>
                      <a:lnTo>
                        <a:pt x="22" y="247"/>
                      </a:lnTo>
                      <a:lnTo>
                        <a:pt x="21" y="247"/>
                      </a:lnTo>
                      <a:lnTo>
                        <a:pt x="20" y="247"/>
                      </a:lnTo>
                      <a:lnTo>
                        <a:pt x="20" y="246"/>
                      </a:lnTo>
                      <a:lnTo>
                        <a:pt x="19" y="246"/>
                      </a:lnTo>
                      <a:lnTo>
                        <a:pt x="19" y="245"/>
                      </a:lnTo>
                      <a:lnTo>
                        <a:pt x="19" y="245"/>
                      </a:lnTo>
                      <a:lnTo>
                        <a:pt x="19" y="244"/>
                      </a:lnTo>
                      <a:lnTo>
                        <a:pt x="18" y="244"/>
                      </a:lnTo>
                      <a:lnTo>
                        <a:pt x="18" y="244"/>
                      </a:lnTo>
                      <a:lnTo>
                        <a:pt x="18" y="243"/>
                      </a:lnTo>
                      <a:lnTo>
                        <a:pt x="17" y="243"/>
                      </a:lnTo>
                      <a:lnTo>
                        <a:pt x="17" y="242"/>
                      </a:lnTo>
                      <a:lnTo>
                        <a:pt x="17" y="242"/>
                      </a:lnTo>
                      <a:lnTo>
                        <a:pt x="17" y="241"/>
                      </a:lnTo>
                      <a:lnTo>
                        <a:pt x="17" y="240"/>
                      </a:lnTo>
                      <a:lnTo>
                        <a:pt x="16" y="240"/>
                      </a:lnTo>
                      <a:lnTo>
                        <a:pt x="16" y="240"/>
                      </a:lnTo>
                      <a:lnTo>
                        <a:pt x="15" y="240"/>
                      </a:lnTo>
                      <a:lnTo>
                        <a:pt x="15" y="239"/>
                      </a:lnTo>
                      <a:lnTo>
                        <a:pt x="15" y="238"/>
                      </a:lnTo>
                      <a:lnTo>
                        <a:pt x="14" y="238"/>
                      </a:lnTo>
                      <a:lnTo>
                        <a:pt x="14" y="238"/>
                      </a:lnTo>
                      <a:lnTo>
                        <a:pt x="13" y="237"/>
                      </a:lnTo>
                      <a:lnTo>
                        <a:pt x="13" y="237"/>
                      </a:lnTo>
                      <a:lnTo>
                        <a:pt x="13" y="236"/>
                      </a:lnTo>
                      <a:lnTo>
                        <a:pt x="13" y="236"/>
                      </a:lnTo>
                      <a:lnTo>
                        <a:pt x="13" y="236"/>
                      </a:lnTo>
                      <a:lnTo>
                        <a:pt x="13" y="236"/>
                      </a:lnTo>
                      <a:lnTo>
                        <a:pt x="13" y="235"/>
                      </a:lnTo>
                      <a:lnTo>
                        <a:pt x="12" y="235"/>
                      </a:lnTo>
                      <a:lnTo>
                        <a:pt x="12" y="234"/>
                      </a:lnTo>
                      <a:lnTo>
                        <a:pt x="11" y="234"/>
                      </a:lnTo>
                      <a:lnTo>
                        <a:pt x="11" y="234"/>
                      </a:lnTo>
                      <a:lnTo>
                        <a:pt x="10" y="234"/>
                      </a:lnTo>
                      <a:lnTo>
                        <a:pt x="10" y="233"/>
                      </a:lnTo>
                      <a:lnTo>
                        <a:pt x="9" y="233"/>
                      </a:lnTo>
                      <a:lnTo>
                        <a:pt x="9" y="232"/>
                      </a:lnTo>
                      <a:lnTo>
                        <a:pt x="9" y="232"/>
                      </a:lnTo>
                      <a:lnTo>
                        <a:pt x="9" y="232"/>
                      </a:lnTo>
                      <a:lnTo>
                        <a:pt x="8" y="232"/>
                      </a:lnTo>
                      <a:lnTo>
                        <a:pt x="7" y="231"/>
                      </a:lnTo>
                      <a:lnTo>
                        <a:pt x="7" y="231"/>
                      </a:lnTo>
                      <a:lnTo>
                        <a:pt x="7" y="230"/>
                      </a:lnTo>
                      <a:lnTo>
                        <a:pt x="7" y="230"/>
                      </a:lnTo>
                      <a:lnTo>
                        <a:pt x="6" y="230"/>
                      </a:lnTo>
                      <a:lnTo>
                        <a:pt x="6" y="229"/>
                      </a:lnTo>
                      <a:lnTo>
                        <a:pt x="6" y="228"/>
                      </a:lnTo>
                      <a:lnTo>
                        <a:pt x="6" y="228"/>
                      </a:lnTo>
                      <a:lnTo>
                        <a:pt x="6" y="227"/>
                      </a:lnTo>
                      <a:lnTo>
                        <a:pt x="6" y="226"/>
                      </a:lnTo>
                      <a:lnTo>
                        <a:pt x="5" y="226"/>
                      </a:lnTo>
                      <a:lnTo>
                        <a:pt x="5" y="226"/>
                      </a:lnTo>
                      <a:lnTo>
                        <a:pt x="5" y="225"/>
                      </a:lnTo>
                      <a:lnTo>
                        <a:pt x="5" y="224"/>
                      </a:lnTo>
                      <a:lnTo>
                        <a:pt x="5" y="223"/>
                      </a:lnTo>
                      <a:lnTo>
                        <a:pt x="4" y="223"/>
                      </a:lnTo>
                      <a:lnTo>
                        <a:pt x="4" y="223"/>
                      </a:lnTo>
                      <a:lnTo>
                        <a:pt x="4" y="222"/>
                      </a:lnTo>
                      <a:lnTo>
                        <a:pt x="4" y="221"/>
                      </a:lnTo>
                      <a:lnTo>
                        <a:pt x="4" y="221"/>
                      </a:lnTo>
                      <a:lnTo>
                        <a:pt x="3" y="221"/>
                      </a:lnTo>
                      <a:lnTo>
                        <a:pt x="3" y="220"/>
                      </a:lnTo>
                      <a:lnTo>
                        <a:pt x="3" y="219"/>
                      </a:lnTo>
                      <a:lnTo>
                        <a:pt x="3" y="219"/>
                      </a:lnTo>
                      <a:lnTo>
                        <a:pt x="3" y="219"/>
                      </a:lnTo>
                      <a:lnTo>
                        <a:pt x="3" y="218"/>
                      </a:lnTo>
                      <a:lnTo>
                        <a:pt x="2" y="218"/>
                      </a:lnTo>
                      <a:lnTo>
                        <a:pt x="2" y="217"/>
                      </a:lnTo>
                      <a:lnTo>
                        <a:pt x="2" y="217"/>
                      </a:lnTo>
                      <a:lnTo>
                        <a:pt x="1" y="217"/>
                      </a:lnTo>
                      <a:lnTo>
                        <a:pt x="1" y="216"/>
                      </a:lnTo>
                      <a:lnTo>
                        <a:pt x="1" y="215"/>
                      </a:lnTo>
                      <a:lnTo>
                        <a:pt x="1" y="215"/>
                      </a:lnTo>
                      <a:lnTo>
                        <a:pt x="1" y="214"/>
                      </a:lnTo>
                      <a:lnTo>
                        <a:pt x="1" y="213"/>
                      </a:lnTo>
                      <a:lnTo>
                        <a:pt x="1" y="213"/>
                      </a:lnTo>
                      <a:lnTo>
                        <a:pt x="1" y="212"/>
                      </a:lnTo>
                      <a:lnTo>
                        <a:pt x="1" y="211"/>
                      </a:lnTo>
                      <a:lnTo>
                        <a:pt x="1" y="211"/>
                      </a:lnTo>
                      <a:lnTo>
                        <a:pt x="1" y="210"/>
                      </a:lnTo>
                      <a:lnTo>
                        <a:pt x="1" y="209"/>
                      </a:lnTo>
                      <a:lnTo>
                        <a:pt x="1" y="209"/>
                      </a:lnTo>
                      <a:lnTo>
                        <a:pt x="1" y="208"/>
                      </a:lnTo>
                      <a:lnTo>
                        <a:pt x="0" y="208"/>
                      </a:lnTo>
                      <a:lnTo>
                        <a:pt x="0" y="207"/>
                      </a:lnTo>
                      <a:lnTo>
                        <a:pt x="0" y="207"/>
                      </a:lnTo>
                      <a:lnTo>
                        <a:pt x="0" y="207"/>
                      </a:lnTo>
                      <a:lnTo>
                        <a:pt x="0" y="206"/>
                      </a:lnTo>
                      <a:lnTo>
                        <a:pt x="0" y="205"/>
                      </a:lnTo>
                      <a:lnTo>
                        <a:pt x="0" y="205"/>
                      </a:lnTo>
                      <a:lnTo>
                        <a:pt x="0" y="204"/>
                      </a:lnTo>
                      <a:lnTo>
                        <a:pt x="0" y="204"/>
                      </a:lnTo>
                      <a:lnTo>
                        <a:pt x="1" y="204"/>
                      </a:lnTo>
                      <a:lnTo>
                        <a:pt x="2" y="204"/>
                      </a:lnTo>
                      <a:lnTo>
                        <a:pt x="3" y="204"/>
                      </a:lnTo>
                      <a:lnTo>
                        <a:pt x="3" y="203"/>
                      </a:lnTo>
                      <a:lnTo>
                        <a:pt x="3" y="203"/>
                      </a:lnTo>
                      <a:lnTo>
                        <a:pt x="3" y="202"/>
                      </a:lnTo>
                      <a:lnTo>
                        <a:pt x="3" y="202"/>
                      </a:lnTo>
                      <a:lnTo>
                        <a:pt x="3" y="201"/>
                      </a:lnTo>
                      <a:lnTo>
                        <a:pt x="3" y="200"/>
                      </a:lnTo>
                      <a:lnTo>
                        <a:pt x="4" y="200"/>
                      </a:lnTo>
                      <a:lnTo>
                        <a:pt x="5" y="200"/>
                      </a:lnTo>
                      <a:lnTo>
                        <a:pt x="5" y="200"/>
                      </a:lnTo>
                      <a:lnTo>
                        <a:pt x="5" y="200"/>
                      </a:lnTo>
                      <a:lnTo>
                        <a:pt x="6" y="200"/>
                      </a:lnTo>
                      <a:lnTo>
                        <a:pt x="6" y="199"/>
                      </a:lnTo>
                      <a:lnTo>
                        <a:pt x="7" y="199"/>
                      </a:lnTo>
                      <a:lnTo>
                        <a:pt x="7" y="199"/>
                      </a:lnTo>
                      <a:lnTo>
                        <a:pt x="7" y="198"/>
                      </a:lnTo>
                      <a:lnTo>
                        <a:pt x="8" y="198"/>
                      </a:lnTo>
                      <a:lnTo>
                        <a:pt x="9" y="198"/>
                      </a:lnTo>
                      <a:lnTo>
                        <a:pt x="9" y="198"/>
                      </a:lnTo>
                      <a:lnTo>
                        <a:pt x="9" y="197"/>
                      </a:lnTo>
                      <a:lnTo>
                        <a:pt x="8" y="196"/>
                      </a:lnTo>
                      <a:lnTo>
                        <a:pt x="8" y="196"/>
                      </a:lnTo>
                      <a:lnTo>
                        <a:pt x="8" y="195"/>
                      </a:lnTo>
                      <a:lnTo>
                        <a:pt x="7" y="194"/>
                      </a:lnTo>
                      <a:lnTo>
                        <a:pt x="7" y="194"/>
                      </a:lnTo>
                      <a:lnTo>
                        <a:pt x="7" y="193"/>
                      </a:lnTo>
                      <a:lnTo>
                        <a:pt x="7" y="192"/>
                      </a:lnTo>
                      <a:lnTo>
                        <a:pt x="7" y="191"/>
                      </a:lnTo>
                      <a:lnTo>
                        <a:pt x="7" y="190"/>
                      </a:lnTo>
                      <a:lnTo>
                        <a:pt x="8" y="190"/>
                      </a:lnTo>
                      <a:lnTo>
                        <a:pt x="8" y="189"/>
                      </a:lnTo>
                      <a:lnTo>
                        <a:pt x="9" y="189"/>
                      </a:lnTo>
                      <a:lnTo>
                        <a:pt x="9" y="188"/>
                      </a:lnTo>
                      <a:lnTo>
                        <a:pt x="10" y="188"/>
                      </a:lnTo>
                      <a:lnTo>
                        <a:pt x="11" y="188"/>
                      </a:lnTo>
                      <a:lnTo>
                        <a:pt x="11" y="186"/>
                      </a:lnTo>
                      <a:lnTo>
                        <a:pt x="12" y="185"/>
                      </a:lnTo>
                      <a:lnTo>
                        <a:pt x="13" y="185"/>
                      </a:lnTo>
                      <a:lnTo>
                        <a:pt x="13" y="184"/>
                      </a:lnTo>
                      <a:lnTo>
                        <a:pt x="14" y="183"/>
                      </a:lnTo>
                      <a:lnTo>
                        <a:pt x="15" y="183"/>
                      </a:lnTo>
                      <a:lnTo>
                        <a:pt x="15" y="183"/>
                      </a:lnTo>
                      <a:lnTo>
                        <a:pt x="15" y="181"/>
                      </a:lnTo>
                      <a:lnTo>
                        <a:pt x="15" y="181"/>
                      </a:lnTo>
                      <a:lnTo>
                        <a:pt x="15" y="180"/>
                      </a:lnTo>
                      <a:lnTo>
                        <a:pt x="15" y="179"/>
                      </a:lnTo>
                      <a:lnTo>
                        <a:pt x="16" y="179"/>
                      </a:lnTo>
                      <a:lnTo>
                        <a:pt x="16" y="179"/>
                      </a:lnTo>
                      <a:lnTo>
                        <a:pt x="17" y="179"/>
                      </a:lnTo>
                      <a:lnTo>
                        <a:pt x="17" y="179"/>
                      </a:lnTo>
                      <a:lnTo>
                        <a:pt x="17" y="178"/>
                      </a:lnTo>
                      <a:lnTo>
                        <a:pt x="18" y="177"/>
                      </a:lnTo>
                      <a:lnTo>
                        <a:pt x="19" y="176"/>
                      </a:lnTo>
                      <a:lnTo>
                        <a:pt x="19" y="176"/>
                      </a:lnTo>
                      <a:lnTo>
                        <a:pt x="19" y="175"/>
                      </a:lnTo>
                      <a:lnTo>
                        <a:pt x="19" y="175"/>
                      </a:lnTo>
                      <a:lnTo>
                        <a:pt x="20" y="175"/>
                      </a:lnTo>
                      <a:lnTo>
                        <a:pt x="20" y="174"/>
                      </a:lnTo>
                      <a:lnTo>
                        <a:pt x="21" y="174"/>
                      </a:lnTo>
                      <a:lnTo>
                        <a:pt x="22" y="174"/>
                      </a:lnTo>
                      <a:lnTo>
                        <a:pt x="22" y="174"/>
                      </a:lnTo>
                      <a:lnTo>
                        <a:pt x="23" y="174"/>
                      </a:lnTo>
                      <a:lnTo>
                        <a:pt x="24" y="173"/>
                      </a:lnTo>
                      <a:lnTo>
                        <a:pt x="24" y="174"/>
                      </a:lnTo>
                      <a:lnTo>
                        <a:pt x="24" y="175"/>
                      </a:lnTo>
                      <a:lnTo>
                        <a:pt x="25" y="175"/>
                      </a:lnTo>
                      <a:lnTo>
                        <a:pt x="26" y="175"/>
                      </a:lnTo>
                      <a:lnTo>
                        <a:pt x="26" y="174"/>
                      </a:lnTo>
                      <a:lnTo>
                        <a:pt x="26" y="173"/>
                      </a:lnTo>
                      <a:lnTo>
                        <a:pt x="26" y="173"/>
                      </a:lnTo>
                      <a:lnTo>
                        <a:pt x="26" y="174"/>
                      </a:lnTo>
                      <a:lnTo>
                        <a:pt x="27" y="173"/>
                      </a:lnTo>
                      <a:lnTo>
                        <a:pt x="28" y="173"/>
                      </a:lnTo>
                      <a:lnTo>
                        <a:pt x="28" y="174"/>
                      </a:lnTo>
                      <a:lnTo>
                        <a:pt x="29" y="174"/>
                      </a:lnTo>
                      <a:lnTo>
                        <a:pt x="29" y="173"/>
                      </a:lnTo>
                      <a:lnTo>
                        <a:pt x="30" y="173"/>
                      </a:lnTo>
                      <a:lnTo>
                        <a:pt x="30" y="174"/>
                      </a:lnTo>
                      <a:lnTo>
                        <a:pt x="30" y="175"/>
                      </a:lnTo>
                      <a:lnTo>
                        <a:pt x="30" y="175"/>
                      </a:lnTo>
                      <a:lnTo>
                        <a:pt x="30" y="174"/>
                      </a:lnTo>
                      <a:lnTo>
                        <a:pt x="31" y="174"/>
                      </a:lnTo>
                      <a:lnTo>
                        <a:pt x="32" y="174"/>
                      </a:lnTo>
                      <a:lnTo>
                        <a:pt x="32" y="174"/>
                      </a:lnTo>
                      <a:lnTo>
                        <a:pt x="33" y="174"/>
                      </a:lnTo>
                      <a:lnTo>
                        <a:pt x="34" y="174"/>
                      </a:lnTo>
                      <a:lnTo>
                        <a:pt x="34" y="174"/>
                      </a:lnTo>
                      <a:lnTo>
                        <a:pt x="34" y="173"/>
                      </a:lnTo>
                      <a:lnTo>
                        <a:pt x="35" y="173"/>
                      </a:lnTo>
                      <a:lnTo>
                        <a:pt x="36" y="173"/>
                      </a:lnTo>
                      <a:lnTo>
                        <a:pt x="36" y="174"/>
                      </a:lnTo>
                      <a:lnTo>
                        <a:pt x="37" y="174"/>
                      </a:lnTo>
                      <a:lnTo>
                        <a:pt x="38" y="174"/>
                      </a:lnTo>
                      <a:lnTo>
                        <a:pt x="38" y="173"/>
                      </a:lnTo>
                      <a:lnTo>
                        <a:pt x="38" y="174"/>
                      </a:lnTo>
                      <a:lnTo>
                        <a:pt x="39" y="174"/>
                      </a:lnTo>
                      <a:lnTo>
                        <a:pt x="40" y="174"/>
                      </a:lnTo>
                      <a:lnTo>
                        <a:pt x="40" y="175"/>
                      </a:lnTo>
                      <a:lnTo>
                        <a:pt x="41" y="175"/>
                      </a:lnTo>
                      <a:lnTo>
                        <a:pt x="41" y="175"/>
                      </a:lnTo>
                      <a:lnTo>
                        <a:pt x="41" y="175"/>
                      </a:lnTo>
                      <a:lnTo>
                        <a:pt x="41" y="175"/>
                      </a:lnTo>
                      <a:lnTo>
                        <a:pt x="42" y="175"/>
                      </a:lnTo>
                      <a:lnTo>
                        <a:pt x="42" y="175"/>
                      </a:lnTo>
                      <a:lnTo>
                        <a:pt x="43" y="175"/>
                      </a:lnTo>
                      <a:lnTo>
                        <a:pt x="43" y="175"/>
                      </a:lnTo>
                      <a:lnTo>
                        <a:pt x="43" y="175"/>
                      </a:lnTo>
                      <a:lnTo>
                        <a:pt x="44" y="175"/>
                      </a:lnTo>
                      <a:lnTo>
                        <a:pt x="44" y="174"/>
                      </a:lnTo>
                      <a:lnTo>
                        <a:pt x="45" y="174"/>
                      </a:lnTo>
                      <a:lnTo>
                        <a:pt x="45" y="173"/>
                      </a:lnTo>
                      <a:lnTo>
                        <a:pt x="46" y="173"/>
                      </a:lnTo>
                      <a:lnTo>
                        <a:pt x="46" y="173"/>
                      </a:lnTo>
                      <a:lnTo>
                        <a:pt x="47" y="173"/>
                      </a:lnTo>
                      <a:lnTo>
                        <a:pt x="47" y="173"/>
                      </a:lnTo>
                      <a:lnTo>
                        <a:pt x="48" y="172"/>
                      </a:lnTo>
                      <a:lnTo>
                        <a:pt x="49" y="171"/>
                      </a:lnTo>
                      <a:lnTo>
                        <a:pt x="49" y="171"/>
                      </a:lnTo>
                      <a:lnTo>
                        <a:pt x="49" y="171"/>
                      </a:lnTo>
                      <a:lnTo>
                        <a:pt x="50" y="170"/>
                      </a:lnTo>
                      <a:lnTo>
                        <a:pt x="50" y="169"/>
                      </a:lnTo>
                      <a:lnTo>
                        <a:pt x="51" y="169"/>
                      </a:lnTo>
                      <a:lnTo>
                        <a:pt x="51" y="169"/>
                      </a:lnTo>
                      <a:lnTo>
                        <a:pt x="52" y="169"/>
                      </a:lnTo>
                      <a:lnTo>
                        <a:pt x="52" y="168"/>
                      </a:lnTo>
                      <a:lnTo>
                        <a:pt x="52" y="167"/>
                      </a:lnTo>
                      <a:lnTo>
                        <a:pt x="53" y="167"/>
                      </a:lnTo>
                      <a:lnTo>
                        <a:pt x="53" y="167"/>
                      </a:lnTo>
                      <a:lnTo>
                        <a:pt x="53" y="167"/>
                      </a:lnTo>
                      <a:lnTo>
                        <a:pt x="54" y="167"/>
                      </a:lnTo>
                      <a:lnTo>
                        <a:pt x="54" y="166"/>
                      </a:lnTo>
                      <a:lnTo>
                        <a:pt x="55" y="166"/>
                      </a:lnTo>
                      <a:lnTo>
                        <a:pt x="55" y="166"/>
                      </a:lnTo>
                      <a:lnTo>
                        <a:pt x="55" y="165"/>
                      </a:lnTo>
                      <a:lnTo>
                        <a:pt x="56" y="164"/>
                      </a:lnTo>
                      <a:lnTo>
                        <a:pt x="57" y="164"/>
                      </a:lnTo>
                      <a:lnTo>
                        <a:pt x="57" y="164"/>
                      </a:lnTo>
                      <a:lnTo>
                        <a:pt x="56" y="164"/>
                      </a:lnTo>
                      <a:lnTo>
                        <a:pt x="56" y="163"/>
                      </a:lnTo>
                      <a:lnTo>
                        <a:pt x="55" y="163"/>
                      </a:lnTo>
                      <a:lnTo>
                        <a:pt x="55" y="162"/>
                      </a:lnTo>
                      <a:lnTo>
                        <a:pt x="56" y="162"/>
                      </a:lnTo>
                      <a:lnTo>
                        <a:pt x="56" y="161"/>
                      </a:lnTo>
                      <a:lnTo>
                        <a:pt x="57" y="161"/>
                      </a:lnTo>
                      <a:lnTo>
                        <a:pt x="57" y="160"/>
                      </a:lnTo>
                      <a:lnTo>
                        <a:pt x="57" y="160"/>
                      </a:lnTo>
                      <a:lnTo>
                        <a:pt x="58" y="160"/>
                      </a:lnTo>
                      <a:lnTo>
                        <a:pt x="59" y="160"/>
                      </a:lnTo>
                      <a:lnTo>
                        <a:pt x="59" y="160"/>
                      </a:lnTo>
                      <a:lnTo>
                        <a:pt x="60" y="160"/>
                      </a:lnTo>
                      <a:lnTo>
                        <a:pt x="60" y="160"/>
                      </a:lnTo>
                      <a:lnTo>
                        <a:pt x="61" y="160"/>
                      </a:lnTo>
                      <a:lnTo>
                        <a:pt x="61" y="159"/>
                      </a:lnTo>
                      <a:lnTo>
                        <a:pt x="62" y="159"/>
                      </a:lnTo>
                      <a:lnTo>
                        <a:pt x="62" y="158"/>
                      </a:lnTo>
                      <a:lnTo>
                        <a:pt x="62" y="158"/>
                      </a:lnTo>
                      <a:lnTo>
                        <a:pt x="62" y="157"/>
                      </a:lnTo>
                      <a:lnTo>
                        <a:pt x="62" y="156"/>
                      </a:lnTo>
                      <a:lnTo>
                        <a:pt x="62" y="156"/>
                      </a:lnTo>
                      <a:lnTo>
                        <a:pt x="63" y="156"/>
                      </a:lnTo>
                      <a:lnTo>
                        <a:pt x="64" y="156"/>
                      </a:lnTo>
                      <a:lnTo>
                        <a:pt x="64" y="156"/>
                      </a:lnTo>
                      <a:lnTo>
                        <a:pt x="64" y="155"/>
                      </a:lnTo>
                      <a:lnTo>
                        <a:pt x="64" y="154"/>
                      </a:lnTo>
                      <a:lnTo>
                        <a:pt x="65" y="154"/>
                      </a:lnTo>
                      <a:lnTo>
                        <a:pt x="66" y="153"/>
                      </a:lnTo>
                      <a:lnTo>
                        <a:pt x="66" y="152"/>
                      </a:lnTo>
                      <a:lnTo>
                        <a:pt x="66" y="151"/>
                      </a:lnTo>
                      <a:lnTo>
                        <a:pt x="66" y="150"/>
                      </a:lnTo>
                      <a:lnTo>
                        <a:pt x="66" y="149"/>
                      </a:lnTo>
                      <a:lnTo>
                        <a:pt x="65" y="149"/>
                      </a:lnTo>
                      <a:lnTo>
                        <a:pt x="65" y="148"/>
                      </a:lnTo>
                      <a:lnTo>
                        <a:pt x="65" y="148"/>
                      </a:lnTo>
                      <a:lnTo>
                        <a:pt x="66" y="148"/>
                      </a:lnTo>
                      <a:lnTo>
                        <a:pt x="66" y="147"/>
                      </a:lnTo>
                      <a:lnTo>
                        <a:pt x="66" y="146"/>
                      </a:lnTo>
                      <a:lnTo>
                        <a:pt x="66" y="146"/>
                      </a:lnTo>
                      <a:lnTo>
                        <a:pt x="66" y="145"/>
                      </a:lnTo>
                      <a:lnTo>
                        <a:pt x="66" y="145"/>
                      </a:lnTo>
                      <a:lnTo>
                        <a:pt x="66" y="144"/>
                      </a:lnTo>
                      <a:lnTo>
                        <a:pt x="66" y="143"/>
                      </a:lnTo>
                      <a:lnTo>
                        <a:pt x="66" y="143"/>
                      </a:lnTo>
                      <a:lnTo>
                        <a:pt x="65" y="142"/>
                      </a:lnTo>
                      <a:lnTo>
                        <a:pt x="64" y="141"/>
                      </a:lnTo>
                      <a:lnTo>
                        <a:pt x="64" y="141"/>
                      </a:lnTo>
                      <a:lnTo>
                        <a:pt x="64" y="140"/>
                      </a:lnTo>
                      <a:lnTo>
                        <a:pt x="64" y="139"/>
                      </a:lnTo>
                      <a:lnTo>
                        <a:pt x="63" y="139"/>
                      </a:lnTo>
                      <a:lnTo>
                        <a:pt x="63" y="139"/>
                      </a:lnTo>
                      <a:lnTo>
                        <a:pt x="62" y="139"/>
                      </a:lnTo>
                      <a:lnTo>
                        <a:pt x="62" y="138"/>
                      </a:lnTo>
                      <a:lnTo>
                        <a:pt x="62" y="138"/>
                      </a:lnTo>
                      <a:lnTo>
                        <a:pt x="62" y="137"/>
                      </a:lnTo>
                      <a:lnTo>
                        <a:pt x="62" y="137"/>
                      </a:lnTo>
                      <a:lnTo>
                        <a:pt x="62" y="137"/>
                      </a:lnTo>
                      <a:lnTo>
                        <a:pt x="62" y="136"/>
                      </a:lnTo>
                      <a:lnTo>
                        <a:pt x="62" y="136"/>
                      </a:lnTo>
                      <a:lnTo>
                        <a:pt x="62" y="135"/>
                      </a:lnTo>
                      <a:lnTo>
                        <a:pt x="62" y="135"/>
                      </a:lnTo>
                      <a:lnTo>
                        <a:pt x="62" y="135"/>
                      </a:lnTo>
                      <a:lnTo>
                        <a:pt x="62" y="134"/>
                      </a:lnTo>
                      <a:lnTo>
                        <a:pt x="62" y="133"/>
                      </a:lnTo>
                      <a:lnTo>
                        <a:pt x="63" y="133"/>
                      </a:lnTo>
                      <a:lnTo>
                        <a:pt x="63" y="133"/>
                      </a:lnTo>
                      <a:lnTo>
                        <a:pt x="63" y="132"/>
                      </a:lnTo>
                      <a:lnTo>
                        <a:pt x="63" y="131"/>
                      </a:lnTo>
                      <a:lnTo>
                        <a:pt x="63" y="131"/>
                      </a:lnTo>
                      <a:lnTo>
                        <a:pt x="64" y="130"/>
                      </a:lnTo>
                      <a:lnTo>
                        <a:pt x="64" y="129"/>
                      </a:lnTo>
                      <a:lnTo>
                        <a:pt x="64" y="129"/>
                      </a:lnTo>
                      <a:lnTo>
                        <a:pt x="64" y="129"/>
                      </a:lnTo>
                      <a:lnTo>
                        <a:pt x="65" y="128"/>
                      </a:lnTo>
                      <a:lnTo>
                        <a:pt x="64" y="128"/>
                      </a:lnTo>
                      <a:lnTo>
                        <a:pt x="64" y="127"/>
                      </a:lnTo>
                      <a:lnTo>
                        <a:pt x="65" y="127"/>
                      </a:lnTo>
                      <a:lnTo>
                        <a:pt x="66" y="126"/>
                      </a:lnTo>
                      <a:lnTo>
                        <a:pt x="66" y="126"/>
                      </a:lnTo>
                      <a:lnTo>
                        <a:pt x="66" y="125"/>
                      </a:lnTo>
                      <a:lnTo>
                        <a:pt x="66" y="124"/>
                      </a:lnTo>
                      <a:lnTo>
                        <a:pt x="66" y="124"/>
                      </a:lnTo>
                      <a:lnTo>
                        <a:pt x="66" y="123"/>
                      </a:lnTo>
                      <a:lnTo>
                        <a:pt x="66" y="122"/>
                      </a:lnTo>
                      <a:lnTo>
                        <a:pt x="65" y="122"/>
                      </a:lnTo>
                      <a:lnTo>
                        <a:pt x="65" y="122"/>
                      </a:lnTo>
                      <a:lnTo>
                        <a:pt x="65" y="121"/>
                      </a:lnTo>
                      <a:lnTo>
                        <a:pt x="65" y="120"/>
                      </a:lnTo>
                      <a:lnTo>
                        <a:pt x="65" y="120"/>
                      </a:lnTo>
                      <a:lnTo>
                        <a:pt x="64" y="120"/>
                      </a:lnTo>
                      <a:lnTo>
                        <a:pt x="64" y="119"/>
                      </a:lnTo>
                      <a:lnTo>
                        <a:pt x="65" y="119"/>
                      </a:lnTo>
                      <a:lnTo>
                        <a:pt x="66" y="118"/>
                      </a:lnTo>
                      <a:lnTo>
                        <a:pt x="66" y="118"/>
                      </a:lnTo>
                      <a:lnTo>
                        <a:pt x="66" y="117"/>
                      </a:lnTo>
                      <a:lnTo>
                        <a:pt x="66" y="117"/>
                      </a:lnTo>
                      <a:lnTo>
                        <a:pt x="67" y="117"/>
                      </a:lnTo>
                      <a:lnTo>
                        <a:pt x="67" y="116"/>
                      </a:lnTo>
                      <a:lnTo>
                        <a:pt x="67" y="116"/>
                      </a:lnTo>
                      <a:lnTo>
                        <a:pt x="67" y="115"/>
                      </a:lnTo>
                      <a:lnTo>
                        <a:pt x="68" y="114"/>
                      </a:lnTo>
                      <a:lnTo>
                        <a:pt x="67" y="114"/>
                      </a:lnTo>
                      <a:lnTo>
                        <a:pt x="67" y="114"/>
                      </a:lnTo>
                      <a:lnTo>
                        <a:pt x="67" y="113"/>
                      </a:lnTo>
                      <a:lnTo>
                        <a:pt x="66" y="113"/>
                      </a:lnTo>
                      <a:lnTo>
                        <a:pt x="67" y="112"/>
                      </a:lnTo>
                      <a:lnTo>
                        <a:pt x="67" y="112"/>
                      </a:lnTo>
                      <a:lnTo>
                        <a:pt x="66" y="112"/>
                      </a:lnTo>
                      <a:lnTo>
                        <a:pt x="66" y="111"/>
                      </a:lnTo>
                      <a:lnTo>
                        <a:pt x="67" y="111"/>
                      </a:lnTo>
                      <a:lnTo>
                        <a:pt x="67" y="110"/>
                      </a:lnTo>
                      <a:lnTo>
                        <a:pt x="68" y="110"/>
                      </a:lnTo>
                      <a:lnTo>
                        <a:pt x="68" y="109"/>
                      </a:lnTo>
                      <a:lnTo>
                        <a:pt x="68" y="108"/>
                      </a:lnTo>
                      <a:lnTo>
                        <a:pt x="68" y="108"/>
                      </a:lnTo>
                      <a:lnTo>
                        <a:pt x="67" y="107"/>
                      </a:lnTo>
                      <a:lnTo>
                        <a:pt x="67" y="106"/>
                      </a:lnTo>
                      <a:lnTo>
                        <a:pt x="66" y="106"/>
                      </a:lnTo>
                      <a:lnTo>
                        <a:pt x="66" y="105"/>
                      </a:lnTo>
                      <a:lnTo>
                        <a:pt x="66" y="105"/>
                      </a:lnTo>
                      <a:lnTo>
                        <a:pt x="66" y="105"/>
                      </a:lnTo>
                      <a:lnTo>
                        <a:pt x="65" y="105"/>
                      </a:lnTo>
                      <a:lnTo>
                        <a:pt x="65" y="104"/>
                      </a:lnTo>
                      <a:lnTo>
                        <a:pt x="66" y="104"/>
                      </a:lnTo>
                      <a:lnTo>
                        <a:pt x="65" y="103"/>
                      </a:lnTo>
                      <a:lnTo>
                        <a:pt x="65" y="103"/>
                      </a:lnTo>
                      <a:lnTo>
                        <a:pt x="64" y="102"/>
                      </a:lnTo>
                      <a:lnTo>
                        <a:pt x="64" y="101"/>
                      </a:lnTo>
                      <a:lnTo>
                        <a:pt x="64" y="101"/>
                      </a:lnTo>
                      <a:lnTo>
                        <a:pt x="63" y="100"/>
                      </a:lnTo>
                      <a:lnTo>
                        <a:pt x="63" y="99"/>
                      </a:lnTo>
                      <a:lnTo>
                        <a:pt x="62" y="99"/>
                      </a:lnTo>
                      <a:lnTo>
                        <a:pt x="62" y="99"/>
                      </a:lnTo>
                      <a:lnTo>
                        <a:pt x="62" y="98"/>
                      </a:lnTo>
                      <a:lnTo>
                        <a:pt x="62" y="98"/>
                      </a:lnTo>
                      <a:lnTo>
                        <a:pt x="62" y="97"/>
                      </a:lnTo>
                      <a:lnTo>
                        <a:pt x="61" y="97"/>
                      </a:lnTo>
                      <a:lnTo>
                        <a:pt x="61" y="97"/>
                      </a:lnTo>
                      <a:lnTo>
                        <a:pt x="61" y="96"/>
                      </a:lnTo>
                      <a:lnTo>
                        <a:pt x="60" y="96"/>
                      </a:lnTo>
                      <a:lnTo>
                        <a:pt x="60" y="96"/>
                      </a:lnTo>
                      <a:lnTo>
                        <a:pt x="59" y="95"/>
                      </a:lnTo>
                      <a:lnTo>
                        <a:pt x="60" y="95"/>
                      </a:lnTo>
                      <a:lnTo>
                        <a:pt x="60" y="95"/>
                      </a:lnTo>
                      <a:lnTo>
                        <a:pt x="60" y="94"/>
                      </a:lnTo>
                      <a:lnTo>
                        <a:pt x="59" y="94"/>
                      </a:lnTo>
                      <a:lnTo>
                        <a:pt x="58" y="94"/>
                      </a:lnTo>
                      <a:lnTo>
                        <a:pt x="58" y="93"/>
                      </a:lnTo>
                      <a:lnTo>
                        <a:pt x="58" y="93"/>
                      </a:lnTo>
                      <a:lnTo>
                        <a:pt x="57" y="93"/>
                      </a:lnTo>
                      <a:lnTo>
                        <a:pt x="57" y="92"/>
                      </a:lnTo>
                      <a:lnTo>
                        <a:pt x="57" y="92"/>
                      </a:lnTo>
                      <a:lnTo>
                        <a:pt x="57" y="91"/>
                      </a:lnTo>
                      <a:lnTo>
                        <a:pt x="56" y="91"/>
                      </a:lnTo>
                      <a:lnTo>
                        <a:pt x="56" y="90"/>
                      </a:lnTo>
                      <a:lnTo>
                        <a:pt x="56" y="89"/>
                      </a:lnTo>
                      <a:lnTo>
                        <a:pt x="56" y="89"/>
                      </a:lnTo>
                      <a:lnTo>
                        <a:pt x="57" y="89"/>
                      </a:lnTo>
                      <a:lnTo>
                        <a:pt x="57" y="89"/>
                      </a:lnTo>
                      <a:lnTo>
                        <a:pt x="58" y="88"/>
                      </a:lnTo>
                      <a:lnTo>
                        <a:pt x="58" y="87"/>
                      </a:lnTo>
                      <a:lnTo>
                        <a:pt x="58" y="86"/>
                      </a:lnTo>
                      <a:lnTo>
                        <a:pt x="58" y="86"/>
                      </a:lnTo>
                      <a:lnTo>
                        <a:pt x="57" y="85"/>
                      </a:lnTo>
                      <a:lnTo>
                        <a:pt x="57" y="84"/>
                      </a:lnTo>
                      <a:lnTo>
                        <a:pt x="56" y="84"/>
                      </a:lnTo>
                      <a:lnTo>
                        <a:pt x="55" y="83"/>
                      </a:lnTo>
                      <a:lnTo>
                        <a:pt x="55" y="83"/>
                      </a:lnTo>
                      <a:lnTo>
                        <a:pt x="54" y="82"/>
                      </a:lnTo>
                      <a:lnTo>
                        <a:pt x="54" y="82"/>
                      </a:lnTo>
                      <a:lnTo>
                        <a:pt x="53" y="81"/>
                      </a:lnTo>
                      <a:lnTo>
                        <a:pt x="53" y="81"/>
                      </a:lnTo>
                      <a:lnTo>
                        <a:pt x="53" y="80"/>
                      </a:lnTo>
                      <a:lnTo>
                        <a:pt x="53" y="80"/>
                      </a:lnTo>
                      <a:lnTo>
                        <a:pt x="53" y="79"/>
                      </a:lnTo>
                      <a:lnTo>
                        <a:pt x="53" y="78"/>
                      </a:lnTo>
                      <a:lnTo>
                        <a:pt x="53" y="78"/>
                      </a:lnTo>
                      <a:lnTo>
                        <a:pt x="53" y="77"/>
                      </a:lnTo>
                      <a:lnTo>
                        <a:pt x="54" y="77"/>
                      </a:lnTo>
                      <a:lnTo>
                        <a:pt x="54" y="76"/>
                      </a:lnTo>
                      <a:lnTo>
                        <a:pt x="54" y="76"/>
                      </a:lnTo>
                      <a:lnTo>
                        <a:pt x="54" y="75"/>
                      </a:lnTo>
                      <a:lnTo>
                        <a:pt x="54" y="74"/>
                      </a:lnTo>
                      <a:lnTo>
                        <a:pt x="54" y="74"/>
                      </a:lnTo>
                      <a:lnTo>
                        <a:pt x="53" y="74"/>
                      </a:lnTo>
                      <a:lnTo>
                        <a:pt x="53" y="73"/>
                      </a:lnTo>
                      <a:lnTo>
                        <a:pt x="53" y="72"/>
                      </a:lnTo>
                      <a:lnTo>
                        <a:pt x="53" y="72"/>
                      </a:lnTo>
                      <a:lnTo>
                        <a:pt x="53" y="71"/>
                      </a:lnTo>
                      <a:lnTo>
                        <a:pt x="53" y="70"/>
                      </a:lnTo>
                      <a:lnTo>
                        <a:pt x="53" y="70"/>
                      </a:lnTo>
                      <a:lnTo>
                        <a:pt x="53" y="69"/>
                      </a:lnTo>
                      <a:lnTo>
                        <a:pt x="53" y="68"/>
                      </a:lnTo>
                      <a:lnTo>
                        <a:pt x="53" y="68"/>
                      </a:lnTo>
                      <a:lnTo>
                        <a:pt x="53" y="68"/>
                      </a:lnTo>
                      <a:lnTo>
                        <a:pt x="53" y="67"/>
                      </a:lnTo>
                      <a:lnTo>
                        <a:pt x="53" y="66"/>
                      </a:lnTo>
                      <a:lnTo>
                        <a:pt x="53" y="65"/>
                      </a:lnTo>
                      <a:lnTo>
                        <a:pt x="53" y="65"/>
                      </a:lnTo>
                      <a:lnTo>
                        <a:pt x="54" y="64"/>
                      </a:lnTo>
                      <a:lnTo>
                        <a:pt x="54" y="63"/>
                      </a:lnTo>
                      <a:lnTo>
                        <a:pt x="54" y="63"/>
                      </a:lnTo>
                      <a:lnTo>
                        <a:pt x="53" y="62"/>
                      </a:lnTo>
                      <a:lnTo>
                        <a:pt x="53" y="61"/>
                      </a:lnTo>
                      <a:lnTo>
                        <a:pt x="52" y="61"/>
                      </a:lnTo>
                      <a:lnTo>
                        <a:pt x="52" y="61"/>
                      </a:lnTo>
                      <a:lnTo>
                        <a:pt x="52" y="60"/>
                      </a:lnTo>
                      <a:lnTo>
                        <a:pt x="52" y="59"/>
                      </a:lnTo>
                      <a:lnTo>
                        <a:pt x="51" y="59"/>
                      </a:lnTo>
                      <a:lnTo>
                        <a:pt x="51" y="58"/>
                      </a:lnTo>
                      <a:lnTo>
                        <a:pt x="51" y="57"/>
                      </a:lnTo>
                      <a:lnTo>
                        <a:pt x="51" y="57"/>
                      </a:lnTo>
                      <a:lnTo>
                        <a:pt x="51" y="56"/>
                      </a:lnTo>
                      <a:lnTo>
                        <a:pt x="51" y="55"/>
                      </a:lnTo>
                      <a:lnTo>
                        <a:pt x="51" y="55"/>
                      </a:lnTo>
                      <a:lnTo>
                        <a:pt x="51" y="54"/>
                      </a:lnTo>
                      <a:lnTo>
                        <a:pt x="51" y="53"/>
                      </a:lnTo>
                      <a:lnTo>
                        <a:pt x="50" y="52"/>
                      </a:lnTo>
                      <a:lnTo>
                        <a:pt x="50" y="51"/>
                      </a:lnTo>
                      <a:lnTo>
                        <a:pt x="50" y="51"/>
                      </a:lnTo>
                      <a:lnTo>
                        <a:pt x="50" y="50"/>
                      </a:lnTo>
                      <a:lnTo>
                        <a:pt x="50" y="49"/>
                      </a:lnTo>
                      <a:lnTo>
                        <a:pt x="51" y="49"/>
                      </a:lnTo>
                      <a:lnTo>
                        <a:pt x="51" y="49"/>
                      </a:lnTo>
                      <a:lnTo>
                        <a:pt x="50" y="49"/>
                      </a:lnTo>
                      <a:lnTo>
                        <a:pt x="50" y="48"/>
                      </a:lnTo>
                      <a:lnTo>
                        <a:pt x="50" y="47"/>
                      </a:lnTo>
                      <a:lnTo>
                        <a:pt x="50" y="46"/>
                      </a:lnTo>
                      <a:lnTo>
                        <a:pt x="49" y="46"/>
                      </a:lnTo>
                      <a:lnTo>
                        <a:pt x="49" y="45"/>
                      </a:lnTo>
                      <a:lnTo>
                        <a:pt x="50" y="45"/>
                      </a:lnTo>
                      <a:lnTo>
                        <a:pt x="50" y="44"/>
                      </a:lnTo>
                      <a:lnTo>
                        <a:pt x="50" y="44"/>
                      </a:lnTo>
                      <a:lnTo>
                        <a:pt x="51" y="44"/>
                      </a:lnTo>
                      <a:lnTo>
                        <a:pt x="51" y="43"/>
                      </a:lnTo>
                      <a:lnTo>
                        <a:pt x="51" y="42"/>
                      </a:lnTo>
                      <a:lnTo>
                        <a:pt x="50" y="42"/>
                      </a:lnTo>
                      <a:lnTo>
                        <a:pt x="51" y="42"/>
                      </a:lnTo>
                      <a:lnTo>
                        <a:pt x="50" y="41"/>
                      </a:lnTo>
                      <a:lnTo>
                        <a:pt x="50" y="40"/>
                      </a:lnTo>
                      <a:lnTo>
                        <a:pt x="49" y="39"/>
                      </a:lnTo>
                      <a:lnTo>
                        <a:pt x="50" y="38"/>
                      </a:lnTo>
                      <a:lnTo>
                        <a:pt x="49" y="38"/>
                      </a:lnTo>
                      <a:lnTo>
                        <a:pt x="49" y="37"/>
                      </a:lnTo>
                      <a:lnTo>
                        <a:pt x="49" y="36"/>
                      </a:lnTo>
                      <a:lnTo>
                        <a:pt x="49" y="36"/>
                      </a:lnTo>
                      <a:lnTo>
                        <a:pt x="49" y="35"/>
                      </a:lnTo>
                      <a:lnTo>
                        <a:pt x="49" y="34"/>
                      </a:lnTo>
                      <a:lnTo>
                        <a:pt x="49" y="34"/>
                      </a:lnTo>
                      <a:lnTo>
                        <a:pt x="48" y="33"/>
                      </a:lnTo>
                      <a:lnTo>
                        <a:pt x="48" y="32"/>
                      </a:lnTo>
                      <a:lnTo>
                        <a:pt x="49" y="32"/>
                      </a:lnTo>
                      <a:lnTo>
                        <a:pt x="49" y="32"/>
                      </a:lnTo>
                      <a:lnTo>
                        <a:pt x="49" y="31"/>
                      </a:lnTo>
                      <a:lnTo>
                        <a:pt x="49" y="30"/>
                      </a:lnTo>
                      <a:lnTo>
                        <a:pt x="49" y="30"/>
                      </a:lnTo>
                      <a:lnTo>
                        <a:pt x="48" y="29"/>
                      </a:lnTo>
                      <a:lnTo>
                        <a:pt x="47" y="29"/>
                      </a:lnTo>
                      <a:lnTo>
                        <a:pt x="47" y="28"/>
                      </a:lnTo>
                      <a:lnTo>
                        <a:pt x="47" y="27"/>
                      </a:lnTo>
                      <a:lnTo>
                        <a:pt x="47" y="27"/>
                      </a:lnTo>
                      <a:lnTo>
                        <a:pt x="46" y="27"/>
                      </a:lnTo>
                      <a:lnTo>
                        <a:pt x="45" y="27"/>
                      </a:lnTo>
                      <a:lnTo>
                        <a:pt x="45" y="27"/>
                      </a:lnTo>
                      <a:lnTo>
                        <a:pt x="45" y="26"/>
                      </a:lnTo>
                      <a:lnTo>
                        <a:pt x="45" y="25"/>
                      </a:lnTo>
                      <a:lnTo>
                        <a:pt x="44" y="25"/>
                      </a:lnTo>
                      <a:lnTo>
                        <a:pt x="44" y="24"/>
                      </a:lnTo>
                      <a:lnTo>
                        <a:pt x="44" y="23"/>
                      </a:lnTo>
                      <a:lnTo>
                        <a:pt x="43" y="23"/>
                      </a:lnTo>
                      <a:lnTo>
                        <a:pt x="43" y="23"/>
                      </a:lnTo>
                      <a:lnTo>
                        <a:pt x="42" y="23"/>
                      </a:lnTo>
                      <a:lnTo>
                        <a:pt x="42" y="23"/>
                      </a:lnTo>
                      <a:lnTo>
                        <a:pt x="41" y="23"/>
                      </a:lnTo>
                      <a:lnTo>
                        <a:pt x="41" y="21"/>
                      </a:lnTo>
                      <a:lnTo>
                        <a:pt x="40" y="21"/>
                      </a:lnTo>
                      <a:lnTo>
                        <a:pt x="39" y="21"/>
                      </a:lnTo>
                      <a:lnTo>
                        <a:pt x="38" y="21"/>
                      </a:lnTo>
                      <a:lnTo>
                        <a:pt x="38" y="21"/>
                      </a:lnTo>
                      <a:lnTo>
                        <a:pt x="37" y="21"/>
                      </a:lnTo>
                      <a:lnTo>
                        <a:pt x="37" y="20"/>
                      </a:lnTo>
                      <a:lnTo>
                        <a:pt x="36" y="20"/>
                      </a:lnTo>
                      <a:lnTo>
                        <a:pt x="36" y="19"/>
                      </a:lnTo>
                      <a:lnTo>
                        <a:pt x="36" y="19"/>
                      </a:lnTo>
                      <a:lnTo>
                        <a:pt x="36" y="19"/>
                      </a:lnTo>
                      <a:lnTo>
                        <a:pt x="36" y="18"/>
                      </a:lnTo>
                      <a:lnTo>
                        <a:pt x="35" y="18"/>
                      </a:lnTo>
                      <a:lnTo>
                        <a:pt x="35" y="17"/>
                      </a:lnTo>
                      <a:lnTo>
                        <a:pt x="36" y="17"/>
                      </a:lnTo>
                      <a:lnTo>
                        <a:pt x="36" y="17"/>
                      </a:lnTo>
                      <a:lnTo>
                        <a:pt x="36" y="16"/>
                      </a:lnTo>
                      <a:lnTo>
                        <a:pt x="36" y="15"/>
                      </a:lnTo>
                      <a:lnTo>
                        <a:pt x="36" y="15"/>
                      </a:lnTo>
                      <a:lnTo>
                        <a:pt x="35" y="15"/>
                      </a:lnTo>
                      <a:lnTo>
                        <a:pt x="35" y="14"/>
                      </a:lnTo>
                      <a:lnTo>
                        <a:pt x="36" y="14"/>
                      </a:lnTo>
                      <a:lnTo>
                        <a:pt x="36" y="13"/>
                      </a:lnTo>
                      <a:lnTo>
                        <a:pt x="36" y="13"/>
                      </a:lnTo>
                      <a:lnTo>
                        <a:pt x="36" y="12"/>
                      </a:lnTo>
                      <a:lnTo>
                        <a:pt x="36" y="12"/>
                      </a:lnTo>
                      <a:lnTo>
                        <a:pt x="36" y="11"/>
                      </a:lnTo>
                      <a:lnTo>
                        <a:pt x="36" y="11"/>
                      </a:lnTo>
                      <a:lnTo>
                        <a:pt x="36" y="10"/>
                      </a:lnTo>
                      <a:lnTo>
                        <a:pt x="36" y="9"/>
                      </a:lnTo>
                      <a:lnTo>
                        <a:pt x="36" y="9"/>
                      </a:lnTo>
                      <a:lnTo>
                        <a:pt x="36" y="8"/>
                      </a:lnTo>
                      <a:lnTo>
                        <a:pt x="37" y="8"/>
                      </a:lnTo>
                      <a:lnTo>
                        <a:pt x="37" y="7"/>
                      </a:lnTo>
                      <a:lnTo>
                        <a:pt x="37" y="6"/>
                      </a:lnTo>
                      <a:lnTo>
                        <a:pt x="37" y="6"/>
                      </a:lnTo>
                      <a:lnTo>
                        <a:pt x="37" y="5"/>
                      </a:lnTo>
                      <a:lnTo>
                        <a:pt x="37" y="4"/>
                      </a:lnTo>
                      <a:lnTo>
                        <a:pt x="37" y="4"/>
                      </a:lnTo>
                      <a:lnTo>
                        <a:pt x="36" y="4"/>
                      </a:lnTo>
                      <a:lnTo>
                        <a:pt x="36" y="3"/>
                      </a:lnTo>
                      <a:lnTo>
                        <a:pt x="36" y="2"/>
                      </a:lnTo>
                      <a:lnTo>
                        <a:pt x="36" y="2"/>
                      </a:lnTo>
                      <a:lnTo>
                        <a:pt x="36" y="1"/>
                      </a:lnTo>
                      <a:lnTo>
                        <a:pt x="36" y="0"/>
                      </a:lnTo>
                      <a:lnTo>
                        <a:pt x="35" y="0"/>
                      </a:lnTo>
                      <a:lnTo>
                        <a:pt x="35"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3" name="Freeform 23">
                  <a:extLst>
                    <a:ext uri="{FF2B5EF4-FFF2-40B4-BE49-F238E27FC236}">
                      <a16:creationId xmlns:a16="http://schemas.microsoft.com/office/drawing/2014/main" xmlns="" id="{5A1EB0D3-0110-746D-F6F8-4973282C743D}"/>
                    </a:ext>
                  </a:extLst>
                </p:cNvPr>
                <p:cNvSpPr>
                  <a:spLocks/>
                </p:cNvSpPr>
                <p:nvPr/>
              </p:nvSpPr>
              <p:spPr bwMode="auto">
                <a:xfrm>
                  <a:off x="2661" y="2345"/>
                  <a:ext cx="29" cy="106"/>
                </a:xfrm>
                <a:custGeom>
                  <a:avLst/>
                  <a:gdLst>
                    <a:gd name="T0" fmla="*/ 17 w 29"/>
                    <a:gd name="T1" fmla="*/ 104 h 106"/>
                    <a:gd name="T2" fmla="*/ 15 w 29"/>
                    <a:gd name="T3" fmla="*/ 102 h 106"/>
                    <a:gd name="T4" fmla="*/ 14 w 29"/>
                    <a:gd name="T5" fmla="*/ 98 h 106"/>
                    <a:gd name="T6" fmla="*/ 13 w 29"/>
                    <a:gd name="T7" fmla="*/ 96 h 106"/>
                    <a:gd name="T8" fmla="*/ 11 w 29"/>
                    <a:gd name="T9" fmla="*/ 93 h 106"/>
                    <a:gd name="T10" fmla="*/ 9 w 29"/>
                    <a:gd name="T11" fmla="*/ 91 h 106"/>
                    <a:gd name="T12" fmla="*/ 8 w 29"/>
                    <a:gd name="T13" fmla="*/ 89 h 106"/>
                    <a:gd name="T14" fmla="*/ 6 w 29"/>
                    <a:gd name="T15" fmla="*/ 87 h 106"/>
                    <a:gd name="T16" fmla="*/ 4 w 29"/>
                    <a:gd name="T17" fmla="*/ 87 h 106"/>
                    <a:gd name="T18" fmla="*/ 2 w 29"/>
                    <a:gd name="T19" fmla="*/ 84 h 106"/>
                    <a:gd name="T20" fmla="*/ 1 w 29"/>
                    <a:gd name="T21" fmla="*/ 81 h 106"/>
                    <a:gd name="T22" fmla="*/ 2 w 29"/>
                    <a:gd name="T23" fmla="*/ 78 h 106"/>
                    <a:gd name="T24" fmla="*/ 3 w 29"/>
                    <a:gd name="T25" fmla="*/ 75 h 106"/>
                    <a:gd name="T26" fmla="*/ 3 w 29"/>
                    <a:gd name="T27" fmla="*/ 72 h 106"/>
                    <a:gd name="T28" fmla="*/ 3 w 29"/>
                    <a:gd name="T29" fmla="*/ 70 h 106"/>
                    <a:gd name="T30" fmla="*/ 3 w 29"/>
                    <a:gd name="T31" fmla="*/ 67 h 106"/>
                    <a:gd name="T32" fmla="*/ 2 w 29"/>
                    <a:gd name="T33" fmla="*/ 64 h 106"/>
                    <a:gd name="T34" fmla="*/ 2 w 29"/>
                    <a:gd name="T35" fmla="*/ 61 h 106"/>
                    <a:gd name="T36" fmla="*/ 0 w 29"/>
                    <a:gd name="T37" fmla="*/ 59 h 106"/>
                    <a:gd name="T38" fmla="*/ 2 w 29"/>
                    <a:gd name="T39" fmla="*/ 58 h 106"/>
                    <a:gd name="T40" fmla="*/ 3 w 29"/>
                    <a:gd name="T41" fmla="*/ 56 h 106"/>
                    <a:gd name="T42" fmla="*/ 2 w 29"/>
                    <a:gd name="T43" fmla="*/ 53 h 106"/>
                    <a:gd name="T44" fmla="*/ 3 w 29"/>
                    <a:gd name="T45" fmla="*/ 51 h 106"/>
                    <a:gd name="T46" fmla="*/ 5 w 29"/>
                    <a:gd name="T47" fmla="*/ 49 h 106"/>
                    <a:gd name="T48" fmla="*/ 6 w 29"/>
                    <a:gd name="T49" fmla="*/ 47 h 106"/>
                    <a:gd name="T50" fmla="*/ 8 w 29"/>
                    <a:gd name="T51" fmla="*/ 45 h 106"/>
                    <a:gd name="T52" fmla="*/ 10 w 29"/>
                    <a:gd name="T53" fmla="*/ 43 h 106"/>
                    <a:gd name="T54" fmla="*/ 12 w 29"/>
                    <a:gd name="T55" fmla="*/ 42 h 106"/>
                    <a:gd name="T56" fmla="*/ 12 w 29"/>
                    <a:gd name="T57" fmla="*/ 40 h 106"/>
                    <a:gd name="T58" fmla="*/ 12 w 29"/>
                    <a:gd name="T59" fmla="*/ 37 h 106"/>
                    <a:gd name="T60" fmla="*/ 10 w 29"/>
                    <a:gd name="T61" fmla="*/ 34 h 106"/>
                    <a:gd name="T62" fmla="*/ 9 w 29"/>
                    <a:gd name="T63" fmla="*/ 32 h 106"/>
                    <a:gd name="T64" fmla="*/ 9 w 29"/>
                    <a:gd name="T65" fmla="*/ 30 h 106"/>
                    <a:gd name="T66" fmla="*/ 10 w 29"/>
                    <a:gd name="T67" fmla="*/ 28 h 106"/>
                    <a:gd name="T68" fmla="*/ 9 w 29"/>
                    <a:gd name="T69" fmla="*/ 26 h 106"/>
                    <a:gd name="T70" fmla="*/ 6 w 29"/>
                    <a:gd name="T71" fmla="*/ 24 h 106"/>
                    <a:gd name="T72" fmla="*/ 4 w 29"/>
                    <a:gd name="T73" fmla="*/ 22 h 106"/>
                    <a:gd name="T74" fmla="*/ 5 w 29"/>
                    <a:gd name="T75" fmla="*/ 20 h 106"/>
                    <a:gd name="T76" fmla="*/ 3 w 29"/>
                    <a:gd name="T77" fmla="*/ 18 h 106"/>
                    <a:gd name="T78" fmla="*/ 4 w 29"/>
                    <a:gd name="T79" fmla="*/ 16 h 106"/>
                    <a:gd name="T80" fmla="*/ 6 w 29"/>
                    <a:gd name="T81" fmla="*/ 14 h 106"/>
                    <a:gd name="T82" fmla="*/ 6 w 29"/>
                    <a:gd name="T83" fmla="*/ 12 h 106"/>
                    <a:gd name="T84" fmla="*/ 8 w 29"/>
                    <a:gd name="T85" fmla="*/ 9 h 106"/>
                    <a:gd name="T86" fmla="*/ 10 w 29"/>
                    <a:gd name="T87" fmla="*/ 8 h 106"/>
                    <a:gd name="T88" fmla="*/ 11 w 29"/>
                    <a:gd name="T89" fmla="*/ 5 h 106"/>
                    <a:gd name="T90" fmla="*/ 14 w 29"/>
                    <a:gd name="T91" fmla="*/ 3 h 106"/>
                    <a:gd name="T92" fmla="*/ 16 w 29"/>
                    <a:gd name="T93" fmla="*/ 1 h 106"/>
                    <a:gd name="T94" fmla="*/ 19 w 29"/>
                    <a:gd name="T95" fmla="*/ 3 h 106"/>
                    <a:gd name="T96" fmla="*/ 22 w 29"/>
                    <a:gd name="T97" fmla="*/ 4 h 106"/>
                    <a:gd name="T98" fmla="*/ 25 w 29"/>
                    <a:gd name="T99" fmla="*/ 2 h 106"/>
                    <a:gd name="T100" fmla="*/ 27 w 29"/>
                    <a:gd name="T101" fmla="*/ 1 h 106"/>
                    <a:gd name="T102" fmla="*/ 29 w 29"/>
                    <a:gd name="T103" fmla="*/ 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106">
                      <a:moveTo>
                        <a:pt x="19" y="106"/>
                      </a:moveTo>
                      <a:lnTo>
                        <a:pt x="18" y="106"/>
                      </a:lnTo>
                      <a:lnTo>
                        <a:pt x="18" y="105"/>
                      </a:lnTo>
                      <a:lnTo>
                        <a:pt x="18" y="104"/>
                      </a:lnTo>
                      <a:lnTo>
                        <a:pt x="17" y="104"/>
                      </a:lnTo>
                      <a:lnTo>
                        <a:pt x="17" y="104"/>
                      </a:lnTo>
                      <a:lnTo>
                        <a:pt x="16" y="103"/>
                      </a:lnTo>
                      <a:lnTo>
                        <a:pt x="16" y="102"/>
                      </a:lnTo>
                      <a:lnTo>
                        <a:pt x="16" y="102"/>
                      </a:lnTo>
                      <a:lnTo>
                        <a:pt x="15" y="102"/>
                      </a:lnTo>
                      <a:lnTo>
                        <a:pt x="14" y="101"/>
                      </a:lnTo>
                      <a:lnTo>
                        <a:pt x="14" y="100"/>
                      </a:lnTo>
                      <a:lnTo>
                        <a:pt x="15" y="100"/>
                      </a:lnTo>
                      <a:lnTo>
                        <a:pt x="15" y="99"/>
                      </a:lnTo>
                      <a:lnTo>
                        <a:pt x="14" y="98"/>
                      </a:lnTo>
                      <a:lnTo>
                        <a:pt x="14" y="98"/>
                      </a:lnTo>
                      <a:lnTo>
                        <a:pt x="13" y="98"/>
                      </a:lnTo>
                      <a:lnTo>
                        <a:pt x="13" y="97"/>
                      </a:lnTo>
                      <a:lnTo>
                        <a:pt x="13" y="96"/>
                      </a:lnTo>
                      <a:lnTo>
                        <a:pt x="13" y="96"/>
                      </a:lnTo>
                      <a:lnTo>
                        <a:pt x="12" y="95"/>
                      </a:lnTo>
                      <a:lnTo>
                        <a:pt x="12" y="95"/>
                      </a:lnTo>
                      <a:lnTo>
                        <a:pt x="12" y="94"/>
                      </a:lnTo>
                      <a:lnTo>
                        <a:pt x="11" y="94"/>
                      </a:lnTo>
                      <a:lnTo>
                        <a:pt x="11" y="93"/>
                      </a:lnTo>
                      <a:lnTo>
                        <a:pt x="10" y="93"/>
                      </a:lnTo>
                      <a:lnTo>
                        <a:pt x="11" y="92"/>
                      </a:lnTo>
                      <a:lnTo>
                        <a:pt x="10" y="92"/>
                      </a:lnTo>
                      <a:lnTo>
                        <a:pt x="10" y="91"/>
                      </a:lnTo>
                      <a:lnTo>
                        <a:pt x="9" y="91"/>
                      </a:lnTo>
                      <a:lnTo>
                        <a:pt x="10" y="91"/>
                      </a:lnTo>
                      <a:lnTo>
                        <a:pt x="10" y="90"/>
                      </a:lnTo>
                      <a:lnTo>
                        <a:pt x="9" y="89"/>
                      </a:lnTo>
                      <a:lnTo>
                        <a:pt x="8" y="89"/>
                      </a:lnTo>
                      <a:lnTo>
                        <a:pt x="8" y="89"/>
                      </a:lnTo>
                      <a:lnTo>
                        <a:pt x="8" y="88"/>
                      </a:lnTo>
                      <a:lnTo>
                        <a:pt x="8" y="88"/>
                      </a:lnTo>
                      <a:lnTo>
                        <a:pt x="7" y="88"/>
                      </a:lnTo>
                      <a:lnTo>
                        <a:pt x="7" y="87"/>
                      </a:lnTo>
                      <a:lnTo>
                        <a:pt x="6" y="87"/>
                      </a:lnTo>
                      <a:lnTo>
                        <a:pt x="6" y="87"/>
                      </a:lnTo>
                      <a:lnTo>
                        <a:pt x="6" y="86"/>
                      </a:lnTo>
                      <a:lnTo>
                        <a:pt x="5" y="86"/>
                      </a:lnTo>
                      <a:lnTo>
                        <a:pt x="5" y="87"/>
                      </a:lnTo>
                      <a:lnTo>
                        <a:pt x="4" y="87"/>
                      </a:lnTo>
                      <a:lnTo>
                        <a:pt x="3" y="86"/>
                      </a:lnTo>
                      <a:lnTo>
                        <a:pt x="3" y="85"/>
                      </a:lnTo>
                      <a:lnTo>
                        <a:pt x="3" y="85"/>
                      </a:lnTo>
                      <a:lnTo>
                        <a:pt x="3" y="84"/>
                      </a:lnTo>
                      <a:lnTo>
                        <a:pt x="2" y="84"/>
                      </a:lnTo>
                      <a:lnTo>
                        <a:pt x="1" y="84"/>
                      </a:lnTo>
                      <a:lnTo>
                        <a:pt x="1" y="83"/>
                      </a:lnTo>
                      <a:lnTo>
                        <a:pt x="1" y="83"/>
                      </a:lnTo>
                      <a:lnTo>
                        <a:pt x="1" y="82"/>
                      </a:lnTo>
                      <a:lnTo>
                        <a:pt x="1" y="81"/>
                      </a:lnTo>
                      <a:lnTo>
                        <a:pt x="1" y="81"/>
                      </a:lnTo>
                      <a:lnTo>
                        <a:pt x="2" y="80"/>
                      </a:lnTo>
                      <a:lnTo>
                        <a:pt x="1" y="79"/>
                      </a:lnTo>
                      <a:lnTo>
                        <a:pt x="1" y="79"/>
                      </a:lnTo>
                      <a:lnTo>
                        <a:pt x="2" y="78"/>
                      </a:lnTo>
                      <a:lnTo>
                        <a:pt x="1" y="77"/>
                      </a:lnTo>
                      <a:lnTo>
                        <a:pt x="2" y="77"/>
                      </a:lnTo>
                      <a:lnTo>
                        <a:pt x="3" y="77"/>
                      </a:lnTo>
                      <a:lnTo>
                        <a:pt x="3" y="76"/>
                      </a:lnTo>
                      <a:lnTo>
                        <a:pt x="3" y="75"/>
                      </a:lnTo>
                      <a:lnTo>
                        <a:pt x="3" y="75"/>
                      </a:lnTo>
                      <a:lnTo>
                        <a:pt x="3" y="74"/>
                      </a:lnTo>
                      <a:lnTo>
                        <a:pt x="3" y="74"/>
                      </a:lnTo>
                      <a:lnTo>
                        <a:pt x="3" y="73"/>
                      </a:lnTo>
                      <a:lnTo>
                        <a:pt x="3" y="72"/>
                      </a:lnTo>
                      <a:lnTo>
                        <a:pt x="3" y="72"/>
                      </a:lnTo>
                      <a:lnTo>
                        <a:pt x="3" y="71"/>
                      </a:lnTo>
                      <a:lnTo>
                        <a:pt x="4" y="71"/>
                      </a:lnTo>
                      <a:lnTo>
                        <a:pt x="3" y="70"/>
                      </a:lnTo>
                      <a:lnTo>
                        <a:pt x="3" y="70"/>
                      </a:lnTo>
                      <a:lnTo>
                        <a:pt x="3" y="70"/>
                      </a:lnTo>
                      <a:lnTo>
                        <a:pt x="3" y="69"/>
                      </a:lnTo>
                      <a:lnTo>
                        <a:pt x="3" y="68"/>
                      </a:lnTo>
                      <a:lnTo>
                        <a:pt x="3" y="68"/>
                      </a:lnTo>
                      <a:lnTo>
                        <a:pt x="3" y="67"/>
                      </a:lnTo>
                      <a:lnTo>
                        <a:pt x="3" y="66"/>
                      </a:lnTo>
                      <a:lnTo>
                        <a:pt x="3" y="66"/>
                      </a:lnTo>
                      <a:lnTo>
                        <a:pt x="3" y="65"/>
                      </a:lnTo>
                      <a:lnTo>
                        <a:pt x="2" y="65"/>
                      </a:lnTo>
                      <a:lnTo>
                        <a:pt x="2" y="64"/>
                      </a:lnTo>
                      <a:lnTo>
                        <a:pt x="2" y="64"/>
                      </a:lnTo>
                      <a:lnTo>
                        <a:pt x="3" y="63"/>
                      </a:lnTo>
                      <a:lnTo>
                        <a:pt x="2" y="62"/>
                      </a:lnTo>
                      <a:lnTo>
                        <a:pt x="1" y="62"/>
                      </a:lnTo>
                      <a:lnTo>
                        <a:pt x="2" y="61"/>
                      </a:lnTo>
                      <a:lnTo>
                        <a:pt x="2" y="60"/>
                      </a:lnTo>
                      <a:lnTo>
                        <a:pt x="1" y="60"/>
                      </a:lnTo>
                      <a:lnTo>
                        <a:pt x="1" y="60"/>
                      </a:lnTo>
                      <a:lnTo>
                        <a:pt x="1" y="59"/>
                      </a:lnTo>
                      <a:lnTo>
                        <a:pt x="0" y="59"/>
                      </a:lnTo>
                      <a:lnTo>
                        <a:pt x="1" y="59"/>
                      </a:lnTo>
                      <a:lnTo>
                        <a:pt x="1" y="58"/>
                      </a:lnTo>
                      <a:lnTo>
                        <a:pt x="1" y="58"/>
                      </a:lnTo>
                      <a:lnTo>
                        <a:pt x="1" y="58"/>
                      </a:lnTo>
                      <a:lnTo>
                        <a:pt x="2" y="58"/>
                      </a:lnTo>
                      <a:lnTo>
                        <a:pt x="2" y="57"/>
                      </a:lnTo>
                      <a:lnTo>
                        <a:pt x="3" y="57"/>
                      </a:lnTo>
                      <a:lnTo>
                        <a:pt x="3" y="57"/>
                      </a:lnTo>
                      <a:lnTo>
                        <a:pt x="3" y="56"/>
                      </a:lnTo>
                      <a:lnTo>
                        <a:pt x="3" y="56"/>
                      </a:lnTo>
                      <a:lnTo>
                        <a:pt x="3" y="55"/>
                      </a:lnTo>
                      <a:lnTo>
                        <a:pt x="3" y="54"/>
                      </a:lnTo>
                      <a:lnTo>
                        <a:pt x="2" y="54"/>
                      </a:lnTo>
                      <a:lnTo>
                        <a:pt x="2" y="53"/>
                      </a:lnTo>
                      <a:lnTo>
                        <a:pt x="2" y="53"/>
                      </a:lnTo>
                      <a:lnTo>
                        <a:pt x="3" y="53"/>
                      </a:lnTo>
                      <a:lnTo>
                        <a:pt x="3" y="52"/>
                      </a:lnTo>
                      <a:lnTo>
                        <a:pt x="3" y="51"/>
                      </a:lnTo>
                      <a:lnTo>
                        <a:pt x="3" y="51"/>
                      </a:lnTo>
                      <a:lnTo>
                        <a:pt x="3" y="51"/>
                      </a:lnTo>
                      <a:lnTo>
                        <a:pt x="4" y="51"/>
                      </a:lnTo>
                      <a:lnTo>
                        <a:pt x="4" y="50"/>
                      </a:lnTo>
                      <a:lnTo>
                        <a:pt x="4" y="49"/>
                      </a:lnTo>
                      <a:lnTo>
                        <a:pt x="4" y="49"/>
                      </a:lnTo>
                      <a:lnTo>
                        <a:pt x="5" y="49"/>
                      </a:lnTo>
                      <a:lnTo>
                        <a:pt x="5" y="48"/>
                      </a:lnTo>
                      <a:lnTo>
                        <a:pt x="6" y="48"/>
                      </a:lnTo>
                      <a:lnTo>
                        <a:pt x="6" y="48"/>
                      </a:lnTo>
                      <a:lnTo>
                        <a:pt x="6" y="47"/>
                      </a:lnTo>
                      <a:lnTo>
                        <a:pt x="6" y="47"/>
                      </a:lnTo>
                      <a:lnTo>
                        <a:pt x="7" y="47"/>
                      </a:lnTo>
                      <a:lnTo>
                        <a:pt x="7" y="46"/>
                      </a:lnTo>
                      <a:lnTo>
                        <a:pt x="8" y="46"/>
                      </a:lnTo>
                      <a:lnTo>
                        <a:pt x="8" y="45"/>
                      </a:lnTo>
                      <a:lnTo>
                        <a:pt x="8" y="45"/>
                      </a:lnTo>
                      <a:lnTo>
                        <a:pt x="9" y="45"/>
                      </a:lnTo>
                      <a:lnTo>
                        <a:pt x="9" y="45"/>
                      </a:lnTo>
                      <a:lnTo>
                        <a:pt x="9" y="44"/>
                      </a:lnTo>
                      <a:lnTo>
                        <a:pt x="10" y="44"/>
                      </a:lnTo>
                      <a:lnTo>
                        <a:pt x="10" y="43"/>
                      </a:lnTo>
                      <a:lnTo>
                        <a:pt x="10" y="43"/>
                      </a:lnTo>
                      <a:lnTo>
                        <a:pt x="11" y="43"/>
                      </a:lnTo>
                      <a:lnTo>
                        <a:pt x="12" y="43"/>
                      </a:lnTo>
                      <a:lnTo>
                        <a:pt x="12" y="43"/>
                      </a:lnTo>
                      <a:lnTo>
                        <a:pt x="12" y="42"/>
                      </a:lnTo>
                      <a:lnTo>
                        <a:pt x="13" y="42"/>
                      </a:lnTo>
                      <a:lnTo>
                        <a:pt x="14" y="42"/>
                      </a:lnTo>
                      <a:lnTo>
                        <a:pt x="14" y="41"/>
                      </a:lnTo>
                      <a:lnTo>
                        <a:pt x="13" y="41"/>
                      </a:lnTo>
                      <a:lnTo>
                        <a:pt x="12" y="40"/>
                      </a:lnTo>
                      <a:lnTo>
                        <a:pt x="12" y="40"/>
                      </a:lnTo>
                      <a:lnTo>
                        <a:pt x="12" y="39"/>
                      </a:lnTo>
                      <a:lnTo>
                        <a:pt x="11" y="39"/>
                      </a:lnTo>
                      <a:lnTo>
                        <a:pt x="11" y="38"/>
                      </a:lnTo>
                      <a:lnTo>
                        <a:pt x="12" y="37"/>
                      </a:lnTo>
                      <a:lnTo>
                        <a:pt x="12" y="37"/>
                      </a:lnTo>
                      <a:lnTo>
                        <a:pt x="12" y="37"/>
                      </a:lnTo>
                      <a:lnTo>
                        <a:pt x="11" y="36"/>
                      </a:lnTo>
                      <a:lnTo>
                        <a:pt x="11" y="35"/>
                      </a:lnTo>
                      <a:lnTo>
                        <a:pt x="10" y="34"/>
                      </a:lnTo>
                      <a:lnTo>
                        <a:pt x="10" y="34"/>
                      </a:lnTo>
                      <a:lnTo>
                        <a:pt x="10" y="34"/>
                      </a:lnTo>
                      <a:lnTo>
                        <a:pt x="10" y="33"/>
                      </a:lnTo>
                      <a:lnTo>
                        <a:pt x="9" y="33"/>
                      </a:lnTo>
                      <a:lnTo>
                        <a:pt x="9" y="32"/>
                      </a:lnTo>
                      <a:lnTo>
                        <a:pt x="8" y="32"/>
                      </a:lnTo>
                      <a:lnTo>
                        <a:pt x="8" y="32"/>
                      </a:lnTo>
                      <a:lnTo>
                        <a:pt x="8" y="31"/>
                      </a:lnTo>
                      <a:lnTo>
                        <a:pt x="8" y="30"/>
                      </a:lnTo>
                      <a:lnTo>
                        <a:pt x="9" y="30"/>
                      </a:lnTo>
                      <a:lnTo>
                        <a:pt x="9" y="30"/>
                      </a:lnTo>
                      <a:lnTo>
                        <a:pt x="10" y="30"/>
                      </a:lnTo>
                      <a:lnTo>
                        <a:pt x="10" y="29"/>
                      </a:lnTo>
                      <a:lnTo>
                        <a:pt x="10" y="29"/>
                      </a:lnTo>
                      <a:lnTo>
                        <a:pt x="10" y="28"/>
                      </a:lnTo>
                      <a:lnTo>
                        <a:pt x="10" y="28"/>
                      </a:lnTo>
                      <a:lnTo>
                        <a:pt x="10" y="27"/>
                      </a:lnTo>
                      <a:lnTo>
                        <a:pt x="10" y="26"/>
                      </a:lnTo>
                      <a:lnTo>
                        <a:pt x="10" y="26"/>
                      </a:lnTo>
                      <a:lnTo>
                        <a:pt x="9" y="26"/>
                      </a:lnTo>
                      <a:lnTo>
                        <a:pt x="9" y="25"/>
                      </a:lnTo>
                      <a:lnTo>
                        <a:pt x="8" y="25"/>
                      </a:lnTo>
                      <a:lnTo>
                        <a:pt x="8" y="25"/>
                      </a:lnTo>
                      <a:lnTo>
                        <a:pt x="7" y="24"/>
                      </a:lnTo>
                      <a:lnTo>
                        <a:pt x="6" y="24"/>
                      </a:lnTo>
                      <a:lnTo>
                        <a:pt x="6" y="24"/>
                      </a:lnTo>
                      <a:lnTo>
                        <a:pt x="6" y="24"/>
                      </a:lnTo>
                      <a:lnTo>
                        <a:pt x="5" y="24"/>
                      </a:lnTo>
                      <a:lnTo>
                        <a:pt x="5" y="23"/>
                      </a:lnTo>
                      <a:lnTo>
                        <a:pt x="4" y="22"/>
                      </a:lnTo>
                      <a:lnTo>
                        <a:pt x="5" y="22"/>
                      </a:lnTo>
                      <a:lnTo>
                        <a:pt x="5" y="21"/>
                      </a:lnTo>
                      <a:lnTo>
                        <a:pt x="6" y="20"/>
                      </a:lnTo>
                      <a:lnTo>
                        <a:pt x="5" y="20"/>
                      </a:lnTo>
                      <a:lnTo>
                        <a:pt x="5" y="20"/>
                      </a:lnTo>
                      <a:lnTo>
                        <a:pt x="5" y="19"/>
                      </a:lnTo>
                      <a:lnTo>
                        <a:pt x="5" y="18"/>
                      </a:lnTo>
                      <a:lnTo>
                        <a:pt x="4" y="19"/>
                      </a:lnTo>
                      <a:lnTo>
                        <a:pt x="3" y="19"/>
                      </a:lnTo>
                      <a:lnTo>
                        <a:pt x="3" y="18"/>
                      </a:lnTo>
                      <a:lnTo>
                        <a:pt x="3" y="18"/>
                      </a:lnTo>
                      <a:lnTo>
                        <a:pt x="3" y="18"/>
                      </a:lnTo>
                      <a:lnTo>
                        <a:pt x="3" y="17"/>
                      </a:lnTo>
                      <a:lnTo>
                        <a:pt x="4" y="17"/>
                      </a:lnTo>
                      <a:lnTo>
                        <a:pt x="4" y="16"/>
                      </a:lnTo>
                      <a:lnTo>
                        <a:pt x="4" y="16"/>
                      </a:lnTo>
                      <a:lnTo>
                        <a:pt x="5" y="16"/>
                      </a:lnTo>
                      <a:lnTo>
                        <a:pt x="5" y="15"/>
                      </a:lnTo>
                      <a:lnTo>
                        <a:pt x="6" y="15"/>
                      </a:lnTo>
                      <a:lnTo>
                        <a:pt x="6" y="14"/>
                      </a:lnTo>
                      <a:lnTo>
                        <a:pt x="6" y="13"/>
                      </a:lnTo>
                      <a:lnTo>
                        <a:pt x="6" y="13"/>
                      </a:lnTo>
                      <a:lnTo>
                        <a:pt x="6" y="13"/>
                      </a:lnTo>
                      <a:lnTo>
                        <a:pt x="6" y="12"/>
                      </a:lnTo>
                      <a:lnTo>
                        <a:pt x="6" y="12"/>
                      </a:lnTo>
                      <a:lnTo>
                        <a:pt x="6" y="11"/>
                      </a:lnTo>
                      <a:lnTo>
                        <a:pt x="6" y="11"/>
                      </a:lnTo>
                      <a:lnTo>
                        <a:pt x="7" y="11"/>
                      </a:lnTo>
                      <a:lnTo>
                        <a:pt x="8" y="10"/>
                      </a:lnTo>
                      <a:lnTo>
                        <a:pt x="8" y="9"/>
                      </a:lnTo>
                      <a:lnTo>
                        <a:pt x="8" y="9"/>
                      </a:lnTo>
                      <a:lnTo>
                        <a:pt x="8" y="9"/>
                      </a:lnTo>
                      <a:lnTo>
                        <a:pt x="9" y="9"/>
                      </a:lnTo>
                      <a:lnTo>
                        <a:pt x="9" y="8"/>
                      </a:lnTo>
                      <a:lnTo>
                        <a:pt x="10" y="8"/>
                      </a:lnTo>
                      <a:lnTo>
                        <a:pt x="10" y="7"/>
                      </a:lnTo>
                      <a:lnTo>
                        <a:pt x="10" y="7"/>
                      </a:lnTo>
                      <a:lnTo>
                        <a:pt x="10" y="6"/>
                      </a:lnTo>
                      <a:lnTo>
                        <a:pt x="11" y="6"/>
                      </a:lnTo>
                      <a:lnTo>
                        <a:pt x="11" y="5"/>
                      </a:lnTo>
                      <a:lnTo>
                        <a:pt x="12" y="5"/>
                      </a:lnTo>
                      <a:lnTo>
                        <a:pt x="12" y="5"/>
                      </a:lnTo>
                      <a:lnTo>
                        <a:pt x="12" y="4"/>
                      </a:lnTo>
                      <a:lnTo>
                        <a:pt x="13" y="4"/>
                      </a:lnTo>
                      <a:lnTo>
                        <a:pt x="14" y="3"/>
                      </a:lnTo>
                      <a:lnTo>
                        <a:pt x="14" y="3"/>
                      </a:lnTo>
                      <a:lnTo>
                        <a:pt x="14" y="3"/>
                      </a:lnTo>
                      <a:lnTo>
                        <a:pt x="14" y="2"/>
                      </a:lnTo>
                      <a:lnTo>
                        <a:pt x="15" y="1"/>
                      </a:lnTo>
                      <a:lnTo>
                        <a:pt x="16" y="1"/>
                      </a:lnTo>
                      <a:lnTo>
                        <a:pt x="16" y="2"/>
                      </a:lnTo>
                      <a:lnTo>
                        <a:pt x="17" y="2"/>
                      </a:lnTo>
                      <a:lnTo>
                        <a:pt x="18" y="2"/>
                      </a:lnTo>
                      <a:lnTo>
                        <a:pt x="18" y="3"/>
                      </a:lnTo>
                      <a:lnTo>
                        <a:pt x="19" y="3"/>
                      </a:lnTo>
                      <a:lnTo>
                        <a:pt x="19" y="3"/>
                      </a:lnTo>
                      <a:lnTo>
                        <a:pt x="20" y="4"/>
                      </a:lnTo>
                      <a:lnTo>
                        <a:pt x="20" y="4"/>
                      </a:lnTo>
                      <a:lnTo>
                        <a:pt x="21" y="5"/>
                      </a:lnTo>
                      <a:lnTo>
                        <a:pt x="22" y="4"/>
                      </a:lnTo>
                      <a:lnTo>
                        <a:pt x="22" y="3"/>
                      </a:lnTo>
                      <a:lnTo>
                        <a:pt x="22" y="3"/>
                      </a:lnTo>
                      <a:lnTo>
                        <a:pt x="23" y="3"/>
                      </a:lnTo>
                      <a:lnTo>
                        <a:pt x="24" y="3"/>
                      </a:lnTo>
                      <a:lnTo>
                        <a:pt x="25" y="2"/>
                      </a:lnTo>
                      <a:lnTo>
                        <a:pt x="25" y="2"/>
                      </a:lnTo>
                      <a:lnTo>
                        <a:pt x="26" y="2"/>
                      </a:lnTo>
                      <a:lnTo>
                        <a:pt x="27" y="2"/>
                      </a:lnTo>
                      <a:lnTo>
                        <a:pt x="27" y="1"/>
                      </a:lnTo>
                      <a:lnTo>
                        <a:pt x="27" y="1"/>
                      </a:lnTo>
                      <a:lnTo>
                        <a:pt x="28" y="1"/>
                      </a:lnTo>
                      <a:lnTo>
                        <a:pt x="28" y="0"/>
                      </a:lnTo>
                      <a:lnTo>
                        <a:pt x="29" y="0"/>
                      </a:lnTo>
                      <a:lnTo>
                        <a:pt x="29" y="1"/>
                      </a:lnTo>
                      <a:lnTo>
                        <a:pt x="29"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4" name="Freeform 24">
                  <a:extLst>
                    <a:ext uri="{FF2B5EF4-FFF2-40B4-BE49-F238E27FC236}">
                      <a16:creationId xmlns:a16="http://schemas.microsoft.com/office/drawing/2014/main" xmlns="" id="{3421C334-8D8D-1EF3-4C7A-86D4844F8805}"/>
                    </a:ext>
                  </a:extLst>
                </p:cNvPr>
                <p:cNvSpPr>
                  <a:spLocks/>
                </p:cNvSpPr>
                <p:nvPr/>
              </p:nvSpPr>
              <p:spPr bwMode="auto">
                <a:xfrm>
                  <a:off x="2189" y="2513"/>
                  <a:ext cx="2" cy="1"/>
                </a:xfrm>
                <a:custGeom>
                  <a:avLst/>
                  <a:gdLst>
                    <a:gd name="T0" fmla="*/ 0 w 2"/>
                    <a:gd name="T1" fmla="*/ 0 h 1"/>
                    <a:gd name="T2" fmla="*/ 0 w 2"/>
                    <a:gd name="T3" fmla="*/ 0 h 1"/>
                    <a:gd name="T4" fmla="*/ 1 w 2"/>
                    <a:gd name="T5" fmla="*/ 0 h 1"/>
                    <a:gd name="T6" fmla="*/ 1 w 2"/>
                    <a:gd name="T7" fmla="*/ 1 h 1"/>
                    <a:gd name="T8" fmla="*/ 2 w 2"/>
                    <a:gd name="T9" fmla="*/ 1 h 1"/>
                    <a:gd name="T10" fmla="*/ 2 w 2"/>
                    <a:gd name="T11" fmla="*/ 1 h 1"/>
                    <a:gd name="T12" fmla="*/ 1 w 2"/>
                    <a:gd name="T13" fmla="*/ 1 h 1"/>
                    <a:gd name="T14" fmla="*/ 1 w 2"/>
                    <a:gd name="T15" fmla="*/ 1 h 1"/>
                    <a:gd name="T16" fmla="*/ 0 w 2"/>
                    <a:gd name="T17" fmla="*/ 1 h 1"/>
                    <a:gd name="T18" fmla="*/ 0 w 2"/>
                    <a:gd name="T19" fmla="*/ 1 h 1"/>
                    <a:gd name="T20" fmla="*/ 0 w 2"/>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
                      <a:moveTo>
                        <a:pt x="0" y="0"/>
                      </a:moveTo>
                      <a:lnTo>
                        <a:pt x="0" y="0"/>
                      </a:lnTo>
                      <a:lnTo>
                        <a:pt x="1" y="0"/>
                      </a:lnTo>
                      <a:lnTo>
                        <a:pt x="1" y="1"/>
                      </a:lnTo>
                      <a:lnTo>
                        <a:pt x="2" y="1"/>
                      </a:lnTo>
                      <a:lnTo>
                        <a:pt x="2" y="1"/>
                      </a:lnTo>
                      <a:lnTo>
                        <a:pt x="1" y="1"/>
                      </a:lnTo>
                      <a:lnTo>
                        <a:pt x="1" y="1"/>
                      </a:lnTo>
                      <a:lnTo>
                        <a:pt x="0" y="1"/>
                      </a:lnTo>
                      <a:lnTo>
                        <a:pt x="0" y="1"/>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5" name="Freeform 25">
                  <a:extLst>
                    <a:ext uri="{FF2B5EF4-FFF2-40B4-BE49-F238E27FC236}">
                      <a16:creationId xmlns:a16="http://schemas.microsoft.com/office/drawing/2014/main" xmlns="" id="{61A63BB3-9376-1C33-CDE2-D6F1186F1224}"/>
                    </a:ext>
                  </a:extLst>
                </p:cNvPr>
                <p:cNvSpPr>
                  <a:spLocks/>
                </p:cNvSpPr>
                <p:nvPr/>
              </p:nvSpPr>
              <p:spPr bwMode="auto">
                <a:xfrm>
                  <a:off x="2206" y="2508"/>
                  <a:ext cx="2" cy="2"/>
                </a:xfrm>
                <a:custGeom>
                  <a:avLst/>
                  <a:gdLst>
                    <a:gd name="T0" fmla="*/ 2 w 2"/>
                    <a:gd name="T1" fmla="*/ 1 h 2"/>
                    <a:gd name="T2" fmla="*/ 1 w 2"/>
                    <a:gd name="T3" fmla="*/ 2 h 2"/>
                    <a:gd name="T4" fmla="*/ 0 w 2"/>
                    <a:gd name="T5" fmla="*/ 2 h 2"/>
                    <a:gd name="T6" fmla="*/ 0 w 2"/>
                    <a:gd name="T7" fmla="*/ 1 h 2"/>
                    <a:gd name="T8" fmla="*/ 0 w 2"/>
                    <a:gd name="T9" fmla="*/ 0 h 2"/>
                    <a:gd name="T10" fmla="*/ 1 w 2"/>
                    <a:gd name="T11" fmla="*/ 0 h 2"/>
                    <a:gd name="T12" fmla="*/ 2 w 2"/>
                    <a:gd name="T13" fmla="*/ 0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lnTo>
                        <a:pt x="1" y="2"/>
                      </a:lnTo>
                      <a:lnTo>
                        <a:pt x="0" y="2"/>
                      </a:lnTo>
                      <a:lnTo>
                        <a:pt x="0" y="1"/>
                      </a:lnTo>
                      <a:lnTo>
                        <a:pt x="0" y="0"/>
                      </a:lnTo>
                      <a:lnTo>
                        <a:pt x="1" y="0"/>
                      </a:lnTo>
                      <a:lnTo>
                        <a:pt x="2" y="0"/>
                      </a:lnTo>
                      <a:lnTo>
                        <a:pt x="2"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6" name="Freeform 26">
                  <a:extLst>
                    <a:ext uri="{FF2B5EF4-FFF2-40B4-BE49-F238E27FC236}">
                      <a16:creationId xmlns:a16="http://schemas.microsoft.com/office/drawing/2014/main" xmlns="" id="{C65195E7-D3CB-476B-B6F7-62C483053B89}"/>
                    </a:ext>
                  </a:extLst>
                </p:cNvPr>
                <p:cNvSpPr>
                  <a:spLocks/>
                </p:cNvSpPr>
                <p:nvPr/>
              </p:nvSpPr>
              <p:spPr bwMode="auto">
                <a:xfrm>
                  <a:off x="2209" y="2506"/>
                  <a:ext cx="1" cy="2"/>
                </a:xfrm>
                <a:custGeom>
                  <a:avLst/>
                  <a:gdLst>
                    <a:gd name="T0" fmla="*/ 1 w 1"/>
                    <a:gd name="T1" fmla="*/ 2 h 2"/>
                    <a:gd name="T2" fmla="*/ 1 w 1"/>
                    <a:gd name="T3" fmla="*/ 2 h 2"/>
                    <a:gd name="T4" fmla="*/ 1 w 1"/>
                    <a:gd name="T5" fmla="*/ 2 h 2"/>
                    <a:gd name="T6" fmla="*/ 1 w 1"/>
                    <a:gd name="T7" fmla="*/ 2 h 2"/>
                    <a:gd name="T8" fmla="*/ 0 w 1"/>
                    <a:gd name="T9" fmla="*/ 2 h 2"/>
                    <a:gd name="T10" fmla="*/ 0 w 1"/>
                    <a:gd name="T11" fmla="*/ 1 h 2"/>
                    <a:gd name="T12" fmla="*/ 0 w 1"/>
                    <a:gd name="T13" fmla="*/ 0 h 2"/>
                    <a:gd name="T14" fmla="*/ 1 w 1"/>
                    <a:gd name="T15" fmla="*/ 0 h 2"/>
                    <a:gd name="T16" fmla="*/ 1 w 1"/>
                    <a:gd name="T17" fmla="*/ 0 h 2"/>
                    <a:gd name="T18" fmla="*/ 1 w 1"/>
                    <a:gd name="T19" fmla="*/ 1 h 2"/>
                    <a:gd name="T20" fmla="*/ 1 w 1"/>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1" y="2"/>
                      </a:moveTo>
                      <a:lnTo>
                        <a:pt x="1" y="2"/>
                      </a:lnTo>
                      <a:lnTo>
                        <a:pt x="1" y="2"/>
                      </a:lnTo>
                      <a:lnTo>
                        <a:pt x="1" y="2"/>
                      </a:lnTo>
                      <a:lnTo>
                        <a:pt x="0" y="2"/>
                      </a:lnTo>
                      <a:lnTo>
                        <a:pt x="0" y="1"/>
                      </a:lnTo>
                      <a:lnTo>
                        <a:pt x="0" y="0"/>
                      </a:lnTo>
                      <a:lnTo>
                        <a:pt x="1" y="0"/>
                      </a:lnTo>
                      <a:lnTo>
                        <a:pt x="1" y="0"/>
                      </a:lnTo>
                      <a:lnTo>
                        <a:pt x="1" y="1"/>
                      </a:lnTo>
                      <a:lnTo>
                        <a:pt x="1" y="2"/>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7" name="Freeform 27">
                  <a:extLst>
                    <a:ext uri="{FF2B5EF4-FFF2-40B4-BE49-F238E27FC236}">
                      <a16:creationId xmlns:a16="http://schemas.microsoft.com/office/drawing/2014/main" xmlns="" id="{39B8BA75-04FC-989E-DC4F-F1F2683D2ABA}"/>
                    </a:ext>
                  </a:extLst>
                </p:cNvPr>
                <p:cNvSpPr>
                  <a:spLocks/>
                </p:cNvSpPr>
                <p:nvPr/>
              </p:nvSpPr>
              <p:spPr bwMode="auto">
                <a:xfrm>
                  <a:off x="2196" y="2506"/>
                  <a:ext cx="4" cy="6"/>
                </a:xfrm>
                <a:custGeom>
                  <a:avLst/>
                  <a:gdLst>
                    <a:gd name="T0" fmla="*/ 2 w 4"/>
                    <a:gd name="T1" fmla="*/ 0 h 6"/>
                    <a:gd name="T2" fmla="*/ 2 w 4"/>
                    <a:gd name="T3" fmla="*/ 0 h 6"/>
                    <a:gd name="T4" fmla="*/ 2 w 4"/>
                    <a:gd name="T5" fmla="*/ 1 h 6"/>
                    <a:gd name="T6" fmla="*/ 2 w 4"/>
                    <a:gd name="T7" fmla="*/ 2 h 6"/>
                    <a:gd name="T8" fmla="*/ 3 w 4"/>
                    <a:gd name="T9" fmla="*/ 2 h 6"/>
                    <a:gd name="T10" fmla="*/ 3 w 4"/>
                    <a:gd name="T11" fmla="*/ 2 h 6"/>
                    <a:gd name="T12" fmla="*/ 3 w 4"/>
                    <a:gd name="T13" fmla="*/ 3 h 6"/>
                    <a:gd name="T14" fmla="*/ 2 w 4"/>
                    <a:gd name="T15" fmla="*/ 3 h 6"/>
                    <a:gd name="T16" fmla="*/ 3 w 4"/>
                    <a:gd name="T17" fmla="*/ 4 h 6"/>
                    <a:gd name="T18" fmla="*/ 3 w 4"/>
                    <a:gd name="T19" fmla="*/ 4 h 6"/>
                    <a:gd name="T20" fmla="*/ 3 w 4"/>
                    <a:gd name="T21" fmla="*/ 5 h 6"/>
                    <a:gd name="T22" fmla="*/ 4 w 4"/>
                    <a:gd name="T23" fmla="*/ 5 h 6"/>
                    <a:gd name="T24" fmla="*/ 4 w 4"/>
                    <a:gd name="T25" fmla="*/ 6 h 6"/>
                    <a:gd name="T26" fmla="*/ 3 w 4"/>
                    <a:gd name="T27" fmla="*/ 5 h 6"/>
                    <a:gd name="T28" fmla="*/ 2 w 4"/>
                    <a:gd name="T29" fmla="*/ 5 h 6"/>
                    <a:gd name="T30" fmla="*/ 2 w 4"/>
                    <a:gd name="T31" fmla="*/ 4 h 6"/>
                    <a:gd name="T32" fmla="*/ 2 w 4"/>
                    <a:gd name="T33" fmla="*/ 4 h 6"/>
                    <a:gd name="T34" fmla="*/ 2 w 4"/>
                    <a:gd name="T35" fmla="*/ 3 h 6"/>
                    <a:gd name="T36" fmla="*/ 2 w 4"/>
                    <a:gd name="T37" fmla="*/ 3 h 6"/>
                    <a:gd name="T38" fmla="*/ 1 w 4"/>
                    <a:gd name="T39" fmla="*/ 2 h 6"/>
                    <a:gd name="T40" fmla="*/ 0 w 4"/>
                    <a:gd name="T41" fmla="*/ 2 h 6"/>
                    <a:gd name="T42" fmla="*/ 0 w 4"/>
                    <a:gd name="T43" fmla="*/ 2 h 6"/>
                    <a:gd name="T44" fmla="*/ 0 w 4"/>
                    <a:gd name="T45" fmla="*/ 1 h 6"/>
                    <a:gd name="T46" fmla="*/ 0 w 4"/>
                    <a:gd name="T47" fmla="*/ 0 h 6"/>
                    <a:gd name="T48" fmla="*/ 0 w 4"/>
                    <a:gd name="T49" fmla="*/ 0 h 6"/>
                    <a:gd name="T50" fmla="*/ 0 w 4"/>
                    <a:gd name="T51" fmla="*/ 0 h 6"/>
                    <a:gd name="T52" fmla="*/ 1 w 4"/>
                    <a:gd name="T53" fmla="*/ 0 h 6"/>
                    <a:gd name="T54" fmla="*/ 1 w 4"/>
                    <a:gd name="T55" fmla="*/ 0 h 6"/>
                    <a:gd name="T56" fmla="*/ 2 w 4"/>
                    <a:gd name="T5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6">
                      <a:moveTo>
                        <a:pt x="2" y="0"/>
                      </a:moveTo>
                      <a:lnTo>
                        <a:pt x="2" y="0"/>
                      </a:lnTo>
                      <a:lnTo>
                        <a:pt x="2" y="1"/>
                      </a:lnTo>
                      <a:lnTo>
                        <a:pt x="2" y="2"/>
                      </a:lnTo>
                      <a:lnTo>
                        <a:pt x="3" y="2"/>
                      </a:lnTo>
                      <a:lnTo>
                        <a:pt x="3" y="2"/>
                      </a:lnTo>
                      <a:lnTo>
                        <a:pt x="3" y="3"/>
                      </a:lnTo>
                      <a:lnTo>
                        <a:pt x="2" y="3"/>
                      </a:lnTo>
                      <a:lnTo>
                        <a:pt x="3" y="4"/>
                      </a:lnTo>
                      <a:lnTo>
                        <a:pt x="3" y="4"/>
                      </a:lnTo>
                      <a:lnTo>
                        <a:pt x="3" y="5"/>
                      </a:lnTo>
                      <a:lnTo>
                        <a:pt x="4" y="5"/>
                      </a:lnTo>
                      <a:lnTo>
                        <a:pt x="4" y="6"/>
                      </a:lnTo>
                      <a:lnTo>
                        <a:pt x="3" y="5"/>
                      </a:lnTo>
                      <a:lnTo>
                        <a:pt x="2" y="5"/>
                      </a:lnTo>
                      <a:lnTo>
                        <a:pt x="2" y="4"/>
                      </a:lnTo>
                      <a:lnTo>
                        <a:pt x="2" y="4"/>
                      </a:lnTo>
                      <a:lnTo>
                        <a:pt x="2" y="3"/>
                      </a:lnTo>
                      <a:lnTo>
                        <a:pt x="2" y="3"/>
                      </a:lnTo>
                      <a:lnTo>
                        <a:pt x="1" y="2"/>
                      </a:lnTo>
                      <a:lnTo>
                        <a:pt x="0" y="2"/>
                      </a:lnTo>
                      <a:lnTo>
                        <a:pt x="0" y="2"/>
                      </a:lnTo>
                      <a:lnTo>
                        <a:pt x="0" y="1"/>
                      </a:lnTo>
                      <a:lnTo>
                        <a:pt x="0" y="0"/>
                      </a:lnTo>
                      <a:lnTo>
                        <a:pt x="0" y="0"/>
                      </a:lnTo>
                      <a:lnTo>
                        <a:pt x="0" y="0"/>
                      </a:lnTo>
                      <a:lnTo>
                        <a:pt x="1" y="0"/>
                      </a:lnTo>
                      <a:lnTo>
                        <a:pt x="1" y="0"/>
                      </a:lnTo>
                      <a:lnTo>
                        <a:pt x="2"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8" name="Freeform 28">
                  <a:extLst>
                    <a:ext uri="{FF2B5EF4-FFF2-40B4-BE49-F238E27FC236}">
                      <a16:creationId xmlns:a16="http://schemas.microsoft.com/office/drawing/2014/main" xmlns="" id="{B2C3F40B-9E8E-0D20-6C9E-E41B5F34F8E5}"/>
                    </a:ext>
                  </a:extLst>
                </p:cNvPr>
                <p:cNvSpPr>
                  <a:spLocks/>
                </p:cNvSpPr>
                <p:nvPr/>
              </p:nvSpPr>
              <p:spPr bwMode="auto">
                <a:xfrm>
                  <a:off x="2192" y="2501"/>
                  <a:ext cx="1" cy="1"/>
                </a:xfrm>
                <a:custGeom>
                  <a:avLst/>
                  <a:gdLst>
                    <a:gd name="T0" fmla="*/ 1 w 1"/>
                    <a:gd name="T1" fmla="*/ 1 h 1"/>
                    <a:gd name="T2" fmla="*/ 1 w 1"/>
                    <a:gd name="T3" fmla="*/ 1 h 1"/>
                    <a:gd name="T4" fmla="*/ 0 w 1"/>
                    <a:gd name="T5" fmla="*/ 1 h 1"/>
                    <a:gd name="T6" fmla="*/ 0 w 1"/>
                    <a:gd name="T7" fmla="*/ 1 h 1"/>
                    <a:gd name="T8" fmla="*/ 0 w 1"/>
                    <a:gd name="T9" fmla="*/ 0 h 1"/>
                    <a:gd name="T10" fmla="*/ 1 w 1"/>
                    <a:gd name="T11" fmla="*/ 0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1" y="1"/>
                      </a:lnTo>
                      <a:lnTo>
                        <a:pt x="0" y="1"/>
                      </a:lnTo>
                      <a:lnTo>
                        <a:pt x="0" y="1"/>
                      </a:lnTo>
                      <a:lnTo>
                        <a:pt x="0" y="0"/>
                      </a:lnTo>
                      <a:lnTo>
                        <a:pt x="1" y="0"/>
                      </a:lnTo>
                      <a:lnTo>
                        <a:pt x="1" y="1"/>
                      </a:lnTo>
                      <a:lnTo>
                        <a:pt x="1" y="1"/>
                      </a:lnTo>
                      <a:lnTo>
                        <a:pt x="1"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19" name="Freeform 29">
                  <a:extLst>
                    <a:ext uri="{FF2B5EF4-FFF2-40B4-BE49-F238E27FC236}">
                      <a16:creationId xmlns:a16="http://schemas.microsoft.com/office/drawing/2014/main" xmlns="" id="{AEE13C92-295D-FD7A-0EB8-6A5B74760371}"/>
                    </a:ext>
                  </a:extLst>
                </p:cNvPr>
                <p:cNvSpPr>
                  <a:spLocks/>
                </p:cNvSpPr>
                <p:nvPr/>
              </p:nvSpPr>
              <p:spPr bwMode="auto">
                <a:xfrm>
                  <a:off x="2186" y="2492"/>
                  <a:ext cx="9" cy="7"/>
                </a:xfrm>
                <a:custGeom>
                  <a:avLst/>
                  <a:gdLst>
                    <a:gd name="T0" fmla="*/ 3 w 9"/>
                    <a:gd name="T1" fmla="*/ 1 h 7"/>
                    <a:gd name="T2" fmla="*/ 3 w 9"/>
                    <a:gd name="T3" fmla="*/ 1 h 7"/>
                    <a:gd name="T4" fmla="*/ 4 w 9"/>
                    <a:gd name="T5" fmla="*/ 1 h 7"/>
                    <a:gd name="T6" fmla="*/ 4 w 9"/>
                    <a:gd name="T7" fmla="*/ 1 h 7"/>
                    <a:gd name="T8" fmla="*/ 5 w 9"/>
                    <a:gd name="T9" fmla="*/ 1 h 7"/>
                    <a:gd name="T10" fmla="*/ 5 w 9"/>
                    <a:gd name="T11" fmla="*/ 2 h 7"/>
                    <a:gd name="T12" fmla="*/ 5 w 9"/>
                    <a:gd name="T13" fmla="*/ 1 h 7"/>
                    <a:gd name="T14" fmla="*/ 6 w 9"/>
                    <a:gd name="T15" fmla="*/ 1 h 7"/>
                    <a:gd name="T16" fmla="*/ 6 w 9"/>
                    <a:gd name="T17" fmla="*/ 2 h 7"/>
                    <a:gd name="T18" fmla="*/ 7 w 9"/>
                    <a:gd name="T19" fmla="*/ 2 h 7"/>
                    <a:gd name="T20" fmla="*/ 7 w 9"/>
                    <a:gd name="T21" fmla="*/ 2 h 7"/>
                    <a:gd name="T22" fmla="*/ 7 w 9"/>
                    <a:gd name="T23" fmla="*/ 3 h 7"/>
                    <a:gd name="T24" fmla="*/ 7 w 9"/>
                    <a:gd name="T25" fmla="*/ 3 h 7"/>
                    <a:gd name="T26" fmla="*/ 7 w 9"/>
                    <a:gd name="T27" fmla="*/ 3 h 7"/>
                    <a:gd name="T28" fmla="*/ 7 w 9"/>
                    <a:gd name="T29" fmla="*/ 4 h 7"/>
                    <a:gd name="T30" fmla="*/ 7 w 9"/>
                    <a:gd name="T31" fmla="*/ 4 h 7"/>
                    <a:gd name="T32" fmla="*/ 8 w 9"/>
                    <a:gd name="T33" fmla="*/ 4 h 7"/>
                    <a:gd name="T34" fmla="*/ 9 w 9"/>
                    <a:gd name="T35" fmla="*/ 4 h 7"/>
                    <a:gd name="T36" fmla="*/ 9 w 9"/>
                    <a:gd name="T37" fmla="*/ 5 h 7"/>
                    <a:gd name="T38" fmla="*/ 8 w 9"/>
                    <a:gd name="T39" fmla="*/ 5 h 7"/>
                    <a:gd name="T40" fmla="*/ 7 w 9"/>
                    <a:gd name="T41" fmla="*/ 5 h 7"/>
                    <a:gd name="T42" fmla="*/ 7 w 9"/>
                    <a:gd name="T43" fmla="*/ 5 h 7"/>
                    <a:gd name="T44" fmla="*/ 7 w 9"/>
                    <a:gd name="T45" fmla="*/ 6 h 7"/>
                    <a:gd name="T46" fmla="*/ 7 w 9"/>
                    <a:gd name="T47" fmla="*/ 5 h 7"/>
                    <a:gd name="T48" fmla="*/ 6 w 9"/>
                    <a:gd name="T49" fmla="*/ 5 h 7"/>
                    <a:gd name="T50" fmla="*/ 6 w 9"/>
                    <a:gd name="T51" fmla="*/ 5 h 7"/>
                    <a:gd name="T52" fmla="*/ 5 w 9"/>
                    <a:gd name="T53" fmla="*/ 5 h 7"/>
                    <a:gd name="T54" fmla="*/ 5 w 9"/>
                    <a:gd name="T55" fmla="*/ 5 h 7"/>
                    <a:gd name="T56" fmla="*/ 5 w 9"/>
                    <a:gd name="T57" fmla="*/ 6 h 7"/>
                    <a:gd name="T58" fmla="*/ 6 w 9"/>
                    <a:gd name="T59" fmla="*/ 6 h 7"/>
                    <a:gd name="T60" fmla="*/ 5 w 9"/>
                    <a:gd name="T61" fmla="*/ 7 h 7"/>
                    <a:gd name="T62" fmla="*/ 5 w 9"/>
                    <a:gd name="T63" fmla="*/ 7 h 7"/>
                    <a:gd name="T64" fmla="*/ 4 w 9"/>
                    <a:gd name="T65" fmla="*/ 7 h 7"/>
                    <a:gd name="T66" fmla="*/ 4 w 9"/>
                    <a:gd name="T67" fmla="*/ 6 h 7"/>
                    <a:gd name="T68" fmla="*/ 3 w 9"/>
                    <a:gd name="T69" fmla="*/ 6 h 7"/>
                    <a:gd name="T70" fmla="*/ 3 w 9"/>
                    <a:gd name="T71" fmla="*/ 5 h 7"/>
                    <a:gd name="T72" fmla="*/ 3 w 9"/>
                    <a:gd name="T73" fmla="*/ 5 h 7"/>
                    <a:gd name="T74" fmla="*/ 3 w 9"/>
                    <a:gd name="T75" fmla="*/ 5 h 7"/>
                    <a:gd name="T76" fmla="*/ 2 w 9"/>
                    <a:gd name="T77" fmla="*/ 5 h 7"/>
                    <a:gd name="T78" fmla="*/ 1 w 9"/>
                    <a:gd name="T79" fmla="*/ 5 h 7"/>
                    <a:gd name="T80" fmla="*/ 1 w 9"/>
                    <a:gd name="T81" fmla="*/ 4 h 7"/>
                    <a:gd name="T82" fmla="*/ 1 w 9"/>
                    <a:gd name="T83" fmla="*/ 3 h 7"/>
                    <a:gd name="T84" fmla="*/ 0 w 9"/>
                    <a:gd name="T85" fmla="*/ 3 h 7"/>
                    <a:gd name="T86" fmla="*/ 0 w 9"/>
                    <a:gd name="T87" fmla="*/ 3 h 7"/>
                    <a:gd name="T88" fmla="*/ 0 w 9"/>
                    <a:gd name="T89" fmla="*/ 2 h 7"/>
                    <a:gd name="T90" fmla="*/ 0 w 9"/>
                    <a:gd name="T91" fmla="*/ 1 h 7"/>
                    <a:gd name="T92" fmla="*/ 1 w 9"/>
                    <a:gd name="T93" fmla="*/ 1 h 7"/>
                    <a:gd name="T94" fmla="*/ 1 w 9"/>
                    <a:gd name="T95" fmla="*/ 1 h 7"/>
                    <a:gd name="T96" fmla="*/ 1 w 9"/>
                    <a:gd name="T97" fmla="*/ 1 h 7"/>
                    <a:gd name="T98" fmla="*/ 2 w 9"/>
                    <a:gd name="T99" fmla="*/ 1 h 7"/>
                    <a:gd name="T100" fmla="*/ 3 w 9"/>
                    <a:gd name="T101" fmla="*/ 0 h 7"/>
                    <a:gd name="T102" fmla="*/ 3 w 9"/>
                    <a:gd name="T10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 h="7">
                      <a:moveTo>
                        <a:pt x="3" y="1"/>
                      </a:moveTo>
                      <a:lnTo>
                        <a:pt x="3" y="1"/>
                      </a:lnTo>
                      <a:lnTo>
                        <a:pt x="4" y="1"/>
                      </a:lnTo>
                      <a:lnTo>
                        <a:pt x="4" y="1"/>
                      </a:lnTo>
                      <a:lnTo>
                        <a:pt x="5" y="1"/>
                      </a:lnTo>
                      <a:lnTo>
                        <a:pt x="5" y="2"/>
                      </a:lnTo>
                      <a:lnTo>
                        <a:pt x="5" y="1"/>
                      </a:lnTo>
                      <a:lnTo>
                        <a:pt x="6" y="1"/>
                      </a:lnTo>
                      <a:lnTo>
                        <a:pt x="6" y="2"/>
                      </a:lnTo>
                      <a:lnTo>
                        <a:pt x="7" y="2"/>
                      </a:lnTo>
                      <a:lnTo>
                        <a:pt x="7" y="2"/>
                      </a:lnTo>
                      <a:lnTo>
                        <a:pt x="7" y="3"/>
                      </a:lnTo>
                      <a:lnTo>
                        <a:pt x="7" y="3"/>
                      </a:lnTo>
                      <a:lnTo>
                        <a:pt x="7" y="3"/>
                      </a:lnTo>
                      <a:lnTo>
                        <a:pt x="7" y="4"/>
                      </a:lnTo>
                      <a:lnTo>
                        <a:pt x="7" y="4"/>
                      </a:lnTo>
                      <a:lnTo>
                        <a:pt x="8" y="4"/>
                      </a:lnTo>
                      <a:lnTo>
                        <a:pt x="9" y="4"/>
                      </a:lnTo>
                      <a:lnTo>
                        <a:pt x="9" y="5"/>
                      </a:lnTo>
                      <a:lnTo>
                        <a:pt x="8" y="5"/>
                      </a:lnTo>
                      <a:lnTo>
                        <a:pt x="7" y="5"/>
                      </a:lnTo>
                      <a:lnTo>
                        <a:pt x="7" y="5"/>
                      </a:lnTo>
                      <a:lnTo>
                        <a:pt x="7" y="6"/>
                      </a:lnTo>
                      <a:lnTo>
                        <a:pt x="7" y="5"/>
                      </a:lnTo>
                      <a:lnTo>
                        <a:pt x="6" y="5"/>
                      </a:lnTo>
                      <a:lnTo>
                        <a:pt x="6" y="5"/>
                      </a:lnTo>
                      <a:lnTo>
                        <a:pt x="5" y="5"/>
                      </a:lnTo>
                      <a:lnTo>
                        <a:pt x="5" y="5"/>
                      </a:lnTo>
                      <a:lnTo>
                        <a:pt x="5" y="6"/>
                      </a:lnTo>
                      <a:lnTo>
                        <a:pt x="6" y="6"/>
                      </a:lnTo>
                      <a:lnTo>
                        <a:pt x="5" y="7"/>
                      </a:lnTo>
                      <a:lnTo>
                        <a:pt x="5" y="7"/>
                      </a:lnTo>
                      <a:lnTo>
                        <a:pt x="4" y="7"/>
                      </a:lnTo>
                      <a:lnTo>
                        <a:pt x="4" y="6"/>
                      </a:lnTo>
                      <a:lnTo>
                        <a:pt x="3" y="6"/>
                      </a:lnTo>
                      <a:lnTo>
                        <a:pt x="3" y="5"/>
                      </a:lnTo>
                      <a:lnTo>
                        <a:pt x="3" y="5"/>
                      </a:lnTo>
                      <a:lnTo>
                        <a:pt x="3" y="5"/>
                      </a:lnTo>
                      <a:lnTo>
                        <a:pt x="2" y="5"/>
                      </a:lnTo>
                      <a:lnTo>
                        <a:pt x="1" y="5"/>
                      </a:lnTo>
                      <a:lnTo>
                        <a:pt x="1" y="4"/>
                      </a:lnTo>
                      <a:lnTo>
                        <a:pt x="1" y="3"/>
                      </a:lnTo>
                      <a:lnTo>
                        <a:pt x="0" y="3"/>
                      </a:lnTo>
                      <a:lnTo>
                        <a:pt x="0" y="3"/>
                      </a:lnTo>
                      <a:lnTo>
                        <a:pt x="0" y="2"/>
                      </a:lnTo>
                      <a:lnTo>
                        <a:pt x="0" y="1"/>
                      </a:lnTo>
                      <a:lnTo>
                        <a:pt x="1" y="1"/>
                      </a:lnTo>
                      <a:lnTo>
                        <a:pt x="1" y="1"/>
                      </a:lnTo>
                      <a:lnTo>
                        <a:pt x="1" y="1"/>
                      </a:lnTo>
                      <a:lnTo>
                        <a:pt x="2" y="1"/>
                      </a:lnTo>
                      <a:lnTo>
                        <a:pt x="3" y="0"/>
                      </a:lnTo>
                      <a:lnTo>
                        <a:pt x="3"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0" name="Freeform 30">
                  <a:extLst>
                    <a:ext uri="{FF2B5EF4-FFF2-40B4-BE49-F238E27FC236}">
                      <a16:creationId xmlns:a16="http://schemas.microsoft.com/office/drawing/2014/main" xmlns="" id="{726989F2-DCF6-002A-3089-93009967D36C}"/>
                    </a:ext>
                  </a:extLst>
                </p:cNvPr>
                <p:cNvSpPr>
                  <a:spLocks/>
                </p:cNvSpPr>
                <p:nvPr/>
              </p:nvSpPr>
              <p:spPr bwMode="auto">
                <a:xfrm>
                  <a:off x="2173" y="2489"/>
                  <a:ext cx="8" cy="6"/>
                </a:xfrm>
                <a:custGeom>
                  <a:avLst/>
                  <a:gdLst>
                    <a:gd name="T0" fmla="*/ 2 w 8"/>
                    <a:gd name="T1" fmla="*/ 0 h 6"/>
                    <a:gd name="T2" fmla="*/ 2 w 8"/>
                    <a:gd name="T3" fmla="*/ 0 h 6"/>
                    <a:gd name="T4" fmla="*/ 3 w 8"/>
                    <a:gd name="T5" fmla="*/ 0 h 6"/>
                    <a:gd name="T6" fmla="*/ 4 w 8"/>
                    <a:gd name="T7" fmla="*/ 0 h 6"/>
                    <a:gd name="T8" fmla="*/ 4 w 8"/>
                    <a:gd name="T9" fmla="*/ 1 h 6"/>
                    <a:gd name="T10" fmla="*/ 4 w 8"/>
                    <a:gd name="T11" fmla="*/ 1 h 6"/>
                    <a:gd name="T12" fmla="*/ 5 w 8"/>
                    <a:gd name="T13" fmla="*/ 1 h 6"/>
                    <a:gd name="T14" fmla="*/ 6 w 8"/>
                    <a:gd name="T15" fmla="*/ 1 h 6"/>
                    <a:gd name="T16" fmla="*/ 6 w 8"/>
                    <a:gd name="T17" fmla="*/ 1 h 6"/>
                    <a:gd name="T18" fmla="*/ 6 w 8"/>
                    <a:gd name="T19" fmla="*/ 2 h 6"/>
                    <a:gd name="T20" fmla="*/ 7 w 8"/>
                    <a:gd name="T21" fmla="*/ 2 h 6"/>
                    <a:gd name="T22" fmla="*/ 7 w 8"/>
                    <a:gd name="T23" fmla="*/ 2 h 6"/>
                    <a:gd name="T24" fmla="*/ 8 w 8"/>
                    <a:gd name="T25" fmla="*/ 2 h 6"/>
                    <a:gd name="T26" fmla="*/ 8 w 8"/>
                    <a:gd name="T27" fmla="*/ 3 h 6"/>
                    <a:gd name="T28" fmla="*/ 8 w 8"/>
                    <a:gd name="T29" fmla="*/ 4 h 6"/>
                    <a:gd name="T30" fmla="*/ 8 w 8"/>
                    <a:gd name="T31" fmla="*/ 4 h 6"/>
                    <a:gd name="T32" fmla="*/ 7 w 8"/>
                    <a:gd name="T33" fmla="*/ 4 h 6"/>
                    <a:gd name="T34" fmla="*/ 7 w 8"/>
                    <a:gd name="T35" fmla="*/ 5 h 6"/>
                    <a:gd name="T36" fmla="*/ 8 w 8"/>
                    <a:gd name="T37" fmla="*/ 5 h 6"/>
                    <a:gd name="T38" fmla="*/ 8 w 8"/>
                    <a:gd name="T39" fmla="*/ 6 h 6"/>
                    <a:gd name="T40" fmla="*/ 8 w 8"/>
                    <a:gd name="T41" fmla="*/ 6 h 6"/>
                    <a:gd name="T42" fmla="*/ 7 w 8"/>
                    <a:gd name="T43" fmla="*/ 6 h 6"/>
                    <a:gd name="T44" fmla="*/ 7 w 8"/>
                    <a:gd name="T45" fmla="*/ 6 h 6"/>
                    <a:gd name="T46" fmla="*/ 7 w 8"/>
                    <a:gd name="T47" fmla="*/ 5 h 6"/>
                    <a:gd name="T48" fmla="*/ 6 w 8"/>
                    <a:gd name="T49" fmla="*/ 5 h 6"/>
                    <a:gd name="T50" fmla="*/ 6 w 8"/>
                    <a:gd name="T51" fmla="*/ 5 h 6"/>
                    <a:gd name="T52" fmla="*/ 6 w 8"/>
                    <a:gd name="T53" fmla="*/ 6 h 6"/>
                    <a:gd name="T54" fmla="*/ 5 w 8"/>
                    <a:gd name="T55" fmla="*/ 6 h 6"/>
                    <a:gd name="T56" fmla="*/ 4 w 8"/>
                    <a:gd name="T57" fmla="*/ 6 h 6"/>
                    <a:gd name="T58" fmla="*/ 4 w 8"/>
                    <a:gd name="T59" fmla="*/ 6 h 6"/>
                    <a:gd name="T60" fmla="*/ 4 w 8"/>
                    <a:gd name="T61" fmla="*/ 6 h 6"/>
                    <a:gd name="T62" fmla="*/ 3 w 8"/>
                    <a:gd name="T63" fmla="*/ 6 h 6"/>
                    <a:gd name="T64" fmla="*/ 3 w 8"/>
                    <a:gd name="T65" fmla="*/ 5 h 6"/>
                    <a:gd name="T66" fmla="*/ 2 w 8"/>
                    <a:gd name="T67" fmla="*/ 5 h 6"/>
                    <a:gd name="T68" fmla="*/ 2 w 8"/>
                    <a:gd name="T69" fmla="*/ 4 h 6"/>
                    <a:gd name="T70" fmla="*/ 2 w 8"/>
                    <a:gd name="T71" fmla="*/ 4 h 6"/>
                    <a:gd name="T72" fmla="*/ 2 w 8"/>
                    <a:gd name="T73" fmla="*/ 3 h 6"/>
                    <a:gd name="T74" fmla="*/ 3 w 8"/>
                    <a:gd name="T75" fmla="*/ 3 h 6"/>
                    <a:gd name="T76" fmla="*/ 3 w 8"/>
                    <a:gd name="T77" fmla="*/ 2 h 6"/>
                    <a:gd name="T78" fmla="*/ 2 w 8"/>
                    <a:gd name="T79" fmla="*/ 2 h 6"/>
                    <a:gd name="T80" fmla="*/ 1 w 8"/>
                    <a:gd name="T81" fmla="*/ 2 h 6"/>
                    <a:gd name="T82" fmla="*/ 1 w 8"/>
                    <a:gd name="T83" fmla="*/ 1 h 6"/>
                    <a:gd name="T84" fmla="*/ 1 w 8"/>
                    <a:gd name="T85" fmla="*/ 0 h 6"/>
                    <a:gd name="T86" fmla="*/ 1 w 8"/>
                    <a:gd name="T87" fmla="*/ 0 h 6"/>
                    <a:gd name="T88" fmla="*/ 1 w 8"/>
                    <a:gd name="T89" fmla="*/ 0 h 6"/>
                    <a:gd name="T90" fmla="*/ 0 w 8"/>
                    <a:gd name="T91" fmla="*/ 0 h 6"/>
                    <a:gd name="T92" fmla="*/ 1 w 8"/>
                    <a:gd name="T93" fmla="*/ 0 h 6"/>
                    <a:gd name="T94" fmla="*/ 1 w 8"/>
                    <a:gd name="T95" fmla="*/ 0 h 6"/>
                    <a:gd name="T96" fmla="*/ 2 w 8"/>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6">
                      <a:moveTo>
                        <a:pt x="2" y="0"/>
                      </a:moveTo>
                      <a:lnTo>
                        <a:pt x="2" y="0"/>
                      </a:lnTo>
                      <a:lnTo>
                        <a:pt x="3" y="0"/>
                      </a:lnTo>
                      <a:lnTo>
                        <a:pt x="4" y="0"/>
                      </a:lnTo>
                      <a:lnTo>
                        <a:pt x="4" y="1"/>
                      </a:lnTo>
                      <a:lnTo>
                        <a:pt x="4" y="1"/>
                      </a:lnTo>
                      <a:lnTo>
                        <a:pt x="5" y="1"/>
                      </a:lnTo>
                      <a:lnTo>
                        <a:pt x="6" y="1"/>
                      </a:lnTo>
                      <a:lnTo>
                        <a:pt x="6" y="1"/>
                      </a:lnTo>
                      <a:lnTo>
                        <a:pt x="6" y="2"/>
                      </a:lnTo>
                      <a:lnTo>
                        <a:pt x="7" y="2"/>
                      </a:lnTo>
                      <a:lnTo>
                        <a:pt x="7" y="2"/>
                      </a:lnTo>
                      <a:lnTo>
                        <a:pt x="8" y="2"/>
                      </a:lnTo>
                      <a:lnTo>
                        <a:pt x="8" y="3"/>
                      </a:lnTo>
                      <a:lnTo>
                        <a:pt x="8" y="4"/>
                      </a:lnTo>
                      <a:lnTo>
                        <a:pt x="8" y="4"/>
                      </a:lnTo>
                      <a:lnTo>
                        <a:pt x="7" y="4"/>
                      </a:lnTo>
                      <a:lnTo>
                        <a:pt x="7" y="5"/>
                      </a:lnTo>
                      <a:lnTo>
                        <a:pt x="8" y="5"/>
                      </a:lnTo>
                      <a:lnTo>
                        <a:pt x="8" y="6"/>
                      </a:lnTo>
                      <a:lnTo>
                        <a:pt x="8" y="6"/>
                      </a:lnTo>
                      <a:lnTo>
                        <a:pt x="7" y="6"/>
                      </a:lnTo>
                      <a:lnTo>
                        <a:pt x="7" y="6"/>
                      </a:lnTo>
                      <a:lnTo>
                        <a:pt x="7" y="5"/>
                      </a:lnTo>
                      <a:lnTo>
                        <a:pt x="6" y="5"/>
                      </a:lnTo>
                      <a:lnTo>
                        <a:pt x="6" y="5"/>
                      </a:lnTo>
                      <a:lnTo>
                        <a:pt x="6" y="6"/>
                      </a:lnTo>
                      <a:lnTo>
                        <a:pt x="5" y="6"/>
                      </a:lnTo>
                      <a:lnTo>
                        <a:pt x="4" y="6"/>
                      </a:lnTo>
                      <a:lnTo>
                        <a:pt x="4" y="6"/>
                      </a:lnTo>
                      <a:lnTo>
                        <a:pt x="4" y="6"/>
                      </a:lnTo>
                      <a:lnTo>
                        <a:pt x="3" y="6"/>
                      </a:lnTo>
                      <a:lnTo>
                        <a:pt x="3" y="5"/>
                      </a:lnTo>
                      <a:lnTo>
                        <a:pt x="2" y="5"/>
                      </a:lnTo>
                      <a:lnTo>
                        <a:pt x="2" y="4"/>
                      </a:lnTo>
                      <a:lnTo>
                        <a:pt x="2" y="4"/>
                      </a:lnTo>
                      <a:lnTo>
                        <a:pt x="2" y="3"/>
                      </a:lnTo>
                      <a:lnTo>
                        <a:pt x="3" y="3"/>
                      </a:lnTo>
                      <a:lnTo>
                        <a:pt x="3" y="2"/>
                      </a:lnTo>
                      <a:lnTo>
                        <a:pt x="2" y="2"/>
                      </a:lnTo>
                      <a:lnTo>
                        <a:pt x="1" y="2"/>
                      </a:lnTo>
                      <a:lnTo>
                        <a:pt x="1" y="1"/>
                      </a:lnTo>
                      <a:lnTo>
                        <a:pt x="1" y="0"/>
                      </a:lnTo>
                      <a:lnTo>
                        <a:pt x="1" y="0"/>
                      </a:lnTo>
                      <a:lnTo>
                        <a:pt x="1" y="0"/>
                      </a:lnTo>
                      <a:lnTo>
                        <a:pt x="0" y="0"/>
                      </a:lnTo>
                      <a:lnTo>
                        <a:pt x="1" y="0"/>
                      </a:lnTo>
                      <a:lnTo>
                        <a:pt x="1" y="0"/>
                      </a:lnTo>
                      <a:lnTo>
                        <a:pt x="2"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1" name="Freeform 31">
                  <a:extLst>
                    <a:ext uri="{FF2B5EF4-FFF2-40B4-BE49-F238E27FC236}">
                      <a16:creationId xmlns:a16="http://schemas.microsoft.com/office/drawing/2014/main" xmlns="" id="{4323D691-F709-4BC6-1974-0B51D152D208}"/>
                    </a:ext>
                  </a:extLst>
                </p:cNvPr>
                <p:cNvSpPr>
                  <a:spLocks/>
                </p:cNvSpPr>
                <p:nvPr/>
              </p:nvSpPr>
              <p:spPr bwMode="auto">
                <a:xfrm>
                  <a:off x="2168" y="2487"/>
                  <a:ext cx="1" cy="3"/>
                </a:xfrm>
                <a:custGeom>
                  <a:avLst/>
                  <a:gdLst>
                    <a:gd name="T0" fmla="*/ 1 w 1"/>
                    <a:gd name="T1" fmla="*/ 0 h 3"/>
                    <a:gd name="T2" fmla="*/ 1 w 1"/>
                    <a:gd name="T3" fmla="*/ 1 h 3"/>
                    <a:gd name="T4" fmla="*/ 0 w 1"/>
                    <a:gd name="T5" fmla="*/ 1 h 3"/>
                    <a:gd name="T6" fmla="*/ 0 w 1"/>
                    <a:gd name="T7" fmla="*/ 2 h 3"/>
                    <a:gd name="T8" fmla="*/ 0 w 1"/>
                    <a:gd name="T9" fmla="*/ 2 h 3"/>
                    <a:gd name="T10" fmla="*/ 0 w 1"/>
                    <a:gd name="T11" fmla="*/ 3 h 3"/>
                    <a:gd name="T12" fmla="*/ 0 w 1"/>
                    <a:gd name="T13" fmla="*/ 2 h 3"/>
                    <a:gd name="T14" fmla="*/ 0 w 1"/>
                    <a:gd name="T15" fmla="*/ 2 h 3"/>
                    <a:gd name="T16" fmla="*/ 0 w 1"/>
                    <a:gd name="T17" fmla="*/ 2 h 3"/>
                    <a:gd name="T18" fmla="*/ 0 w 1"/>
                    <a:gd name="T19" fmla="*/ 1 h 3"/>
                    <a:gd name="T20" fmla="*/ 0 w 1"/>
                    <a:gd name="T21" fmla="*/ 1 h 3"/>
                    <a:gd name="T22" fmla="*/ 0 w 1"/>
                    <a:gd name="T23" fmla="*/ 0 h 3"/>
                    <a:gd name="T24" fmla="*/ 1 w 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3">
                      <a:moveTo>
                        <a:pt x="1" y="0"/>
                      </a:moveTo>
                      <a:lnTo>
                        <a:pt x="1" y="1"/>
                      </a:lnTo>
                      <a:lnTo>
                        <a:pt x="0" y="1"/>
                      </a:lnTo>
                      <a:lnTo>
                        <a:pt x="0" y="2"/>
                      </a:lnTo>
                      <a:lnTo>
                        <a:pt x="0" y="2"/>
                      </a:lnTo>
                      <a:lnTo>
                        <a:pt x="0" y="3"/>
                      </a:lnTo>
                      <a:lnTo>
                        <a:pt x="0" y="2"/>
                      </a:lnTo>
                      <a:lnTo>
                        <a:pt x="0" y="2"/>
                      </a:lnTo>
                      <a:lnTo>
                        <a:pt x="0" y="2"/>
                      </a:lnTo>
                      <a:lnTo>
                        <a:pt x="0" y="1"/>
                      </a:lnTo>
                      <a:lnTo>
                        <a:pt x="0" y="1"/>
                      </a:lnTo>
                      <a:lnTo>
                        <a:pt x="0" y="0"/>
                      </a:lnTo>
                      <a:lnTo>
                        <a:pt x="1"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2" name="Freeform 32">
                  <a:extLst>
                    <a:ext uri="{FF2B5EF4-FFF2-40B4-BE49-F238E27FC236}">
                      <a16:creationId xmlns:a16="http://schemas.microsoft.com/office/drawing/2014/main" xmlns="" id="{7BECB141-FFBC-198F-8F2F-8AF1EF08AEA8}"/>
                    </a:ext>
                  </a:extLst>
                </p:cNvPr>
                <p:cNvSpPr>
                  <a:spLocks/>
                </p:cNvSpPr>
                <p:nvPr/>
              </p:nvSpPr>
              <p:spPr bwMode="auto">
                <a:xfrm>
                  <a:off x="2162" y="2487"/>
                  <a:ext cx="2" cy="2"/>
                </a:xfrm>
                <a:custGeom>
                  <a:avLst/>
                  <a:gdLst>
                    <a:gd name="T0" fmla="*/ 2 w 2"/>
                    <a:gd name="T1" fmla="*/ 0 h 2"/>
                    <a:gd name="T2" fmla="*/ 2 w 2"/>
                    <a:gd name="T3" fmla="*/ 0 h 2"/>
                    <a:gd name="T4" fmla="*/ 2 w 2"/>
                    <a:gd name="T5" fmla="*/ 0 h 2"/>
                    <a:gd name="T6" fmla="*/ 2 w 2"/>
                    <a:gd name="T7" fmla="*/ 1 h 2"/>
                    <a:gd name="T8" fmla="*/ 2 w 2"/>
                    <a:gd name="T9" fmla="*/ 1 h 2"/>
                    <a:gd name="T10" fmla="*/ 2 w 2"/>
                    <a:gd name="T11" fmla="*/ 2 h 2"/>
                    <a:gd name="T12" fmla="*/ 1 w 2"/>
                    <a:gd name="T13" fmla="*/ 2 h 2"/>
                    <a:gd name="T14" fmla="*/ 1 w 2"/>
                    <a:gd name="T15" fmla="*/ 1 h 2"/>
                    <a:gd name="T16" fmla="*/ 0 w 2"/>
                    <a:gd name="T17" fmla="*/ 1 h 2"/>
                    <a:gd name="T18" fmla="*/ 0 w 2"/>
                    <a:gd name="T19" fmla="*/ 0 h 2"/>
                    <a:gd name="T20" fmla="*/ 1 w 2"/>
                    <a:gd name="T21" fmla="*/ 0 h 2"/>
                    <a:gd name="T22" fmla="*/ 1 w 2"/>
                    <a:gd name="T23" fmla="*/ 0 h 2"/>
                    <a:gd name="T24" fmla="*/ 2 w 2"/>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0"/>
                      </a:moveTo>
                      <a:lnTo>
                        <a:pt x="2" y="0"/>
                      </a:lnTo>
                      <a:lnTo>
                        <a:pt x="2" y="0"/>
                      </a:lnTo>
                      <a:lnTo>
                        <a:pt x="2" y="1"/>
                      </a:lnTo>
                      <a:lnTo>
                        <a:pt x="2" y="1"/>
                      </a:lnTo>
                      <a:lnTo>
                        <a:pt x="2" y="2"/>
                      </a:lnTo>
                      <a:lnTo>
                        <a:pt x="1" y="2"/>
                      </a:lnTo>
                      <a:lnTo>
                        <a:pt x="1" y="1"/>
                      </a:lnTo>
                      <a:lnTo>
                        <a:pt x="0" y="1"/>
                      </a:lnTo>
                      <a:lnTo>
                        <a:pt x="0" y="0"/>
                      </a:lnTo>
                      <a:lnTo>
                        <a:pt x="1" y="0"/>
                      </a:lnTo>
                      <a:lnTo>
                        <a:pt x="1" y="0"/>
                      </a:lnTo>
                      <a:lnTo>
                        <a:pt x="2"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3" name="Freeform 33">
                  <a:extLst>
                    <a:ext uri="{FF2B5EF4-FFF2-40B4-BE49-F238E27FC236}">
                      <a16:creationId xmlns:a16="http://schemas.microsoft.com/office/drawing/2014/main" xmlns="" id="{A21A0549-E31D-748D-9719-19237DC8274A}"/>
                    </a:ext>
                  </a:extLst>
                </p:cNvPr>
                <p:cNvSpPr>
                  <a:spLocks/>
                </p:cNvSpPr>
                <p:nvPr/>
              </p:nvSpPr>
              <p:spPr bwMode="auto">
                <a:xfrm>
                  <a:off x="2231" y="2473"/>
                  <a:ext cx="4" cy="6"/>
                </a:xfrm>
                <a:custGeom>
                  <a:avLst/>
                  <a:gdLst>
                    <a:gd name="T0" fmla="*/ 0 w 4"/>
                    <a:gd name="T1" fmla="*/ 0 h 6"/>
                    <a:gd name="T2" fmla="*/ 0 w 4"/>
                    <a:gd name="T3" fmla="*/ 1 h 6"/>
                    <a:gd name="T4" fmla="*/ 1 w 4"/>
                    <a:gd name="T5" fmla="*/ 1 h 6"/>
                    <a:gd name="T6" fmla="*/ 1 w 4"/>
                    <a:gd name="T7" fmla="*/ 1 h 6"/>
                    <a:gd name="T8" fmla="*/ 2 w 4"/>
                    <a:gd name="T9" fmla="*/ 1 h 6"/>
                    <a:gd name="T10" fmla="*/ 2 w 4"/>
                    <a:gd name="T11" fmla="*/ 1 h 6"/>
                    <a:gd name="T12" fmla="*/ 3 w 4"/>
                    <a:gd name="T13" fmla="*/ 1 h 6"/>
                    <a:gd name="T14" fmla="*/ 3 w 4"/>
                    <a:gd name="T15" fmla="*/ 1 h 6"/>
                    <a:gd name="T16" fmla="*/ 3 w 4"/>
                    <a:gd name="T17" fmla="*/ 2 h 6"/>
                    <a:gd name="T18" fmla="*/ 3 w 4"/>
                    <a:gd name="T19" fmla="*/ 3 h 6"/>
                    <a:gd name="T20" fmla="*/ 3 w 4"/>
                    <a:gd name="T21" fmla="*/ 3 h 6"/>
                    <a:gd name="T22" fmla="*/ 4 w 4"/>
                    <a:gd name="T23" fmla="*/ 3 h 6"/>
                    <a:gd name="T24" fmla="*/ 4 w 4"/>
                    <a:gd name="T25" fmla="*/ 4 h 6"/>
                    <a:gd name="T26" fmla="*/ 4 w 4"/>
                    <a:gd name="T27" fmla="*/ 5 h 6"/>
                    <a:gd name="T28" fmla="*/ 4 w 4"/>
                    <a:gd name="T29" fmla="*/ 5 h 6"/>
                    <a:gd name="T30" fmla="*/ 3 w 4"/>
                    <a:gd name="T31" fmla="*/ 5 h 6"/>
                    <a:gd name="T32" fmla="*/ 3 w 4"/>
                    <a:gd name="T33" fmla="*/ 6 h 6"/>
                    <a:gd name="T34" fmla="*/ 3 w 4"/>
                    <a:gd name="T35" fmla="*/ 6 h 6"/>
                    <a:gd name="T36" fmla="*/ 2 w 4"/>
                    <a:gd name="T37" fmla="*/ 6 h 6"/>
                    <a:gd name="T38" fmla="*/ 2 w 4"/>
                    <a:gd name="T39" fmla="*/ 5 h 6"/>
                    <a:gd name="T40" fmla="*/ 2 w 4"/>
                    <a:gd name="T41" fmla="*/ 5 h 6"/>
                    <a:gd name="T42" fmla="*/ 1 w 4"/>
                    <a:gd name="T43" fmla="*/ 5 h 6"/>
                    <a:gd name="T44" fmla="*/ 1 w 4"/>
                    <a:gd name="T45" fmla="*/ 4 h 6"/>
                    <a:gd name="T46" fmla="*/ 1 w 4"/>
                    <a:gd name="T47" fmla="*/ 3 h 6"/>
                    <a:gd name="T48" fmla="*/ 1 w 4"/>
                    <a:gd name="T49" fmla="*/ 3 h 6"/>
                    <a:gd name="T50" fmla="*/ 1 w 4"/>
                    <a:gd name="T51" fmla="*/ 2 h 6"/>
                    <a:gd name="T52" fmla="*/ 1 w 4"/>
                    <a:gd name="T53" fmla="*/ 1 h 6"/>
                    <a:gd name="T54" fmla="*/ 0 w 4"/>
                    <a:gd name="T55" fmla="*/ 1 h 6"/>
                    <a:gd name="T56" fmla="*/ 0 w 4"/>
                    <a:gd name="T57" fmla="*/ 1 h 6"/>
                    <a:gd name="T58" fmla="*/ 0 w 4"/>
                    <a:gd name="T59" fmla="*/ 0 h 6"/>
                    <a:gd name="T60" fmla="*/ 0 w 4"/>
                    <a:gd name="T6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6">
                      <a:moveTo>
                        <a:pt x="0" y="0"/>
                      </a:moveTo>
                      <a:lnTo>
                        <a:pt x="0" y="1"/>
                      </a:lnTo>
                      <a:lnTo>
                        <a:pt x="1" y="1"/>
                      </a:lnTo>
                      <a:lnTo>
                        <a:pt x="1" y="1"/>
                      </a:lnTo>
                      <a:lnTo>
                        <a:pt x="2" y="1"/>
                      </a:lnTo>
                      <a:lnTo>
                        <a:pt x="2" y="1"/>
                      </a:lnTo>
                      <a:lnTo>
                        <a:pt x="3" y="1"/>
                      </a:lnTo>
                      <a:lnTo>
                        <a:pt x="3" y="1"/>
                      </a:lnTo>
                      <a:lnTo>
                        <a:pt x="3" y="2"/>
                      </a:lnTo>
                      <a:lnTo>
                        <a:pt x="3" y="3"/>
                      </a:lnTo>
                      <a:lnTo>
                        <a:pt x="3" y="3"/>
                      </a:lnTo>
                      <a:lnTo>
                        <a:pt x="4" y="3"/>
                      </a:lnTo>
                      <a:lnTo>
                        <a:pt x="4" y="4"/>
                      </a:lnTo>
                      <a:lnTo>
                        <a:pt x="4" y="5"/>
                      </a:lnTo>
                      <a:lnTo>
                        <a:pt x="4" y="5"/>
                      </a:lnTo>
                      <a:lnTo>
                        <a:pt x="3" y="5"/>
                      </a:lnTo>
                      <a:lnTo>
                        <a:pt x="3" y="6"/>
                      </a:lnTo>
                      <a:lnTo>
                        <a:pt x="3" y="6"/>
                      </a:lnTo>
                      <a:lnTo>
                        <a:pt x="2" y="6"/>
                      </a:lnTo>
                      <a:lnTo>
                        <a:pt x="2" y="5"/>
                      </a:lnTo>
                      <a:lnTo>
                        <a:pt x="2" y="5"/>
                      </a:lnTo>
                      <a:lnTo>
                        <a:pt x="1" y="5"/>
                      </a:lnTo>
                      <a:lnTo>
                        <a:pt x="1" y="4"/>
                      </a:lnTo>
                      <a:lnTo>
                        <a:pt x="1" y="3"/>
                      </a:lnTo>
                      <a:lnTo>
                        <a:pt x="1" y="3"/>
                      </a:lnTo>
                      <a:lnTo>
                        <a:pt x="1" y="2"/>
                      </a:lnTo>
                      <a:lnTo>
                        <a:pt x="1" y="1"/>
                      </a:lnTo>
                      <a:lnTo>
                        <a:pt x="0" y="1"/>
                      </a:lnTo>
                      <a:lnTo>
                        <a:pt x="0" y="1"/>
                      </a:lnTo>
                      <a:lnTo>
                        <a:pt x="0"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4" name="Freeform 34">
                  <a:extLst>
                    <a:ext uri="{FF2B5EF4-FFF2-40B4-BE49-F238E27FC236}">
                      <a16:creationId xmlns:a16="http://schemas.microsoft.com/office/drawing/2014/main" xmlns="" id="{BD562E82-ABAB-2407-5875-B36224C2E721}"/>
                    </a:ext>
                  </a:extLst>
                </p:cNvPr>
                <p:cNvSpPr>
                  <a:spLocks/>
                </p:cNvSpPr>
                <p:nvPr/>
              </p:nvSpPr>
              <p:spPr bwMode="auto">
                <a:xfrm>
                  <a:off x="2162" y="2434"/>
                  <a:ext cx="2" cy="1"/>
                </a:xfrm>
                <a:custGeom>
                  <a:avLst/>
                  <a:gdLst>
                    <a:gd name="T0" fmla="*/ 1 w 2"/>
                    <a:gd name="T1" fmla="*/ 1 h 1"/>
                    <a:gd name="T2" fmla="*/ 0 w 2"/>
                    <a:gd name="T3" fmla="*/ 1 h 1"/>
                    <a:gd name="T4" fmla="*/ 0 w 2"/>
                    <a:gd name="T5" fmla="*/ 0 h 1"/>
                    <a:gd name="T6" fmla="*/ 1 w 2"/>
                    <a:gd name="T7" fmla="*/ 0 h 1"/>
                    <a:gd name="T8" fmla="*/ 1 w 2"/>
                    <a:gd name="T9" fmla="*/ 0 h 1"/>
                    <a:gd name="T10" fmla="*/ 2 w 2"/>
                    <a:gd name="T11" fmla="*/ 0 h 1"/>
                    <a:gd name="T12" fmla="*/ 2 w 2"/>
                    <a:gd name="T13" fmla="*/ 0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lnTo>
                        <a:pt x="0" y="1"/>
                      </a:lnTo>
                      <a:lnTo>
                        <a:pt x="0" y="0"/>
                      </a:lnTo>
                      <a:lnTo>
                        <a:pt x="1" y="0"/>
                      </a:lnTo>
                      <a:lnTo>
                        <a:pt x="1" y="0"/>
                      </a:lnTo>
                      <a:lnTo>
                        <a:pt x="2" y="0"/>
                      </a:lnTo>
                      <a:lnTo>
                        <a:pt x="2" y="0"/>
                      </a:lnTo>
                      <a:lnTo>
                        <a:pt x="1"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5" name="Freeform 35">
                  <a:extLst>
                    <a:ext uri="{FF2B5EF4-FFF2-40B4-BE49-F238E27FC236}">
                      <a16:creationId xmlns:a16="http://schemas.microsoft.com/office/drawing/2014/main" xmlns="" id="{67F9D856-10EE-51CF-F71A-E8211ADD4131}"/>
                    </a:ext>
                  </a:extLst>
                </p:cNvPr>
                <p:cNvSpPr>
                  <a:spLocks/>
                </p:cNvSpPr>
                <p:nvPr/>
              </p:nvSpPr>
              <p:spPr bwMode="auto">
                <a:xfrm>
                  <a:off x="2093" y="2432"/>
                  <a:ext cx="80" cy="56"/>
                </a:xfrm>
                <a:custGeom>
                  <a:avLst/>
                  <a:gdLst>
                    <a:gd name="T0" fmla="*/ 5 w 80"/>
                    <a:gd name="T1" fmla="*/ 2 h 56"/>
                    <a:gd name="T2" fmla="*/ 10 w 80"/>
                    <a:gd name="T3" fmla="*/ 4 h 56"/>
                    <a:gd name="T4" fmla="*/ 12 w 80"/>
                    <a:gd name="T5" fmla="*/ 6 h 56"/>
                    <a:gd name="T6" fmla="*/ 16 w 80"/>
                    <a:gd name="T7" fmla="*/ 9 h 56"/>
                    <a:gd name="T8" fmla="*/ 20 w 80"/>
                    <a:gd name="T9" fmla="*/ 9 h 56"/>
                    <a:gd name="T10" fmla="*/ 24 w 80"/>
                    <a:gd name="T11" fmla="*/ 11 h 56"/>
                    <a:gd name="T12" fmla="*/ 28 w 80"/>
                    <a:gd name="T13" fmla="*/ 13 h 56"/>
                    <a:gd name="T14" fmla="*/ 33 w 80"/>
                    <a:gd name="T15" fmla="*/ 15 h 56"/>
                    <a:gd name="T16" fmla="*/ 36 w 80"/>
                    <a:gd name="T17" fmla="*/ 18 h 56"/>
                    <a:gd name="T18" fmla="*/ 40 w 80"/>
                    <a:gd name="T19" fmla="*/ 21 h 56"/>
                    <a:gd name="T20" fmla="*/ 43 w 80"/>
                    <a:gd name="T21" fmla="*/ 24 h 56"/>
                    <a:gd name="T22" fmla="*/ 46 w 80"/>
                    <a:gd name="T23" fmla="*/ 28 h 56"/>
                    <a:gd name="T24" fmla="*/ 48 w 80"/>
                    <a:gd name="T25" fmla="*/ 31 h 56"/>
                    <a:gd name="T26" fmla="*/ 50 w 80"/>
                    <a:gd name="T27" fmla="*/ 32 h 56"/>
                    <a:gd name="T28" fmla="*/ 54 w 80"/>
                    <a:gd name="T29" fmla="*/ 33 h 56"/>
                    <a:gd name="T30" fmla="*/ 58 w 80"/>
                    <a:gd name="T31" fmla="*/ 34 h 56"/>
                    <a:gd name="T32" fmla="*/ 62 w 80"/>
                    <a:gd name="T33" fmla="*/ 35 h 56"/>
                    <a:gd name="T34" fmla="*/ 64 w 80"/>
                    <a:gd name="T35" fmla="*/ 37 h 56"/>
                    <a:gd name="T36" fmla="*/ 67 w 80"/>
                    <a:gd name="T37" fmla="*/ 38 h 56"/>
                    <a:gd name="T38" fmla="*/ 71 w 80"/>
                    <a:gd name="T39" fmla="*/ 41 h 56"/>
                    <a:gd name="T40" fmla="*/ 75 w 80"/>
                    <a:gd name="T41" fmla="*/ 43 h 56"/>
                    <a:gd name="T42" fmla="*/ 80 w 80"/>
                    <a:gd name="T43" fmla="*/ 46 h 56"/>
                    <a:gd name="T44" fmla="*/ 79 w 80"/>
                    <a:gd name="T45" fmla="*/ 51 h 56"/>
                    <a:gd name="T46" fmla="*/ 79 w 80"/>
                    <a:gd name="T47" fmla="*/ 53 h 56"/>
                    <a:gd name="T48" fmla="*/ 78 w 80"/>
                    <a:gd name="T49" fmla="*/ 55 h 56"/>
                    <a:gd name="T50" fmla="*/ 75 w 80"/>
                    <a:gd name="T51" fmla="*/ 55 h 56"/>
                    <a:gd name="T52" fmla="*/ 72 w 80"/>
                    <a:gd name="T53" fmla="*/ 54 h 56"/>
                    <a:gd name="T54" fmla="*/ 69 w 80"/>
                    <a:gd name="T55" fmla="*/ 54 h 56"/>
                    <a:gd name="T56" fmla="*/ 66 w 80"/>
                    <a:gd name="T57" fmla="*/ 53 h 56"/>
                    <a:gd name="T58" fmla="*/ 63 w 80"/>
                    <a:gd name="T59" fmla="*/ 50 h 56"/>
                    <a:gd name="T60" fmla="*/ 65 w 80"/>
                    <a:gd name="T61" fmla="*/ 46 h 56"/>
                    <a:gd name="T62" fmla="*/ 61 w 80"/>
                    <a:gd name="T63" fmla="*/ 44 h 56"/>
                    <a:gd name="T64" fmla="*/ 58 w 80"/>
                    <a:gd name="T65" fmla="*/ 42 h 56"/>
                    <a:gd name="T66" fmla="*/ 57 w 80"/>
                    <a:gd name="T67" fmla="*/ 38 h 56"/>
                    <a:gd name="T68" fmla="*/ 52 w 80"/>
                    <a:gd name="T69" fmla="*/ 36 h 56"/>
                    <a:gd name="T70" fmla="*/ 47 w 80"/>
                    <a:gd name="T71" fmla="*/ 36 h 56"/>
                    <a:gd name="T72" fmla="*/ 37 w 80"/>
                    <a:gd name="T73" fmla="*/ 38 h 56"/>
                    <a:gd name="T74" fmla="*/ 25 w 80"/>
                    <a:gd name="T75" fmla="*/ 39 h 56"/>
                    <a:gd name="T76" fmla="*/ 12 w 80"/>
                    <a:gd name="T77" fmla="*/ 45 h 56"/>
                    <a:gd name="T78" fmla="*/ 12 w 80"/>
                    <a:gd name="T79" fmla="*/ 42 h 56"/>
                    <a:gd name="T80" fmla="*/ 9 w 80"/>
                    <a:gd name="T81" fmla="*/ 40 h 56"/>
                    <a:gd name="T82" fmla="*/ 5 w 80"/>
                    <a:gd name="T83" fmla="*/ 37 h 56"/>
                    <a:gd name="T84" fmla="*/ 4 w 80"/>
                    <a:gd name="T85" fmla="*/ 38 h 56"/>
                    <a:gd name="T86" fmla="*/ 6 w 80"/>
                    <a:gd name="T87" fmla="*/ 34 h 56"/>
                    <a:gd name="T88" fmla="*/ 11 w 80"/>
                    <a:gd name="T89" fmla="*/ 32 h 56"/>
                    <a:gd name="T90" fmla="*/ 12 w 80"/>
                    <a:gd name="T91" fmla="*/ 28 h 56"/>
                    <a:gd name="T92" fmla="*/ 16 w 80"/>
                    <a:gd name="T93" fmla="*/ 27 h 56"/>
                    <a:gd name="T94" fmla="*/ 16 w 80"/>
                    <a:gd name="T95" fmla="*/ 22 h 56"/>
                    <a:gd name="T96" fmla="*/ 12 w 80"/>
                    <a:gd name="T97" fmla="*/ 20 h 56"/>
                    <a:gd name="T98" fmla="*/ 14 w 80"/>
                    <a:gd name="T99" fmla="*/ 17 h 56"/>
                    <a:gd name="T100" fmla="*/ 11 w 80"/>
                    <a:gd name="T101" fmla="*/ 15 h 56"/>
                    <a:gd name="T102" fmla="*/ 10 w 80"/>
                    <a:gd name="T103" fmla="*/ 13 h 56"/>
                    <a:gd name="T104" fmla="*/ 9 w 80"/>
                    <a:gd name="T105" fmla="*/ 13 h 56"/>
                    <a:gd name="T106" fmla="*/ 5 w 80"/>
                    <a:gd name="T107" fmla="*/ 11 h 56"/>
                    <a:gd name="T108" fmla="*/ 2 w 80"/>
                    <a:gd name="T109" fmla="*/ 7 h 56"/>
                    <a:gd name="T110" fmla="*/ 1 w 80"/>
                    <a:gd name="T111" fmla="*/ 6 h 56"/>
                    <a:gd name="T112" fmla="*/ 4 w 80"/>
                    <a:gd name="T113" fmla="*/ 9 h 56"/>
                    <a:gd name="T114" fmla="*/ 6 w 80"/>
                    <a:gd name="T115" fmla="*/ 9 h 56"/>
                    <a:gd name="T116" fmla="*/ 4 w 80"/>
                    <a:gd name="T117" fmla="*/ 5 h 56"/>
                    <a:gd name="T118" fmla="*/ 2 w 80"/>
                    <a:gd name="T119"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56">
                      <a:moveTo>
                        <a:pt x="1" y="0"/>
                      </a:moveTo>
                      <a:lnTo>
                        <a:pt x="2" y="0"/>
                      </a:lnTo>
                      <a:lnTo>
                        <a:pt x="2" y="1"/>
                      </a:lnTo>
                      <a:lnTo>
                        <a:pt x="3" y="1"/>
                      </a:lnTo>
                      <a:lnTo>
                        <a:pt x="3" y="1"/>
                      </a:lnTo>
                      <a:lnTo>
                        <a:pt x="4" y="1"/>
                      </a:lnTo>
                      <a:lnTo>
                        <a:pt x="5" y="1"/>
                      </a:lnTo>
                      <a:lnTo>
                        <a:pt x="5" y="1"/>
                      </a:lnTo>
                      <a:lnTo>
                        <a:pt x="5" y="2"/>
                      </a:lnTo>
                      <a:lnTo>
                        <a:pt x="6" y="2"/>
                      </a:lnTo>
                      <a:lnTo>
                        <a:pt x="6" y="2"/>
                      </a:lnTo>
                      <a:lnTo>
                        <a:pt x="7" y="2"/>
                      </a:lnTo>
                      <a:lnTo>
                        <a:pt x="7" y="3"/>
                      </a:lnTo>
                      <a:lnTo>
                        <a:pt x="7" y="3"/>
                      </a:lnTo>
                      <a:lnTo>
                        <a:pt x="8" y="3"/>
                      </a:lnTo>
                      <a:lnTo>
                        <a:pt x="8" y="4"/>
                      </a:lnTo>
                      <a:lnTo>
                        <a:pt x="9" y="4"/>
                      </a:lnTo>
                      <a:lnTo>
                        <a:pt x="10" y="4"/>
                      </a:lnTo>
                      <a:lnTo>
                        <a:pt x="10" y="4"/>
                      </a:lnTo>
                      <a:lnTo>
                        <a:pt x="10" y="4"/>
                      </a:lnTo>
                      <a:lnTo>
                        <a:pt x="10" y="5"/>
                      </a:lnTo>
                      <a:lnTo>
                        <a:pt x="11" y="5"/>
                      </a:lnTo>
                      <a:lnTo>
                        <a:pt x="12" y="5"/>
                      </a:lnTo>
                      <a:lnTo>
                        <a:pt x="11" y="5"/>
                      </a:lnTo>
                      <a:lnTo>
                        <a:pt x="12" y="5"/>
                      </a:lnTo>
                      <a:lnTo>
                        <a:pt x="12" y="6"/>
                      </a:lnTo>
                      <a:lnTo>
                        <a:pt x="12" y="6"/>
                      </a:lnTo>
                      <a:lnTo>
                        <a:pt x="13" y="6"/>
                      </a:lnTo>
                      <a:lnTo>
                        <a:pt x="13" y="6"/>
                      </a:lnTo>
                      <a:lnTo>
                        <a:pt x="14" y="6"/>
                      </a:lnTo>
                      <a:lnTo>
                        <a:pt x="14" y="7"/>
                      </a:lnTo>
                      <a:lnTo>
                        <a:pt x="14" y="7"/>
                      </a:lnTo>
                      <a:lnTo>
                        <a:pt x="14" y="8"/>
                      </a:lnTo>
                      <a:lnTo>
                        <a:pt x="15" y="8"/>
                      </a:lnTo>
                      <a:lnTo>
                        <a:pt x="15" y="9"/>
                      </a:lnTo>
                      <a:lnTo>
                        <a:pt x="16" y="9"/>
                      </a:lnTo>
                      <a:lnTo>
                        <a:pt x="16" y="9"/>
                      </a:lnTo>
                      <a:lnTo>
                        <a:pt x="16" y="9"/>
                      </a:lnTo>
                      <a:lnTo>
                        <a:pt x="17" y="9"/>
                      </a:lnTo>
                      <a:lnTo>
                        <a:pt x="18" y="9"/>
                      </a:lnTo>
                      <a:lnTo>
                        <a:pt x="18" y="9"/>
                      </a:lnTo>
                      <a:lnTo>
                        <a:pt x="19" y="9"/>
                      </a:lnTo>
                      <a:lnTo>
                        <a:pt x="19" y="10"/>
                      </a:lnTo>
                      <a:lnTo>
                        <a:pt x="19" y="9"/>
                      </a:lnTo>
                      <a:lnTo>
                        <a:pt x="20" y="9"/>
                      </a:lnTo>
                      <a:lnTo>
                        <a:pt x="20" y="10"/>
                      </a:lnTo>
                      <a:lnTo>
                        <a:pt x="20" y="10"/>
                      </a:lnTo>
                      <a:lnTo>
                        <a:pt x="21" y="10"/>
                      </a:lnTo>
                      <a:lnTo>
                        <a:pt x="21" y="11"/>
                      </a:lnTo>
                      <a:lnTo>
                        <a:pt x="22" y="11"/>
                      </a:lnTo>
                      <a:lnTo>
                        <a:pt x="22" y="11"/>
                      </a:lnTo>
                      <a:lnTo>
                        <a:pt x="23" y="11"/>
                      </a:lnTo>
                      <a:lnTo>
                        <a:pt x="23" y="11"/>
                      </a:lnTo>
                      <a:lnTo>
                        <a:pt x="24" y="11"/>
                      </a:lnTo>
                      <a:lnTo>
                        <a:pt x="24" y="12"/>
                      </a:lnTo>
                      <a:lnTo>
                        <a:pt x="24" y="12"/>
                      </a:lnTo>
                      <a:lnTo>
                        <a:pt x="25" y="12"/>
                      </a:lnTo>
                      <a:lnTo>
                        <a:pt x="25" y="11"/>
                      </a:lnTo>
                      <a:lnTo>
                        <a:pt x="25" y="12"/>
                      </a:lnTo>
                      <a:lnTo>
                        <a:pt x="26" y="12"/>
                      </a:lnTo>
                      <a:lnTo>
                        <a:pt x="27" y="12"/>
                      </a:lnTo>
                      <a:lnTo>
                        <a:pt x="27" y="13"/>
                      </a:lnTo>
                      <a:lnTo>
                        <a:pt x="28" y="13"/>
                      </a:lnTo>
                      <a:lnTo>
                        <a:pt x="29" y="13"/>
                      </a:lnTo>
                      <a:lnTo>
                        <a:pt x="29" y="13"/>
                      </a:lnTo>
                      <a:lnTo>
                        <a:pt x="30" y="14"/>
                      </a:lnTo>
                      <a:lnTo>
                        <a:pt x="31" y="14"/>
                      </a:lnTo>
                      <a:lnTo>
                        <a:pt x="31" y="14"/>
                      </a:lnTo>
                      <a:lnTo>
                        <a:pt x="31" y="15"/>
                      </a:lnTo>
                      <a:lnTo>
                        <a:pt x="32" y="15"/>
                      </a:lnTo>
                      <a:lnTo>
                        <a:pt x="33" y="15"/>
                      </a:lnTo>
                      <a:lnTo>
                        <a:pt x="33" y="15"/>
                      </a:lnTo>
                      <a:lnTo>
                        <a:pt x="33" y="15"/>
                      </a:lnTo>
                      <a:lnTo>
                        <a:pt x="34" y="16"/>
                      </a:lnTo>
                      <a:lnTo>
                        <a:pt x="33" y="16"/>
                      </a:lnTo>
                      <a:lnTo>
                        <a:pt x="34" y="16"/>
                      </a:lnTo>
                      <a:lnTo>
                        <a:pt x="34" y="17"/>
                      </a:lnTo>
                      <a:lnTo>
                        <a:pt x="35" y="17"/>
                      </a:lnTo>
                      <a:lnTo>
                        <a:pt x="35" y="17"/>
                      </a:lnTo>
                      <a:lnTo>
                        <a:pt x="35" y="17"/>
                      </a:lnTo>
                      <a:lnTo>
                        <a:pt x="36" y="18"/>
                      </a:lnTo>
                      <a:lnTo>
                        <a:pt x="37" y="18"/>
                      </a:lnTo>
                      <a:lnTo>
                        <a:pt x="37" y="19"/>
                      </a:lnTo>
                      <a:lnTo>
                        <a:pt x="37" y="19"/>
                      </a:lnTo>
                      <a:lnTo>
                        <a:pt x="38" y="19"/>
                      </a:lnTo>
                      <a:lnTo>
                        <a:pt x="39" y="19"/>
                      </a:lnTo>
                      <a:lnTo>
                        <a:pt x="39" y="19"/>
                      </a:lnTo>
                      <a:lnTo>
                        <a:pt x="39" y="20"/>
                      </a:lnTo>
                      <a:lnTo>
                        <a:pt x="40" y="20"/>
                      </a:lnTo>
                      <a:lnTo>
                        <a:pt x="40" y="21"/>
                      </a:lnTo>
                      <a:lnTo>
                        <a:pt x="41" y="21"/>
                      </a:lnTo>
                      <a:lnTo>
                        <a:pt x="41" y="21"/>
                      </a:lnTo>
                      <a:lnTo>
                        <a:pt x="41" y="21"/>
                      </a:lnTo>
                      <a:lnTo>
                        <a:pt x="42" y="21"/>
                      </a:lnTo>
                      <a:lnTo>
                        <a:pt x="42" y="22"/>
                      </a:lnTo>
                      <a:lnTo>
                        <a:pt x="42" y="23"/>
                      </a:lnTo>
                      <a:lnTo>
                        <a:pt x="42" y="23"/>
                      </a:lnTo>
                      <a:lnTo>
                        <a:pt x="42" y="24"/>
                      </a:lnTo>
                      <a:lnTo>
                        <a:pt x="43" y="24"/>
                      </a:lnTo>
                      <a:lnTo>
                        <a:pt x="43" y="25"/>
                      </a:lnTo>
                      <a:lnTo>
                        <a:pt x="43" y="25"/>
                      </a:lnTo>
                      <a:lnTo>
                        <a:pt x="43" y="25"/>
                      </a:lnTo>
                      <a:lnTo>
                        <a:pt x="44" y="25"/>
                      </a:lnTo>
                      <a:lnTo>
                        <a:pt x="44" y="26"/>
                      </a:lnTo>
                      <a:lnTo>
                        <a:pt x="44" y="27"/>
                      </a:lnTo>
                      <a:lnTo>
                        <a:pt x="45" y="27"/>
                      </a:lnTo>
                      <a:lnTo>
                        <a:pt x="45" y="28"/>
                      </a:lnTo>
                      <a:lnTo>
                        <a:pt x="46" y="28"/>
                      </a:lnTo>
                      <a:lnTo>
                        <a:pt x="46" y="28"/>
                      </a:lnTo>
                      <a:lnTo>
                        <a:pt x="46" y="29"/>
                      </a:lnTo>
                      <a:lnTo>
                        <a:pt x="46" y="29"/>
                      </a:lnTo>
                      <a:lnTo>
                        <a:pt x="46" y="30"/>
                      </a:lnTo>
                      <a:lnTo>
                        <a:pt x="46" y="30"/>
                      </a:lnTo>
                      <a:lnTo>
                        <a:pt x="46" y="31"/>
                      </a:lnTo>
                      <a:lnTo>
                        <a:pt x="47" y="31"/>
                      </a:lnTo>
                      <a:lnTo>
                        <a:pt x="48" y="31"/>
                      </a:lnTo>
                      <a:lnTo>
                        <a:pt x="48" y="31"/>
                      </a:lnTo>
                      <a:lnTo>
                        <a:pt x="48" y="30"/>
                      </a:lnTo>
                      <a:lnTo>
                        <a:pt x="48" y="31"/>
                      </a:lnTo>
                      <a:lnTo>
                        <a:pt x="49" y="31"/>
                      </a:lnTo>
                      <a:lnTo>
                        <a:pt x="49" y="32"/>
                      </a:lnTo>
                      <a:lnTo>
                        <a:pt x="48" y="32"/>
                      </a:lnTo>
                      <a:lnTo>
                        <a:pt x="49" y="32"/>
                      </a:lnTo>
                      <a:lnTo>
                        <a:pt x="49" y="32"/>
                      </a:lnTo>
                      <a:lnTo>
                        <a:pt x="50" y="32"/>
                      </a:lnTo>
                      <a:lnTo>
                        <a:pt x="50" y="32"/>
                      </a:lnTo>
                      <a:lnTo>
                        <a:pt x="50" y="32"/>
                      </a:lnTo>
                      <a:lnTo>
                        <a:pt x="50" y="32"/>
                      </a:lnTo>
                      <a:lnTo>
                        <a:pt x="51" y="32"/>
                      </a:lnTo>
                      <a:lnTo>
                        <a:pt x="51" y="32"/>
                      </a:lnTo>
                      <a:lnTo>
                        <a:pt x="52" y="32"/>
                      </a:lnTo>
                      <a:lnTo>
                        <a:pt x="52" y="32"/>
                      </a:lnTo>
                      <a:lnTo>
                        <a:pt x="52" y="33"/>
                      </a:lnTo>
                      <a:lnTo>
                        <a:pt x="53" y="33"/>
                      </a:lnTo>
                      <a:lnTo>
                        <a:pt x="54" y="33"/>
                      </a:lnTo>
                      <a:lnTo>
                        <a:pt x="54" y="33"/>
                      </a:lnTo>
                      <a:lnTo>
                        <a:pt x="55" y="33"/>
                      </a:lnTo>
                      <a:lnTo>
                        <a:pt x="55" y="34"/>
                      </a:lnTo>
                      <a:lnTo>
                        <a:pt x="56" y="34"/>
                      </a:lnTo>
                      <a:lnTo>
                        <a:pt x="56" y="34"/>
                      </a:lnTo>
                      <a:lnTo>
                        <a:pt x="57" y="34"/>
                      </a:lnTo>
                      <a:lnTo>
                        <a:pt x="57" y="34"/>
                      </a:lnTo>
                      <a:lnTo>
                        <a:pt x="58" y="34"/>
                      </a:lnTo>
                      <a:lnTo>
                        <a:pt x="58" y="34"/>
                      </a:lnTo>
                      <a:lnTo>
                        <a:pt x="58" y="34"/>
                      </a:lnTo>
                      <a:lnTo>
                        <a:pt x="58" y="34"/>
                      </a:lnTo>
                      <a:lnTo>
                        <a:pt x="59" y="34"/>
                      </a:lnTo>
                      <a:lnTo>
                        <a:pt x="59" y="34"/>
                      </a:lnTo>
                      <a:lnTo>
                        <a:pt x="60" y="34"/>
                      </a:lnTo>
                      <a:lnTo>
                        <a:pt x="60" y="34"/>
                      </a:lnTo>
                      <a:lnTo>
                        <a:pt x="61" y="34"/>
                      </a:lnTo>
                      <a:lnTo>
                        <a:pt x="61" y="35"/>
                      </a:lnTo>
                      <a:lnTo>
                        <a:pt x="62" y="35"/>
                      </a:lnTo>
                      <a:lnTo>
                        <a:pt x="62" y="36"/>
                      </a:lnTo>
                      <a:lnTo>
                        <a:pt x="62" y="35"/>
                      </a:lnTo>
                      <a:lnTo>
                        <a:pt x="62" y="36"/>
                      </a:lnTo>
                      <a:lnTo>
                        <a:pt x="62" y="36"/>
                      </a:lnTo>
                      <a:lnTo>
                        <a:pt x="63" y="36"/>
                      </a:lnTo>
                      <a:lnTo>
                        <a:pt x="63" y="36"/>
                      </a:lnTo>
                      <a:lnTo>
                        <a:pt x="64" y="36"/>
                      </a:lnTo>
                      <a:lnTo>
                        <a:pt x="64" y="36"/>
                      </a:lnTo>
                      <a:lnTo>
                        <a:pt x="64" y="37"/>
                      </a:lnTo>
                      <a:lnTo>
                        <a:pt x="65" y="37"/>
                      </a:lnTo>
                      <a:lnTo>
                        <a:pt x="65" y="37"/>
                      </a:lnTo>
                      <a:lnTo>
                        <a:pt x="65" y="38"/>
                      </a:lnTo>
                      <a:lnTo>
                        <a:pt x="65" y="37"/>
                      </a:lnTo>
                      <a:lnTo>
                        <a:pt x="66" y="37"/>
                      </a:lnTo>
                      <a:lnTo>
                        <a:pt x="67" y="37"/>
                      </a:lnTo>
                      <a:lnTo>
                        <a:pt x="67" y="38"/>
                      </a:lnTo>
                      <a:lnTo>
                        <a:pt x="67" y="38"/>
                      </a:lnTo>
                      <a:lnTo>
                        <a:pt x="67" y="38"/>
                      </a:lnTo>
                      <a:lnTo>
                        <a:pt x="68" y="38"/>
                      </a:lnTo>
                      <a:lnTo>
                        <a:pt x="69" y="38"/>
                      </a:lnTo>
                      <a:lnTo>
                        <a:pt x="69" y="39"/>
                      </a:lnTo>
                      <a:lnTo>
                        <a:pt x="69" y="40"/>
                      </a:lnTo>
                      <a:lnTo>
                        <a:pt x="70" y="40"/>
                      </a:lnTo>
                      <a:lnTo>
                        <a:pt x="71" y="40"/>
                      </a:lnTo>
                      <a:lnTo>
                        <a:pt x="71" y="40"/>
                      </a:lnTo>
                      <a:lnTo>
                        <a:pt x="71" y="40"/>
                      </a:lnTo>
                      <a:lnTo>
                        <a:pt x="71" y="41"/>
                      </a:lnTo>
                      <a:lnTo>
                        <a:pt x="72" y="41"/>
                      </a:lnTo>
                      <a:lnTo>
                        <a:pt x="73" y="41"/>
                      </a:lnTo>
                      <a:lnTo>
                        <a:pt x="73" y="41"/>
                      </a:lnTo>
                      <a:lnTo>
                        <a:pt x="73" y="42"/>
                      </a:lnTo>
                      <a:lnTo>
                        <a:pt x="74" y="42"/>
                      </a:lnTo>
                      <a:lnTo>
                        <a:pt x="74" y="42"/>
                      </a:lnTo>
                      <a:lnTo>
                        <a:pt x="75" y="42"/>
                      </a:lnTo>
                      <a:lnTo>
                        <a:pt x="75" y="43"/>
                      </a:lnTo>
                      <a:lnTo>
                        <a:pt x="75" y="43"/>
                      </a:lnTo>
                      <a:lnTo>
                        <a:pt x="76" y="43"/>
                      </a:lnTo>
                      <a:lnTo>
                        <a:pt x="76" y="44"/>
                      </a:lnTo>
                      <a:lnTo>
                        <a:pt x="77" y="44"/>
                      </a:lnTo>
                      <a:lnTo>
                        <a:pt x="77" y="44"/>
                      </a:lnTo>
                      <a:lnTo>
                        <a:pt x="78" y="45"/>
                      </a:lnTo>
                      <a:lnTo>
                        <a:pt x="78" y="46"/>
                      </a:lnTo>
                      <a:lnTo>
                        <a:pt x="79" y="46"/>
                      </a:lnTo>
                      <a:lnTo>
                        <a:pt x="79" y="46"/>
                      </a:lnTo>
                      <a:lnTo>
                        <a:pt x="80" y="46"/>
                      </a:lnTo>
                      <a:lnTo>
                        <a:pt x="80" y="46"/>
                      </a:lnTo>
                      <a:lnTo>
                        <a:pt x="80" y="47"/>
                      </a:lnTo>
                      <a:lnTo>
                        <a:pt x="80" y="48"/>
                      </a:lnTo>
                      <a:lnTo>
                        <a:pt x="80" y="49"/>
                      </a:lnTo>
                      <a:lnTo>
                        <a:pt x="80" y="49"/>
                      </a:lnTo>
                      <a:lnTo>
                        <a:pt x="79" y="49"/>
                      </a:lnTo>
                      <a:lnTo>
                        <a:pt x="79" y="50"/>
                      </a:lnTo>
                      <a:lnTo>
                        <a:pt x="79" y="51"/>
                      </a:lnTo>
                      <a:lnTo>
                        <a:pt x="79" y="51"/>
                      </a:lnTo>
                      <a:lnTo>
                        <a:pt x="79" y="50"/>
                      </a:lnTo>
                      <a:lnTo>
                        <a:pt x="78" y="50"/>
                      </a:lnTo>
                      <a:lnTo>
                        <a:pt x="78" y="51"/>
                      </a:lnTo>
                      <a:lnTo>
                        <a:pt x="78" y="51"/>
                      </a:lnTo>
                      <a:lnTo>
                        <a:pt x="79" y="52"/>
                      </a:lnTo>
                      <a:lnTo>
                        <a:pt x="79" y="53"/>
                      </a:lnTo>
                      <a:lnTo>
                        <a:pt x="79" y="53"/>
                      </a:lnTo>
                      <a:lnTo>
                        <a:pt x="79" y="53"/>
                      </a:lnTo>
                      <a:lnTo>
                        <a:pt x="79" y="53"/>
                      </a:lnTo>
                      <a:lnTo>
                        <a:pt x="78" y="53"/>
                      </a:lnTo>
                      <a:lnTo>
                        <a:pt x="78" y="53"/>
                      </a:lnTo>
                      <a:lnTo>
                        <a:pt x="78" y="54"/>
                      </a:lnTo>
                      <a:lnTo>
                        <a:pt x="78" y="55"/>
                      </a:lnTo>
                      <a:lnTo>
                        <a:pt x="79" y="55"/>
                      </a:lnTo>
                      <a:lnTo>
                        <a:pt x="79" y="55"/>
                      </a:lnTo>
                      <a:lnTo>
                        <a:pt x="79" y="56"/>
                      </a:lnTo>
                      <a:lnTo>
                        <a:pt x="78" y="56"/>
                      </a:lnTo>
                      <a:lnTo>
                        <a:pt x="78" y="55"/>
                      </a:lnTo>
                      <a:lnTo>
                        <a:pt x="77" y="55"/>
                      </a:lnTo>
                      <a:lnTo>
                        <a:pt x="77" y="55"/>
                      </a:lnTo>
                      <a:lnTo>
                        <a:pt x="77" y="55"/>
                      </a:lnTo>
                      <a:lnTo>
                        <a:pt x="77" y="54"/>
                      </a:lnTo>
                      <a:lnTo>
                        <a:pt x="77" y="53"/>
                      </a:lnTo>
                      <a:lnTo>
                        <a:pt x="76" y="53"/>
                      </a:lnTo>
                      <a:lnTo>
                        <a:pt x="76" y="54"/>
                      </a:lnTo>
                      <a:lnTo>
                        <a:pt x="76" y="55"/>
                      </a:lnTo>
                      <a:lnTo>
                        <a:pt x="75" y="55"/>
                      </a:lnTo>
                      <a:lnTo>
                        <a:pt x="75" y="55"/>
                      </a:lnTo>
                      <a:lnTo>
                        <a:pt x="74" y="55"/>
                      </a:lnTo>
                      <a:lnTo>
                        <a:pt x="73" y="55"/>
                      </a:lnTo>
                      <a:lnTo>
                        <a:pt x="73" y="54"/>
                      </a:lnTo>
                      <a:lnTo>
                        <a:pt x="73" y="54"/>
                      </a:lnTo>
                      <a:lnTo>
                        <a:pt x="72" y="55"/>
                      </a:lnTo>
                      <a:lnTo>
                        <a:pt x="72" y="54"/>
                      </a:lnTo>
                      <a:lnTo>
                        <a:pt x="72" y="55"/>
                      </a:lnTo>
                      <a:lnTo>
                        <a:pt x="72" y="54"/>
                      </a:lnTo>
                      <a:lnTo>
                        <a:pt x="71" y="54"/>
                      </a:lnTo>
                      <a:lnTo>
                        <a:pt x="71" y="53"/>
                      </a:lnTo>
                      <a:lnTo>
                        <a:pt x="71" y="53"/>
                      </a:lnTo>
                      <a:lnTo>
                        <a:pt x="71" y="54"/>
                      </a:lnTo>
                      <a:lnTo>
                        <a:pt x="70" y="54"/>
                      </a:lnTo>
                      <a:lnTo>
                        <a:pt x="69" y="54"/>
                      </a:lnTo>
                      <a:lnTo>
                        <a:pt x="69" y="55"/>
                      </a:lnTo>
                      <a:lnTo>
                        <a:pt x="69" y="55"/>
                      </a:lnTo>
                      <a:lnTo>
                        <a:pt x="69" y="54"/>
                      </a:lnTo>
                      <a:lnTo>
                        <a:pt x="69" y="54"/>
                      </a:lnTo>
                      <a:lnTo>
                        <a:pt x="69" y="54"/>
                      </a:lnTo>
                      <a:lnTo>
                        <a:pt x="68" y="54"/>
                      </a:lnTo>
                      <a:lnTo>
                        <a:pt x="67" y="54"/>
                      </a:lnTo>
                      <a:lnTo>
                        <a:pt x="67" y="55"/>
                      </a:lnTo>
                      <a:lnTo>
                        <a:pt x="67" y="54"/>
                      </a:lnTo>
                      <a:lnTo>
                        <a:pt x="67" y="54"/>
                      </a:lnTo>
                      <a:lnTo>
                        <a:pt x="66" y="54"/>
                      </a:lnTo>
                      <a:lnTo>
                        <a:pt x="66" y="53"/>
                      </a:lnTo>
                      <a:lnTo>
                        <a:pt x="65" y="53"/>
                      </a:lnTo>
                      <a:lnTo>
                        <a:pt x="65" y="53"/>
                      </a:lnTo>
                      <a:lnTo>
                        <a:pt x="65" y="53"/>
                      </a:lnTo>
                      <a:lnTo>
                        <a:pt x="64" y="53"/>
                      </a:lnTo>
                      <a:lnTo>
                        <a:pt x="64" y="52"/>
                      </a:lnTo>
                      <a:lnTo>
                        <a:pt x="64" y="51"/>
                      </a:lnTo>
                      <a:lnTo>
                        <a:pt x="63" y="51"/>
                      </a:lnTo>
                      <a:lnTo>
                        <a:pt x="63" y="51"/>
                      </a:lnTo>
                      <a:lnTo>
                        <a:pt x="63" y="50"/>
                      </a:lnTo>
                      <a:lnTo>
                        <a:pt x="62" y="49"/>
                      </a:lnTo>
                      <a:lnTo>
                        <a:pt x="63" y="49"/>
                      </a:lnTo>
                      <a:lnTo>
                        <a:pt x="63" y="48"/>
                      </a:lnTo>
                      <a:lnTo>
                        <a:pt x="64" y="48"/>
                      </a:lnTo>
                      <a:lnTo>
                        <a:pt x="64" y="47"/>
                      </a:lnTo>
                      <a:lnTo>
                        <a:pt x="65" y="47"/>
                      </a:lnTo>
                      <a:lnTo>
                        <a:pt x="65" y="46"/>
                      </a:lnTo>
                      <a:lnTo>
                        <a:pt x="65" y="46"/>
                      </a:lnTo>
                      <a:lnTo>
                        <a:pt x="65" y="46"/>
                      </a:lnTo>
                      <a:lnTo>
                        <a:pt x="65" y="46"/>
                      </a:lnTo>
                      <a:lnTo>
                        <a:pt x="64" y="46"/>
                      </a:lnTo>
                      <a:lnTo>
                        <a:pt x="64" y="45"/>
                      </a:lnTo>
                      <a:lnTo>
                        <a:pt x="63" y="45"/>
                      </a:lnTo>
                      <a:lnTo>
                        <a:pt x="63" y="44"/>
                      </a:lnTo>
                      <a:lnTo>
                        <a:pt x="62" y="44"/>
                      </a:lnTo>
                      <a:lnTo>
                        <a:pt x="62" y="44"/>
                      </a:lnTo>
                      <a:lnTo>
                        <a:pt x="62" y="44"/>
                      </a:lnTo>
                      <a:lnTo>
                        <a:pt x="61" y="44"/>
                      </a:lnTo>
                      <a:lnTo>
                        <a:pt x="61" y="43"/>
                      </a:lnTo>
                      <a:lnTo>
                        <a:pt x="60" y="43"/>
                      </a:lnTo>
                      <a:lnTo>
                        <a:pt x="60" y="42"/>
                      </a:lnTo>
                      <a:lnTo>
                        <a:pt x="60" y="42"/>
                      </a:lnTo>
                      <a:lnTo>
                        <a:pt x="60" y="42"/>
                      </a:lnTo>
                      <a:lnTo>
                        <a:pt x="59" y="42"/>
                      </a:lnTo>
                      <a:lnTo>
                        <a:pt x="59" y="42"/>
                      </a:lnTo>
                      <a:lnTo>
                        <a:pt x="58" y="42"/>
                      </a:lnTo>
                      <a:lnTo>
                        <a:pt x="58" y="42"/>
                      </a:lnTo>
                      <a:lnTo>
                        <a:pt x="58" y="41"/>
                      </a:lnTo>
                      <a:lnTo>
                        <a:pt x="57" y="41"/>
                      </a:lnTo>
                      <a:lnTo>
                        <a:pt x="57" y="40"/>
                      </a:lnTo>
                      <a:lnTo>
                        <a:pt x="57" y="40"/>
                      </a:lnTo>
                      <a:lnTo>
                        <a:pt x="58" y="40"/>
                      </a:lnTo>
                      <a:lnTo>
                        <a:pt x="58" y="39"/>
                      </a:lnTo>
                      <a:lnTo>
                        <a:pt x="58" y="38"/>
                      </a:lnTo>
                      <a:lnTo>
                        <a:pt x="57" y="38"/>
                      </a:lnTo>
                      <a:lnTo>
                        <a:pt x="57" y="38"/>
                      </a:lnTo>
                      <a:lnTo>
                        <a:pt x="56" y="38"/>
                      </a:lnTo>
                      <a:lnTo>
                        <a:pt x="56" y="38"/>
                      </a:lnTo>
                      <a:lnTo>
                        <a:pt x="56" y="37"/>
                      </a:lnTo>
                      <a:lnTo>
                        <a:pt x="55" y="37"/>
                      </a:lnTo>
                      <a:lnTo>
                        <a:pt x="54" y="37"/>
                      </a:lnTo>
                      <a:lnTo>
                        <a:pt x="54" y="37"/>
                      </a:lnTo>
                      <a:lnTo>
                        <a:pt x="53" y="36"/>
                      </a:lnTo>
                      <a:lnTo>
                        <a:pt x="52" y="36"/>
                      </a:lnTo>
                      <a:lnTo>
                        <a:pt x="52" y="36"/>
                      </a:lnTo>
                      <a:lnTo>
                        <a:pt x="52" y="36"/>
                      </a:lnTo>
                      <a:lnTo>
                        <a:pt x="51" y="36"/>
                      </a:lnTo>
                      <a:lnTo>
                        <a:pt x="50" y="36"/>
                      </a:lnTo>
                      <a:lnTo>
                        <a:pt x="50" y="36"/>
                      </a:lnTo>
                      <a:lnTo>
                        <a:pt x="49" y="36"/>
                      </a:lnTo>
                      <a:lnTo>
                        <a:pt x="48" y="36"/>
                      </a:lnTo>
                      <a:lnTo>
                        <a:pt x="48" y="36"/>
                      </a:lnTo>
                      <a:lnTo>
                        <a:pt x="48" y="36"/>
                      </a:lnTo>
                      <a:lnTo>
                        <a:pt x="47" y="36"/>
                      </a:lnTo>
                      <a:lnTo>
                        <a:pt x="46" y="35"/>
                      </a:lnTo>
                      <a:lnTo>
                        <a:pt x="45" y="36"/>
                      </a:lnTo>
                      <a:lnTo>
                        <a:pt x="43" y="36"/>
                      </a:lnTo>
                      <a:lnTo>
                        <a:pt x="43" y="36"/>
                      </a:lnTo>
                      <a:lnTo>
                        <a:pt x="42" y="36"/>
                      </a:lnTo>
                      <a:lnTo>
                        <a:pt x="41" y="35"/>
                      </a:lnTo>
                      <a:lnTo>
                        <a:pt x="40" y="35"/>
                      </a:lnTo>
                      <a:lnTo>
                        <a:pt x="39" y="36"/>
                      </a:lnTo>
                      <a:lnTo>
                        <a:pt x="37" y="38"/>
                      </a:lnTo>
                      <a:lnTo>
                        <a:pt x="35" y="39"/>
                      </a:lnTo>
                      <a:lnTo>
                        <a:pt x="34" y="41"/>
                      </a:lnTo>
                      <a:lnTo>
                        <a:pt x="34" y="43"/>
                      </a:lnTo>
                      <a:lnTo>
                        <a:pt x="33" y="43"/>
                      </a:lnTo>
                      <a:lnTo>
                        <a:pt x="32" y="44"/>
                      </a:lnTo>
                      <a:lnTo>
                        <a:pt x="31" y="42"/>
                      </a:lnTo>
                      <a:lnTo>
                        <a:pt x="29" y="40"/>
                      </a:lnTo>
                      <a:lnTo>
                        <a:pt x="27" y="40"/>
                      </a:lnTo>
                      <a:lnTo>
                        <a:pt x="25" y="39"/>
                      </a:lnTo>
                      <a:lnTo>
                        <a:pt x="22" y="38"/>
                      </a:lnTo>
                      <a:lnTo>
                        <a:pt x="20" y="40"/>
                      </a:lnTo>
                      <a:lnTo>
                        <a:pt x="19" y="41"/>
                      </a:lnTo>
                      <a:lnTo>
                        <a:pt x="18" y="42"/>
                      </a:lnTo>
                      <a:lnTo>
                        <a:pt x="17" y="43"/>
                      </a:lnTo>
                      <a:lnTo>
                        <a:pt x="16" y="44"/>
                      </a:lnTo>
                      <a:lnTo>
                        <a:pt x="15" y="44"/>
                      </a:lnTo>
                      <a:lnTo>
                        <a:pt x="14" y="44"/>
                      </a:lnTo>
                      <a:lnTo>
                        <a:pt x="12" y="45"/>
                      </a:lnTo>
                      <a:lnTo>
                        <a:pt x="11" y="45"/>
                      </a:lnTo>
                      <a:lnTo>
                        <a:pt x="10" y="45"/>
                      </a:lnTo>
                      <a:lnTo>
                        <a:pt x="10" y="44"/>
                      </a:lnTo>
                      <a:lnTo>
                        <a:pt x="11" y="44"/>
                      </a:lnTo>
                      <a:lnTo>
                        <a:pt x="12" y="44"/>
                      </a:lnTo>
                      <a:lnTo>
                        <a:pt x="12" y="44"/>
                      </a:lnTo>
                      <a:lnTo>
                        <a:pt x="12" y="44"/>
                      </a:lnTo>
                      <a:lnTo>
                        <a:pt x="12" y="43"/>
                      </a:lnTo>
                      <a:lnTo>
                        <a:pt x="12" y="42"/>
                      </a:lnTo>
                      <a:lnTo>
                        <a:pt x="12" y="42"/>
                      </a:lnTo>
                      <a:lnTo>
                        <a:pt x="12" y="42"/>
                      </a:lnTo>
                      <a:lnTo>
                        <a:pt x="12" y="41"/>
                      </a:lnTo>
                      <a:lnTo>
                        <a:pt x="11" y="41"/>
                      </a:lnTo>
                      <a:lnTo>
                        <a:pt x="11" y="40"/>
                      </a:lnTo>
                      <a:lnTo>
                        <a:pt x="10" y="40"/>
                      </a:lnTo>
                      <a:lnTo>
                        <a:pt x="10" y="40"/>
                      </a:lnTo>
                      <a:lnTo>
                        <a:pt x="9" y="40"/>
                      </a:lnTo>
                      <a:lnTo>
                        <a:pt x="9" y="40"/>
                      </a:lnTo>
                      <a:lnTo>
                        <a:pt x="9" y="39"/>
                      </a:lnTo>
                      <a:lnTo>
                        <a:pt x="9" y="38"/>
                      </a:lnTo>
                      <a:lnTo>
                        <a:pt x="9" y="38"/>
                      </a:lnTo>
                      <a:lnTo>
                        <a:pt x="8" y="38"/>
                      </a:lnTo>
                      <a:lnTo>
                        <a:pt x="7" y="38"/>
                      </a:lnTo>
                      <a:lnTo>
                        <a:pt x="7" y="38"/>
                      </a:lnTo>
                      <a:lnTo>
                        <a:pt x="6" y="38"/>
                      </a:lnTo>
                      <a:lnTo>
                        <a:pt x="5" y="38"/>
                      </a:lnTo>
                      <a:lnTo>
                        <a:pt x="5" y="37"/>
                      </a:lnTo>
                      <a:lnTo>
                        <a:pt x="5" y="37"/>
                      </a:lnTo>
                      <a:lnTo>
                        <a:pt x="5" y="38"/>
                      </a:lnTo>
                      <a:lnTo>
                        <a:pt x="5" y="38"/>
                      </a:lnTo>
                      <a:lnTo>
                        <a:pt x="4" y="38"/>
                      </a:lnTo>
                      <a:lnTo>
                        <a:pt x="4" y="39"/>
                      </a:lnTo>
                      <a:lnTo>
                        <a:pt x="4" y="38"/>
                      </a:lnTo>
                      <a:lnTo>
                        <a:pt x="3" y="38"/>
                      </a:lnTo>
                      <a:lnTo>
                        <a:pt x="3" y="38"/>
                      </a:lnTo>
                      <a:lnTo>
                        <a:pt x="4" y="38"/>
                      </a:lnTo>
                      <a:lnTo>
                        <a:pt x="4" y="37"/>
                      </a:lnTo>
                      <a:lnTo>
                        <a:pt x="4" y="36"/>
                      </a:lnTo>
                      <a:lnTo>
                        <a:pt x="4" y="36"/>
                      </a:lnTo>
                      <a:lnTo>
                        <a:pt x="4" y="35"/>
                      </a:lnTo>
                      <a:lnTo>
                        <a:pt x="4" y="34"/>
                      </a:lnTo>
                      <a:lnTo>
                        <a:pt x="5" y="34"/>
                      </a:lnTo>
                      <a:lnTo>
                        <a:pt x="5" y="34"/>
                      </a:lnTo>
                      <a:lnTo>
                        <a:pt x="5" y="34"/>
                      </a:lnTo>
                      <a:lnTo>
                        <a:pt x="6" y="34"/>
                      </a:lnTo>
                      <a:lnTo>
                        <a:pt x="7" y="34"/>
                      </a:lnTo>
                      <a:lnTo>
                        <a:pt x="7" y="34"/>
                      </a:lnTo>
                      <a:lnTo>
                        <a:pt x="7" y="33"/>
                      </a:lnTo>
                      <a:lnTo>
                        <a:pt x="8" y="33"/>
                      </a:lnTo>
                      <a:lnTo>
                        <a:pt x="9" y="33"/>
                      </a:lnTo>
                      <a:lnTo>
                        <a:pt x="10" y="33"/>
                      </a:lnTo>
                      <a:lnTo>
                        <a:pt x="10" y="33"/>
                      </a:lnTo>
                      <a:lnTo>
                        <a:pt x="11" y="33"/>
                      </a:lnTo>
                      <a:lnTo>
                        <a:pt x="11" y="32"/>
                      </a:lnTo>
                      <a:lnTo>
                        <a:pt x="12" y="32"/>
                      </a:lnTo>
                      <a:lnTo>
                        <a:pt x="12" y="31"/>
                      </a:lnTo>
                      <a:lnTo>
                        <a:pt x="12" y="30"/>
                      </a:lnTo>
                      <a:lnTo>
                        <a:pt x="13" y="30"/>
                      </a:lnTo>
                      <a:lnTo>
                        <a:pt x="13" y="30"/>
                      </a:lnTo>
                      <a:lnTo>
                        <a:pt x="13" y="29"/>
                      </a:lnTo>
                      <a:lnTo>
                        <a:pt x="12" y="29"/>
                      </a:lnTo>
                      <a:lnTo>
                        <a:pt x="12" y="28"/>
                      </a:lnTo>
                      <a:lnTo>
                        <a:pt x="12" y="28"/>
                      </a:lnTo>
                      <a:lnTo>
                        <a:pt x="12" y="28"/>
                      </a:lnTo>
                      <a:lnTo>
                        <a:pt x="13" y="28"/>
                      </a:lnTo>
                      <a:lnTo>
                        <a:pt x="13" y="27"/>
                      </a:lnTo>
                      <a:lnTo>
                        <a:pt x="14" y="27"/>
                      </a:lnTo>
                      <a:lnTo>
                        <a:pt x="14" y="28"/>
                      </a:lnTo>
                      <a:lnTo>
                        <a:pt x="14" y="28"/>
                      </a:lnTo>
                      <a:lnTo>
                        <a:pt x="15" y="28"/>
                      </a:lnTo>
                      <a:lnTo>
                        <a:pt x="15" y="27"/>
                      </a:lnTo>
                      <a:lnTo>
                        <a:pt x="16" y="27"/>
                      </a:lnTo>
                      <a:lnTo>
                        <a:pt x="16" y="26"/>
                      </a:lnTo>
                      <a:lnTo>
                        <a:pt x="16" y="26"/>
                      </a:lnTo>
                      <a:lnTo>
                        <a:pt x="16" y="25"/>
                      </a:lnTo>
                      <a:lnTo>
                        <a:pt x="16" y="25"/>
                      </a:lnTo>
                      <a:lnTo>
                        <a:pt x="16" y="24"/>
                      </a:lnTo>
                      <a:lnTo>
                        <a:pt x="16" y="24"/>
                      </a:lnTo>
                      <a:lnTo>
                        <a:pt x="16" y="23"/>
                      </a:lnTo>
                      <a:lnTo>
                        <a:pt x="16" y="23"/>
                      </a:lnTo>
                      <a:lnTo>
                        <a:pt x="16" y="22"/>
                      </a:lnTo>
                      <a:lnTo>
                        <a:pt x="15" y="22"/>
                      </a:lnTo>
                      <a:lnTo>
                        <a:pt x="14" y="22"/>
                      </a:lnTo>
                      <a:lnTo>
                        <a:pt x="14" y="21"/>
                      </a:lnTo>
                      <a:lnTo>
                        <a:pt x="14" y="21"/>
                      </a:lnTo>
                      <a:lnTo>
                        <a:pt x="14" y="21"/>
                      </a:lnTo>
                      <a:lnTo>
                        <a:pt x="13" y="21"/>
                      </a:lnTo>
                      <a:lnTo>
                        <a:pt x="13" y="20"/>
                      </a:lnTo>
                      <a:lnTo>
                        <a:pt x="12" y="20"/>
                      </a:lnTo>
                      <a:lnTo>
                        <a:pt x="12" y="20"/>
                      </a:lnTo>
                      <a:lnTo>
                        <a:pt x="12" y="19"/>
                      </a:lnTo>
                      <a:lnTo>
                        <a:pt x="12" y="19"/>
                      </a:lnTo>
                      <a:lnTo>
                        <a:pt x="13" y="19"/>
                      </a:lnTo>
                      <a:lnTo>
                        <a:pt x="13" y="19"/>
                      </a:lnTo>
                      <a:lnTo>
                        <a:pt x="14" y="19"/>
                      </a:lnTo>
                      <a:lnTo>
                        <a:pt x="14" y="19"/>
                      </a:lnTo>
                      <a:lnTo>
                        <a:pt x="14" y="19"/>
                      </a:lnTo>
                      <a:lnTo>
                        <a:pt x="14" y="18"/>
                      </a:lnTo>
                      <a:lnTo>
                        <a:pt x="14" y="17"/>
                      </a:lnTo>
                      <a:lnTo>
                        <a:pt x="14" y="17"/>
                      </a:lnTo>
                      <a:lnTo>
                        <a:pt x="14" y="17"/>
                      </a:lnTo>
                      <a:lnTo>
                        <a:pt x="14" y="16"/>
                      </a:lnTo>
                      <a:lnTo>
                        <a:pt x="13" y="16"/>
                      </a:lnTo>
                      <a:lnTo>
                        <a:pt x="12" y="16"/>
                      </a:lnTo>
                      <a:lnTo>
                        <a:pt x="12" y="15"/>
                      </a:lnTo>
                      <a:lnTo>
                        <a:pt x="12" y="15"/>
                      </a:lnTo>
                      <a:lnTo>
                        <a:pt x="12" y="15"/>
                      </a:lnTo>
                      <a:lnTo>
                        <a:pt x="11" y="15"/>
                      </a:lnTo>
                      <a:lnTo>
                        <a:pt x="11" y="14"/>
                      </a:lnTo>
                      <a:lnTo>
                        <a:pt x="11" y="13"/>
                      </a:lnTo>
                      <a:lnTo>
                        <a:pt x="12" y="13"/>
                      </a:lnTo>
                      <a:lnTo>
                        <a:pt x="12" y="13"/>
                      </a:lnTo>
                      <a:lnTo>
                        <a:pt x="12" y="12"/>
                      </a:lnTo>
                      <a:lnTo>
                        <a:pt x="11" y="12"/>
                      </a:lnTo>
                      <a:lnTo>
                        <a:pt x="10" y="12"/>
                      </a:lnTo>
                      <a:lnTo>
                        <a:pt x="10" y="13"/>
                      </a:lnTo>
                      <a:lnTo>
                        <a:pt x="10" y="13"/>
                      </a:lnTo>
                      <a:lnTo>
                        <a:pt x="10" y="13"/>
                      </a:lnTo>
                      <a:lnTo>
                        <a:pt x="10" y="13"/>
                      </a:lnTo>
                      <a:lnTo>
                        <a:pt x="10" y="12"/>
                      </a:lnTo>
                      <a:lnTo>
                        <a:pt x="10" y="12"/>
                      </a:lnTo>
                      <a:lnTo>
                        <a:pt x="10" y="12"/>
                      </a:lnTo>
                      <a:lnTo>
                        <a:pt x="9" y="12"/>
                      </a:lnTo>
                      <a:lnTo>
                        <a:pt x="9" y="13"/>
                      </a:lnTo>
                      <a:lnTo>
                        <a:pt x="9" y="12"/>
                      </a:lnTo>
                      <a:lnTo>
                        <a:pt x="9" y="13"/>
                      </a:lnTo>
                      <a:lnTo>
                        <a:pt x="8" y="13"/>
                      </a:lnTo>
                      <a:lnTo>
                        <a:pt x="8" y="12"/>
                      </a:lnTo>
                      <a:lnTo>
                        <a:pt x="7" y="12"/>
                      </a:lnTo>
                      <a:lnTo>
                        <a:pt x="7" y="12"/>
                      </a:lnTo>
                      <a:lnTo>
                        <a:pt x="7" y="11"/>
                      </a:lnTo>
                      <a:lnTo>
                        <a:pt x="6" y="11"/>
                      </a:lnTo>
                      <a:lnTo>
                        <a:pt x="5" y="11"/>
                      </a:lnTo>
                      <a:lnTo>
                        <a:pt x="5" y="11"/>
                      </a:lnTo>
                      <a:lnTo>
                        <a:pt x="5" y="11"/>
                      </a:lnTo>
                      <a:lnTo>
                        <a:pt x="5" y="10"/>
                      </a:lnTo>
                      <a:lnTo>
                        <a:pt x="4" y="10"/>
                      </a:lnTo>
                      <a:lnTo>
                        <a:pt x="4" y="9"/>
                      </a:lnTo>
                      <a:lnTo>
                        <a:pt x="3" y="9"/>
                      </a:lnTo>
                      <a:lnTo>
                        <a:pt x="3" y="9"/>
                      </a:lnTo>
                      <a:lnTo>
                        <a:pt x="3" y="9"/>
                      </a:lnTo>
                      <a:lnTo>
                        <a:pt x="3" y="8"/>
                      </a:lnTo>
                      <a:lnTo>
                        <a:pt x="2" y="8"/>
                      </a:lnTo>
                      <a:lnTo>
                        <a:pt x="2" y="7"/>
                      </a:lnTo>
                      <a:lnTo>
                        <a:pt x="2" y="8"/>
                      </a:lnTo>
                      <a:lnTo>
                        <a:pt x="2" y="7"/>
                      </a:lnTo>
                      <a:lnTo>
                        <a:pt x="1" y="7"/>
                      </a:lnTo>
                      <a:lnTo>
                        <a:pt x="1" y="7"/>
                      </a:lnTo>
                      <a:lnTo>
                        <a:pt x="1" y="6"/>
                      </a:lnTo>
                      <a:lnTo>
                        <a:pt x="0" y="6"/>
                      </a:lnTo>
                      <a:lnTo>
                        <a:pt x="0" y="6"/>
                      </a:lnTo>
                      <a:lnTo>
                        <a:pt x="1" y="6"/>
                      </a:lnTo>
                      <a:lnTo>
                        <a:pt x="1" y="6"/>
                      </a:lnTo>
                      <a:lnTo>
                        <a:pt x="1" y="6"/>
                      </a:lnTo>
                      <a:lnTo>
                        <a:pt x="1" y="7"/>
                      </a:lnTo>
                      <a:lnTo>
                        <a:pt x="2" y="7"/>
                      </a:lnTo>
                      <a:lnTo>
                        <a:pt x="2" y="8"/>
                      </a:lnTo>
                      <a:lnTo>
                        <a:pt x="3" y="8"/>
                      </a:lnTo>
                      <a:lnTo>
                        <a:pt x="3" y="9"/>
                      </a:lnTo>
                      <a:lnTo>
                        <a:pt x="3" y="9"/>
                      </a:lnTo>
                      <a:lnTo>
                        <a:pt x="4" y="9"/>
                      </a:lnTo>
                      <a:lnTo>
                        <a:pt x="4" y="9"/>
                      </a:lnTo>
                      <a:lnTo>
                        <a:pt x="5" y="9"/>
                      </a:lnTo>
                      <a:lnTo>
                        <a:pt x="5" y="10"/>
                      </a:lnTo>
                      <a:lnTo>
                        <a:pt x="5" y="10"/>
                      </a:lnTo>
                      <a:lnTo>
                        <a:pt x="6" y="10"/>
                      </a:lnTo>
                      <a:lnTo>
                        <a:pt x="6" y="11"/>
                      </a:lnTo>
                      <a:lnTo>
                        <a:pt x="7" y="11"/>
                      </a:lnTo>
                      <a:lnTo>
                        <a:pt x="7" y="10"/>
                      </a:lnTo>
                      <a:lnTo>
                        <a:pt x="7" y="9"/>
                      </a:lnTo>
                      <a:lnTo>
                        <a:pt x="6" y="9"/>
                      </a:lnTo>
                      <a:lnTo>
                        <a:pt x="6" y="9"/>
                      </a:lnTo>
                      <a:lnTo>
                        <a:pt x="6" y="8"/>
                      </a:lnTo>
                      <a:lnTo>
                        <a:pt x="5" y="8"/>
                      </a:lnTo>
                      <a:lnTo>
                        <a:pt x="5" y="7"/>
                      </a:lnTo>
                      <a:lnTo>
                        <a:pt x="5" y="7"/>
                      </a:lnTo>
                      <a:lnTo>
                        <a:pt x="5" y="6"/>
                      </a:lnTo>
                      <a:lnTo>
                        <a:pt x="4" y="6"/>
                      </a:lnTo>
                      <a:lnTo>
                        <a:pt x="4" y="6"/>
                      </a:lnTo>
                      <a:lnTo>
                        <a:pt x="4" y="5"/>
                      </a:lnTo>
                      <a:lnTo>
                        <a:pt x="3" y="4"/>
                      </a:lnTo>
                      <a:lnTo>
                        <a:pt x="3" y="5"/>
                      </a:lnTo>
                      <a:lnTo>
                        <a:pt x="3" y="5"/>
                      </a:lnTo>
                      <a:lnTo>
                        <a:pt x="3" y="4"/>
                      </a:lnTo>
                      <a:lnTo>
                        <a:pt x="3" y="4"/>
                      </a:lnTo>
                      <a:lnTo>
                        <a:pt x="2" y="3"/>
                      </a:lnTo>
                      <a:lnTo>
                        <a:pt x="1" y="3"/>
                      </a:lnTo>
                      <a:lnTo>
                        <a:pt x="2" y="3"/>
                      </a:lnTo>
                      <a:lnTo>
                        <a:pt x="2" y="2"/>
                      </a:lnTo>
                      <a:lnTo>
                        <a:pt x="2" y="2"/>
                      </a:lnTo>
                      <a:lnTo>
                        <a:pt x="1" y="2"/>
                      </a:lnTo>
                      <a:lnTo>
                        <a:pt x="1" y="1"/>
                      </a:lnTo>
                      <a:lnTo>
                        <a:pt x="1" y="1"/>
                      </a:lnTo>
                      <a:lnTo>
                        <a:pt x="1" y="0"/>
                      </a:lnTo>
                      <a:lnTo>
                        <a:pt x="1"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6" name="Freeform 36">
                  <a:extLst>
                    <a:ext uri="{FF2B5EF4-FFF2-40B4-BE49-F238E27FC236}">
                      <a16:creationId xmlns:a16="http://schemas.microsoft.com/office/drawing/2014/main" xmlns="" id="{D87FD39B-9A2A-1B01-62AA-127FE976A838}"/>
                    </a:ext>
                  </a:extLst>
                </p:cNvPr>
                <p:cNvSpPr>
                  <a:spLocks/>
                </p:cNvSpPr>
                <p:nvPr/>
              </p:nvSpPr>
              <p:spPr bwMode="auto">
                <a:xfrm>
                  <a:off x="2107" y="2426"/>
                  <a:ext cx="5" cy="4"/>
                </a:xfrm>
                <a:custGeom>
                  <a:avLst/>
                  <a:gdLst>
                    <a:gd name="T0" fmla="*/ 3 w 5"/>
                    <a:gd name="T1" fmla="*/ 1 h 4"/>
                    <a:gd name="T2" fmla="*/ 3 w 5"/>
                    <a:gd name="T3" fmla="*/ 2 h 4"/>
                    <a:gd name="T4" fmla="*/ 4 w 5"/>
                    <a:gd name="T5" fmla="*/ 2 h 4"/>
                    <a:gd name="T6" fmla="*/ 4 w 5"/>
                    <a:gd name="T7" fmla="*/ 2 h 4"/>
                    <a:gd name="T8" fmla="*/ 4 w 5"/>
                    <a:gd name="T9" fmla="*/ 2 h 4"/>
                    <a:gd name="T10" fmla="*/ 5 w 5"/>
                    <a:gd name="T11" fmla="*/ 3 h 4"/>
                    <a:gd name="T12" fmla="*/ 5 w 5"/>
                    <a:gd name="T13" fmla="*/ 4 h 4"/>
                    <a:gd name="T14" fmla="*/ 5 w 5"/>
                    <a:gd name="T15" fmla="*/ 3 h 4"/>
                    <a:gd name="T16" fmla="*/ 4 w 5"/>
                    <a:gd name="T17" fmla="*/ 3 h 4"/>
                    <a:gd name="T18" fmla="*/ 4 w 5"/>
                    <a:gd name="T19" fmla="*/ 3 h 4"/>
                    <a:gd name="T20" fmla="*/ 3 w 5"/>
                    <a:gd name="T21" fmla="*/ 3 h 4"/>
                    <a:gd name="T22" fmla="*/ 2 w 5"/>
                    <a:gd name="T23" fmla="*/ 3 h 4"/>
                    <a:gd name="T24" fmla="*/ 2 w 5"/>
                    <a:gd name="T25" fmla="*/ 2 h 4"/>
                    <a:gd name="T26" fmla="*/ 2 w 5"/>
                    <a:gd name="T27" fmla="*/ 2 h 4"/>
                    <a:gd name="T28" fmla="*/ 2 w 5"/>
                    <a:gd name="T29" fmla="*/ 2 h 4"/>
                    <a:gd name="T30" fmla="*/ 1 w 5"/>
                    <a:gd name="T31" fmla="*/ 2 h 4"/>
                    <a:gd name="T32" fmla="*/ 1 w 5"/>
                    <a:gd name="T33" fmla="*/ 1 h 4"/>
                    <a:gd name="T34" fmla="*/ 0 w 5"/>
                    <a:gd name="T35" fmla="*/ 1 h 4"/>
                    <a:gd name="T36" fmla="*/ 0 w 5"/>
                    <a:gd name="T37" fmla="*/ 0 h 4"/>
                    <a:gd name="T38" fmla="*/ 0 w 5"/>
                    <a:gd name="T39" fmla="*/ 0 h 4"/>
                    <a:gd name="T40" fmla="*/ 0 w 5"/>
                    <a:gd name="T41" fmla="*/ 0 h 4"/>
                    <a:gd name="T42" fmla="*/ 0 w 5"/>
                    <a:gd name="T43" fmla="*/ 0 h 4"/>
                    <a:gd name="T44" fmla="*/ 1 w 5"/>
                    <a:gd name="T45" fmla="*/ 0 h 4"/>
                    <a:gd name="T46" fmla="*/ 1 w 5"/>
                    <a:gd name="T47" fmla="*/ 0 h 4"/>
                    <a:gd name="T48" fmla="*/ 2 w 5"/>
                    <a:gd name="T49" fmla="*/ 0 h 4"/>
                    <a:gd name="T50" fmla="*/ 2 w 5"/>
                    <a:gd name="T51" fmla="*/ 1 h 4"/>
                    <a:gd name="T52" fmla="*/ 2 w 5"/>
                    <a:gd name="T53" fmla="*/ 1 h 4"/>
                    <a:gd name="T54" fmla="*/ 3 w 5"/>
                    <a:gd name="T5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4">
                      <a:moveTo>
                        <a:pt x="3" y="1"/>
                      </a:moveTo>
                      <a:lnTo>
                        <a:pt x="3" y="2"/>
                      </a:lnTo>
                      <a:lnTo>
                        <a:pt x="4" y="2"/>
                      </a:lnTo>
                      <a:lnTo>
                        <a:pt x="4" y="2"/>
                      </a:lnTo>
                      <a:lnTo>
                        <a:pt x="4" y="2"/>
                      </a:lnTo>
                      <a:lnTo>
                        <a:pt x="5" y="3"/>
                      </a:lnTo>
                      <a:lnTo>
                        <a:pt x="5" y="4"/>
                      </a:lnTo>
                      <a:lnTo>
                        <a:pt x="5" y="3"/>
                      </a:lnTo>
                      <a:lnTo>
                        <a:pt x="4" y="3"/>
                      </a:lnTo>
                      <a:lnTo>
                        <a:pt x="4" y="3"/>
                      </a:lnTo>
                      <a:lnTo>
                        <a:pt x="3" y="3"/>
                      </a:lnTo>
                      <a:lnTo>
                        <a:pt x="2" y="3"/>
                      </a:lnTo>
                      <a:lnTo>
                        <a:pt x="2" y="2"/>
                      </a:lnTo>
                      <a:lnTo>
                        <a:pt x="2" y="2"/>
                      </a:lnTo>
                      <a:lnTo>
                        <a:pt x="2" y="2"/>
                      </a:lnTo>
                      <a:lnTo>
                        <a:pt x="1" y="2"/>
                      </a:lnTo>
                      <a:lnTo>
                        <a:pt x="1" y="1"/>
                      </a:lnTo>
                      <a:lnTo>
                        <a:pt x="0" y="1"/>
                      </a:lnTo>
                      <a:lnTo>
                        <a:pt x="0" y="0"/>
                      </a:lnTo>
                      <a:lnTo>
                        <a:pt x="0" y="0"/>
                      </a:lnTo>
                      <a:lnTo>
                        <a:pt x="0" y="0"/>
                      </a:lnTo>
                      <a:lnTo>
                        <a:pt x="0" y="0"/>
                      </a:lnTo>
                      <a:lnTo>
                        <a:pt x="1" y="0"/>
                      </a:lnTo>
                      <a:lnTo>
                        <a:pt x="1" y="0"/>
                      </a:lnTo>
                      <a:lnTo>
                        <a:pt x="2" y="0"/>
                      </a:lnTo>
                      <a:lnTo>
                        <a:pt x="2" y="1"/>
                      </a:lnTo>
                      <a:lnTo>
                        <a:pt x="2" y="1"/>
                      </a:lnTo>
                      <a:lnTo>
                        <a:pt x="3"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7" name="Freeform 37">
                  <a:extLst>
                    <a:ext uri="{FF2B5EF4-FFF2-40B4-BE49-F238E27FC236}">
                      <a16:creationId xmlns:a16="http://schemas.microsoft.com/office/drawing/2014/main" xmlns="" id="{25A5D7CC-6A58-FE21-8744-671D9024EED2}"/>
                    </a:ext>
                  </a:extLst>
                </p:cNvPr>
                <p:cNvSpPr>
                  <a:spLocks/>
                </p:cNvSpPr>
                <p:nvPr/>
              </p:nvSpPr>
              <p:spPr bwMode="auto">
                <a:xfrm>
                  <a:off x="2070" y="2417"/>
                  <a:ext cx="3" cy="0"/>
                </a:xfrm>
                <a:custGeom>
                  <a:avLst/>
                  <a:gdLst>
                    <a:gd name="T0" fmla="*/ 0 w 3"/>
                    <a:gd name="T1" fmla="*/ 1 w 3"/>
                    <a:gd name="T2" fmla="*/ 1 w 3"/>
                    <a:gd name="T3" fmla="*/ 1 w 3"/>
                    <a:gd name="T4" fmla="*/ 2 w 3"/>
                    <a:gd name="T5" fmla="*/ 3 w 3"/>
                    <a:gd name="T6" fmla="*/ 2 w 3"/>
                    <a:gd name="T7" fmla="*/ 1 w 3"/>
                    <a:gd name="T8" fmla="*/ 1 w 3"/>
                    <a:gd name="T9" fmla="*/ 1 w 3"/>
                    <a:gd name="T10"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3">
                      <a:moveTo>
                        <a:pt x="0" y="0"/>
                      </a:moveTo>
                      <a:lnTo>
                        <a:pt x="1" y="0"/>
                      </a:lnTo>
                      <a:lnTo>
                        <a:pt x="1" y="0"/>
                      </a:lnTo>
                      <a:lnTo>
                        <a:pt x="1" y="0"/>
                      </a:lnTo>
                      <a:lnTo>
                        <a:pt x="2" y="0"/>
                      </a:lnTo>
                      <a:lnTo>
                        <a:pt x="3" y="0"/>
                      </a:lnTo>
                      <a:lnTo>
                        <a:pt x="2" y="0"/>
                      </a:lnTo>
                      <a:lnTo>
                        <a:pt x="1" y="0"/>
                      </a:lnTo>
                      <a:lnTo>
                        <a:pt x="1" y="0"/>
                      </a:lnTo>
                      <a:lnTo>
                        <a:pt x="1"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8" name="Freeform 38">
                  <a:extLst>
                    <a:ext uri="{FF2B5EF4-FFF2-40B4-BE49-F238E27FC236}">
                      <a16:creationId xmlns:a16="http://schemas.microsoft.com/office/drawing/2014/main" xmlns="" id="{29CEAFB2-411C-775B-BAB7-354F9C94DD39}"/>
                    </a:ext>
                  </a:extLst>
                </p:cNvPr>
                <p:cNvSpPr>
                  <a:spLocks/>
                </p:cNvSpPr>
                <p:nvPr/>
              </p:nvSpPr>
              <p:spPr bwMode="auto">
                <a:xfrm>
                  <a:off x="2081" y="2414"/>
                  <a:ext cx="1" cy="1"/>
                </a:xfrm>
                <a:custGeom>
                  <a:avLst/>
                  <a:gdLst>
                    <a:gd name="T0" fmla="*/ 0 w 1"/>
                    <a:gd name="T1" fmla="*/ 0 h 1"/>
                    <a:gd name="T2" fmla="*/ 1 w 1"/>
                    <a:gd name="T3" fmla="*/ 0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1" y="0"/>
                      </a:lnTo>
                      <a:lnTo>
                        <a:pt x="1" y="1"/>
                      </a:lnTo>
                      <a:lnTo>
                        <a:pt x="1"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29" name="Freeform 39">
                  <a:extLst>
                    <a:ext uri="{FF2B5EF4-FFF2-40B4-BE49-F238E27FC236}">
                      <a16:creationId xmlns:a16="http://schemas.microsoft.com/office/drawing/2014/main" xmlns="" id="{3DF961EB-8C9E-B8C0-4C05-63F626EB3F1A}"/>
                    </a:ext>
                  </a:extLst>
                </p:cNvPr>
                <p:cNvSpPr>
                  <a:spLocks/>
                </p:cNvSpPr>
                <p:nvPr/>
              </p:nvSpPr>
              <p:spPr bwMode="auto">
                <a:xfrm>
                  <a:off x="2073" y="2413"/>
                  <a:ext cx="19" cy="20"/>
                </a:xfrm>
                <a:custGeom>
                  <a:avLst/>
                  <a:gdLst>
                    <a:gd name="T0" fmla="*/ 6 w 19"/>
                    <a:gd name="T1" fmla="*/ 2 h 20"/>
                    <a:gd name="T2" fmla="*/ 6 w 19"/>
                    <a:gd name="T3" fmla="*/ 3 h 20"/>
                    <a:gd name="T4" fmla="*/ 8 w 19"/>
                    <a:gd name="T5" fmla="*/ 4 h 20"/>
                    <a:gd name="T6" fmla="*/ 9 w 19"/>
                    <a:gd name="T7" fmla="*/ 2 h 20"/>
                    <a:gd name="T8" fmla="*/ 10 w 19"/>
                    <a:gd name="T9" fmla="*/ 3 h 20"/>
                    <a:gd name="T10" fmla="*/ 11 w 19"/>
                    <a:gd name="T11" fmla="*/ 4 h 20"/>
                    <a:gd name="T12" fmla="*/ 10 w 19"/>
                    <a:gd name="T13" fmla="*/ 4 h 20"/>
                    <a:gd name="T14" fmla="*/ 8 w 19"/>
                    <a:gd name="T15" fmla="*/ 4 h 20"/>
                    <a:gd name="T16" fmla="*/ 8 w 19"/>
                    <a:gd name="T17" fmla="*/ 6 h 20"/>
                    <a:gd name="T18" fmla="*/ 10 w 19"/>
                    <a:gd name="T19" fmla="*/ 7 h 20"/>
                    <a:gd name="T20" fmla="*/ 11 w 19"/>
                    <a:gd name="T21" fmla="*/ 9 h 20"/>
                    <a:gd name="T22" fmla="*/ 12 w 19"/>
                    <a:gd name="T23" fmla="*/ 8 h 20"/>
                    <a:gd name="T24" fmla="*/ 13 w 19"/>
                    <a:gd name="T25" fmla="*/ 6 h 20"/>
                    <a:gd name="T26" fmla="*/ 13 w 19"/>
                    <a:gd name="T27" fmla="*/ 6 h 20"/>
                    <a:gd name="T28" fmla="*/ 15 w 19"/>
                    <a:gd name="T29" fmla="*/ 8 h 20"/>
                    <a:gd name="T30" fmla="*/ 14 w 19"/>
                    <a:gd name="T31" fmla="*/ 10 h 20"/>
                    <a:gd name="T32" fmla="*/ 17 w 19"/>
                    <a:gd name="T33" fmla="*/ 10 h 20"/>
                    <a:gd name="T34" fmla="*/ 18 w 19"/>
                    <a:gd name="T35" fmla="*/ 11 h 20"/>
                    <a:gd name="T36" fmla="*/ 18 w 19"/>
                    <a:gd name="T37" fmla="*/ 13 h 20"/>
                    <a:gd name="T38" fmla="*/ 18 w 19"/>
                    <a:gd name="T39" fmla="*/ 15 h 20"/>
                    <a:gd name="T40" fmla="*/ 19 w 19"/>
                    <a:gd name="T41" fmla="*/ 17 h 20"/>
                    <a:gd name="T42" fmla="*/ 19 w 19"/>
                    <a:gd name="T43" fmla="*/ 18 h 20"/>
                    <a:gd name="T44" fmla="*/ 17 w 19"/>
                    <a:gd name="T45" fmla="*/ 18 h 20"/>
                    <a:gd name="T46" fmla="*/ 16 w 19"/>
                    <a:gd name="T47" fmla="*/ 16 h 20"/>
                    <a:gd name="T48" fmla="*/ 15 w 19"/>
                    <a:gd name="T49" fmla="*/ 15 h 20"/>
                    <a:gd name="T50" fmla="*/ 13 w 19"/>
                    <a:gd name="T51" fmla="*/ 15 h 20"/>
                    <a:gd name="T52" fmla="*/ 11 w 19"/>
                    <a:gd name="T53" fmla="*/ 13 h 20"/>
                    <a:gd name="T54" fmla="*/ 10 w 19"/>
                    <a:gd name="T55" fmla="*/ 13 h 20"/>
                    <a:gd name="T56" fmla="*/ 11 w 19"/>
                    <a:gd name="T57" fmla="*/ 15 h 20"/>
                    <a:gd name="T58" fmla="*/ 12 w 19"/>
                    <a:gd name="T59" fmla="*/ 17 h 20"/>
                    <a:gd name="T60" fmla="*/ 13 w 19"/>
                    <a:gd name="T61" fmla="*/ 19 h 20"/>
                    <a:gd name="T62" fmla="*/ 13 w 19"/>
                    <a:gd name="T63" fmla="*/ 19 h 20"/>
                    <a:gd name="T64" fmla="*/ 11 w 19"/>
                    <a:gd name="T65" fmla="*/ 18 h 20"/>
                    <a:gd name="T66" fmla="*/ 11 w 19"/>
                    <a:gd name="T67" fmla="*/ 16 h 20"/>
                    <a:gd name="T68" fmla="*/ 9 w 19"/>
                    <a:gd name="T69" fmla="*/ 15 h 20"/>
                    <a:gd name="T70" fmla="*/ 6 w 19"/>
                    <a:gd name="T71" fmla="*/ 13 h 20"/>
                    <a:gd name="T72" fmla="*/ 5 w 19"/>
                    <a:gd name="T73" fmla="*/ 12 h 20"/>
                    <a:gd name="T74" fmla="*/ 4 w 19"/>
                    <a:gd name="T75" fmla="*/ 10 h 20"/>
                    <a:gd name="T76" fmla="*/ 4 w 19"/>
                    <a:gd name="T77" fmla="*/ 8 h 20"/>
                    <a:gd name="T78" fmla="*/ 3 w 19"/>
                    <a:gd name="T79" fmla="*/ 7 h 20"/>
                    <a:gd name="T80" fmla="*/ 5 w 19"/>
                    <a:gd name="T81" fmla="*/ 8 h 20"/>
                    <a:gd name="T82" fmla="*/ 6 w 19"/>
                    <a:gd name="T83" fmla="*/ 7 h 20"/>
                    <a:gd name="T84" fmla="*/ 4 w 19"/>
                    <a:gd name="T85" fmla="*/ 6 h 20"/>
                    <a:gd name="T86" fmla="*/ 4 w 19"/>
                    <a:gd name="T87" fmla="*/ 4 h 20"/>
                    <a:gd name="T88" fmla="*/ 2 w 19"/>
                    <a:gd name="T89" fmla="*/ 2 h 20"/>
                    <a:gd name="T90" fmla="*/ 0 w 19"/>
                    <a:gd name="T91" fmla="*/ 3 h 20"/>
                    <a:gd name="T92" fmla="*/ 0 w 19"/>
                    <a:gd name="T93" fmla="*/ 1 h 20"/>
                    <a:gd name="T94" fmla="*/ 2 w 19"/>
                    <a:gd name="T95" fmla="*/ 2 h 20"/>
                    <a:gd name="T96" fmla="*/ 2 w 19"/>
                    <a:gd name="T97" fmla="*/ 1 h 20"/>
                    <a:gd name="T98" fmla="*/ 4 w 19"/>
                    <a:gd name="T99" fmla="*/ 2 h 20"/>
                    <a:gd name="T100" fmla="*/ 5 w 19"/>
                    <a:gd name="T101" fmla="*/ 2 h 20"/>
                    <a:gd name="T102" fmla="*/ 4 w 19"/>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20">
                      <a:moveTo>
                        <a:pt x="5" y="0"/>
                      </a:moveTo>
                      <a:lnTo>
                        <a:pt x="5" y="1"/>
                      </a:lnTo>
                      <a:lnTo>
                        <a:pt x="6" y="1"/>
                      </a:lnTo>
                      <a:lnTo>
                        <a:pt x="6" y="2"/>
                      </a:lnTo>
                      <a:lnTo>
                        <a:pt x="6" y="2"/>
                      </a:lnTo>
                      <a:lnTo>
                        <a:pt x="6" y="2"/>
                      </a:lnTo>
                      <a:lnTo>
                        <a:pt x="6" y="2"/>
                      </a:lnTo>
                      <a:lnTo>
                        <a:pt x="6" y="3"/>
                      </a:lnTo>
                      <a:lnTo>
                        <a:pt x="6" y="3"/>
                      </a:lnTo>
                      <a:lnTo>
                        <a:pt x="6" y="4"/>
                      </a:lnTo>
                      <a:lnTo>
                        <a:pt x="7" y="4"/>
                      </a:lnTo>
                      <a:lnTo>
                        <a:pt x="8" y="4"/>
                      </a:lnTo>
                      <a:lnTo>
                        <a:pt x="8" y="3"/>
                      </a:lnTo>
                      <a:lnTo>
                        <a:pt x="8" y="2"/>
                      </a:lnTo>
                      <a:lnTo>
                        <a:pt x="8" y="2"/>
                      </a:lnTo>
                      <a:lnTo>
                        <a:pt x="9" y="2"/>
                      </a:lnTo>
                      <a:lnTo>
                        <a:pt x="9" y="2"/>
                      </a:lnTo>
                      <a:lnTo>
                        <a:pt x="9" y="2"/>
                      </a:lnTo>
                      <a:lnTo>
                        <a:pt x="10" y="2"/>
                      </a:lnTo>
                      <a:lnTo>
                        <a:pt x="10" y="3"/>
                      </a:lnTo>
                      <a:lnTo>
                        <a:pt x="11" y="3"/>
                      </a:lnTo>
                      <a:lnTo>
                        <a:pt x="11" y="3"/>
                      </a:lnTo>
                      <a:lnTo>
                        <a:pt x="11" y="4"/>
                      </a:lnTo>
                      <a:lnTo>
                        <a:pt x="11" y="4"/>
                      </a:lnTo>
                      <a:lnTo>
                        <a:pt x="11" y="4"/>
                      </a:lnTo>
                      <a:lnTo>
                        <a:pt x="11" y="4"/>
                      </a:lnTo>
                      <a:lnTo>
                        <a:pt x="11" y="4"/>
                      </a:lnTo>
                      <a:lnTo>
                        <a:pt x="10" y="4"/>
                      </a:lnTo>
                      <a:lnTo>
                        <a:pt x="10" y="4"/>
                      </a:lnTo>
                      <a:lnTo>
                        <a:pt x="9" y="4"/>
                      </a:lnTo>
                      <a:lnTo>
                        <a:pt x="8" y="4"/>
                      </a:lnTo>
                      <a:lnTo>
                        <a:pt x="8" y="4"/>
                      </a:lnTo>
                      <a:lnTo>
                        <a:pt x="8" y="4"/>
                      </a:lnTo>
                      <a:lnTo>
                        <a:pt x="8" y="5"/>
                      </a:lnTo>
                      <a:lnTo>
                        <a:pt x="8" y="5"/>
                      </a:lnTo>
                      <a:lnTo>
                        <a:pt x="8" y="6"/>
                      </a:lnTo>
                      <a:lnTo>
                        <a:pt x="9" y="6"/>
                      </a:lnTo>
                      <a:lnTo>
                        <a:pt x="9" y="6"/>
                      </a:lnTo>
                      <a:lnTo>
                        <a:pt x="10" y="6"/>
                      </a:lnTo>
                      <a:lnTo>
                        <a:pt x="10" y="7"/>
                      </a:lnTo>
                      <a:lnTo>
                        <a:pt x="10" y="8"/>
                      </a:lnTo>
                      <a:lnTo>
                        <a:pt x="11" y="8"/>
                      </a:lnTo>
                      <a:lnTo>
                        <a:pt x="11" y="8"/>
                      </a:lnTo>
                      <a:lnTo>
                        <a:pt x="11" y="9"/>
                      </a:lnTo>
                      <a:lnTo>
                        <a:pt x="11" y="8"/>
                      </a:lnTo>
                      <a:lnTo>
                        <a:pt x="11" y="9"/>
                      </a:lnTo>
                      <a:lnTo>
                        <a:pt x="11" y="8"/>
                      </a:lnTo>
                      <a:lnTo>
                        <a:pt x="12" y="8"/>
                      </a:lnTo>
                      <a:lnTo>
                        <a:pt x="12" y="7"/>
                      </a:lnTo>
                      <a:lnTo>
                        <a:pt x="13" y="7"/>
                      </a:lnTo>
                      <a:lnTo>
                        <a:pt x="13" y="6"/>
                      </a:lnTo>
                      <a:lnTo>
                        <a:pt x="13" y="6"/>
                      </a:lnTo>
                      <a:lnTo>
                        <a:pt x="13" y="6"/>
                      </a:lnTo>
                      <a:lnTo>
                        <a:pt x="13" y="6"/>
                      </a:lnTo>
                      <a:lnTo>
                        <a:pt x="13" y="6"/>
                      </a:lnTo>
                      <a:lnTo>
                        <a:pt x="13" y="6"/>
                      </a:lnTo>
                      <a:lnTo>
                        <a:pt x="14" y="6"/>
                      </a:lnTo>
                      <a:lnTo>
                        <a:pt x="14" y="7"/>
                      </a:lnTo>
                      <a:lnTo>
                        <a:pt x="15" y="7"/>
                      </a:lnTo>
                      <a:lnTo>
                        <a:pt x="15" y="8"/>
                      </a:lnTo>
                      <a:lnTo>
                        <a:pt x="15" y="9"/>
                      </a:lnTo>
                      <a:lnTo>
                        <a:pt x="15" y="9"/>
                      </a:lnTo>
                      <a:lnTo>
                        <a:pt x="14" y="9"/>
                      </a:lnTo>
                      <a:lnTo>
                        <a:pt x="14" y="10"/>
                      </a:lnTo>
                      <a:lnTo>
                        <a:pt x="15" y="10"/>
                      </a:lnTo>
                      <a:lnTo>
                        <a:pt x="15" y="10"/>
                      </a:lnTo>
                      <a:lnTo>
                        <a:pt x="16" y="10"/>
                      </a:lnTo>
                      <a:lnTo>
                        <a:pt x="17" y="10"/>
                      </a:lnTo>
                      <a:lnTo>
                        <a:pt x="17" y="11"/>
                      </a:lnTo>
                      <a:lnTo>
                        <a:pt x="17" y="11"/>
                      </a:lnTo>
                      <a:lnTo>
                        <a:pt x="18" y="11"/>
                      </a:lnTo>
                      <a:lnTo>
                        <a:pt x="18" y="11"/>
                      </a:lnTo>
                      <a:lnTo>
                        <a:pt x="17" y="11"/>
                      </a:lnTo>
                      <a:lnTo>
                        <a:pt x="17" y="12"/>
                      </a:lnTo>
                      <a:lnTo>
                        <a:pt x="18" y="12"/>
                      </a:lnTo>
                      <a:lnTo>
                        <a:pt x="18" y="13"/>
                      </a:lnTo>
                      <a:lnTo>
                        <a:pt x="18" y="13"/>
                      </a:lnTo>
                      <a:lnTo>
                        <a:pt x="17" y="13"/>
                      </a:lnTo>
                      <a:lnTo>
                        <a:pt x="18" y="14"/>
                      </a:lnTo>
                      <a:lnTo>
                        <a:pt x="18" y="15"/>
                      </a:lnTo>
                      <a:lnTo>
                        <a:pt x="18" y="15"/>
                      </a:lnTo>
                      <a:lnTo>
                        <a:pt x="18" y="16"/>
                      </a:lnTo>
                      <a:lnTo>
                        <a:pt x="19" y="16"/>
                      </a:lnTo>
                      <a:lnTo>
                        <a:pt x="19" y="17"/>
                      </a:lnTo>
                      <a:lnTo>
                        <a:pt x="18" y="17"/>
                      </a:lnTo>
                      <a:lnTo>
                        <a:pt x="18" y="17"/>
                      </a:lnTo>
                      <a:lnTo>
                        <a:pt x="18" y="18"/>
                      </a:lnTo>
                      <a:lnTo>
                        <a:pt x="19" y="18"/>
                      </a:lnTo>
                      <a:lnTo>
                        <a:pt x="19" y="19"/>
                      </a:lnTo>
                      <a:lnTo>
                        <a:pt x="18" y="19"/>
                      </a:lnTo>
                      <a:lnTo>
                        <a:pt x="17" y="19"/>
                      </a:lnTo>
                      <a:lnTo>
                        <a:pt x="17" y="18"/>
                      </a:lnTo>
                      <a:lnTo>
                        <a:pt x="17" y="17"/>
                      </a:lnTo>
                      <a:lnTo>
                        <a:pt x="17" y="17"/>
                      </a:lnTo>
                      <a:lnTo>
                        <a:pt x="16" y="17"/>
                      </a:lnTo>
                      <a:lnTo>
                        <a:pt x="16" y="16"/>
                      </a:lnTo>
                      <a:lnTo>
                        <a:pt x="15" y="16"/>
                      </a:lnTo>
                      <a:lnTo>
                        <a:pt x="15" y="15"/>
                      </a:lnTo>
                      <a:lnTo>
                        <a:pt x="15" y="15"/>
                      </a:lnTo>
                      <a:lnTo>
                        <a:pt x="15" y="15"/>
                      </a:lnTo>
                      <a:lnTo>
                        <a:pt x="14" y="15"/>
                      </a:lnTo>
                      <a:lnTo>
                        <a:pt x="13" y="15"/>
                      </a:lnTo>
                      <a:lnTo>
                        <a:pt x="13" y="14"/>
                      </a:lnTo>
                      <a:lnTo>
                        <a:pt x="13" y="15"/>
                      </a:lnTo>
                      <a:lnTo>
                        <a:pt x="13" y="14"/>
                      </a:lnTo>
                      <a:lnTo>
                        <a:pt x="13" y="13"/>
                      </a:lnTo>
                      <a:lnTo>
                        <a:pt x="12" y="13"/>
                      </a:lnTo>
                      <a:lnTo>
                        <a:pt x="11" y="13"/>
                      </a:lnTo>
                      <a:lnTo>
                        <a:pt x="11" y="13"/>
                      </a:lnTo>
                      <a:lnTo>
                        <a:pt x="11" y="13"/>
                      </a:lnTo>
                      <a:lnTo>
                        <a:pt x="10" y="13"/>
                      </a:lnTo>
                      <a:lnTo>
                        <a:pt x="10" y="13"/>
                      </a:lnTo>
                      <a:lnTo>
                        <a:pt x="10" y="14"/>
                      </a:lnTo>
                      <a:lnTo>
                        <a:pt x="11" y="14"/>
                      </a:lnTo>
                      <a:lnTo>
                        <a:pt x="11" y="15"/>
                      </a:lnTo>
                      <a:lnTo>
                        <a:pt x="11" y="15"/>
                      </a:lnTo>
                      <a:lnTo>
                        <a:pt x="11" y="16"/>
                      </a:lnTo>
                      <a:lnTo>
                        <a:pt x="11" y="17"/>
                      </a:lnTo>
                      <a:lnTo>
                        <a:pt x="12" y="17"/>
                      </a:lnTo>
                      <a:lnTo>
                        <a:pt x="12" y="17"/>
                      </a:lnTo>
                      <a:lnTo>
                        <a:pt x="12" y="18"/>
                      </a:lnTo>
                      <a:lnTo>
                        <a:pt x="13" y="18"/>
                      </a:lnTo>
                      <a:lnTo>
                        <a:pt x="13" y="19"/>
                      </a:lnTo>
                      <a:lnTo>
                        <a:pt x="13" y="19"/>
                      </a:lnTo>
                      <a:lnTo>
                        <a:pt x="13" y="19"/>
                      </a:lnTo>
                      <a:lnTo>
                        <a:pt x="13" y="20"/>
                      </a:lnTo>
                      <a:lnTo>
                        <a:pt x="13" y="19"/>
                      </a:lnTo>
                      <a:lnTo>
                        <a:pt x="13" y="19"/>
                      </a:lnTo>
                      <a:lnTo>
                        <a:pt x="13" y="19"/>
                      </a:lnTo>
                      <a:lnTo>
                        <a:pt x="12" y="19"/>
                      </a:lnTo>
                      <a:lnTo>
                        <a:pt x="12" y="18"/>
                      </a:lnTo>
                      <a:lnTo>
                        <a:pt x="11" y="18"/>
                      </a:lnTo>
                      <a:lnTo>
                        <a:pt x="11" y="18"/>
                      </a:lnTo>
                      <a:lnTo>
                        <a:pt x="11" y="17"/>
                      </a:lnTo>
                      <a:lnTo>
                        <a:pt x="11" y="17"/>
                      </a:lnTo>
                      <a:lnTo>
                        <a:pt x="11" y="16"/>
                      </a:lnTo>
                      <a:lnTo>
                        <a:pt x="11" y="15"/>
                      </a:lnTo>
                      <a:lnTo>
                        <a:pt x="10" y="15"/>
                      </a:lnTo>
                      <a:lnTo>
                        <a:pt x="9" y="15"/>
                      </a:lnTo>
                      <a:lnTo>
                        <a:pt x="9" y="15"/>
                      </a:lnTo>
                      <a:lnTo>
                        <a:pt x="8" y="15"/>
                      </a:lnTo>
                      <a:lnTo>
                        <a:pt x="8" y="14"/>
                      </a:lnTo>
                      <a:lnTo>
                        <a:pt x="7" y="14"/>
                      </a:lnTo>
                      <a:lnTo>
                        <a:pt x="6" y="13"/>
                      </a:lnTo>
                      <a:lnTo>
                        <a:pt x="6" y="13"/>
                      </a:lnTo>
                      <a:lnTo>
                        <a:pt x="6" y="13"/>
                      </a:lnTo>
                      <a:lnTo>
                        <a:pt x="6" y="12"/>
                      </a:lnTo>
                      <a:lnTo>
                        <a:pt x="5" y="12"/>
                      </a:lnTo>
                      <a:lnTo>
                        <a:pt x="5" y="11"/>
                      </a:lnTo>
                      <a:lnTo>
                        <a:pt x="5" y="11"/>
                      </a:lnTo>
                      <a:lnTo>
                        <a:pt x="4" y="11"/>
                      </a:lnTo>
                      <a:lnTo>
                        <a:pt x="4" y="10"/>
                      </a:lnTo>
                      <a:lnTo>
                        <a:pt x="4" y="9"/>
                      </a:lnTo>
                      <a:lnTo>
                        <a:pt x="4" y="9"/>
                      </a:lnTo>
                      <a:lnTo>
                        <a:pt x="4" y="9"/>
                      </a:lnTo>
                      <a:lnTo>
                        <a:pt x="4" y="8"/>
                      </a:lnTo>
                      <a:lnTo>
                        <a:pt x="3" y="8"/>
                      </a:lnTo>
                      <a:lnTo>
                        <a:pt x="3" y="7"/>
                      </a:lnTo>
                      <a:lnTo>
                        <a:pt x="3" y="6"/>
                      </a:lnTo>
                      <a:lnTo>
                        <a:pt x="3" y="7"/>
                      </a:lnTo>
                      <a:lnTo>
                        <a:pt x="4" y="7"/>
                      </a:lnTo>
                      <a:lnTo>
                        <a:pt x="4" y="8"/>
                      </a:lnTo>
                      <a:lnTo>
                        <a:pt x="4" y="8"/>
                      </a:lnTo>
                      <a:lnTo>
                        <a:pt x="5" y="8"/>
                      </a:lnTo>
                      <a:lnTo>
                        <a:pt x="5" y="9"/>
                      </a:lnTo>
                      <a:lnTo>
                        <a:pt x="5" y="8"/>
                      </a:lnTo>
                      <a:lnTo>
                        <a:pt x="6" y="8"/>
                      </a:lnTo>
                      <a:lnTo>
                        <a:pt x="6" y="7"/>
                      </a:lnTo>
                      <a:lnTo>
                        <a:pt x="6" y="6"/>
                      </a:lnTo>
                      <a:lnTo>
                        <a:pt x="5" y="6"/>
                      </a:lnTo>
                      <a:lnTo>
                        <a:pt x="5" y="6"/>
                      </a:lnTo>
                      <a:lnTo>
                        <a:pt x="4" y="6"/>
                      </a:lnTo>
                      <a:lnTo>
                        <a:pt x="4" y="5"/>
                      </a:lnTo>
                      <a:lnTo>
                        <a:pt x="4" y="5"/>
                      </a:lnTo>
                      <a:lnTo>
                        <a:pt x="4" y="4"/>
                      </a:lnTo>
                      <a:lnTo>
                        <a:pt x="4" y="4"/>
                      </a:lnTo>
                      <a:lnTo>
                        <a:pt x="3" y="4"/>
                      </a:lnTo>
                      <a:lnTo>
                        <a:pt x="2" y="4"/>
                      </a:lnTo>
                      <a:lnTo>
                        <a:pt x="2" y="3"/>
                      </a:lnTo>
                      <a:lnTo>
                        <a:pt x="2" y="2"/>
                      </a:lnTo>
                      <a:lnTo>
                        <a:pt x="2" y="2"/>
                      </a:lnTo>
                      <a:lnTo>
                        <a:pt x="1" y="2"/>
                      </a:lnTo>
                      <a:lnTo>
                        <a:pt x="1" y="3"/>
                      </a:lnTo>
                      <a:lnTo>
                        <a:pt x="0" y="3"/>
                      </a:lnTo>
                      <a:lnTo>
                        <a:pt x="0" y="3"/>
                      </a:lnTo>
                      <a:lnTo>
                        <a:pt x="0" y="2"/>
                      </a:lnTo>
                      <a:lnTo>
                        <a:pt x="0" y="2"/>
                      </a:lnTo>
                      <a:lnTo>
                        <a:pt x="0" y="1"/>
                      </a:lnTo>
                      <a:lnTo>
                        <a:pt x="0" y="1"/>
                      </a:lnTo>
                      <a:lnTo>
                        <a:pt x="1" y="1"/>
                      </a:lnTo>
                      <a:lnTo>
                        <a:pt x="1" y="2"/>
                      </a:lnTo>
                      <a:lnTo>
                        <a:pt x="2" y="2"/>
                      </a:lnTo>
                      <a:lnTo>
                        <a:pt x="2" y="1"/>
                      </a:lnTo>
                      <a:lnTo>
                        <a:pt x="2" y="2"/>
                      </a:lnTo>
                      <a:lnTo>
                        <a:pt x="2" y="2"/>
                      </a:lnTo>
                      <a:lnTo>
                        <a:pt x="2" y="1"/>
                      </a:lnTo>
                      <a:lnTo>
                        <a:pt x="2" y="2"/>
                      </a:lnTo>
                      <a:lnTo>
                        <a:pt x="3" y="2"/>
                      </a:lnTo>
                      <a:lnTo>
                        <a:pt x="3" y="2"/>
                      </a:lnTo>
                      <a:lnTo>
                        <a:pt x="4" y="2"/>
                      </a:lnTo>
                      <a:lnTo>
                        <a:pt x="4" y="2"/>
                      </a:lnTo>
                      <a:lnTo>
                        <a:pt x="4" y="2"/>
                      </a:lnTo>
                      <a:lnTo>
                        <a:pt x="4" y="2"/>
                      </a:lnTo>
                      <a:lnTo>
                        <a:pt x="5" y="2"/>
                      </a:lnTo>
                      <a:lnTo>
                        <a:pt x="5" y="2"/>
                      </a:lnTo>
                      <a:lnTo>
                        <a:pt x="5" y="1"/>
                      </a:lnTo>
                      <a:lnTo>
                        <a:pt x="5" y="0"/>
                      </a:lnTo>
                      <a:lnTo>
                        <a:pt x="4" y="0"/>
                      </a:lnTo>
                      <a:lnTo>
                        <a:pt x="4" y="0"/>
                      </a:lnTo>
                      <a:lnTo>
                        <a:pt x="5" y="0"/>
                      </a:lnTo>
                      <a:lnTo>
                        <a:pt x="5"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0" name="Freeform 40">
                  <a:extLst>
                    <a:ext uri="{FF2B5EF4-FFF2-40B4-BE49-F238E27FC236}">
                      <a16:creationId xmlns:a16="http://schemas.microsoft.com/office/drawing/2014/main" xmlns="" id="{84DFEBD8-9176-F4D4-DE48-EEB4B0C5352E}"/>
                    </a:ext>
                  </a:extLst>
                </p:cNvPr>
                <p:cNvSpPr>
                  <a:spLocks/>
                </p:cNvSpPr>
                <p:nvPr/>
              </p:nvSpPr>
              <p:spPr bwMode="auto">
                <a:xfrm>
                  <a:off x="2078" y="2411"/>
                  <a:ext cx="1" cy="1"/>
                </a:xfrm>
                <a:custGeom>
                  <a:avLst/>
                  <a:gdLst>
                    <a:gd name="T0" fmla="*/ 1 w 1"/>
                    <a:gd name="T1" fmla="*/ 1 h 1"/>
                    <a:gd name="T2" fmla="*/ 0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0" y="1"/>
                      </a:lnTo>
                      <a:lnTo>
                        <a:pt x="0" y="0"/>
                      </a:lnTo>
                      <a:lnTo>
                        <a:pt x="0" y="1"/>
                      </a:lnTo>
                      <a:lnTo>
                        <a:pt x="1"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1" name="Freeform 41">
                  <a:extLst>
                    <a:ext uri="{FF2B5EF4-FFF2-40B4-BE49-F238E27FC236}">
                      <a16:creationId xmlns:a16="http://schemas.microsoft.com/office/drawing/2014/main" xmlns="" id="{FEE2A9ED-35A7-2313-A140-C51DB6127661}"/>
                    </a:ext>
                  </a:extLst>
                </p:cNvPr>
                <p:cNvSpPr>
                  <a:spLocks/>
                </p:cNvSpPr>
                <p:nvPr/>
              </p:nvSpPr>
              <p:spPr bwMode="auto">
                <a:xfrm>
                  <a:off x="2074" y="2410"/>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2" name="Rectangle 42">
                  <a:extLst>
                    <a:ext uri="{FF2B5EF4-FFF2-40B4-BE49-F238E27FC236}">
                      <a16:creationId xmlns:a16="http://schemas.microsoft.com/office/drawing/2014/main" xmlns="" id="{7D24AC4B-95CC-6C23-2552-FE10CA9A980D}"/>
                    </a:ext>
                  </a:extLst>
                </p:cNvPr>
                <p:cNvSpPr>
                  <a:spLocks noChangeArrowheads="1"/>
                </p:cNvSpPr>
                <p:nvPr/>
              </p:nvSpPr>
              <p:spPr bwMode="auto">
                <a:xfrm>
                  <a:off x="2068" y="2409"/>
                  <a:ext cx="1" cy="1"/>
                </a:xfrm>
                <a:prstGeom prst="rect">
                  <a:avLst/>
                </a:prstGeom>
                <a:noFill/>
                <a:ln w="3175">
                  <a:solidFill>
                    <a:srgbClr val="B3B3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3" name="Freeform 43">
                  <a:extLst>
                    <a:ext uri="{FF2B5EF4-FFF2-40B4-BE49-F238E27FC236}">
                      <a16:creationId xmlns:a16="http://schemas.microsoft.com/office/drawing/2014/main" xmlns="" id="{5E2F340D-0870-836F-066D-17D8FA1C515B}"/>
                    </a:ext>
                  </a:extLst>
                </p:cNvPr>
                <p:cNvSpPr>
                  <a:spLocks/>
                </p:cNvSpPr>
                <p:nvPr/>
              </p:nvSpPr>
              <p:spPr bwMode="auto">
                <a:xfrm>
                  <a:off x="2071" y="2406"/>
                  <a:ext cx="1" cy="1"/>
                </a:xfrm>
                <a:custGeom>
                  <a:avLst/>
                  <a:gdLst>
                    <a:gd name="T0" fmla="*/ 1 w 1"/>
                    <a:gd name="T1" fmla="*/ 1 h 1"/>
                    <a:gd name="T2" fmla="*/ 0 w 1"/>
                    <a:gd name="T3" fmla="*/ 1 h 1"/>
                    <a:gd name="T4" fmla="*/ 0 w 1"/>
                    <a:gd name="T5" fmla="*/ 1 h 1"/>
                    <a:gd name="T6" fmla="*/ 0 w 1"/>
                    <a:gd name="T7" fmla="*/ 0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lnTo>
                        <a:pt x="0" y="1"/>
                      </a:lnTo>
                      <a:lnTo>
                        <a:pt x="0" y="1"/>
                      </a:lnTo>
                      <a:lnTo>
                        <a:pt x="0" y="0"/>
                      </a:lnTo>
                      <a:lnTo>
                        <a:pt x="0" y="1"/>
                      </a:lnTo>
                      <a:lnTo>
                        <a:pt x="1" y="1"/>
                      </a:lnTo>
                      <a:lnTo>
                        <a:pt x="1"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4" name="Freeform 44">
                  <a:extLst>
                    <a:ext uri="{FF2B5EF4-FFF2-40B4-BE49-F238E27FC236}">
                      <a16:creationId xmlns:a16="http://schemas.microsoft.com/office/drawing/2014/main" xmlns="" id="{AFE0F374-8837-DC0F-C472-2B0836ACF5BC}"/>
                    </a:ext>
                  </a:extLst>
                </p:cNvPr>
                <p:cNvSpPr>
                  <a:spLocks/>
                </p:cNvSpPr>
                <p:nvPr/>
              </p:nvSpPr>
              <p:spPr bwMode="auto">
                <a:xfrm>
                  <a:off x="2051" y="2350"/>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5" name="Rectangle 45">
                  <a:extLst>
                    <a:ext uri="{FF2B5EF4-FFF2-40B4-BE49-F238E27FC236}">
                      <a16:creationId xmlns:a16="http://schemas.microsoft.com/office/drawing/2014/main" xmlns="" id="{FBFEE5AF-96D4-134C-A62D-2D74C2F82868}"/>
                    </a:ext>
                  </a:extLst>
                </p:cNvPr>
                <p:cNvSpPr>
                  <a:spLocks noChangeArrowheads="1"/>
                </p:cNvSpPr>
                <p:nvPr/>
              </p:nvSpPr>
              <p:spPr bwMode="auto">
                <a:xfrm>
                  <a:off x="2071" y="2341"/>
                  <a:ext cx="1" cy="1"/>
                </a:xfrm>
                <a:prstGeom prst="rect">
                  <a:avLst/>
                </a:prstGeom>
                <a:noFill/>
                <a:ln w="3175">
                  <a:solidFill>
                    <a:srgbClr val="B3B3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6" name="Freeform 46">
                  <a:extLst>
                    <a:ext uri="{FF2B5EF4-FFF2-40B4-BE49-F238E27FC236}">
                      <a16:creationId xmlns:a16="http://schemas.microsoft.com/office/drawing/2014/main" xmlns="" id="{06AC2871-4EFE-7E63-B2D7-8D38350E02CD}"/>
                    </a:ext>
                  </a:extLst>
                </p:cNvPr>
                <p:cNvSpPr>
                  <a:spLocks/>
                </p:cNvSpPr>
                <p:nvPr/>
              </p:nvSpPr>
              <p:spPr bwMode="auto">
                <a:xfrm>
                  <a:off x="2037" y="2332"/>
                  <a:ext cx="6" cy="5"/>
                </a:xfrm>
                <a:custGeom>
                  <a:avLst/>
                  <a:gdLst>
                    <a:gd name="T0" fmla="*/ 1 w 6"/>
                    <a:gd name="T1" fmla="*/ 1 h 5"/>
                    <a:gd name="T2" fmla="*/ 2 w 6"/>
                    <a:gd name="T3" fmla="*/ 1 h 5"/>
                    <a:gd name="T4" fmla="*/ 2 w 6"/>
                    <a:gd name="T5" fmla="*/ 2 h 5"/>
                    <a:gd name="T6" fmla="*/ 2 w 6"/>
                    <a:gd name="T7" fmla="*/ 2 h 5"/>
                    <a:gd name="T8" fmla="*/ 3 w 6"/>
                    <a:gd name="T9" fmla="*/ 2 h 5"/>
                    <a:gd name="T10" fmla="*/ 3 w 6"/>
                    <a:gd name="T11" fmla="*/ 3 h 5"/>
                    <a:gd name="T12" fmla="*/ 4 w 6"/>
                    <a:gd name="T13" fmla="*/ 3 h 5"/>
                    <a:gd name="T14" fmla="*/ 4 w 6"/>
                    <a:gd name="T15" fmla="*/ 3 h 5"/>
                    <a:gd name="T16" fmla="*/ 4 w 6"/>
                    <a:gd name="T17" fmla="*/ 3 h 5"/>
                    <a:gd name="T18" fmla="*/ 4 w 6"/>
                    <a:gd name="T19" fmla="*/ 4 h 5"/>
                    <a:gd name="T20" fmla="*/ 5 w 6"/>
                    <a:gd name="T21" fmla="*/ 4 h 5"/>
                    <a:gd name="T22" fmla="*/ 5 w 6"/>
                    <a:gd name="T23" fmla="*/ 5 h 5"/>
                    <a:gd name="T24" fmla="*/ 5 w 6"/>
                    <a:gd name="T25" fmla="*/ 5 h 5"/>
                    <a:gd name="T26" fmla="*/ 6 w 6"/>
                    <a:gd name="T27" fmla="*/ 5 h 5"/>
                    <a:gd name="T28" fmla="*/ 5 w 6"/>
                    <a:gd name="T29" fmla="*/ 5 h 5"/>
                    <a:gd name="T30" fmla="*/ 5 w 6"/>
                    <a:gd name="T31" fmla="*/ 5 h 5"/>
                    <a:gd name="T32" fmla="*/ 4 w 6"/>
                    <a:gd name="T33" fmla="*/ 5 h 5"/>
                    <a:gd name="T34" fmla="*/ 4 w 6"/>
                    <a:gd name="T35" fmla="*/ 4 h 5"/>
                    <a:gd name="T36" fmla="*/ 4 w 6"/>
                    <a:gd name="T37" fmla="*/ 4 h 5"/>
                    <a:gd name="T38" fmla="*/ 4 w 6"/>
                    <a:gd name="T39" fmla="*/ 3 h 5"/>
                    <a:gd name="T40" fmla="*/ 3 w 6"/>
                    <a:gd name="T41" fmla="*/ 3 h 5"/>
                    <a:gd name="T42" fmla="*/ 3 w 6"/>
                    <a:gd name="T43" fmla="*/ 3 h 5"/>
                    <a:gd name="T44" fmla="*/ 2 w 6"/>
                    <a:gd name="T45" fmla="*/ 3 h 5"/>
                    <a:gd name="T46" fmla="*/ 2 w 6"/>
                    <a:gd name="T47" fmla="*/ 3 h 5"/>
                    <a:gd name="T48" fmla="*/ 2 w 6"/>
                    <a:gd name="T49" fmla="*/ 2 h 5"/>
                    <a:gd name="T50" fmla="*/ 1 w 6"/>
                    <a:gd name="T51" fmla="*/ 2 h 5"/>
                    <a:gd name="T52" fmla="*/ 1 w 6"/>
                    <a:gd name="T53" fmla="*/ 1 h 5"/>
                    <a:gd name="T54" fmla="*/ 0 w 6"/>
                    <a:gd name="T55" fmla="*/ 1 h 5"/>
                    <a:gd name="T56" fmla="*/ 0 w 6"/>
                    <a:gd name="T57" fmla="*/ 1 h 5"/>
                    <a:gd name="T58" fmla="*/ 0 w 6"/>
                    <a:gd name="T59" fmla="*/ 0 h 5"/>
                    <a:gd name="T60" fmla="*/ 0 w 6"/>
                    <a:gd name="T61" fmla="*/ 1 h 5"/>
                    <a:gd name="T62" fmla="*/ 1 w 6"/>
                    <a:gd name="T63" fmla="*/ 1 h 5"/>
                    <a:gd name="T64" fmla="*/ 1 w 6"/>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1" y="1"/>
                      </a:moveTo>
                      <a:lnTo>
                        <a:pt x="2" y="1"/>
                      </a:lnTo>
                      <a:lnTo>
                        <a:pt x="2" y="2"/>
                      </a:lnTo>
                      <a:lnTo>
                        <a:pt x="2" y="2"/>
                      </a:lnTo>
                      <a:lnTo>
                        <a:pt x="3" y="2"/>
                      </a:lnTo>
                      <a:lnTo>
                        <a:pt x="3" y="3"/>
                      </a:lnTo>
                      <a:lnTo>
                        <a:pt x="4" y="3"/>
                      </a:lnTo>
                      <a:lnTo>
                        <a:pt x="4" y="3"/>
                      </a:lnTo>
                      <a:lnTo>
                        <a:pt x="4" y="3"/>
                      </a:lnTo>
                      <a:lnTo>
                        <a:pt x="4" y="4"/>
                      </a:lnTo>
                      <a:lnTo>
                        <a:pt x="5" y="4"/>
                      </a:lnTo>
                      <a:lnTo>
                        <a:pt x="5" y="5"/>
                      </a:lnTo>
                      <a:lnTo>
                        <a:pt x="5" y="5"/>
                      </a:lnTo>
                      <a:lnTo>
                        <a:pt x="6" y="5"/>
                      </a:lnTo>
                      <a:lnTo>
                        <a:pt x="5" y="5"/>
                      </a:lnTo>
                      <a:lnTo>
                        <a:pt x="5" y="5"/>
                      </a:lnTo>
                      <a:lnTo>
                        <a:pt x="4" y="5"/>
                      </a:lnTo>
                      <a:lnTo>
                        <a:pt x="4" y="4"/>
                      </a:lnTo>
                      <a:lnTo>
                        <a:pt x="4" y="4"/>
                      </a:lnTo>
                      <a:lnTo>
                        <a:pt x="4" y="3"/>
                      </a:lnTo>
                      <a:lnTo>
                        <a:pt x="3" y="3"/>
                      </a:lnTo>
                      <a:lnTo>
                        <a:pt x="3" y="3"/>
                      </a:lnTo>
                      <a:lnTo>
                        <a:pt x="2" y="3"/>
                      </a:lnTo>
                      <a:lnTo>
                        <a:pt x="2" y="3"/>
                      </a:lnTo>
                      <a:lnTo>
                        <a:pt x="2" y="2"/>
                      </a:lnTo>
                      <a:lnTo>
                        <a:pt x="1" y="2"/>
                      </a:lnTo>
                      <a:lnTo>
                        <a:pt x="1" y="1"/>
                      </a:lnTo>
                      <a:lnTo>
                        <a:pt x="0" y="1"/>
                      </a:lnTo>
                      <a:lnTo>
                        <a:pt x="0" y="1"/>
                      </a:lnTo>
                      <a:lnTo>
                        <a:pt x="0" y="0"/>
                      </a:lnTo>
                      <a:lnTo>
                        <a:pt x="0" y="1"/>
                      </a:lnTo>
                      <a:lnTo>
                        <a:pt x="1" y="1"/>
                      </a:lnTo>
                      <a:lnTo>
                        <a:pt x="1"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7" name="Freeform 47">
                  <a:extLst>
                    <a:ext uri="{FF2B5EF4-FFF2-40B4-BE49-F238E27FC236}">
                      <a16:creationId xmlns:a16="http://schemas.microsoft.com/office/drawing/2014/main" xmlns="" id="{758A228A-67BC-4615-09A3-A52D60679C02}"/>
                    </a:ext>
                  </a:extLst>
                </p:cNvPr>
                <p:cNvSpPr>
                  <a:spLocks/>
                </p:cNvSpPr>
                <p:nvPr/>
              </p:nvSpPr>
              <p:spPr bwMode="auto">
                <a:xfrm>
                  <a:off x="2362" y="1309"/>
                  <a:ext cx="285" cy="765"/>
                </a:xfrm>
                <a:custGeom>
                  <a:avLst/>
                  <a:gdLst>
                    <a:gd name="T0" fmla="*/ 282 w 285"/>
                    <a:gd name="T1" fmla="*/ 178 h 765"/>
                    <a:gd name="T2" fmla="*/ 273 w 285"/>
                    <a:gd name="T3" fmla="*/ 193 h 765"/>
                    <a:gd name="T4" fmla="*/ 278 w 285"/>
                    <a:gd name="T5" fmla="*/ 200 h 765"/>
                    <a:gd name="T6" fmla="*/ 273 w 285"/>
                    <a:gd name="T7" fmla="*/ 211 h 765"/>
                    <a:gd name="T8" fmla="*/ 271 w 285"/>
                    <a:gd name="T9" fmla="*/ 219 h 765"/>
                    <a:gd name="T10" fmla="*/ 269 w 285"/>
                    <a:gd name="T11" fmla="*/ 229 h 765"/>
                    <a:gd name="T12" fmla="*/ 277 w 285"/>
                    <a:gd name="T13" fmla="*/ 243 h 765"/>
                    <a:gd name="T14" fmla="*/ 269 w 285"/>
                    <a:gd name="T15" fmla="*/ 250 h 765"/>
                    <a:gd name="T16" fmla="*/ 277 w 285"/>
                    <a:gd name="T17" fmla="*/ 258 h 765"/>
                    <a:gd name="T18" fmla="*/ 267 w 285"/>
                    <a:gd name="T19" fmla="*/ 262 h 765"/>
                    <a:gd name="T20" fmla="*/ 259 w 285"/>
                    <a:gd name="T21" fmla="*/ 270 h 765"/>
                    <a:gd name="T22" fmla="*/ 265 w 285"/>
                    <a:gd name="T23" fmla="*/ 279 h 765"/>
                    <a:gd name="T24" fmla="*/ 253 w 285"/>
                    <a:gd name="T25" fmla="*/ 289 h 765"/>
                    <a:gd name="T26" fmla="*/ 247 w 285"/>
                    <a:gd name="T27" fmla="*/ 298 h 765"/>
                    <a:gd name="T28" fmla="*/ 252 w 285"/>
                    <a:gd name="T29" fmla="*/ 314 h 765"/>
                    <a:gd name="T30" fmla="*/ 241 w 285"/>
                    <a:gd name="T31" fmla="*/ 309 h 765"/>
                    <a:gd name="T32" fmla="*/ 236 w 285"/>
                    <a:gd name="T33" fmla="*/ 313 h 765"/>
                    <a:gd name="T34" fmla="*/ 224 w 285"/>
                    <a:gd name="T35" fmla="*/ 329 h 765"/>
                    <a:gd name="T36" fmla="*/ 224 w 285"/>
                    <a:gd name="T37" fmla="*/ 344 h 765"/>
                    <a:gd name="T38" fmla="*/ 215 w 285"/>
                    <a:gd name="T39" fmla="*/ 352 h 765"/>
                    <a:gd name="T40" fmla="*/ 200 w 285"/>
                    <a:gd name="T41" fmla="*/ 365 h 765"/>
                    <a:gd name="T42" fmla="*/ 190 w 285"/>
                    <a:gd name="T43" fmla="*/ 369 h 765"/>
                    <a:gd name="T44" fmla="*/ 192 w 285"/>
                    <a:gd name="T45" fmla="*/ 378 h 765"/>
                    <a:gd name="T46" fmla="*/ 176 w 285"/>
                    <a:gd name="T47" fmla="*/ 392 h 765"/>
                    <a:gd name="T48" fmla="*/ 167 w 285"/>
                    <a:gd name="T49" fmla="*/ 405 h 765"/>
                    <a:gd name="T50" fmla="*/ 167 w 285"/>
                    <a:gd name="T51" fmla="*/ 419 h 765"/>
                    <a:gd name="T52" fmla="*/ 166 w 285"/>
                    <a:gd name="T53" fmla="*/ 427 h 765"/>
                    <a:gd name="T54" fmla="*/ 176 w 285"/>
                    <a:gd name="T55" fmla="*/ 430 h 765"/>
                    <a:gd name="T56" fmla="*/ 165 w 285"/>
                    <a:gd name="T57" fmla="*/ 439 h 765"/>
                    <a:gd name="T58" fmla="*/ 169 w 285"/>
                    <a:gd name="T59" fmla="*/ 451 h 765"/>
                    <a:gd name="T60" fmla="*/ 174 w 285"/>
                    <a:gd name="T61" fmla="*/ 457 h 765"/>
                    <a:gd name="T62" fmla="*/ 168 w 285"/>
                    <a:gd name="T63" fmla="*/ 464 h 765"/>
                    <a:gd name="T64" fmla="*/ 156 w 285"/>
                    <a:gd name="T65" fmla="*/ 476 h 765"/>
                    <a:gd name="T66" fmla="*/ 157 w 285"/>
                    <a:gd name="T67" fmla="*/ 489 h 765"/>
                    <a:gd name="T68" fmla="*/ 150 w 285"/>
                    <a:gd name="T69" fmla="*/ 491 h 765"/>
                    <a:gd name="T70" fmla="*/ 138 w 285"/>
                    <a:gd name="T71" fmla="*/ 507 h 765"/>
                    <a:gd name="T72" fmla="*/ 142 w 285"/>
                    <a:gd name="T73" fmla="*/ 516 h 765"/>
                    <a:gd name="T74" fmla="*/ 147 w 285"/>
                    <a:gd name="T75" fmla="*/ 525 h 765"/>
                    <a:gd name="T76" fmla="*/ 137 w 285"/>
                    <a:gd name="T77" fmla="*/ 543 h 765"/>
                    <a:gd name="T78" fmla="*/ 131 w 285"/>
                    <a:gd name="T79" fmla="*/ 557 h 765"/>
                    <a:gd name="T80" fmla="*/ 128 w 285"/>
                    <a:gd name="T81" fmla="*/ 576 h 765"/>
                    <a:gd name="T82" fmla="*/ 140 w 285"/>
                    <a:gd name="T83" fmla="*/ 587 h 765"/>
                    <a:gd name="T84" fmla="*/ 128 w 285"/>
                    <a:gd name="T85" fmla="*/ 594 h 765"/>
                    <a:gd name="T86" fmla="*/ 137 w 285"/>
                    <a:gd name="T87" fmla="*/ 603 h 765"/>
                    <a:gd name="T88" fmla="*/ 138 w 285"/>
                    <a:gd name="T89" fmla="*/ 626 h 765"/>
                    <a:gd name="T90" fmla="*/ 144 w 285"/>
                    <a:gd name="T91" fmla="*/ 639 h 765"/>
                    <a:gd name="T92" fmla="*/ 136 w 285"/>
                    <a:gd name="T93" fmla="*/ 647 h 765"/>
                    <a:gd name="T94" fmla="*/ 131 w 285"/>
                    <a:gd name="T95" fmla="*/ 659 h 765"/>
                    <a:gd name="T96" fmla="*/ 127 w 285"/>
                    <a:gd name="T97" fmla="*/ 674 h 765"/>
                    <a:gd name="T98" fmla="*/ 134 w 285"/>
                    <a:gd name="T99" fmla="*/ 688 h 765"/>
                    <a:gd name="T100" fmla="*/ 146 w 285"/>
                    <a:gd name="T101" fmla="*/ 698 h 765"/>
                    <a:gd name="T102" fmla="*/ 144 w 285"/>
                    <a:gd name="T103" fmla="*/ 713 h 765"/>
                    <a:gd name="T104" fmla="*/ 136 w 285"/>
                    <a:gd name="T105" fmla="*/ 724 h 765"/>
                    <a:gd name="T106" fmla="*/ 136 w 285"/>
                    <a:gd name="T107" fmla="*/ 735 h 765"/>
                    <a:gd name="T108" fmla="*/ 138 w 285"/>
                    <a:gd name="T109" fmla="*/ 741 h 765"/>
                    <a:gd name="T110" fmla="*/ 141 w 285"/>
                    <a:gd name="T111" fmla="*/ 744 h 765"/>
                    <a:gd name="T112" fmla="*/ 144 w 285"/>
                    <a:gd name="T113" fmla="*/ 749 h 765"/>
                    <a:gd name="T114" fmla="*/ 150 w 285"/>
                    <a:gd name="T115" fmla="*/ 753 h 765"/>
                    <a:gd name="T116" fmla="*/ 159 w 285"/>
                    <a:gd name="T117" fmla="*/ 760 h 765"/>
                    <a:gd name="T118" fmla="*/ 164 w 285"/>
                    <a:gd name="T119" fmla="*/ 76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5" h="765">
                      <a:moveTo>
                        <a:pt x="0" y="0"/>
                      </a:moveTo>
                      <a:lnTo>
                        <a:pt x="263" y="160"/>
                      </a:lnTo>
                      <a:lnTo>
                        <a:pt x="272" y="165"/>
                      </a:lnTo>
                      <a:lnTo>
                        <a:pt x="272" y="166"/>
                      </a:lnTo>
                      <a:lnTo>
                        <a:pt x="273" y="167"/>
                      </a:lnTo>
                      <a:lnTo>
                        <a:pt x="273" y="169"/>
                      </a:lnTo>
                      <a:lnTo>
                        <a:pt x="275" y="170"/>
                      </a:lnTo>
                      <a:lnTo>
                        <a:pt x="277" y="171"/>
                      </a:lnTo>
                      <a:lnTo>
                        <a:pt x="279" y="172"/>
                      </a:lnTo>
                      <a:lnTo>
                        <a:pt x="281" y="173"/>
                      </a:lnTo>
                      <a:lnTo>
                        <a:pt x="283" y="174"/>
                      </a:lnTo>
                      <a:lnTo>
                        <a:pt x="284" y="175"/>
                      </a:lnTo>
                      <a:lnTo>
                        <a:pt x="285" y="175"/>
                      </a:lnTo>
                      <a:lnTo>
                        <a:pt x="285" y="176"/>
                      </a:lnTo>
                      <a:lnTo>
                        <a:pt x="285" y="177"/>
                      </a:lnTo>
                      <a:lnTo>
                        <a:pt x="283" y="177"/>
                      </a:lnTo>
                      <a:lnTo>
                        <a:pt x="282" y="178"/>
                      </a:lnTo>
                      <a:lnTo>
                        <a:pt x="281" y="178"/>
                      </a:lnTo>
                      <a:lnTo>
                        <a:pt x="280" y="179"/>
                      </a:lnTo>
                      <a:lnTo>
                        <a:pt x="279" y="180"/>
                      </a:lnTo>
                      <a:lnTo>
                        <a:pt x="279" y="181"/>
                      </a:lnTo>
                      <a:lnTo>
                        <a:pt x="278" y="183"/>
                      </a:lnTo>
                      <a:lnTo>
                        <a:pt x="277" y="184"/>
                      </a:lnTo>
                      <a:lnTo>
                        <a:pt x="277" y="184"/>
                      </a:lnTo>
                      <a:lnTo>
                        <a:pt x="275" y="184"/>
                      </a:lnTo>
                      <a:lnTo>
                        <a:pt x="273" y="185"/>
                      </a:lnTo>
                      <a:lnTo>
                        <a:pt x="271" y="186"/>
                      </a:lnTo>
                      <a:lnTo>
                        <a:pt x="271" y="186"/>
                      </a:lnTo>
                      <a:lnTo>
                        <a:pt x="271" y="188"/>
                      </a:lnTo>
                      <a:lnTo>
                        <a:pt x="270" y="190"/>
                      </a:lnTo>
                      <a:lnTo>
                        <a:pt x="270" y="191"/>
                      </a:lnTo>
                      <a:lnTo>
                        <a:pt x="270" y="192"/>
                      </a:lnTo>
                      <a:lnTo>
                        <a:pt x="271" y="193"/>
                      </a:lnTo>
                      <a:lnTo>
                        <a:pt x="273" y="193"/>
                      </a:lnTo>
                      <a:lnTo>
                        <a:pt x="275" y="193"/>
                      </a:lnTo>
                      <a:lnTo>
                        <a:pt x="276" y="194"/>
                      </a:lnTo>
                      <a:lnTo>
                        <a:pt x="277" y="194"/>
                      </a:lnTo>
                      <a:lnTo>
                        <a:pt x="278" y="194"/>
                      </a:lnTo>
                      <a:lnTo>
                        <a:pt x="279" y="196"/>
                      </a:lnTo>
                      <a:lnTo>
                        <a:pt x="281" y="198"/>
                      </a:lnTo>
                      <a:lnTo>
                        <a:pt x="282" y="199"/>
                      </a:lnTo>
                      <a:lnTo>
                        <a:pt x="283" y="200"/>
                      </a:lnTo>
                      <a:lnTo>
                        <a:pt x="283" y="200"/>
                      </a:lnTo>
                      <a:lnTo>
                        <a:pt x="283" y="202"/>
                      </a:lnTo>
                      <a:lnTo>
                        <a:pt x="282" y="203"/>
                      </a:lnTo>
                      <a:lnTo>
                        <a:pt x="281" y="203"/>
                      </a:lnTo>
                      <a:lnTo>
                        <a:pt x="280" y="203"/>
                      </a:lnTo>
                      <a:lnTo>
                        <a:pt x="279" y="203"/>
                      </a:lnTo>
                      <a:lnTo>
                        <a:pt x="279" y="202"/>
                      </a:lnTo>
                      <a:lnTo>
                        <a:pt x="279" y="201"/>
                      </a:lnTo>
                      <a:lnTo>
                        <a:pt x="278" y="200"/>
                      </a:lnTo>
                      <a:lnTo>
                        <a:pt x="277" y="200"/>
                      </a:lnTo>
                      <a:lnTo>
                        <a:pt x="277" y="200"/>
                      </a:lnTo>
                      <a:lnTo>
                        <a:pt x="276" y="201"/>
                      </a:lnTo>
                      <a:lnTo>
                        <a:pt x="276" y="202"/>
                      </a:lnTo>
                      <a:lnTo>
                        <a:pt x="276" y="203"/>
                      </a:lnTo>
                      <a:lnTo>
                        <a:pt x="275" y="205"/>
                      </a:lnTo>
                      <a:lnTo>
                        <a:pt x="275" y="206"/>
                      </a:lnTo>
                      <a:lnTo>
                        <a:pt x="275" y="207"/>
                      </a:lnTo>
                      <a:lnTo>
                        <a:pt x="273" y="207"/>
                      </a:lnTo>
                      <a:lnTo>
                        <a:pt x="273" y="207"/>
                      </a:lnTo>
                      <a:lnTo>
                        <a:pt x="271" y="208"/>
                      </a:lnTo>
                      <a:lnTo>
                        <a:pt x="271" y="209"/>
                      </a:lnTo>
                      <a:lnTo>
                        <a:pt x="271" y="209"/>
                      </a:lnTo>
                      <a:lnTo>
                        <a:pt x="271" y="210"/>
                      </a:lnTo>
                      <a:lnTo>
                        <a:pt x="271" y="211"/>
                      </a:lnTo>
                      <a:lnTo>
                        <a:pt x="272" y="211"/>
                      </a:lnTo>
                      <a:lnTo>
                        <a:pt x="273" y="211"/>
                      </a:lnTo>
                      <a:lnTo>
                        <a:pt x="275" y="212"/>
                      </a:lnTo>
                      <a:lnTo>
                        <a:pt x="277" y="212"/>
                      </a:lnTo>
                      <a:lnTo>
                        <a:pt x="278" y="213"/>
                      </a:lnTo>
                      <a:lnTo>
                        <a:pt x="279" y="214"/>
                      </a:lnTo>
                      <a:lnTo>
                        <a:pt x="279" y="215"/>
                      </a:lnTo>
                      <a:lnTo>
                        <a:pt x="280" y="217"/>
                      </a:lnTo>
                      <a:lnTo>
                        <a:pt x="280" y="217"/>
                      </a:lnTo>
                      <a:lnTo>
                        <a:pt x="279" y="217"/>
                      </a:lnTo>
                      <a:lnTo>
                        <a:pt x="278" y="217"/>
                      </a:lnTo>
                      <a:lnTo>
                        <a:pt x="277" y="217"/>
                      </a:lnTo>
                      <a:lnTo>
                        <a:pt x="276" y="217"/>
                      </a:lnTo>
                      <a:lnTo>
                        <a:pt x="275" y="217"/>
                      </a:lnTo>
                      <a:lnTo>
                        <a:pt x="274" y="217"/>
                      </a:lnTo>
                      <a:lnTo>
                        <a:pt x="273" y="217"/>
                      </a:lnTo>
                      <a:lnTo>
                        <a:pt x="272" y="217"/>
                      </a:lnTo>
                      <a:lnTo>
                        <a:pt x="271" y="218"/>
                      </a:lnTo>
                      <a:lnTo>
                        <a:pt x="271" y="219"/>
                      </a:lnTo>
                      <a:lnTo>
                        <a:pt x="272" y="219"/>
                      </a:lnTo>
                      <a:lnTo>
                        <a:pt x="273" y="221"/>
                      </a:lnTo>
                      <a:lnTo>
                        <a:pt x="275" y="223"/>
                      </a:lnTo>
                      <a:lnTo>
                        <a:pt x="275" y="224"/>
                      </a:lnTo>
                      <a:lnTo>
                        <a:pt x="276" y="226"/>
                      </a:lnTo>
                      <a:lnTo>
                        <a:pt x="277" y="227"/>
                      </a:lnTo>
                      <a:lnTo>
                        <a:pt x="277" y="228"/>
                      </a:lnTo>
                      <a:lnTo>
                        <a:pt x="276" y="229"/>
                      </a:lnTo>
                      <a:lnTo>
                        <a:pt x="275" y="229"/>
                      </a:lnTo>
                      <a:lnTo>
                        <a:pt x="275" y="230"/>
                      </a:lnTo>
                      <a:lnTo>
                        <a:pt x="274" y="230"/>
                      </a:lnTo>
                      <a:lnTo>
                        <a:pt x="273" y="229"/>
                      </a:lnTo>
                      <a:lnTo>
                        <a:pt x="272" y="228"/>
                      </a:lnTo>
                      <a:lnTo>
                        <a:pt x="271" y="228"/>
                      </a:lnTo>
                      <a:lnTo>
                        <a:pt x="270" y="228"/>
                      </a:lnTo>
                      <a:lnTo>
                        <a:pt x="269" y="228"/>
                      </a:lnTo>
                      <a:lnTo>
                        <a:pt x="269" y="229"/>
                      </a:lnTo>
                      <a:lnTo>
                        <a:pt x="269" y="230"/>
                      </a:lnTo>
                      <a:lnTo>
                        <a:pt x="269" y="230"/>
                      </a:lnTo>
                      <a:lnTo>
                        <a:pt x="269" y="232"/>
                      </a:lnTo>
                      <a:lnTo>
                        <a:pt x="271" y="232"/>
                      </a:lnTo>
                      <a:lnTo>
                        <a:pt x="272" y="234"/>
                      </a:lnTo>
                      <a:lnTo>
                        <a:pt x="273" y="235"/>
                      </a:lnTo>
                      <a:lnTo>
                        <a:pt x="273" y="236"/>
                      </a:lnTo>
                      <a:lnTo>
                        <a:pt x="273" y="236"/>
                      </a:lnTo>
                      <a:lnTo>
                        <a:pt x="273" y="237"/>
                      </a:lnTo>
                      <a:lnTo>
                        <a:pt x="273" y="238"/>
                      </a:lnTo>
                      <a:lnTo>
                        <a:pt x="273" y="239"/>
                      </a:lnTo>
                      <a:lnTo>
                        <a:pt x="273" y="240"/>
                      </a:lnTo>
                      <a:lnTo>
                        <a:pt x="273" y="240"/>
                      </a:lnTo>
                      <a:lnTo>
                        <a:pt x="275" y="240"/>
                      </a:lnTo>
                      <a:lnTo>
                        <a:pt x="276" y="241"/>
                      </a:lnTo>
                      <a:lnTo>
                        <a:pt x="277" y="242"/>
                      </a:lnTo>
                      <a:lnTo>
                        <a:pt x="277" y="243"/>
                      </a:lnTo>
                      <a:lnTo>
                        <a:pt x="278" y="245"/>
                      </a:lnTo>
                      <a:lnTo>
                        <a:pt x="278" y="245"/>
                      </a:lnTo>
                      <a:lnTo>
                        <a:pt x="278" y="246"/>
                      </a:lnTo>
                      <a:lnTo>
                        <a:pt x="277" y="247"/>
                      </a:lnTo>
                      <a:lnTo>
                        <a:pt x="277" y="247"/>
                      </a:lnTo>
                      <a:lnTo>
                        <a:pt x="274" y="247"/>
                      </a:lnTo>
                      <a:lnTo>
                        <a:pt x="272" y="245"/>
                      </a:lnTo>
                      <a:lnTo>
                        <a:pt x="271" y="244"/>
                      </a:lnTo>
                      <a:lnTo>
                        <a:pt x="270" y="243"/>
                      </a:lnTo>
                      <a:lnTo>
                        <a:pt x="269" y="243"/>
                      </a:lnTo>
                      <a:lnTo>
                        <a:pt x="269" y="243"/>
                      </a:lnTo>
                      <a:lnTo>
                        <a:pt x="269" y="243"/>
                      </a:lnTo>
                      <a:lnTo>
                        <a:pt x="268" y="244"/>
                      </a:lnTo>
                      <a:lnTo>
                        <a:pt x="268" y="245"/>
                      </a:lnTo>
                      <a:lnTo>
                        <a:pt x="269" y="247"/>
                      </a:lnTo>
                      <a:lnTo>
                        <a:pt x="269" y="248"/>
                      </a:lnTo>
                      <a:lnTo>
                        <a:pt x="269" y="250"/>
                      </a:lnTo>
                      <a:lnTo>
                        <a:pt x="270" y="251"/>
                      </a:lnTo>
                      <a:lnTo>
                        <a:pt x="271" y="251"/>
                      </a:lnTo>
                      <a:lnTo>
                        <a:pt x="271" y="252"/>
                      </a:lnTo>
                      <a:lnTo>
                        <a:pt x="273" y="252"/>
                      </a:lnTo>
                      <a:lnTo>
                        <a:pt x="275" y="252"/>
                      </a:lnTo>
                      <a:lnTo>
                        <a:pt x="276" y="252"/>
                      </a:lnTo>
                      <a:lnTo>
                        <a:pt x="277" y="253"/>
                      </a:lnTo>
                      <a:lnTo>
                        <a:pt x="278" y="253"/>
                      </a:lnTo>
                      <a:lnTo>
                        <a:pt x="279" y="253"/>
                      </a:lnTo>
                      <a:lnTo>
                        <a:pt x="279" y="254"/>
                      </a:lnTo>
                      <a:lnTo>
                        <a:pt x="279" y="255"/>
                      </a:lnTo>
                      <a:lnTo>
                        <a:pt x="279" y="256"/>
                      </a:lnTo>
                      <a:lnTo>
                        <a:pt x="279" y="257"/>
                      </a:lnTo>
                      <a:lnTo>
                        <a:pt x="278" y="258"/>
                      </a:lnTo>
                      <a:lnTo>
                        <a:pt x="278" y="259"/>
                      </a:lnTo>
                      <a:lnTo>
                        <a:pt x="277" y="259"/>
                      </a:lnTo>
                      <a:lnTo>
                        <a:pt x="277" y="258"/>
                      </a:lnTo>
                      <a:lnTo>
                        <a:pt x="276" y="257"/>
                      </a:lnTo>
                      <a:lnTo>
                        <a:pt x="275" y="257"/>
                      </a:lnTo>
                      <a:lnTo>
                        <a:pt x="275" y="257"/>
                      </a:lnTo>
                      <a:lnTo>
                        <a:pt x="274" y="257"/>
                      </a:lnTo>
                      <a:lnTo>
                        <a:pt x="273" y="257"/>
                      </a:lnTo>
                      <a:lnTo>
                        <a:pt x="273" y="257"/>
                      </a:lnTo>
                      <a:lnTo>
                        <a:pt x="272" y="257"/>
                      </a:lnTo>
                      <a:lnTo>
                        <a:pt x="272" y="259"/>
                      </a:lnTo>
                      <a:lnTo>
                        <a:pt x="272" y="259"/>
                      </a:lnTo>
                      <a:lnTo>
                        <a:pt x="271" y="260"/>
                      </a:lnTo>
                      <a:lnTo>
                        <a:pt x="271" y="261"/>
                      </a:lnTo>
                      <a:lnTo>
                        <a:pt x="270" y="261"/>
                      </a:lnTo>
                      <a:lnTo>
                        <a:pt x="269" y="261"/>
                      </a:lnTo>
                      <a:lnTo>
                        <a:pt x="269" y="260"/>
                      </a:lnTo>
                      <a:lnTo>
                        <a:pt x="268" y="260"/>
                      </a:lnTo>
                      <a:lnTo>
                        <a:pt x="267" y="261"/>
                      </a:lnTo>
                      <a:lnTo>
                        <a:pt x="267" y="262"/>
                      </a:lnTo>
                      <a:lnTo>
                        <a:pt x="267" y="262"/>
                      </a:lnTo>
                      <a:lnTo>
                        <a:pt x="267" y="263"/>
                      </a:lnTo>
                      <a:lnTo>
                        <a:pt x="267" y="264"/>
                      </a:lnTo>
                      <a:lnTo>
                        <a:pt x="267" y="265"/>
                      </a:lnTo>
                      <a:lnTo>
                        <a:pt x="267" y="266"/>
                      </a:lnTo>
                      <a:lnTo>
                        <a:pt x="267" y="268"/>
                      </a:lnTo>
                      <a:lnTo>
                        <a:pt x="267" y="268"/>
                      </a:lnTo>
                      <a:lnTo>
                        <a:pt x="267" y="270"/>
                      </a:lnTo>
                      <a:lnTo>
                        <a:pt x="267" y="270"/>
                      </a:lnTo>
                      <a:lnTo>
                        <a:pt x="266" y="271"/>
                      </a:lnTo>
                      <a:lnTo>
                        <a:pt x="264" y="271"/>
                      </a:lnTo>
                      <a:lnTo>
                        <a:pt x="264" y="271"/>
                      </a:lnTo>
                      <a:lnTo>
                        <a:pt x="262" y="270"/>
                      </a:lnTo>
                      <a:lnTo>
                        <a:pt x="262" y="270"/>
                      </a:lnTo>
                      <a:lnTo>
                        <a:pt x="261" y="270"/>
                      </a:lnTo>
                      <a:lnTo>
                        <a:pt x="260" y="270"/>
                      </a:lnTo>
                      <a:lnTo>
                        <a:pt x="259" y="270"/>
                      </a:lnTo>
                      <a:lnTo>
                        <a:pt x="258" y="270"/>
                      </a:lnTo>
                      <a:lnTo>
                        <a:pt x="257" y="271"/>
                      </a:lnTo>
                      <a:lnTo>
                        <a:pt x="256" y="272"/>
                      </a:lnTo>
                      <a:lnTo>
                        <a:pt x="256" y="273"/>
                      </a:lnTo>
                      <a:lnTo>
                        <a:pt x="256" y="274"/>
                      </a:lnTo>
                      <a:lnTo>
                        <a:pt x="256" y="275"/>
                      </a:lnTo>
                      <a:lnTo>
                        <a:pt x="256" y="276"/>
                      </a:lnTo>
                      <a:lnTo>
                        <a:pt x="257" y="276"/>
                      </a:lnTo>
                      <a:lnTo>
                        <a:pt x="259" y="277"/>
                      </a:lnTo>
                      <a:lnTo>
                        <a:pt x="260" y="276"/>
                      </a:lnTo>
                      <a:lnTo>
                        <a:pt x="262" y="276"/>
                      </a:lnTo>
                      <a:lnTo>
                        <a:pt x="263" y="276"/>
                      </a:lnTo>
                      <a:lnTo>
                        <a:pt x="264" y="277"/>
                      </a:lnTo>
                      <a:lnTo>
                        <a:pt x="265" y="277"/>
                      </a:lnTo>
                      <a:lnTo>
                        <a:pt x="266" y="278"/>
                      </a:lnTo>
                      <a:lnTo>
                        <a:pt x="265" y="278"/>
                      </a:lnTo>
                      <a:lnTo>
                        <a:pt x="265" y="279"/>
                      </a:lnTo>
                      <a:lnTo>
                        <a:pt x="264" y="280"/>
                      </a:lnTo>
                      <a:lnTo>
                        <a:pt x="264" y="280"/>
                      </a:lnTo>
                      <a:lnTo>
                        <a:pt x="263" y="281"/>
                      </a:lnTo>
                      <a:lnTo>
                        <a:pt x="262" y="282"/>
                      </a:lnTo>
                      <a:lnTo>
                        <a:pt x="260" y="282"/>
                      </a:lnTo>
                      <a:lnTo>
                        <a:pt x="260" y="282"/>
                      </a:lnTo>
                      <a:lnTo>
                        <a:pt x="259" y="282"/>
                      </a:lnTo>
                      <a:lnTo>
                        <a:pt x="258" y="281"/>
                      </a:lnTo>
                      <a:lnTo>
                        <a:pt x="257" y="281"/>
                      </a:lnTo>
                      <a:lnTo>
                        <a:pt x="256" y="282"/>
                      </a:lnTo>
                      <a:lnTo>
                        <a:pt x="256" y="283"/>
                      </a:lnTo>
                      <a:lnTo>
                        <a:pt x="255" y="283"/>
                      </a:lnTo>
                      <a:lnTo>
                        <a:pt x="254" y="285"/>
                      </a:lnTo>
                      <a:lnTo>
                        <a:pt x="254" y="286"/>
                      </a:lnTo>
                      <a:lnTo>
                        <a:pt x="254" y="287"/>
                      </a:lnTo>
                      <a:lnTo>
                        <a:pt x="253" y="288"/>
                      </a:lnTo>
                      <a:lnTo>
                        <a:pt x="253" y="289"/>
                      </a:lnTo>
                      <a:lnTo>
                        <a:pt x="253" y="289"/>
                      </a:lnTo>
                      <a:lnTo>
                        <a:pt x="254" y="291"/>
                      </a:lnTo>
                      <a:lnTo>
                        <a:pt x="254" y="291"/>
                      </a:lnTo>
                      <a:lnTo>
                        <a:pt x="255" y="291"/>
                      </a:lnTo>
                      <a:lnTo>
                        <a:pt x="255" y="292"/>
                      </a:lnTo>
                      <a:lnTo>
                        <a:pt x="256" y="293"/>
                      </a:lnTo>
                      <a:lnTo>
                        <a:pt x="255" y="293"/>
                      </a:lnTo>
                      <a:lnTo>
                        <a:pt x="255" y="294"/>
                      </a:lnTo>
                      <a:lnTo>
                        <a:pt x="254" y="295"/>
                      </a:lnTo>
                      <a:lnTo>
                        <a:pt x="253" y="295"/>
                      </a:lnTo>
                      <a:lnTo>
                        <a:pt x="252" y="295"/>
                      </a:lnTo>
                      <a:lnTo>
                        <a:pt x="251" y="295"/>
                      </a:lnTo>
                      <a:lnTo>
                        <a:pt x="250" y="296"/>
                      </a:lnTo>
                      <a:lnTo>
                        <a:pt x="249" y="297"/>
                      </a:lnTo>
                      <a:lnTo>
                        <a:pt x="248" y="297"/>
                      </a:lnTo>
                      <a:lnTo>
                        <a:pt x="247" y="297"/>
                      </a:lnTo>
                      <a:lnTo>
                        <a:pt x="247" y="298"/>
                      </a:lnTo>
                      <a:lnTo>
                        <a:pt x="247" y="299"/>
                      </a:lnTo>
                      <a:lnTo>
                        <a:pt x="247" y="299"/>
                      </a:lnTo>
                      <a:lnTo>
                        <a:pt x="247" y="300"/>
                      </a:lnTo>
                      <a:lnTo>
                        <a:pt x="247" y="301"/>
                      </a:lnTo>
                      <a:lnTo>
                        <a:pt x="248" y="302"/>
                      </a:lnTo>
                      <a:lnTo>
                        <a:pt x="250" y="302"/>
                      </a:lnTo>
                      <a:lnTo>
                        <a:pt x="252" y="303"/>
                      </a:lnTo>
                      <a:lnTo>
                        <a:pt x="254" y="304"/>
                      </a:lnTo>
                      <a:lnTo>
                        <a:pt x="254" y="304"/>
                      </a:lnTo>
                      <a:lnTo>
                        <a:pt x="254" y="305"/>
                      </a:lnTo>
                      <a:lnTo>
                        <a:pt x="254" y="306"/>
                      </a:lnTo>
                      <a:lnTo>
                        <a:pt x="254" y="309"/>
                      </a:lnTo>
                      <a:lnTo>
                        <a:pt x="254" y="311"/>
                      </a:lnTo>
                      <a:lnTo>
                        <a:pt x="254" y="312"/>
                      </a:lnTo>
                      <a:lnTo>
                        <a:pt x="254" y="314"/>
                      </a:lnTo>
                      <a:lnTo>
                        <a:pt x="253" y="314"/>
                      </a:lnTo>
                      <a:lnTo>
                        <a:pt x="252" y="314"/>
                      </a:lnTo>
                      <a:lnTo>
                        <a:pt x="251" y="314"/>
                      </a:lnTo>
                      <a:lnTo>
                        <a:pt x="250" y="313"/>
                      </a:lnTo>
                      <a:lnTo>
                        <a:pt x="250" y="312"/>
                      </a:lnTo>
                      <a:lnTo>
                        <a:pt x="250" y="310"/>
                      </a:lnTo>
                      <a:lnTo>
                        <a:pt x="250" y="309"/>
                      </a:lnTo>
                      <a:lnTo>
                        <a:pt x="250" y="308"/>
                      </a:lnTo>
                      <a:lnTo>
                        <a:pt x="248" y="308"/>
                      </a:lnTo>
                      <a:lnTo>
                        <a:pt x="247" y="309"/>
                      </a:lnTo>
                      <a:lnTo>
                        <a:pt x="245" y="311"/>
                      </a:lnTo>
                      <a:lnTo>
                        <a:pt x="243" y="312"/>
                      </a:lnTo>
                      <a:lnTo>
                        <a:pt x="242" y="312"/>
                      </a:lnTo>
                      <a:lnTo>
                        <a:pt x="241" y="312"/>
                      </a:lnTo>
                      <a:lnTo>
                        <a:pt x="241" y="312"/>
                      </a:lnTo>
                      <a:lnTo>
                        <a:pt x="240" y="312"/>
                      </a:lnTo>
                      <a:lnTo>
                        <a:pt x="240" y="310"/>
                      </a:lnTo>
                      <a:lnTo>
                        <a:pt x="241" y="310"/>
                      </a:lnTo>
                      <a:lnTo>
                        <a:pt x="241" y="309"/>
                      </a:lnTo>
                      <a:lnTo>
                        <a:pt x="241" y="308"/>
                      </a:lnTo>
                      <a:lnTo>
                        <a:pt x="241" y="308"/>
                      </a:lnTo>
                      <a:lnTo>
                        <a:pt x="238" y="308"/>
                      </a:lnTo>
                      <a:lnTo>
                        <a:pt x="237" y="309"/>
                      </a:lnTo>
                      <a:lnTo>
                        <a:pt x="237" y="310"/>
                      </a:lnTo>
                      <a:lnTo>
                        <a:pt x="237" y="311"/>
                      </a:lnTo>
                      <a:lnTo>
                        <a:pt x="238" y="312"/>
                      </a:lnTo>
                      <a:lnTo>
                        <a:pt x="239" y="314"/>
                      </a:lnTo>
                      <a:lnTo>
                        <a:pt x="239" y="316"/>
                      </a:lnTo>
                      <a:lnTo>
                        <a:pt x="239" y="318"/>
                      </a:lnTo>
                      <a:lnTo>
                        <a:pt x="238" y="318"/>
                      </a:lnTo>
                      <a:lnTo>
                        <a:pt x="237" y="318"/>
                      </a:lnTo>
                      <a:lnTo>
                        <a:pt x="235" y="318"/>
                      </a:lnTo>
                      <a:lnTo>
                        <a:pt x="235" y="316"/>
                      </a:lnTo>
                      <a:lnTo>
                        <a:pt x="236" y="315"/>
                      </a:lnTo>
                      <a:lnTo>
                        <a:pt x="237" y="314"/>
                      </a:lnTo>
                      <a:lnTo>
                        <a:pt x="236" y="313"/>
                      </a:lnTo>
                      <a:lnTo>
                        <a:pt x="235" y="314"/>
                      </a:lnTo>
                      <a:lnTo>
                        <a:pt x="233" y="314"/>
                      </a:lnTo>
                      <a:lnTo>
                        <a:pt x="231" y="313"/>
                      </a:lnTo>
                      <a:lnTo>
                        <a:pt x="229" y="313"/>
                      </a:lnTo>
                      <a:lnTo>
                        <a:pt x="227" y="315"/>
                      </a:lnTo>
                      <a:lnTo>
                        <a:pt x="227" y="318"/>
                      </a:lnTo>
                      <a:lnTo>
                        <a:pt x="228" y="320"/>
                      </a:lnTo>
                      <a:lnTo>
                        <a:pt x="228" y="323"/>
                      </a:lnTo>
                      <a:lnTo>
                        <a:pt x="229" y="323"/>
                      </a:lnTo>
                      <a:lnTo>
                        <a:pt x="231" y="325"/>
                      </a:lnTo>
                      <a:lnTo>
                        <a:pt x="231" y="325"/>
                      </a:lnTo>
                      <a:lnTo>
                        <a:pt x="231" y="326"/>
                      </a:lnTo>
                      <a:lnTo>
                        <a:pt x="230" y="327"/>
                      </a:lnTo>
                      <a:lnTo>
                        <a:pt x="228" y="327"/>
                      </a:lnTo>
                      <a:lnTo>
                        <a:pt x="226" y="328"/>
                      </a:lnTo>
                      <a:lnTo>
                        <a:pt x="224" y="328"/>
                      </a:lnTo>
                      <a:lnTo>
                        <a:pt x="224" y="329"/>
                      </a:lnTo>
                      <a:lnTo>
                        <a:pt x="224" y="331"/>
                      </a:lnTo>
                      <a:lnTo>
                        <a:pt x="223" y="332"/>
                      </a:lnTo>
                      <a:lnTo>
                        <a:pt x="223" y="333"/>
                      </a:lnTo>
                      <a:lnTo>
                        <a:pt x="223" y="333"/>
                      </a:lnTo>
                      <a:lnTo>
                        <a:pt x="222" y="334"/>
                      </a:lnTo>
                      <a:lnTo>
                        <a:pt x="220" y="333"/>
                      </a:lnTo>
                      <a:lnTo>
                        <a:pt x="219" y="333"/>
                      </a:lnTo>
                      <a:lnTo>
                        <a:pt x="218" y="333"/>
                      </a:lnTo>
                      <a:lnTo>
                        <a:pt x="218" y="333"/>
                      </a:lnTo>
                      <a:lnTo>
                        <a:pt x="217" y="334"/>
                      </a:lnTo>
                      <a:lnTo>
                        <a:pt x="217" y="335"/>
                      </a:lnTo>
                      <a:lnTo>
                        <a:pt x="218" y="335"/>
                      </a:lnTo>
                      <a:lnTo>
                        <a:pt x="220" y="335"/>
                      </a:lnTo>
                      <a:lnTo>
                        <a:pt x="222" y="337"/>
                      </a:lnTo>
                      <a:lnTo>
                        <a:pt x="222" y="337"/>
                      </a:lnTo>
                      <a:lnTo>
                        <a:pt x="224" y="342"/>
                      </a:lnTo>
                      <a:lnTo>
                        <a:pt x="224" y="344"/>
                      </a:lnTo>
                      <a:lnTo>
                        <a:pt x="224" y="345"/>
                      </a:lnTo>
                      <a:lnTo>
                        <a:pt x="223" y="345"/>
                      </a:lnTo>
                      <a:lnTo>
                        <a:pt x="220" y="345"/>
                      </a:lnTo>
                      <a:lnTo>
                        <a:pt x="218" y="344"/>
                      </a:lnTo>
                      <a:lnTo>
                        <a:pt x="216" y="344"/>
                      </a:lnTo>
                      <a:lnTo>
                        <a:pt x="212" y="345"/>
                      </a:lnTo>
                      <a:lnTo>
                        <a:pt x="209" y="345"/>
                      </a:lnTo>
                      <a:lnTo>
                        <a:pt x="207" y="346"/>
                      </a:lnTo>
                      <a:lnTo>
                        <a:pt x="207" y="346"/>
                      </a:lnTo>
                      <a:lnTo>
                        <a:pt x="207" y="348"/>
                      </a:lnTo>
                      <a:lnTo>
                        <a:pt x="207" y="348"/>
                      </a:lnTo>
                      <a:lnTo>
                        <a:pt x="208" y="349"/>
                      </a:lnTo>
                      <a:lnTo>
                        <a:pt x="209" y="350"/>
                      </a:lnTo>
                      <a:lnTo>
                        <a:pt x="212" y="350"/>
                      </a:lnTo>
                      <a:lnTo>
                        <a:pt x="214" y="350"/>
                      </a:lnTo>
                      <a:lnTo>
                        <a:pt x="215" y="351"/>
                      </a:lnTo>
                      <a:lnTo>
                        <a:pt x="215" y="352"/>
                      </a:lnTo>
                      <a:lnTo>
                        <a:pt x="215" y="353"/>
                      </a:lnTo>
                      <a:lnTo>
                        <a:pt x="213" y="354"/>
                      </a:lnTo>
                      <a:lnTo>
                        <a:pt x="211" y="354"/>
                      </a:lnTo>
                      <a:lnTo>
                        <a:pt x="209" y="354"/>
                      </a:lnTo>
                      <a:lnTo>
                        <a:pt x="207" y="353"/>
                      </a:lnTo>
                      <a:lnTo>
                        <a:pt x="204" y="352"/>
                      </a:lnTo>
                      <a:lnTo>
                        <a:pt x="202" y="354"/>
                      </a:lnTo>
                      <a:lnTo>
                        <a:pt x="201" y="355"/>
                      </a:lnTo>
                      <a:lnTo>
                        <a:pt x="200" y="356"/>
                      </a:lnTo>
                      <a:lnTo>
                        <a:pt x="199" y="356"/>
                      </a:lnTo>
                      <a:lnTo>
                        <a:pt x="197" y="356"/>
                      </a:lnTo>
                      <a:lnTo>
                        <a:pt x="197" y="357"/>
                      </a:lnTo>
                      <a:lnTo>
                        <a:pt x="197" y="358"/>
                      </a:lnTo>
                      <a:lnTo>
                        <a:pt x="197" y="360"/>
                      </a:lnTo>
                      <a:lnTo>
                        <a:pt x="197" y="362"/>
                      </a:lnTo>
                      <a:lnTo>
                        <a:pt x="199" y="363"/>
                      </a:lnTo>
                      <a:lnTo>
                        <a:pt x="200" y="365"/>
                      </a:lnTo>
                      <a:lnTo>
                        <a:pt x="201" y="368"/>
                      </a:lnTo>
                      <a:lnTo>
                        <a:pt x="201" y="369"/>
                      </a:lnTo>
                      <a:lnTo>
                        <a:pt x="201" y="370"/>
                      </a:lnTo>
                      <a:lnTo>
                        <a:pt x="201" y="370"/>
                      </a:lnTo>
                      <a:lnTo>
                        <a:pt x="199" y="370"/>
                      </a:lnTo>
                      <a:lnTo>
                        <a:pt x="199" y="370"/>
                      </a:lnTo>
                      <a:lnTo>
                        <a:pt x="197" y="369"/>
                      </a:lnTo>
                      <a:lnTo>
                        <a:pt x="197" y="369"/>
                      </a:lnTo>
                      <a:lnTo>
                        <a:pt x="196" y="367"/>
                      </a:lnTo>
                      <a:lnTo>
                        <a:pt x="196" y="367"/>
                      </a:lnTo>
                      <a:lnTo>
                        <a:pt x="195" y="365"/>
                      </a:lnTo>
                      <a:lnTo>
                        <a:pt x="194" y="365"/>
                      </a:lnTo>
                      <a:lnTo>
                        <a:pt x="193" y="365"/>
                      </a:lnTo>
                      <a:lnTo>
                        <a:pt x="191" y="367"/>
                      </a:lnTo>
                      <a:lnTo>
                        <a:pt x="190" y="367"/>
                      </a:lnTo>
                      <a:lnTo>
                        <a:pt x="190" y="368"/>
                      </a:lnTo>
                      <a:lnTo>
                        <a:pt x="190" y="369"/>
                      </a:lnTo>
                      <a:lnTo>
                        <a:pt x="190" y="369"/>
                      </a:lnTo>
                      <a:lnTo>
                        <a:pt x="191" y="370"/>
                      </a:lnTo>
                      <a:lnTo>
                        <a:pt x="192" y="370"/>
                      </a:lnTo>
                      <a:lnTo>
                        <a:pt x="195" y="371"/>
                      </a:lnTo>
                      <a:lnTo>
                        <a:pt x="196" y="371"/>
                      </a:lnTo>
                      <a:lnTo>
                        <a:pt x="197" y="371"/>
                      </a:lnTo>
                      <a:lnTo>
                        <a:pt x="198" y="372"/>
                      </a:lnTo>
                      <a:lnTo>
                        <a:pt x="198" y="373"/>
                      </a:lnTo>
                      <a:lnTo>
                        <a:pt x="198" y="377"/>
                      </a:lnTo>
                      <a:lnTo>
                        <a:pt x="197" y="379"/>
                      </a:lnTo>
                      <a:lnTo>
                        <a:pt x="196" y="380"/>
                      </a:lnTo>
                      <a:lnTo>
                        <a:pt x="195" y="382"/>
                      </a:lnTo>
                      <a:lnTo>
                        <a:pt x="193" y="382"/>
                      </a:lnTo>
                      <a:lnTo>
                        <a:pt x="193" y="382"/>
                      </a:lnTo>
                      <a:lnTo>
                        <a:pt x="192" y="382"/>
                      </a:lnTo>
                      <a:lnTo>
                        <a:pt x="192" y="380"/>
                      </a:lnTo>
                      <a:lnTo>
                        <a:pt x="192" y="378"/>
                      </a:lnTo>
                      <a:lnTo>
                        <a:pt x="192" y="375"/>
                      </a:lnTo>
                      <a:lnTo>
                        <a:pt x="192" y="373"/>
                      </a:lnTo>
                      <a:lnTo>
                        <a:pt x="191" y="373"/>
                      </a:lnTo>
                      <a:lnTo>
                        <a:pt x="190" y="373"/>
                      </a:lnTo>
                      <a:lnTo>
                        <a:pt x="188" y="375"/>
                      </a:lnTo>
                      <a:lnTo>
                        <a:pt x="188" y="377"/>
                      </a:lnTo>
                      <a:lnTo>
                        <a:pt x="188" y="378"/>
                      </a:lnTo>
                      <a:lnTo>
                        <a:pt x="188" y="379"/>
                      </a:lnTo>
                      <a:lnTo>
                        <a:pt x="190" y="379"/>
                      </a:lnTo>
                      <a:lnTo>
                        <a:pt x="190" y="381"/>
                      </a:lnTo>
                      <a:lnTo>
                        <a:pt x="189" y="382"/>
                      </a:lnTo>
                      <a:lnTo>
                        <a:pt x="188" y="382"/>
                      </a:lnTo>
                      <a:lnTo>
                        <a:pt x="187" y="384"/>
                      </a:lnTo>
                      <a:lnTo>
                        <a:pt x="184" y="385"/>
                      </a:lnTo>
                      <a:lnTo>
                        <a:pt x="182" y="388"/>
                      </a:lnTo>
                      <a:lnTo>
                        <a:pt x="180" y="390"/>
                      </a:lnTo>
                      <a:lnTo>
                        <a:pt x="176" y="392"/>
                      </a:lnTo>
                      <a:lnTo>
                        <a:pt x="175" y="393"/>
                      </a:lnTo>
                      <a:lnTo>
                        <a:pt x="174" y="394"/>
                      </a:lnTo>
                      <a:lnTo>
                        <a:pt x="174" y="394"/>
                      </a:lnTo>
                      <a:lnTo>
                        <a:pt x="174" y="396"/>
                      </a:lnTo>
                      <a:lnTo>
                        <a:pt x="175" y="396"/>
                      </a:lnTo>
                      <a:lnTo>
                        <a:pt x="176" y="396"/>
                      </a:lnTo>
                      <a:lnTo>
                        <a:pt x="178" y="395"/>
                      </a:lnTo>
                      <a:lnTo>
                        <a:pt x="181" y="396"/>
                      </a:lnTo>
                      <a:lnTo>
                        <a:pt x="182" y="396"/>
                      </a:lnTo>
                      <a:lnTo>
                        <a:pt x="182" y="398"/>
                      </a:lnTo>
                      <a:lnTo>
                        <a:pt x="182" y="398"/>
                      </a:lnTo>
                      <a:lnTo>
                        <a:pt x="180" y="400"/>
                      </a:lnTo>
                      <a:lnTo>
                        <a:pt x="179" y="401"/>
                      </a:lnTo>
                      <a:lnTo>
                        <a:pt x="173" y="403"/>
                      </a:lnTo>
                      <a:lnTo>
                        <a:pt x="170" y="403"/>
                      </a:lnTo>
                      <a:lnTo>
                        <a:pt x="169" y="404"/>
                      </a:lnTo>
                      <a:lnTo>
                        <a:pt x="167" y="405"/>
                      </a:lnTo>
                      <a:lnTo>
                        <a:pt x="166" y="407"/>
                      </a:lnTo>
                      <a:lnTo>
                        <a:pt x="165" y="408"/>
                      </a:lnTo>
                      <a:lnTo>
                        <a:pt x="166" y="410"/>
                      </a:lnTo>
                      <a:lnTo>
                        <a:pt x="167" y="411"/>
                      </a:lnTo>
                      <a:lnTo>
                        <a:pt x="167" y="411"/>
                      </a:lnTo>
                      <a:lnTo>
                        <a:pt x="169" y="411"/>
                      </a:lnTo>
                      <a:lnTo>
                        <a:pt x="169" y="412"/>
                      </a:lnTo>
                      <a:lnTo>
                        <a:pt x="169" y="413"/>
                      </a:lnTo>
                      <a:lnTo>
                        <a:pt x="169" y="413"/>
                      </a:lnTo>
                      <a:lnTo>
                        <a:pt x="167" y="414"/>
                      </a:lnTo>
                      <a:lnTo>
                        <a:pt x="165" y="415"/>
                      </a:lnTo>
                      <a:lnTo>
                        <a:pt x="164" y="415"/>
                      </a:lnTo>
                      <a:lnTo>
                        <a:pt x="164" y="416"/>
                      </a:lnTo>
                      <a:lnTo>
                        <a:pt x="164" y="417"/>
                      </a:lnTo>
                      <a:lnTo>
                        <a:pt x="165" y="418"/>
                      </a:lnTo>
                      <a:lnTo>
                        <a:pt x="165" y="419"/>
                      </a:lnTo>
                      <a:lnTo>
                        <a:pt x="167" y="419"/>
                      </a:lnTo>
                      <a:lnTo>
                        <a:pt x="169" y="420"/>
                      </a:lnTo>
                      <a:lnTo>
                        <a:pt x="171" y="420"/>
                      </a:lnTo>
                      <a:lnTo>
                        <a:pt x="174" y="419"/>
                      </a:lnTo>
                      <a:lnTo>
                        <a:pt x="174" y="419"/>
                      </a:lnTo>
                      <a:lnTo>
                        <a:pt x="175" y="420"/>
                      </a:lnTo>
                      <a:lnTo>
                        <a:pt x="175" y="420"/>
                      </a:lnTo>
                      <a:lnTo>
                        <a:pt x="175" y="421"/>
                      </a:lnTo>
                      <a:lnTo>
                        <a:pt x="175" y="422"/>
                      </a:lnTo>
                      <a:lnTo>
                        <a:pt x="174" y="422"/>
                      </a:lnTo>
                      <a:lnTo>
                        <a:pt x="174" y="423"/>
                      </a:lnTo>
                      <a:lnTo>
                        <a:pt x="173" y="423"/>
                      </a:lnTo>
                      <a:lnTo>
                        <a:pt x="169" y="423"/>
                      </a:lnTo>
                      <a:lnTo>
                        <a:pt x="168" y="422"/>
                      </a:lnTo>
                      <a:lnTo>
                        <a:pt x="166" y="423"/>
                      </a:lnTo>
                      <a:lnTo>
                        <a:pt x="165" y="424"/>
                      </a:lnTo>
                      <a:lnTo>
                        <a:pt x="165" y="426"/>
                      </a:lnTo>
                      <a:lnTo>
                        <a:pt x="166" y="427"/>
                      </a:lnTo>
                      <a:lnTo>
                        <a:pt x="167" y="428"/>
                      </a:lnTo>
                      <a:lnTo>
                        <a:pt x="167" y="430"/>
                      </a:lnTo>
                      <a:lnTo>
                        <a:pt x="168" y="430"/>
                      </a:lnTo>
                      <a:lnTo>
                        <a:pt x="169" y="430"/>
                      </a:lnTo>
                      <a:lnTo>
                        <a:pt x="169" y="430"/>
                      </a:lnTo>
                      <a:lnTo>
                        <a:pt x="170" y="430"/>
                      </a:lnTo>
                      <a:lnTo>
                        <a:pt x="171" y="430"/>
                      </a:lnTo>
                      <a:lnTo>
                        <a:pt x="172" y="428"/>
                      </a:lnTo>
                      <a:lnTo>
                        <a:pt x="174" y="426"/>
                      </a:lnTo>
                      <a:lnTo>
                        <a:pt x="175" y="426"/>
                      </a:lnTo>
                      <a:lnTo>
                        <a:pt x="176" y="426"/>
                      </a:lnTo>
                      <a:lnTo>
                        <a:pt x="177" y="426"/>
                      </a:lnTo>
                      <a:lnTo>
                        <a:pt x="177" y="426"/>
                      </a:lnTo>
                      <a:lnTo>
                        <a:pt x="177" y="428"/>
                      </a:lnTo>
                      <a:lnTo>
                        <a:pt x="177" y="428"/>
                      </a:lnTo>
                      <a:lnTo>
                        <a:pt x="176" y="430"/>
                      </a:lnTo>
                      <a:lnTo>
                        <a:pt x="176" y="430"/>
                      </a:lnTo>
                      <a:lnTo>
                        <a:pt x="174" y="432"/>
                      </a:lnTo>
                      <a:lnTo>
                        <a:pt x="173" y="432"/>
                      </a:lnTo>
                      <a:lnTo>
                        <a:pt x="171" y="432"/>
                      </a:lnTo>
                      <a:lnTo>
                        <a:pt x="171" y="433"/>
                      </a:lnTo>
                      <a:lnTo>
                        <a:pt x="170" y="434"/>
                      </a:lnTo>
                      <a:lnTo>
                        <a:pt x="170" y="435"/>
                      </a:lnTo>
                      <a:lnTo>
                        <a:pt x="170" y="436"/>
                      </a:lnTo>
                      <a:lnTo>
                        <a:pt x="171" y="436"/>
                      </a:lnTo>
                      <a:lnTo>
                        <a:pt x="171" y="438"/>
                      </a:lnTo>
                      <a:lnTo>
                        <a:pt x="170" y="438"/>
                      </a:lnTo>
                      <a:lnTo>
                        <a:pt x="169" y="439"/>
                      </a:lnTo>
                      <a:lnTo>
                        <a:pt x="169" y="439"/>
                      </a:lnTo>
                      <a:lnTo>
                        <a:pt x="168" y="439"/>
                      </a:lnTo>
                      <a:lnTo>
                        <a:pt x="167" y="439"/>
                      </a:lnTo>
                      <a:lnTo>
                        <a:pt x="166" y="438"/>
                      </a:lnTo>
                      <a:lnTo>
                        <a:pt x="166" y="439"/>
                      </a:lnTo>
                      <a:lnTo>
                        <a:pt x="165" y="439"/>
                      </a:lnTo>
                      <a:lnTo>
                        <a:pt x="165" y="439"/>
                      </a:lnTo>
                      <a:lnTo>
                        <a:pt x="164" y="440"/>
                      </a:lnTo>
                      <a:lnTo>
                        <a:pt x="163" y="441"/>
                      </a:lnTo>
                      <a:lnTo>
                        <a:pt x="163" y="442"/>
                      </a:lnTo>
                      <a:lnTo>
                        <a:pt x="163" y="443"/>
                      </a:lnTo>
                      <a:lnTo>
                        <a:pt x="163" y="443"/>
                      </a:lnTo>
                      <a:lnTo>
                        <a:pt x="164" y="444"/>
                      </a:lnTo>
                      <a:lnTo>
                        <a:pt x="165" y="444"/>
                      </a:lnTo>
                      <a:lnTo>
                        <a:pt x="166" y="443"/>
                      </a:lnTo>
                      <a:lnTo>
                        <a:pt x="167" y="443"/>
                      </a:lnTo>
                      <a:lnTo>
                        <a:pt x="167" y="443"/>
                      </a:lnTo>
                      <a:lnTo>
                        <a:pt x="169" y="445"/>
                      </a:lnTo>
                      <a:lnTo>
                        <a:pt x="169" y="446"/>
                      </a:lnTo>
                      <a:lnTo>
                        <a:pt x="169" y="447"/>
                      </a:lnTo>
                      <a:lnTo>
                        <a:pt x="169" y="449"/>
                      </a:lnTo>
                      <a:lnTo>
                        <a:pt x="169" y="450"/>
                      </a:lnTo>
                      <a:lnTo>
                        <a:pt x="169" y="451"/>
                      </a:lnTo>
                      <a:lnTo>
                        <a:pt x="169" y="452"/>
                      </a:lnTo>
                      <a:lnTo>
                        <a:pt x="170" y="453"/>
                      </a:lnTo>
                      <a:lnTo>
                        <a:pt x="171" y="453"/>
                      </a:lnTo>
                      <a:lnTo>
                        <a:pt x="171" y="453"/>
                      </a:lnTo>
                      <a:lnTo>
                        <a:pt x="172" y="453"/>
                      </a:lnTo>
                      <a:lnTo>
                        <a:pt x="174" y="452"/>
                      </a:lnTo>
                      <a:lnTo>
                        <a:pt x="174" y="451"/>
                      </a:lnTo>
                      <a:lnTo>
                        <a:pt x="175" y="451"/>
                      </a:lnTo>
                      <a:lnTo>
                        <a:pt x="176" y="452"/>
                      </a:lnTo>
                      <a:lnTo>
                        <a:pt x="176" y="453"/>
                      </a:lnTo>
                      <a:lnTo>
                        <a:pt x="176" y="453"/>
                      </a:lnTo>
                      <a:lnTo>
                        <a:pt x="176" y="454"/>
                      </a:lnTo>
                      <a:lnTo>
                        <a:pt x="176" y="455"/>
                      </a:lnTo>
                      <a:lnTo>
                        <a:pt x="176" y="455"/>
                      </a:lnTo>
                      <a:lnTo>
                        <a:pt x="174" y="456"/>
                      </a:lnTo>
                      <a:lnTo>
                        <a:pt x="174" y="457"/>
                      </a:lnTo>
                      <a:lnTo>
                        <a:pt x="174" y="457"/>
                      </a:lnTo>
                      <a:lnTo>
                        <a:pt x="174" y="458"/>
                      </a:lnTo>
                      <a:lnTo>
                        <a:pt x="174" y="460"/>
                      </a:lnTo>
                      <a:lnTo>
                        <a:pt x="174" y="461"/>
                      </a:lnTo>
                      <a:lnTo>
                        <a:pt x="174" y="462"/>
                      </a:lnTo>
                      <a:lnTo>
                        <a:pt x="174" y="462"/>
                      </a:lnTo>
                      <a:lnTo>
                        <a:pt x="174" y="463"/>
                      </a:lnTo>
                      <a:lnTo>
                        <a:pt x="173" y="464"/>
                      </a:lnTo>
                      <a:lnTo>
                        <a:pt x="171" y="464"/>
                      </a:lnTo>
                      <a:lnTo>
                        <a:pt x="171" y="464"/>
                      </a:lnTo>
                      <a:lnTo>
                        <a:pt x="171" y="463"/>
                      </a:lnTo>
                      <a:lnTo>
                        <a:pt x="170" y="462"/>
                      </a:lnTo>
                      <a:lnTo>
                        <a:pt x="169" y="462"/>
                      </a:lnTo>
                      <a:lnTo>
                        <a:pt x="168" y="461"/>
                      </a:lnTo>
                      <a:lnTo>
                        <a:pt x="167" y="462"/>
                      </a:lnTo>
                      <a:lnTo>
                        <a:pt x="167" y="463"/>
                      </a:lnTo>
                      <a:lnTo>
                        <a:pt x="167" y="464"/>
                      </a:lnTo>
                      <a:lnTo>
                        <a:pt x="168" y="464"/>
                      </a:lnTo>
                      <a:lnTo>
                        <a:pt x="170" y="466"/>
                      </a:lnTo>
                      <a:lnTo>
                        <a:pt x="171" y="467"/>
                      </a:lnTo>
                      <a:lnTo>
                        <a:pt x="172" y="469"/>
                      </a:lnTo>
                      <a:lnTo>
                        <a:pt x="173" y="470"/>
                      </a:lnTo>
                      <a:lnTo>
                        <a:pt x="174" y="470"/>
                      </a:lnTo>
                      <a:lnTo>
                        <a:pt x="174" y="470"/>
                      </a:lnTo>
                      <a:lnTo>
                        <a:pt x="174" y="471"/>
                      </a:lnTo>
                      <a:lnTo>
                        <a:pt x="173" y="472"/>
                      </a:lnTo>
                      <a:lnTo>
                        <a:pt x="172" y="472"/>
                      </a:lnTo>
                      <a:lnTo>
                        <a:pt x="171" y="472"/>
                      </a:lnTo>
                      <a:lnTo>
                        <a:pt x="168" y="472"/>
                      </a:lnTo>
                      <a:lnTo>
                        <a:pt x="166" y="472"/>
                      </a:lnTo>
                      <a:lnTo>
                        <a:pt x="164" y="472"/>
                      </a:lnTo>
                      <a:lnTo>
                        <a:pt x="161" y="474"/>
                      </a:lnTo>
                      <a:lnTo>
                        <a:pt x="159" y="475"/>
                      </a:lnTo>
                      <a:lnTo>
                        <a:pt x="158" y="476"/>
                      </a:lnTo>
                      <a:lnTo>
                        <a:pt x="156" y="476"/>
                      </a:lnTo>
                      <a:lnTo>
                        <a:pt x="155" y="476"/>
                      </a:lnTo>
                      <a:lnTo>
                        <a:pt x="155" y="477"/>
                      </a:lnTo>
                      <a:lnTo>
                        <a:pt x="155" y="478"/>
                      </a:lnTo>
                      <a:lnTo>
                        <a:pt x="155" y="479"/>
                      </a:lnTo>
                      <a:lnTo>
                        <a:pt x="155" y="480"/>
                      </a:lnTo>
                      <a:lnTo>
                        <a:pt x="155" y="482"/>
                      </a:lnTo>
                      <a:lnTo>
                        <a:pt x="155" y="483"/>
                      </a:lnTo>
                      <a:lnTo>
                        <a:pt x="157" y="485"/>
                      </a:lnTo>
                      <a:lnTo>
                        <a:pt x="157" y="485"/>
                      </a:lnTo>
                      <a:lnTo>
                        <a:pt x="159" y="487"/>
                      </a:lnTo>
                      <a:lnTo>
                        <a:pt x="160" y="487"/>
                      </a:lnTo>
                      <a:lnTo>
                        <a:pt x="160" y="488"/>
                      </a:lnTo>
                      <a:lnTo>
                        <a:pt x="160" y="489"/>
                      </a:lnTo>
                      <a:lnTo>
                        <a:pt x="160" y="489"/>
                      </a:lnTo>
                      <a:lnTo>
                        <a:pt x="159" y="489"/>
                      </a:lnTo>
                      <a:lnTo>
                        <a:pt x="158" y="489"/>
                      </a:lnTo>
                      <a:lnTo>
                        <a:pt x="157" y="489"/>
                      </a:lnTo>
                      <a:lnTo>
                        <a:pt x="157" y="490"/>
                      </a:lnTo>
                      <a:lnTo>
                        <a:pt x="157" y="492"/>
                      </a:lnTo>
                      <a:lnTo>
                        <a:pt x="157" y="493"/>
                      </a:lnTo>
                      <a:lnTo>
                        <a:pt x="157" y="494"/>
                      </a:lnTo>
                      <a:lnTo>
                        <a:pt x="157" y="495"/>
                      </a:lnTo>
                      <a:lnTo>
                        <a:pt x="158" y="496"/>
                      </a:lnTo>
                      <a:lnTo>
                        <a:pt x="158" y="497"/>
                      </a:lnTo>
                      <a:lnTo>
                        <a:pt x="157" y="497"/>
                      </a:lnTo>
                      <a:lnTo>
                        <a:pt x="157" y="497"/>
                      </a:lnTo>
                      <a:lnTo>
                        <a:pt x="156" y="497"/>
                      </a:lnTo>
                      <a:lnTo>
                        <a:pt x="154" y="496"/>
                      </a:lnTo>
                      <a:lnTo>
                        <a:pt x="153" y="496"/>
                      </a:lnTo>
                      <a:lnTo>
                        <a:pt x="152" y="495"/>
                      </a:lnTo>
                      <a:lnTo>
                        <a:pt x="152" y="495"/>
                      </a:lnTo>
                      <a:lnTo>
                        <a:pt x="152" y="493"/>
                      </a:lnTo>
                      <a:lnTo>
                        <a:pt x="151" y="491"/>
                      </a:lnTo>
                      <a:lnTo>
                        <a:pt x="150" y="491"/>
                      </a:lnTo>
                      <a:lnTo>
                        <a:pt x="150" y="491"/>
                      </a:lnTo>
                      <a:lnTo>
                        <a:pt x="149" y="491"/>
                      </a:lnTo>
                      <a:lnTo>
                        <a:pt x="148" y="493"/>
                      </a:lnTo>
                      <a:lnTo>
                        <a:pt x="148" y="493"/>
                      </a:lnTo>
                      <a:lnTo>
                        <a:pt x="149" y="495"/>
                      </a:lnTo>
                      <a:lnTo>
                        <a:pt x="150" y="496"/>
                      </a:lnTo>
                      <a:lnTo>
                        <a:pt x="152" y="497"/>
                      </a:lnTo>
                      <a:lnTo>
                        <a:pt x="152" y="498"/>
                      </a:lnTo>
                      <a:lnTo>
                        <a:pt x="150" y="500"/>
                      </a:lnTo>
                      <a:lnTo>
                        <a:pt x="148" y="500"/>
                      </a:lnTo>
                      <a:lnTo>
                        <a:pt x="146" y="501"/>
                      </a:lnTo>
                      <a:lnTo>
                        <a:pt x="145" y="502"/>
                      </a:lnTo>
                      <a:lnTo>
                        <a:pt x="144" y="504"/>
                      </a:lnTo>
                      <a:lnTo>
                        <a:pt x="143" y="506"/>
                      </a:lnTo>
                      <a:lnTo>
                        <a:pt x="142" y="506"/>
                      </a:lnTo>
                      <a:lnTo>
                        <a:pt x="140" y="506"/>
                      </a:lnTo>
                      <a:lnTo>
                        <a:pt x="138" y="507"/>
                      </a:lnTo>
                      <a:lnTo>
                        <a:pt x="137" y="507"/>
                      </a:lnTo>
                      <a:lnTo>
                        <a:pt x="136" y="508"/>
                      </a:lnTo>
                      <a:lnTo>
                        <a:pt x="136" y="508"/>
                      </a:lnTo>
                      <a:lnTo>
                        <a:pt x="133" y="509"/>
                      </a:lnTo>
                      <a:lnTo>
                        <a:pt x="133" y="510"/>
                      </a:lnTo>
                      <a:lnTo>
                        <a:pt x="133" y="512"/>
                      </a:lnTo>
                      <a:lnTo>
                        <a:pt x="133" y="512"/>
                      </a:lnTo>
                      <a:lnTo>
                        <a:pt x="136" y="513"/>
                      </a:lnTo>
                      <a:lnTo>
                        <a:pt x="137" y="513"/>
                      </a:lnTo>
                      <a:lnTo>
                        <a:pt x="138" y="513"/>
                      </a:lnTo>
                      <a:lnTo>
                        <a:pt x="140" y="512"/>
                      </a:lnTo>
                      <a:lnTo>
                        <a:pt x="140" y="512"/>
                      </a:lnTo>
                      <a:lnTo>
                        <a:pt x="142" y="512"/>
                      </a:lnTo>
                      <a:lnTo>
                        <a:pt x="143" y="512"/>
                      </a:lnTo>
                      <a:lnTo>
                        <a:pt x="144" y="513"/>
                      </a:lnTo>
                      <a:lnTo>
                        <a:pt x="144" y="515"/>
                      </a:lnTo>
                      <a:lnTo>
                        <a:pt x="142" y="516"/>
                      </a:lnTo>
                      <a:lnTo>
                        <a:pt x="142" y="516"/>
                      </a:lnTo>
                      <a:lnTo>
                        <a:pt x="139" y="518"/>
                      </a:lnTo>
                      <a:lnTo>
                        <a:pt x="138" y="519"/>
                      </a:lnTo>
                      <a:lnTo>
                        <a:pt x="137" y="520"/>
                      </a:lnTo>
                      <a:lnTo>
                        <a:pt x="136" y="521"/>
                      </a:lnTo>
                      <a:lnTo>
                        <a:pt x="136" y="522"/>
                      </a:lnTo>
                      <a:lnTo>
                        <a:pt x="136" y="523"/>
                      </a:lnTo>
                      <a:lnTo>
                        <a:pt x="136" y="523"/>
                      </a:lnTo>
                      <a:lnTo>
                        <a:pt x="138" y="524"/>
                      </a:lnTo>
                      <a:lnTo>
                        <a:pt x="139" y="524"/>
                      </a:lnTo>
                      <a:lnTo>
                        <a:pt x="140" y="525"/>
                      </a:lnTo>
                      <a:lnTo>
                        <a:pt x="142" y="526"/>
                      </a:lnTo>
                      <a:lnTo>
                        <a:pt x="142" y="527"/>
                      </a:lnTo>
                      <a:lnTo>
                        <a:pt x="143" y="529"/>
                      </a:lnTo>
                      <a:lnTo>
                        <a:pt x="144" y="528"/>
                      </a:lnTo>
                      <a:lnTo>
                        <a:pt x="146" y="527"/>
                      </a:lnTo>
                      <a:lnTo>
                        <a:pt x="147" y="525"/>
                      </a:lnTo>
                      <a:lnTo>
                        <a:pt x="148" y="525"/>
                      </a:lnTo>
                      <a:lnTo>
                        <a:pt x="148" y="525"/>
                      </a:lnTo>
                      <a:lnTo>
                        <a:pt x="149" y="525"/>
                      </a:lnTo>
                      <a:lnTo>
                        <a:pt x="150" y="527"/>
                      </a:lnTo>
                      <a:lnTo>
                        <a:pt x="150" y="527"/>
                      </a:lnTo>
                      <a:lnTo>
                        <a:pt x="148" y="529"/>
                      </a:lnTo>
                      <a:lnTo>
                        <a:pt x="148" y="530"/>
                      </a:lnTo>
                      <a:lnTo>
                        <a:pt x="146" y="531"/>
                      </a:lnTo>
                      <a:lnTo>
                        <a:pt x="146" y="533"/>
                      </a:lnTo>
                      <a:lnTo>
                        <a:pt x="145" y="533"/>
                      </a:lnTo>
                      <a:lnTo>
                        <a:pt x="145" y="535"/>
                      </a:lnTo>
                      <a:lnTo>
                        <a:pt x="145" y="537"/>
                      </a:lnTo>
                      <a:lnTo>
                        <a:pt x="142" y="537"/>
                      </a:lnTo>
                      <a:lnTo>
                        <a:pt x="140" y="539"/>
                      </a:lnTo>
                      <a:lnTo>
                        <a:pt x="138" y="540"/>
                      </a:lnTo>
                      <a:lnTo>
                        <a:pt x="138" y="542"/>
                      </a:lnTo>
                      <a:lnTo>
                        <a:pt x="137" y="543"/>
                      </a:lnTo>
                      <a:lnTo>
                        <a:pt x="136" y="544"/>
                      </a:lnTo>
                      <a:lnTo>
                        <a:pt x="137" y="545"/>
                      </a:lnTo>
                      <a:lnTo>
                        <a:pt x="138" y="544"/>
                      </a:lnTo>
                      <a:lnTo>
                        <a:pt x="140" y="544"/>
                      </a:lnTo>
                      <a:lnTo>
                        <a:pt x="141" y="543"/>
                      </a:lnTo>
                      <a:lnTo>
                        <a:pt x="142" y="543"/>
                      </a:lnTo>
                      <a:lnTo>
                        <a:pt x="144" y="544"/>
                      </a:lnTo>
                      <a:lnTo>
                        <a:pt x="144" y="545"/>
                      </a:lnTo>
                      <a:lnTo>
                        <a:pt x="144" y="546"/>
                      </a:lnTo>
                      <a:lnTo>
                        <a:pt x="142" y="548"/>
                      </a:lnTo>
                      <a:lnTo>
                        <a:pt x="141" y="549"/>
                      </a:lnTo>
                      <a:lnTo>
                        <a:pt x="140" y="550"/>
                      </a:lnTo>
                      <a:lnTo>
                        <a:pt x="137" y="552"/>
                      </a:lnTo>
                      <a:lnTo>
                        <a:pt x="135" y="554"/>
                      </a:lnTo>
                      <a:lnTo>
                        <a:pt x="133" y="555"/>
                      </a:lnTo>
                      <a:lnTo>
                        <a:pt x="132" y="556"/>
                      </a:lnTo>
                      <a:lnTo>
                        <a:pt x="131" y="557"/>
                      </a:lnTo>
                      <a:lnTo>
                        <a:pt x="131" y="559"/>
                      </a:lnTo>
                      <a:lnTo>
                        <a:pt x="131" y="561"/>
                      </a:lnTo>
                      <a:lnTo>
                        <a:pt x="130" y="562"/>
                      </a:lnTo>
                      <a:lnTo>
                        <a:pt x="130" y="563"/>
                      </a:lnTo>
                      <a:lnTo>
                        <a:pt x="131" y="565"/>
                      </a:lnTo>
                      <a:lnTo>
                        <a:pt x="132" y="568"/>
                      </a:lnTo>
                      <a:lnTo>
                        <a:pt x="133" y="569"/>
                      </a:lnTo>
                      <a:lnTo>
                        <a:pt x="133" y="569"/>
                      </a:lnTo>
                      <a:lnTo>
                        <a:pt x="133" y="571"/>
                      </a:lnTo>
                      <a:lnTo>
                        <a:pt x="133" y="572"/>
                      </a:lnTo>
                      <a:lnTo>
                        <a:pt x="133" y="573"/>
                      </a:lnTo>
                      <a:lnTo>
                        <a:pt x="132" y="573"/>
                      </a:lnTo>
                      <a:lnTo>
                        <a:pt x="131" y="573"/>
                      </a:lnTo>
                      <a:lnTo>
                        <a:pt x="129" y="573"/>
                      </a:lnTo>
                      <a:lnTo>
                        <a:pt x="129" y="574"/>
                      </a:lnTo>
                      <a:lnTo>
                        <a:pt x="128" y="575"/>
                      </a:lnTo>
                      <a:lnTo>
                        <a:pt x="128" y="576"/>
                      </a:lnTo>
                      <a:lnTo>
                        <a:pt x="128" y="578"/>
                      </a:lnTo>
                      <a:lnTo>
                        <a:pt x="129" y="578"/>
                      </a:lnTo>
                      <a:lnTo>
                        <a:pt x="129" y="578"/>
                      </a:lnTo>
                      <a:lnTo>
                        <a:pt x="131" y="579"/>
                      </a:lnTo>
                      <a:lnTo>
                        <a:pt x="132" y="579"/>
                      </a:lnTo>
                      <a:lnTo>
                        <a:pt x="133" y="580"/>
                      </a:lnTo>
                      <a:lnTo>
                        <a:pt x="135" y="580"/>
                      </a:lnTo>
                      <a:lnTo>
                        <a:pt x="136" y="581"/>
                      </a:lnTo>
                      <a:lnTo>
                        <a:pt x="138" y="582"/>
                      </a:lnTo>
                      <a:lnTo>
                        <a:pt x="138" y="582"/>
                      </a:lnTo>
                      <a:lnTo>
                        <a:pt x="140" y="583"/>
                      </a:lnTo>
                      <a:lnTo>
                        <a:pt x="141" y="584"/>
                      </a:lnTo>
                      <a:lnTo>
                        <a:pt x="142" y="584"/>
                      </a:lnTo>
                      <a:lnTo>
                        <a:pt x="142" y="584"/>
                      </a:lnTo>
                      <a:lnTo>
                        <a:pt x="142" y="586"/>
                      </a:lnTo>
                      <a:lnTo>
                        <a:pt x="142" y="586"/>
                      </a:lnTo>
                      <a:lnTo>
                        <a:pt x="140" y="587"/>
                      </a:lnTo>
                      <a:lnTo>
                        <a:pt x="140" y="588"/>
                      </a:lnTo>
                      <a:lnTo>
                        <a:pt x="138" y="588"/>
                      </a:lnTo>
                      <a:lnTo>
                        <a:pt x="137" y="590"/>
                      </a:lnTo>
                      <a:lnTo>
                        <a:pt x="136" y="591"/>
                      </a:lnTo>
                      <a:lnTo>
                        <a:pt x="136" y="591"/>
                      </a:lnTo>
                      <a:lnTo>
                        <a:pt x="135" y="592"/>
                      </a:lnTo>
                      <a:lnTo>
                        <a:pt x="134" y="592"/>
                      </a:lnTo>
                      <a:lnTo>
                        <a:pt x="133" y="591"/>
                      </a:lnTo>
                      <a:lnTo>
                        <a:pt x="131" y="591"/>
                      </a:lnTo>
                      <a:lnTo>
                        <a:pt x="131" y="590"/>
                      </a:lnTo>
                      <a:lnTo>
                        <a:pt x="129" y="590"/>
                      </a:lnTo>
                      <a:lnTo>
                        <a:pt x="129" y="591"/>
                      </a:lnTo>
                      <a:lnTo>
                        <a:pt x="128" y="591"/>
                      </a:lnTo>
                      <a:lnTo>
                        <a:pt x="128" y="592"/>
                      </a:lnTo>
                      <a:lnTo>
                        <a:pt x="127" y="592"/>
                      </a:lnTo>
                      <a:lnTo>
                        <a:pt x="127" y="593"/>
                      </a:lnTo>
                      <a:lnTo>
                        <a:pt x="128" y="594"/>
                      </a:lnTo>
                      <a:lnTo>
                        <a:pt x="129" y="595"/>
                      </a:lnTo>
                      <a:lnTo>
                        <a:pt x="129" y="596"/>
                      </a:lnTo>
                      <a:lnTo>
                        <a:pt x="130" y="596"/>
                      </a:lnTo>
                      <a:lnTo>
                        <a:pt x="131" y="597"/>
                      </a:lnTo>
                      <a:lnTo>
                        <a:pt x="133" y="596"/>
                      </a:lnTo>
                      <a:lnTo>
                        <a:pt x="135" y="595"/>
                      </a:lnTo>
                      <a:lnTo>
                        <a:pt x="136" y="595"/>
                      </a:lnTo>
                      <a:lnTo>
                        <a:pt x="137" y="595"/>
                      </a:lnTo>
                      <a:lnTo>
                        <a:pt x="138" y="595"/>
                      </a:lnTo>
                      <a:lnTo>
                        <a:pt x="138" y="596"/>
                      </a:lnTo>
                      <a:lnTo>
                        <a:pt x="139" y="596"/>
                      </a:lnTo>
                      <a:lnTo>
                        <a:pt x="140" y="597"/>
                      </a:lnTo>
                      <a:lnTo>
                        <a:pt x="140" y="598"/>
                      </a:lnTo>
                      <a:lnTo>
                        <a:pt x="140" y="599"/>
                      </a:lnTo>
                      <a:lnTo>
                        <a:pt x="139" y="601"/>
                      </a:lnTo>
                      <a:lnTo>
                        <a:pt x="138" y="602"/>
                      </a:lnTo>
                      <a:lnTo>
                        <a:pt x="137" y="603"/>
                      </a:lnTo>
                      <a:lnTo>
                        <a:pt x="136" y="604"/>
                      </a:lnTo>
                      <a:lnTo>
                        <a:pt x="136" y="605"/>
                      </a:lnTo>
                      <a:lnTo>
                        <a:pt x="135" y="607"/>
                      </a:lnTo>
                      <a:lnTo>
                        <a:pt x="133" y="609"/>
                      </a:lnTo>
                      <a:lnTo>
                        <a:pt x="133" y="610"/>
                      </a:lnTo>
                      <a:lnTo>
                        <a:pt x="132" y="611"/>
                      </a:lnTo>
                      <a:lnTo>
                        <a:pt x="132" y="613"/>
                      </a:lnTo>
                      <a:lnTo>
                        <a:pt x="131" y="614"/>
                      </a:lnTo>
                      <a:lnTo>
                        <a:pt x="132" y="615"/>
                      </a:lnTo>
                      <a:lnTo>
                        <a:pt x="132" y="617"/>
                      </a:lnTo>
                      <a:lnTo>
                        <a:pt x="132" y="619"/>
                      </a:lnTo>
                      <a:lnTo>
                        <a:pt x="133" y="620"/>
                      </a:lnTo>
                      <a:lnTo>
                        <a:pt x="133" y="621"/>
                      </a:lnTo>
                      <a:lnTo>
                        <a:pt x="134" y="622"/>
                      </a:lnTo>
                      <a:lnTo>
                        <a:pt x="136" y="623"/>
                      </a:lnTo>
                      <a:lnTo>
                        <a:pt x="137" y="624"/>
                      </a:lnTo>
                      <a:lnTo>
                        <a:pt x="138" y="626"/>
                      </a:lnTo>
                      <a:lnTo>
                        <a:pt x="139" y="627"/>
                      </a:lnTo>
                      <a:lnTo>
                        <a:pt x="139" y="628"/>
                      </a:lnTo>
                      <a:lnTo>
                        <a:pt x="139" y="629"/>
                      </a:lnTo>
                      <a:lnTo>
                        <a:pt x="139" y="630"/>
                      </a:lnTo>
                      <a:lnTo>
                        <a:pt x="138" y="631"/>
                      </a:lnTo>
                      <a:lnTo>
                        <a:pt x="138" y="632"/>
                      </a:lnTo>
                      <a:lnTo>
                        <a:pt x="137" y="633"/>
                      </a:lnTo>
                      <a:lnTo>
                        <a:pt x="136" y="634"/>
                      </a:lnTo>
                      <a:lnTo>
                        <a:pt x="136" y="634"/>
                      </a:lnTo>
                      <a:lnTo>
                        <a:pt x="137" y="636"/>
                      </a:lnTo>
                      <a:lnTo>
                        <a:pt x="138" y="636"/>
                      </a:lnTo>
                      <a:lnTo>
                        <a:pt x="138" y="637"/>
                      </a:lnTo>
                      <a:lnTo>
                        <a:pt x="139" y="637"/>
                      </a:lnTo>
                      <a:lnTo>
                        <a:pt x="141" y="638"/>
                      </a:lnTo>
                      <a:lnTo>
                        <a:pt x="142" y="639"/>
                      </a:lnTo>
                      <a:lnTo>
                        <a:pt x="143" y="639"/>
                      </a:lnTo>
                      <a:lnTo>
                        <a:pt x="144" y="639"/>
                      </a:lnTo>
                      <a:lnTo>
                        <a:pt x="146" y="640"/>
                      </a:lnTo>
                      <a:lnTo>
                        <a:pt x="147" y="641"/>
                      </a:lnTo>
                      <a:lnTo>
                        <a:pt x="148" y="641"/>
                      </a:lnTo>
                      <a:lnTo>
                        <a:pt x="148" y="643"/>
                      </a:lnTo>
                      <a:lnTo>
                        <a:pt x="148" y="644"/>
                      </a:lnTo>
                      <a:lnTo>
                        <a:pt x="148" y="645"/>
                      </a:lnTo>
                      <a:lnTo>
                        <a:pt x="148" y="645"/>
                      </a:lnTo>
                      <a:lnTo>
                        <a:pt x="148" y="646"/>
                      </a:lnTo>
                      <a:lnTo>
                        <a:pt x="146" y="647"/>
                      </a:lnTo>
                      <a:lnTo>
                        <a:pt x="145" y="647"/>
                      </a:lnTo>
                      <a:lnTo>
                        <a:pt x="144" y="646"/>
                      </a:lnTo>
                      <a:lnTo>
                        <a:pt x="143" y="646"/>
                      </a:lnTo>
                      <a:lnTo>
                        <a:pt x="142" y="645"/>
                      </a:lnTo>
                      <a:lnTo>
                        <a:pt x="140" y="645"/>
                      </a:lnTo>
                      <a:lnTo>
                        <a:pt x="139" y="645"/>
                      </a:lnTo>
                      <a:lnTo>
                        <a:pt x="138" y="645"/>
                      </a:lnTo>
                      <a:lnTo>
                        <a:pt x="136" y="647"/>
                      </a:lnTo>
                      <a:lnTo>
                        <a:pt x="135" y="648"/>
                      </a:lnTo>
                      <a:lnTo>
                        <a:pt x="134" y="650"/>
                      </a:lnTo>
                      <a:lnTo>
                        <a:pt x="132" y="653"/>
                      </a:lnTo>
                      <a:lnTo>
                        <a:pt x="131" y="654"/>
                      </a:lnTo>
                      <a:lnTo>
                        <a:pt x="129" y="655"/>
                      </a:lnTo>
                      <a:lnTo>
                        <a:pt x="128" y="656"/>
                      </a:lnTo>
                      <a:lnTo>
                        <a:pt x="127" y="657"/>
                      </a:lnTo>
                      <a:lnTo>
                        <a:pt x="126" y="658"/>
                      </a:lnTo>
                      <a:lnTo>
                        <a:pt x="126" y="658"/>
                      </a:lnTo>
                      <a:lnTo>
                        <a:pt x="126" y="659"/>
                      </a:lnTo>
                      <a:lnTo>
                        <a:pt x="126" y="660"/>
                      </a:lnTo>
                      <a:lnTo>
                        <a:pt x="127" y="660"/>
                      </a:lnTo>
                      <a:lnTo>
                        <a:pt x="128" y="660"/>
                      </a:lnTo>
                      <a:lnTo>
                        <a:pt x="129" y="658"/>
                      </a:lnTo>
                      <a:lnTo>
                        <a:pt x="130" y="658"/>
                      </a:lnTo>
                      <a:lnTo>
                        <a:pt x="131" y="658"/>
                      </a:lnTo>
                      <a:lnTo>
                        <a:pt x="131" y="659"/>
                      </a:lnTo>
                      <a:lnTo>
                        <a:pt x="132" y="659"/>
                      </a:lnTo>
                      <a:lnTo>
                        <a:pt x="133" y="660"/>
                      </a:lnTo>
                      <a:lnTo>
                        <a:pt x="133" y="662"/>
                      </a:lnTo>
                      <a:lnTo>
                        <a:pt x="132" y="663"/>
                      </a:lnTo>
                      <a:lnTo>
                        <a:pt x="131" y="664"/>
                      </a:lnTo>
                      <a:lnTo>
                        <a:pt x="128" y="665"/>
                      </a:lnTo>
                      <a:lnTo>
                        <a:pt x="127" y="666"/>
                      </a:lnTo>
                      <a:lnTo>
                        <a:pt x="127" y="666"/>
                      </a:lnTo>
                      <a:lnTo>
                        <a:pt x="128" y="667"/>
                      </a:lnTo>
                      <a:lnTo>
                        <a:pt x="130" y="668"/>
                      </a:lnTo>
                      <a:lnTo>
                        <a:pt x="131" y="669"/>
                      </a:lnTo>
                      <a:lnTo>
                        <a:pt x="131" y="670"/>
                      </a:lnTo>
                      <a:lnTo>
                        <a:pt x="131" y="671"/>
                      </a:lnTo>
                      <a:lnTo>
                        <a:pt x="130" y="672"/>
                      </a:lnTo>
                      <a:lnTo>
                        <a:pt x="129" y="672"/>
                      </a:lnTo>
                      <a:lnTo>
                        <a:pt x="127" y="674"/>
                      </a:lnTo>
                      <a:lnTo>
                        <a:pt x="127" y="674"/>
                      </a:lnTo>
                      <a:lnTo>
                        <a:pt x="127" y="675"/>
                      </a:lnTo>
                      <a:lnTo>
                        <a:pt x="127" y="676"/>
                      </a:lnTo>
                      <a:lnTo>
                        <a:pt x="127" y="677"/>
                      </a:lnTo>
                      <a:lnTo>
                        <a:pt x="129" y="677"/>
                      </a:lnTo>
                      <a:lnTo>
                        <a:pt x="129" y="678"/>
                      </a:lnTo>
                      <a:lnTo>
                        <a:pt x="131" y="678"/>
                      </a:lnTo>
                      <a:lnTo>
                        <a:pt x="132" y="678"/>
                      </a:lnTo>
                      <a:lnTo>
                        <a:pt x="133" y="678"/>
                      </a:lnTo>
                      <a:lnTo>
                        <a:pt x="134" y="679"/>
                      </a:lnTo>
                      <a:lnTo>
                        <a:pt x="134" y="679"/>
                      </a:lnTo>
                      <a:lnTo>
                        <a:pt x="134" y="681"/>
                      </a:lnTo>
                      <a:lnTo>
                        <a:pt x="134" y="682"/>
                      </a:lnTo>
                      <a:lnTo>
                        <a:pt x="134" y="683"/>
                      </a:lnTo>
                      <a:lnTo>
                        <a:pt x="134" y="685"/>
                      </a:lnTo>
                      <a:lnTo>
                        <a:pt x="133" y="685"/>
                      </a:lnTo>
                      <a:lnTo>
                        <a:pt x="133" y="687"/>
                      </a:lnTo>
                      <a:lnTo>
                        <a:pt x="134" y="688"/>
                      </a:lnTo>
                      <a:lnTo>
                        <a:pt x="135" y="688"/>
                      </a:lnTo>
                      <a:lnTo>
                        <a:pt x="135" y="689"/>
                      </a:lnTo>
                      <a:lnTo>
                        <a:pt x="135" y="690"/>
                      </a:lnTo>
                      <a:lnTo>
                        <a:pt x="136" y="691"/>
                      </a:lnTo>
                      <a:lnTo>
                        <a:pt x="137" y="692"/>
                      </a:lnTo>
                      <a:lnTo>
                        <a:pt x="138" y="693"/>
                      </a:lnTo>
                      <a:lnTo>
                        <a:pt x="139" y="694"/>
                      </a:lnTo>
                      <a:lnTo>
                        <a:pt x="140" y="696"/>
                      </a:lnTo>
                      <a:lnTo>
                        <a:pt x="140" y="698"/>
                      </a:lnTo>
                      <a:lnTo>
                        <a:pt x="140" y="698"/>
                      </a:lnTo>
                      <a:lnTo>
                        <a:pt x="141" y="699"/>
                      </a:lnTo>
                      <a:lnTo>
                        <a:pt x="142" y="699"/>
                      </a:lnTo>
                      <a:lnTo>
                        <a:pt x="142" y="699"/>
                      </a:lnTo>
                      <a:lnTo>
                        <a:pt x="143" y="699"/>
                      </a:lnTo>
                      <a:lnTo>
                        <a:pt x="144" y="698"/>
                      </a:lnTo>
                      <a:lnTo>
                        <a:pt x="145" y="698"/>
                      </a:lnTo>
                      <a:lnTo>
                        <a:pt x="146" y="698"/>
                      </a:lnTo>
                      <a:lnTo>
                        <a:pt x="147" y="699"/>
                      </a:lnTo>
                      <a:lnTo>
                        <a:pt x="147" y="700"/>
                      </a:lnTo>
                      <a:lnTo>
                        <a:pt x="148" y="701"/>
                      </a:lnTo>
                      <a:lnTo>
                        <a:pt x="147" y="702"/>
                      </a:lnTo>
                      <a:lnTo>
                        <a:pt x="146" y="703"/>
                      </a:lnTo>
                      <a:lnTo>
                        <a:pt x="146" y="703"/>
                      </a:lnTo>
                      <a:lnTo>
                        <a:pt x="146" y="704"/>
                      </a:lnTo>
                      <a:lnTo>
                        <a:pt x="145" y="704"/>
                      </a:lnTo>
                      <a:lnTo>
                        <a:pt x="144" y="704"/>
                      </a:lnTo>
                      <a:lnTo>
                        <a:pt x="144" y="706"/>
                      </a:lnTo>
                      <a:lnTo>
                        <a:pt x="144" y="707"/>
                      </a:lnTo>
                      <a:lnTo>
                        <a:pt x="144" y="708"/>
                      </a:lnTo>
                      <a:lnTo>
                        <a:pt x="144" y="710"/>
                      </a:lnTo>
                      <a:lnTo>
                        <a:pt x="143" y="710"/>
                      </a:lnTo>
                      <a:lnTo>
                        <a:pt x="143" y="711"/>
                      </a:lnTo>
                      <a:lnTo>
                        <a:pt x="144" y="712"/>
                      </a:lnTo>
                      <a:lnTo>
                        <a:pt x="144" y="713"/>
                      </a:lnTo>
                      <a:lnTo>
                        <a:pt x="143" y="714"/>
                      </a:lnTo>
                      <a:lnTo>
                        <a:pt x="143" y="714"/>
                      </a:lnTo>
                      <a:lnTo>
                        <a:pt x="143" y="715"/>
                      </a:lnTo>
                      <a:lnTo>
                        <a:pt x="143" y="716"/>
                      </a:lnTo>
                      <a:lnTo>
                        <a:pt x="143" y="717"/>
                      </a:lnTo>
                      <a:lnTo>
                        <a:pt x="142" y="717"/>
                      </a:lnTo>
                      <a:lnTo>
                        <a:pt x="142" y="717"/>
                      </a:lnTo>
                      <a:lnTo>
                        <a:pt x="140" y="718"/>
                      </a:lnTo>
                      <a:lnTo>
                        <a:pt x="140" y="719"/>
                      </a:lnTo>
                      <a:lnTo>
                        <a:pt x="138" y="719"/>
                      </a:lnTo>
                      <a:lnTo>
                        <a:pt x="138" y="720"/>
                      </a:lnTo>
                      <a:lnTo>
                        <a:pt x="138" y="721"/>
                      </a:lnTo>
                      <a:lnTo>
                        <a:pt x="138" y="721"/>
                      </a:lnTo>
                      <a:lnTo>
                        <a:pt x="138" y="722"/>
                      </a:lnTo>
                      <a:lnTo>
                        <a:pt x="138" y="723"/>
                      </a:lnTo>
                      <a:lnTo>
                        <a:pt x="137" y="723"/>
                      </a:lnTo>
                      <a:lnTo>
                        <a:pt x="136" y="724"/>
                      </a:lnTo>
                      <a:lnTo>
                        <a:pt x="135" y="725"/>
                      </a:lnTo>
                      <a:lnTo>
                        <a:pt x="133" y="725"/>
                      </a:lnTo>
                      <a:lnTo>
                        <a:pt x="133" y="726"/>
                      </a:lnTo>
                      <a:lnTo>
                        <a:pt x="133" y="727"/>
                      </a:lnTo>
                      <a:lnTo>
                        <a:pt x="133" y="727"/>
                      </a:lnTo>
                      <a:lnTo>
                        <a:pt x="134" y="728"/>
                      </a:lnTo>
                      <a:lnTo>
                        <a:pt x="135" y="728"/>
                      </a:lnTo>
                      <a:lnTo>
                        <a:pt x="136" y="729"/>
                      </a:lnTo>
                      <a:lnTo>
                        <a:pt x="136" y="729"/>
                      </a:lnTo>
                      <a:lnTo>
                        <a:pt x="136" y="729"/>
                      </a:lnTo>
                      <a:lnTo>
                        <a:pt x="136" y="730"/>
                      </a:lnTo>
                      <a:lnTo>
                        <a:pt x="137" y="731"/>
                      </a:lnTo>
                      <a:lnTo>
                        <a:pt x="137" y="731"/>
                      </a:lnTo>
                      <a:lnTo>
                        <a:pt x="137" y="733"/>
                      </a:lnTo>
                      <a:lnTo>
                        <a:pt x="137" y="733"/>
                      </a:lnTo>
                      <a:lnTo>
                        <a:pt x="137" y="734"/>
                      </a:lnTo>
                      <a:lnTo>
                        <a:pt x="136" y="735"/>
                      </a:lnTo>
                      <a:lnTo>
                        <a:pt x="136" y="736"/>
                      </a:lnTo>
                      <a:lnTo>
                        <a:pt x="136" y="736"/>
                      </a:lnTo>
                      <a:lnTo>
                        <a:pt x="136" y="737"/>
                      </a:lnTo>
                      <a:lnTo>
                        <a:pt x="137" y="737"/>
                      </a:lnTo>
                      <a:lnTo>
                        <a:pt x="138" y="737"/>
                      </a:lnTo>
                      <a:lnTo>
                        <a:pt x="138" y="737"/>
                      </a:lnTo>
                      <a:lnTo>
                        <a:pt x="138" y="738"/>
                      </a:lnTo>
                      <a:lnTo>
                        <a:pt x="138" y="738"/>
                      </a:lnTo>
                      <a:lnTo>
                        <a:pt x="138" y="738"/>
                      </a:lnTo>
                      <a:lnTo>
                        <a:pt x="137" y="738"/>
                      </a:lnTo>
                      <a:lnTo>
                        <a:pt x="136" y="738"/>
                      </a:lnTo>
                      <a:lnTo>
                        <a:pt x="136" y="739"/>
                      </a:lnTo>
                      <a:lnTo>
                        <a:pt x="136" y="740"/>
                      </a:lnTo>
                      <a:lnTo>
                        <a:pt x="136" y="740"/>
                      </a:lnTo>
                      <a:lnTo>
                        <a:pt x="136" y="741"/>
                      </a:lnTo>
                      <a:lnTo>
                        <a:pt x="137" y="741"/>
                      </a:lnTo>
                      <a:lnTo>
                        <a:pt x="138" y="741"/>
                      </a:lnTo>
                      <a:lnTo>
                        <a:pt x="138" y="740"/>
                      </a:lnTo>
                      <a:lnTo>
                        <a:pt x="138" y="740"/>
                      </a:lnTo>
                      <a:lnTo>
                        <a:pt x="138" y="740"/>
                      </a:lnTo>
                      <a:lnTo>
                        <a:pt x="138" y="739"/>
                      </a:lnTo>
                      <a:lnTo>
                        <a:pt x="139" y="738"/>
                      </a:lnTo>
                      <a:lnTo>
                        <a:pt x="140" y="738"/>
                      </a:lnTo>
                      <a:lnTo>
                        <a:pt x="140" y="738"/>
                      </a:lnTo>
                      <a:lnTo>
                        <a:pt x="141" y="738"/>
                      </a:lnTo>
                      <a:lnTo>
                        <a:pt x="141" y="739"/>
                      </a:lnTo>
                      <a:lnTo>
                        <a:pt x="141" y="740"/>
                      </a:lnTo>
                      <a:lnTo>
                        <a:pt x="140" y="740"/>
                      </a:lnTo>
                      <a:lnTo>
                        <a:pt x="140" y="741"/>
                      </a:lnTo>
                      <a:lnTo>
                        <a:pt x="140" y="742"/>
                      </a:lnTo>
                      <a:lnTo>
                        <a:pt x="140" y="742"/>
                      </a:lnTo>
                      <a:lnTo>
                        <a:pt x="140" y="742"/>
                      </a:lnTo>
                      <a:lnTo>
                        <a:pt x="141" y="743"/>
                      </a:lnTo>
                      <a:lnTo>
                        <a:pt x="141" y="744"/>
                      </a:lnTo>
                      <a:lnTo>
                        <a:pt x="142" y="744"/>
                      </a:lnTo>
                      <a:lnTo>
                        <a:pt x="142" y="744"/>
                      </a:lnTo>
                      <a:lnTo>
                        <a:pt x="142" y="745"/>
                      </a:lnTo>
                      <a:lnTo>
                        <a:pt x="143" y="745"/>
                      </a:lnTo>
                      <a:lnTo>
                        <a:pt x="143" y="746"/>
                      </a:lnTo>
                      <a:lnTo>
                        <a:pt x="144" y="746"/>
                      </a:lnTo>
                      <a:lnTo>
                        <a:pt x="144" y="746"/>
                      </a:lnTo>
                      <a:lnTo>
                        <a:pt x="145" y="746"/>
                      </a:lnTo>
                      <a:lnTo>
                        <a:pt x="146" y="746"/>
                      </a:lnTo>
                      <a:lnTo>
                        <a:pt x="146" y="747"/>
                      </a:lnTo>
                      <a:lnTo>
                        <a:pt x="146" y="747"/>
                      </a:lnTo>
                      <a:lnTo>
                        <a:pt x="146" y="748"/>
                      </a:lnTo>
                      <a:lnTo>
                        <a:pt x="146" y="748"/>
                      </a:lnTo>
                      <a:lnTo>
                        <a:pt x="146" y="748"/>
                      </a:lnTo>
                      <a:lnTo>
                        <a:pt x="145" y="748"/>
                      </a:lnTo>
                      <a:lnTo>
                        <a:pt x="144" y="748"/>
                      </a:lnTo>
                      <a:lnTo>
                        <a:pt x="144" y="749"/>
                      </a:lnTo>
                      <a:lnTo>
                        <a:pt x="144" y="750"/>
                      </a:lnTo>
                      <a:lnTo>
                        <a:pt x="145" y="750"/>
                      </a:lnTo>
                      <a:lnTo>
                        <a:pt x="146" y="750"/>
                      </a:lnTo>
                      <a:lnTo>
                        <a:pt x="146" y="750"/>
                      </a:lnTo>
                      <a:lnTo>
                        <a:pt x="147" y="750"/>
                      </a:lnTo>
                      <a:lnTo>
                        <a:pt x="148" y="750"/>
                      </a:lnTo>
                      <a:lnTo>
                        <a:pt x="148" y="750"/>
                      </a:lnTo>
                      <a:lnTo>
                        <a:pt x="149" y="750"/>
                      </a:lnTo>
                      <a:lnTo>
                        <a:pt x="149" y="749"/>
                      </a:lnTo>
                      <a:lnTo>
                        <a:pt x="150" y="749"/>
                      </a:lnTo>
                      <a:lnTo>
                        <a:pt x="150" y="750"/>
                      </a:lnTo>
                      <a:lnTo>
                        <a:pt x="150" y="750"/>
                      </a:lnTo>
                      <a:lnTo>
                        <a:pt x="150" y="750"/>
                      </a:lnTo>
                      <a:lnTo>
                        <a:pt x="149" y="752"/>
                      </a:lnTo>
                      <a:lnTo>
                        <a:pt x="149" y="752"/>
                      </a:lnTo>
                      <a:lnTo>
                        <a:pt x="150" y="752"/>
                      </a:lnTo>
                      <a:lnTo>
                        <a:pt x="150" y="753"/>
                      </a:lnTo>
                      <a:lnTo>
                        <a:pt x="151" y="753"/>
                      </a:lnTo>
                      <a:lnTo>
                        <a:pt x="152" y="753"/>
                      </a:lnTo>
                      <a:lnTo>
                        <a:pt x="152" y="754"/>
                      </a:lnTo>
                      <a:lnTo>
                        <a:pt x="152" y="754"/>
                      </a:lnTo>
                      <a:lnTo>
                        <a:pt x="152" y="754"/>
                      </a:lnTo>
                      <a:lnTo>
                        <a:pt x="153" y="755"/>
                      </a:lnTo>
                      <a:lnTo>
                        <a:pt x="154" y="756"/>
                      </a:lnTo>
                      <a:lnTo>
                        <a:pt x="154" y="757"/>
                      </a:lnTo>
                      <a:lnTo>
                        <a:pt x="155" y="757"/>
                      </a:lnTo>
                      <a:lnTo>
                        <a:pt x="155" y="758"/>
                      </a:lnTo>
                      <a:lnTo>
                        <a:pt x="156" y="758"/>
                      </a:lnTo>
                      <a:lnTo>
                        <a:pt x="157" y="759"/>
                      </a:lnTo>
                      <a:lnTo>
                        <a:pt x="157" y="759"/>
                      </a:lnTo>
                      <a:lnTo>
                        <a:pt x="158" y="759"/>
                      </a:lnTo>
                      <a:lnTo>
                        <a:pt x="159" y="759"/>
                      </a:lnTo>
                      <a:lnTo>
                        <a:pt x="159" y="760"/>
                      </a:lnTo>
                      <a:lnTo>
                        <a:pt x="159" y="760"/>
                      </a:lnTo>
                      <a:lnTo>
                        <a:pt x="159" y="761"/>
                      </a:lnTo>
                      <a:lnTo>
                        <a:pt x="159" y="761"/>
                      </a:lnTo>
                      <a:lnTo>
                        <a:pt x="160" y="761"/>
                      </a:lnTo>
                      <a:lnTo>
                        <a:pt x="160" y="762"/>
                      </a:lnTo>
                      <a:lnTo>
                        <a:pt x="161" y="763"/>
                      </a:lnTo>
                      <a:lnTo>
                        <a:pt x="161" y="763"/>
                      </a:lnTo>
                      <a:lnTo>
                        <a:pt x="162" y="762"/>
                      </a:lnTo>
                      <a:lnTo>
                        <a:pt x="163" y="762"/>
                      </a:lnTo>
                      <a:lnTo>
                        <a:pt x="163" y="763"/>
                      </a:lnTo>
                      <a:lnTo>
                        <a:pt x="163" y="763"/>
                      </a:lnTo>
                      <a:lnTo>
                        <a:pt x="163" y="764"/>
                      </a:lnTo>
                      <a:lnTo>
                        <a:pt x="163" y="764"/>
                      </a:lnTo>
                      <a:lnTo>
                        <a:pt x="163" y="765"/>
                      </a:lnTo>
                      <a:lnTo>
                        <a:pt x="163" y="765"/>
                      </a:lnTo>
                      <a:lnTo>
                        <a:pt x="163" y="765"/>
                      </a:lnTo>
                      <a:lnTo>
                        <a:pt x="164" y="765"/>
                      </a:lnTo>
                      <a:lnTo>
                        <a:pt x="164" y="765"/>
                      </a:lnTo>
                      <a:lnTo>
                        <a:pt x="165" y="765"/>
                      </a:lnTo>
                      <a:lnTo>
                        <a:pt x="165" y="764"/>
                      </a:lnTo>
                      <a:lnTo>
                        <a:pt x="165" y="764"/>
                      </a:lnTo>
                      <a:lnTo>
                        <a:pt x="165" y="76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8" name="Freeform 48">
                  <a:extLst>
                    <a:ext uri="{FF2B5EF4-FFF2-40B4-BE49-F238E27FC236}">
                      <a16:creationId xmlns:a16="http://schemas.microsoft.com/office/drawing/2014/main" xmlns="" id="{8F6122BF-B07E-E2C9-254A-6254C5012FEF}"/>
                    </a:ext>
                  </a:extLst>
                </p:cNvPr>
                <p:cNvSpPr>
                  <a:spLocks/>
                </p:cNvSpPr>
                <p:nvPr/>
              </p:nvSpPr>
              <p:spPr bwMode="auto">
                <a:xfrm>
                  <a:off x="2525" y="2074"/>
                  <a:ext cx="168" cy="308"/>
                </a:xfrm>
                <a:custGeom>
                  <a:avLst/>
                  <a:gdLst>
                    <a:gd name="T0" fmla="*/ 3 w 168"/>
                    <a:gd name="T1" fmla="*/ 4 h 308"/>
                    <a:gd name="T2" fmla="*/ 6 w 168"/>
                    <a:gd name="T3" fmla="*/ 11 h 308"/>
                    <a:gd name="T4" fmla="*/ 8 w 168"/>
                    <a:gd name="T5" fmla="*/ 17 h 308"/>
                    <a:gd name="T6" fmla="*/ 7 w 168"/>
                    <a:gd name="T7" fmla="*/ 21 h 308"/>
                    <a:gd name="T8" fmla="*/ 6 w 168"/>
                    <a:gd name="T9" fmla="*/ 24 h 308"/>
                    <a:gd name="T10" fmla="*/ 6 w 168"/>
                    <a:gd name="T11" fmla="*/ 29 h 308"/>
                    <a:gd name="T12" fmla="*/ 4 w 168"/>
                    <a:gd name="T13" fmla="*/ 33 h 308"/>
                    <a:gd name="T14" fmla="*/ 0 w 168"/>
                    <a:gd name="T15" fmla="*/ 40 h 308"/>
                    <a:gd name="T16" fmla="*/ 1 w 168"/>
                    <a:gd name="T17" fmla="*/ 44 h 308"/>
                    <a:gd name="T18" fmla="*/ 2 w 168"/>
                    <a:gd name="T19" fmla="*/ 50 h 308"/>
                    <a:gd name="T20" fmla="*/ 3 w 168"/>
                    <a:gd name="T21" fmla="*/ 57 h 308"/>
                    <a:gd name="T22" fmla="*/ 4 w 168"/>
                    <a:gd name="T23" fmla="*/ 63 h 308"/>
                    <a:gd name="T24" fmla="*/ 9 w 168"/>
                    <a:gd name="T25" fmla="*/ 65 h 308"/>
                    <a:gd name="T26" fmla="*/ 13 w 168"/>
                    <a:gd name="T27" fmla="*/ 72 h 308"/>
                    <a:gd name="T28" fmla="*/ 19 w 168"/>
                    <a:gd name="T29" fmla="*/ 74 h 308"/>
                    <a:gd name="T30" fmla="*/ 23 w 168"/>
                    <a:gd name="T31" fmla="*/ 76 h 308"/>
                    <a:gd name="T32" fmla="*/ 30 w 168"/>
                    <a:gd name="T33" fmla="*/ 78 h 308"/>
                    <a:gd name="T34" fmla="*/ 34 w 168"/>
                    <a:gd name="T35" fmla="*/ 75 h 308"/>
                    <a:gd name="T36" fmla="*/ 39 w 168"/>
                    <a:gd name="T37" fmla="*/ 74 h 308"/>
                    <a:gd name="T38" fmla="*/ 45 w 168"/>
                    <a:gd name="T39" fmla="*/ 80 h 308"/>
                    <a:gd name="T40" fmla="*/ 49 w 168"/>
                    <a:gd name="T41" fmla="*/ 81 h 308"/>
                    <a:gd name="T42" fmla="*/ 50 w 168"/>
                    <a:gd name="T43" fmla="*/ 86 h 308"/>
                    <a:gd name="T44" fmla="*/ 51 w 168"/>
                    <a:gd name="T45" fmla="*/ 91 h 308"/>
                    <a:gd name="T46" fmla="*/ 51 w 168"/>
                    <a:gd name="T47" fmla="*/ 95 h 308"/>
                    <a:gd name="T48" fmla="*/ 55 w 168"/>
                    <a:gd name="T49" fmla="*/ 95 h 308"/>
                    <a:gd name="T50" fmla="*/ 59 w 168"/>
                    <a:gd name="T51" fmla="*/ 100 h 308"/>
                    <a:gd name="T52" fmla="*/ 61 w 168"/>
                    <a:gd name="T53" fmla="*/ 104 h 308"/>
                    <a:gd name="T54" fmla="*/ 64 w 168"/>
                    <a:gd name="T55" fmla="*/ 108 h 308"/>
                    <a:gd name="T56" fmla="*/ 68 w 168"/>
                    <a:gd name="T57" fmla="*/ 112 h 308"/>
                    <a:gd name="T58" fmla="*/ 72 w 168"/>
                    <a:gd name="T59" fmla="*/ 116 h 308"/>
                    <a:gd name="T60" fmla="*/ 74 w 168"/>
                    <a:gd name="T61" fmla="*/ 119 h 308"/>
                    <a:gd name="T62" fmla="*/ 78 w 168"/>
                    <a:gd name="T63" fmla="*/ 127 h 308"/>
                    <a:gd name="T64" fmla="*/ 79 w 168"/>
                    <a:gd name="T65" fmla="*/ 132 h 308"/>
                    <a:gd name="T66" fmla="*/ 79 w 168"/>
                    <a:gd name="T67" fmla="*/ 137 h 308"/>
                    <a:gd name="T68" fmla="*/ 84 w 168"/>
                    <a:gd name="T69" fmla="*/ 141 h 308"/>
                    <a:gd name="T70" fmla="*/ 89 w 168"/>
                    <a:gd name="T71" fmla="*/ 145 h 308"/>
                    <a:gd name="T72" fmla="*/ 91 w 168"/>
                    <a:gd name="T73" fmla="*/ 152 h 308"/>
                    <a:gd name="T74" fmla="*/ 89 w 168"/>
                    <a:gd name="T75" fmla="*/ 161 h 308"/>
                    <a:gd name="T76" fmla="*/ 84 w 168"/>
                    <a:gd name="T77" fmla="*/ 168 h 308"/>
                    <a:gd name="T78" fmla="*/ 84 w 168"/>
                    <a:gd name="T79" fmla="*/ 172 h 308"/>
                    <a:gd name="T80" fmla="*/ 89 w 168"/>
                    <a:gd name="T81" fmla="*/ 173 h 308"/>
                    <a:gd name="T82" fmla="*/ 93 w 168"/>
                    <a:gd name="T83" fmla="*/ 179 h 308"/>
                    <a:gd name="T84" fmla="*/ 97 w 168"/>
                    <a:gd name="T85" fmla="*/ 183 h 308"/>
                    <a:gd name="T86" fmla="*/ 102 w 168"/>
                    <a:gd name="T87" fmla="*/ 185 h 308"/>
                    <a:gd name="T88" fmla="*/ 108 w 168"/>
                    <a:gd name="T89" fmla="*/ 189 h 308"/>
                    <a:gd name="T90" fmla="*/ 114 w 168"/>
                    <a:gd name="T91" fmla="*/ 194 h 308"/>
                    <a:gd name="T92" fmla="*/ 119 w 168"/>
                    <a:gd name="T93" fmla="*/ 198 h 308"/>
                    <a:gd name="T94" fmla="*/ 124 w 168"/>
                    <a:gd name="T95" fmla="*/ 201 h 308"/>
                    <a:gd name="T96" fmla="*/ 128 w 168"/>
                    <a:gd name="T97" fmla="*/ 206 h 308"/>
                    <a:gd name="T98" fmla="*/ 131 w 168"/>
                    <a:gd name="T99" fmla="*/ 212 h 308"/>
                    <a:gd name="T100" fmla="*/ 136 w 168"/>
                    <a:gd name="T101" fmla="*/ 219 h 308"/>
                    <a:gd name="T102" fmla="*/ 139 w 168"/>
                    <a:gd name="T103" fmla="*/ 224 h 308"/>
                    <a:gd name="T104" fmla="*/ 139 w 168"/>
                    <a:gd name="T105" fmla="*/ 234 h 308"/>
                    <a:gd name="T106" fmla="*/ 164 w 168"/>
                    <a:gd name="T107" fmla="*/ 272 h 308"/>
                    <a:gd name="T108" fmla="*/ 154 w 168"/>
                    <a:gd name="T109" fmla="*/ 274 h 308"/>
                    <a:gd name="T110" fmla="*/ 146 w 168"/>
                    <a:gd name="T111" fmla="*/ 278 h 308"/>
                    <a:gd name="T112" fmla="*/ 142 w 168"/>
                    <a:gd name="T113" fmla="*/ 285 h 308"/>
                    <a:gd name="T114" fmla="*/ 142 w 168"/>
                    <a:gd name="T115" fmla="*/ 291 h 308"/>
                    <a:gd name="T116" fmla="*/ 146 w 168"/>
                    <a:gd name="T117" fmla="*/ 299 h 308"/>
                    <a:gd name="T118" fmla="*/ 147 w 168"/>
                    <a:gd name="T119" fmla="*/ 306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308">
                      <a:moveTo>
                        <a:pt x="2" y="0"/>
                      </a:moveTo>
                      <a:lnTo>
                        <a:pt x="3" y="0"/>
                      </a:lnTo>
                      <a:lnTo>
                        <a:pt x="3" y="0"/>
                      </a:lnTo>
                      <a:lnTo>
                        <a:pt x="2" y="0"/>
                      </a:lnTo>
                      <a:lnTo>
                        <a:pt x="2" y="1"/>
                      </a:lnTo>
                      <a:lnTo>
                        <a:pt x="2" y="1"/>
                      </a:lnTo>
                      <a:lnTo>
                        <a:pt x="2" y="2"/>
                      </a:lnTo>
                      <a:lnTo>
                        <a:pt x="1" y="2"/>
                      </a:lnTo>
                      <a:lnTo>
                        <a:pt x="1" y="3"/>
                      </a:lnTo>
                      <a:lnTo>
                        <a:pt x="0" y="4"/>
                      </a:lnTo>
                      <a:lnTo>
                        <a:pt x="1" y="4"/>
                      </a:lnTo>
                      <a:lnTo>
                        <a:pt x="1" y="5"/>
                      </a:lnTo>
                      <a:lnTo>
                        <a:pt x="2" y="5"/>
                      </a:lnTo>
                      <a:lnTo>
                        <a:pt x="2" y="5"/>
                      </a:lnTo>
                      <a:lnTo>
                        <a:pt x="2" y="4"/>
                      </a:lnTo>
                      <a:lnTo>
                        <a:pt x="3" y="4"/>
                      </a:lnTo>
                      <a:lnTo>
                        <a:pt x="3" y="4"/>
                      </a:lnTo>
                      <a:lnTo>
                        <a:pt x="4" y="5"/>
                      </a:lnTo>
                      <a:lnTo>
                        <a:pt x="4" y="6"/>
                      </a:lnTo>
                      <a:lnTo>
                        <a:pt x="4" y="6"/>
                      </a:lnTo>
                      <a:lnTo>
                        <a:pt x="4" y="7"/>
                      </a:lnTo>
                      <a:lnTo>
                        <a:pt x="3" y="7"/>
                      </a:lnTo>
                      <a:lnTo>
                        <a:pt x="3" y="8"/>
                      </a:lnTo>
                      <a:lnTo>
                        <a:pt x="3" y="8"/>
                      </a:lnTo>
                      <a:lnTo>
                        <a:pt x="3" y="9"/>
                      </a:lnTo>
                      <a:lnTo>
                        <a:pt x="4" y="9"/>
                      </a:lnTo>
                      <a:lnTo>
                        <a:pt x="4" y="9"/>
                      </a:lnTo>
                      <a:lnTo>
                        <a:pt x="4" y="8"/>
                      </a:lnTo>
                      <a:lnTo>
                        <a:pt x="5" y="8"/>
                      </a:lnTo>
                      <a:lnTo>
                        <a:pt x="5" y="9"/>
                      </a:lnTo>
                      <a:lnTo>
                        <a:pt x="6" y="9"/>
                      </a:lnTo>
                      <a:lnTo>
                        <a:pt x="6" y="10"/>
                      </a:lnTo>
                      <a:lnTo>
                        <a:pt x="6" y="11"/>
                      </a:lnTo>
                      <a:lnTo>
                        <a:pt x="6" y="11"/>
                      </a:lnTo>
                      <a:lnTo>
                        <a:pt x="6" y="12"/>
                      </a:lnTo>
                      <a:lnTo>
                        <a:pt x="6" y="13"/>
                      </a:lnTo>
                      <a:lnTo>
                        <a:pt x="6" y="13"/>
                      </a:lnTo>
                      <a:lnTo>
                        <a:pt x="6" y="13"/>
                      </a:lnTo>
                      <a:lnTo>
                        <a:pt x="7" y="13"/>
                      </a:lnTo>
                      <a:lnTo>
                        <a:pt x="8" y="13"/>
                      </a:lnTo>
                      <a:lnTo>
                        <a:pt x="8" y="12"/>
                      </a:lnTo>
                      <a:lnTo>
                        <a:pt x="8" y="12"/>
                      </a:lnTo>
                      <a:lnTo>
                        <a:pt x="8" y="13"/>
                      </a:lnTo>
                      <a:lnTo>
                        <a:pt x="9" y="13"/>
                      </a:lnTo>
                      <a:lnTo>
                        <a:pt x="9" y="13"/>
                      </a:lnTo>
                      <a:lnTo>
                        <a:pt x="8" y="13"/>
                      </a:lnTo>
                      <a:lnTo>
                        <a:pt x="8" y="14"/>
                      </a:lnTo>
                      <a:lnTo>
                        <a:pt x="8" y="15"/>
                      </a:lnTo>
                      <a:lnTo>
                        <a:pt x="8" y="15"/>
                      </a:lnTo>
                      <a:lnTo>
                        <a:pt x="8" y="16"/>
                      </a:lnTo>
                      <a:lnTo>
                        <a:pt x="8" y="17"/>
                      </a:lnTo>
                      <a:lnTo>
                        <a:pt x="7" y="17"/>
                      </a:lnTo>
                      <a:lnTo>
                        <a:pt x="7" y="18"/>
                      </a:lnTo>
                      <a:lnTo>
                        <a:pt x="7" y="19"/>
                      </a:lnTo>
                      <a:lnTo>
                        <a:pt x="8" y="19"/>
                      </a:lnTo>
                      <a:lnTo>
                        <a:pt x="8" y="19"/>
                      </a:lnTo>
                      <a:lnTo>
                        <a:pt x="9" y="19"/>
                      </a:lnTo>
                      <a:lnTo>
                        <a:pt x="10" y="19"/>
                      </a:lnTo>
                      <a:lnTo>
                        <a:pt x="11" y="19"/>
                      </a:lnTo>
                      <a:lnTo>
                        <a:pt x="11" y="19"/>
                      </a:lnTo>
                      <a:lnTo>
                        <a:pt x="10" y="19"/>
                      </a:lnTo>
                      <a:lnTo>
                        <a:pt x="9" y="19"/>
                      </a:lnTo>
                      <a:lnTo>
                        <a:pt x="8" y="20"/>
                      </a:lnTo>
                      <a:lnTo>
                        <a:pt x="8" y="21"/>
                      </a:lnTo>
                      <a:lnTo>
                        <a:pt x="8" y="21"/>
                      </a:lnTo>
                      <a:lnTo>
                        <a:pt x="8" y="21"/>
                      </a:lnTo>
                      <a:lnTo>
                        <a:pt x="8" y="21"/>
                      </a:lnTo>
                      <a:lnTo>
                        <a:pt x="7" y="21"/>
                      </a:lnTo>
                      <a:lnTo>
                        <a:pt x="6" y="21"/>
                      </a:lnTo>
                      <a:lnTo>
                        <a:pt x="6" y="21"/>
                      </a:lnTo>
                      <a:lnTo>
                        <a:pt x="6" y="21"/>
                      </a:lnTo>
                      <a:lnTo>
                        <a:pt x="5" y="21"/>
                      </a:lnTo>
                      <a:lnTo>
                        <a:pt x="5" y="22"/>
                      </a:lnTo>
                      <a:lnTo>
                        <a:pt x="6" y="22"/>
                      </a:lnTo>
                      <a:lnTo>
                        <a:pt x="6" y="22"/>
                      </a:lnTo>
                      <a:lnTo>
                        <a:pt x="7" y="22"/>
                      </a:lnTo>
                      <a:lnTo>
                        <a:pt x="8" y="23"/>
                      </a:lnTo>
                      <a:lnTo>
                        <a:pt x="8" y="23"/>
                      </a:lnTo>
                      <a:lnTo>
                        <a:pt x="7" y="23"/>
                      </a:lnTo>
                      <a:lnTo>
                        <a:pt x="7" y="24"/>
                      </a:lnTo>
                      <a:lnTo>
                        <a:pt x="6" y="23"/>
                      </a:lnTo>
                      <a:lnTo>
                        <a:pt x="6" y="23"/>
                      </a:lnTo>
                      <a:lnTo>
                        <a:pt x="5" y="23"/>
                      </a:lnTo>
                      <a:lnTo>
                        <a:pt x="5" y="24"/>
                      </a:lnTo>
                      <a:lnTo>
                        <a:pt x="6" y="24"/>
                      </a:lnTo>
                      <a:lnTo>
                        <a:pt x="6" y="24"/>
                      </a:lnTo>
                      <a:lnTo>
                        <a:pt x="6" y="25"/>
                      </a:lnTo>
                      <a:lnTo>
                        <a:pt x="6" y="25"/>
                      </a:lnTo>
                      <a:lnTo>
                        <a:pt x="6" y="26"/>
                      </a:lnTo>
                      <a:lnTo>
                        <a:pt x="6" y="26"/>
                      </a:lnTo>
                      <a:lnTo>
                        <a:pt x="6" y="25"/>
                      </a:lnTo>
                      <a:lnTo>
                        <a:pt x="5" y="25"/>
                      </a:lnTo>
                      <a:lnTo>
                        <a:pt x="4" y="25"/>
                      </a:lnTo>
                      <a:lnTo>
                        <a:pt x="4" y="26"/>
                      </a:lnTo>
                      <a:lnTo>
                        <a:pt x="5" y="26"/>
                      </a:lnTo>
                      <a:lnTo>
                        <a:pt x="6" y="26"/>
                      </a:lnTo>
                      <a:lnTo>
                        <a:pt x="6" y="27"/>
                      </a:lnTo>
                      <a:lnTo>
                        <a:pt x="6" y="27"/>
                      </a:lnTo>
                      <a:lnTo>
                        <a:pt x="6" y="27"/>
                      </a:lnTo>
                      <a:lnTo>
                        <a:pt x="6" y="28"/>
                      </a:lnTo>
                      <a:lnTo>
                        <a:pt x="6" y="29"/>
                      </a:lnTo>
                      <a:lnTo>
                        <a:pt x="6" y="29"/>
                      </a:lnTo>
                      <a:lnTo>
                        <a:pt x="6" y="29"/>
                      </a:lnTo>
                      <a:lnTo>
                        <a:pt x="5" y="30"/>
                      </a:lnTo>
                      <a:lnTo>
                        <a:pt x="5" y="31"/>
                      </a:lnTo>
                      <a:lnTo>
                        <a:pt x="6" y="30"/>
                      </a:lnTo>
                      <a:lnTo>
                        <a:pt x="6" y="30"/>
                      </a:lnTo>
                      <a:lnTo>
                        <a:pt x="6" y="31"/>
                      </a:lnTo>
                      <a:lnTo>
                        <a:pt x="7" y="31"/>
                      </a:lnTo>
                      <a:lnTo>
                        <a:pt x="7" y="32"/>
                      </a:lnTo>
                      <a:lnTo>
                        <a:pt x="7" y="32"/>
                      </a:lnTo>
                      <a:lnTo>
                        <a:pt x="6" y="32"/>
                      </a:lnTo>
                      <a:lnTo>
                        <a:pt x="6" y="32"/>
                      </a:lnTo>
                      <a:lnTo>
                        <a:pt x="6" y="32"/>
                      </a:lnTo>
                      <a:lnTo>
                        <a:pt x="5" y="32"/>
                      </a:lnTo>
                      <a:lnTo>
                        <a:pt x="4" y="32"/>
                      </a:lnTo>
                      <a:lnTo>
                        <a:pt x="4" y="32"/>
                      </a:lnTo>
                      <a:lnTo>
                        <a:pt x="4" y="32"/>
                      </a:lnTo>
                      <a:lnTo>
                        <a:pt x="4" y="33"/>
                      </a:lnTo>
                      <a:lnTo>
                        <a:pt x="4" y="34"/>
                      </a:lnTo>
                      <a:lnTo>
                        <a:pt x="3" y="34"/>
                      </a:lnTo>
                      <a:lnTo>
                        <a:pt x="3" y="34"/>
                      </a:lnTo>
                      <a:lnTo>
                        <a:pt x="2" y="34"/>
                      </a:lnTo>
                      <a:lnTo>
                        <a:pt x="2" y="35"/>
                      </a:lnTo>
                      <a:lnTo>
                        <a:pt x="2" y="36"/>
                      </a:lnTo>
                      <a:lnTo>
                        <a:pt x="1" y="36"/>
                      </a:lnTo>
                      <a:lnTo>
                        <a:pt x="0" y="36"/>
                      </a:lnTo>
                      <a:lnTo>
                        <a:pt x="0" y="36"/>
                      </a:lnTo>
                      <a:lnTo>
                        <a:pt x="0" y="37"/>
                      </a:lnTo>
                      <a:lnTo>
                        <a:pt x="0" y="37"/>
                      </a:lnTo>
                      <a:lnTo>
                        <a:pt x="0" y="38"/>
                      </a:lnTo>
                      <a:lnTo>
                        <a:pt x="0" y="38"/>
                      </a:lnTo>
                      <a:lnTo>
                        <a:pt x="0" y="39"/>
                      </a:lnTo>
                      <a:lnTo>
                        <a:pt x="0" y="40"/>
                      </a:lnTo>
                      <a:lnTo>
                        <a:pt x="0" y="40"/>
                      </a:lnTo>
                      <a:lnTo>
                        <a:pt x="0" y="40"/>
                      </a:lnTo>
                      <a:lnTo>
                        <a:pt x="1" y="40"/>
                      </a:lnTo>
                      <a:lnTo>
                        <a:pt x="1" y="40"/>
                      </a:lnTo>
                      <a:lnTo>
                        <a:pt x="2" y="40"/>
                      </a:lnTo>
                      <a:lnTo>
                        <a:pt x="2" y="41"/>
                      </a:lnTo>
                      <a:lnTo>
                        <a:pt x="2" y="42"/>
                      </a:lnTo>
                      <a:lnTo>
                        <a:pt x="2" y="42"/>
                      </a:lnTo>
                      <a:lnTo>
                        <a:pt x="2" y="42"/>
                      </a:lnTo>
                      <a:lnTo>
                        <a:pt x="2" y="42"/>
                      </a:lnTo>
                      <a:lnTo>
                        <a:pt x="3" y="42"/>
                      </a:lnTo>
                      <a:lnTo>
                        <a:pt x="4" y="42"/>
                      </a:lnTo>
                      <a:lnTo>
                        <a:pt x="4" y="42"/>
                      </a:lnTo>
                      <a:lnTo>
                        <a:pt x="4" y="43"/>
                      </a:lnTo>
                      <a:lnTo>
                        <a:pt x="3" y="43"/>
                      </a:lnTo>
                      <a:lnTo>
                        <a:pt x="2" y="43"/>
                      </a:lnTo>
                      <a:lnTo>
                        <a:pt x="2" y="44"/>
                      </a:lnTo>
                      <a:lnTo>
                        <a:pt x="1" y="44"/>
                      </a:lnTo>
                      <a:lnTo>
                        <a:pt x="1" y="44"/>
                      </a:lnTo>
                      <a:lnTo>
                        <a:pt x="1" y="45"/>
                      </a:lnTo>
                      <a:lnTo>
                        <a:pt x="1" y="46"/>
                      </a:lnTo>
                      <a:lnTo>
                        <a:pt x="0" y="46"/>
                      </a:lnTo>
                      <a:lnTo>
                        <a:pt x="0" y="47"/>
                      </a:lnTo>
                      <a:lnTo>
                        <a:pt x="0" y="48"/>
                      </a:lnTo>
                      <a:lnTo>
                        <a:pt x="1" y="48"/>
                      </a:lnTo>
                      <a:lnTo>
                        <a:pt x="2" y="48"/>
                      </a:lnTo>
                      <a:lnTo>
                        <a:pt x="2" y="47"/>
                      </a:lnTo>
                      <a:lnTo>
                        <a:pt x="2" y="46"/>
                      </a:lnTo>
                      <a:lnTo>
                        <a:pt x="2" y="46"/>
                      </a:lnTo>
                      <a:lnTo>
                        <a:pt x="2" y="47"/>
                      </a:lnTo>
                      <a:lnTo>
                        <a:pt x="2" y="48"/>
                      </a:lnTo>
                      <a:lnTo>
                        <a:pt x="3" y="48"/>
                      </a:lnTo>
                      <a:lnTo>
                        <a:pt x="3" y="48"/>
                      </a:lnTo>
                      <a:lnTo>
                        <a:pt x="3" y="49"/>
                      </a:lnTo>
                      <a:lnTo>
                        <a:pt x="2" y="49"/>
                      </a:lnTo>
                      <a:lnTo>
                        <a:pt x="2" y="50"/>
                      </a:lnTo>
                      <a:lnTo>
                        <a:pt x="2" y="51"/>
                      </a:lnTo>
                      <a:lnTo>
                        <a:pt x="2" y="51"/>
                      </a:lnTo>
                      <a:lnTo>
                        <a:pt x="2" y="52"/>
                      </a:lnTo>
                      <a:lnTo>
                        <a:pt x="2" y="53"/>
                      </a:lnTo>
                      <a:lnTo>
                        <a:pt x="2" y="53"/>
                      </a:lnTo>
                      <a:lnTo>
                        <a:pt x="2" y="53"/>
                      </a:lnTo>
                      <a:lnTo>
                        <a:pt x="3" y="53"/>
                      </a:lnTo>
                      <a:lnTo>
                        <a:pt x="4" y="53"/>
                      </a:lnTo>
                      <a:lnTo>
                        <a:pt x="4" y="54"/>
                      </a:lnTo>
                      <a:lnTo>
                        <a:pt x="4" y="54"/>
                      </a:lnTo>
                      <a:lnTo>
                        <a:pt x="4" y="55"/>
                      </a:lnTo>
                      <a:lnTo>
                        <a:pt x="4" y="55"/>
                      </a:lnTo>
                      <a:lnTo>
                        <a:pt x="3" y="55"/>
                      </a:lnTo>
                      <a:lnTo>
                        <a:pt x="3" y="56"/>
                      </a:lnTo>
                      <a:lnTo>
                        <a:pt x="4" y="56"/>
                      </a:lnTo>
                      <a:lnTo>
                        <a:pt x="4" y="57"/>
                      </a:lnTo>
                      <a:lnTo>
                        <a:pt x="3" y="57"/>
                      </a:lnTo>
                      <a:lnTo>
                        <a:pt x="2" y="58"/>
                      </a:lnTo>
                      <a:lnTo>
                        <a:pt x="3" y="59"/>
                      </a:lnTo>
                      <a:lnTo>
                        <a:pt x="3" y="59"/>
                      </a:lnTo>
                      <a:lnTo>
                        <a:pt x="4" y="59"/>
                      </a:lnTo>
                      <a:lnTo>
                        <a:pt x="4" y="59"/>
                      </a:lnTo>
                      <a:lnTo>
                        <a:pt x="4" y="59"/>
                      </a:lnTo>
                      <a:lnTo>
                        <a:pt x="5" y="59"/>
                      </a:lnTo>
                      <a:lnTo>
                        <a:pt x="6" y="59"/>
                      </a:lnTo>
                      <a:lnTo>
                        <a:pt x="6" y="59"/>
                      </a:lnTo>
                      <a:lnTo>
                        <a:pt x="6" y="60"/>
                      </a:lnTo>
                      <a:lnTo>
                        <a:pt x="6" y="60"/>
                      </a:lnTo>
                      <a:lnTo>
                        <a:pt x="6" y="61"/>
                      </a:lnTo>
                      <a:lnTo>
                        <a:pt x="5" y="61"/>
                      </a:lnTo>
                      <a:lnTo>
                        <a:pt x="5" y="61"/>
                      </a:lnTo>
                      <a:lnTo>
                        <a:pt x="5" y="62"/>
                      </a:lnTo>
                      <a:lnTo>
                        <a:pt x="5" y="63"/>
                      </a:lnTo>
                      <a:lnTo>
                        <a:pt x="4" y="63"/>
                      </a:lnTo>
                      <a:lnTo>
                        <a:pt x="4" y="63"/>
                      </a:lnTo>
                      <a:lnTo>
                        <a:pt x="4" y="63"/>
                      </a:lnTo>
                      <a:lnTo>
                        <a:pt x="4" y="64"/>
                      </a:lnTo>
                      <a:lnTo>
                        <a:pt x="4" y="65"/>
                      </a:lnTo>
                      <a:lnTo>
                        <a:pt x="4" y="65"/>
                      </a:lnTo>
                      <a:lnTo>
                        <a:pt x="5" y="65"/>
                      </a:lnTo>
                      <a:lnTo>
                        <a:pt x="6" y="65"/>
                      </a:lnTo>
                      <a:lnTo>
                        <a:pt x="6" y="65"/>
                      </a:lnTo>
                      <a:lnTo>
                        <a:pt x="7" y="65"/>
                      </a:lnTo>
                      <a:lnTo>
                        <a:pt x="8" y="65"/>
                      </a:lnTo>
                      <a:lnTo>
                        <a:pt x="8" y="64"/>
                      </a:lnTo>
                      <a:lnTo>
                        <a:pt x="8" y="64"/>
                      </a:lnTo>
                      <a:lnTo>
                        <a:pt x="9" y="64"/>
                      </a:lnTo>
                      <a:lnTo>
                        <a:pt x="10" y="64"/>
                      </a:lnTo>
                      <a:lnTo>
                        <a:pt x="10" y="65"/>
                      </a:lnTo>
                      <a:lnTo>
                        <a:pt x="9" y="65"/>
                      </a:lnTo>
                      <a:lnTo>
                        <a:pt x="9" y="65"/>
                      </a:lnTo>
                      <a:lnTo>
                        <a:pt x="8" y="65"/>
                      </a:lnTo>
                      <a:lnTo>
                        <a:pt x="8" y="65"/>
                      </a:lnTo>
                      <a:lnTo>
                        <a:pt x="8" y="66"/>
                      </a:lnTo>
                      <a:lnTo>
                        <a:pt x="8" y="67"/>
                      </a:lnTo>
                      <a:lnTo>
                        <a:pt x="8" y="67"/>
                      </a:lnTo>
                      <a:lnTo>
                        <a:pt x="8" y="68"/>
                      </a:lnTo>
                      <a:lnTo>
                        <a:pt x="9" y="69"/>
                      </a:lnTo>
                      <a:lnTo>
                        <a:pt x="9" y="70"/>
                      </a:lnTo>
                      <a:lnTo>
                        <a:pt x="10" y="70"/>
                      </a:lnTo>
                      <a:lnTo>
                        <a:pt x="11" y="70"/>
                      </a:lnTo>
                      <a:lnTo>
                        <a:pt x="11" y="70"/>
                      </a:lnTo>
                      <a:lnTo>
                        <a:pt x="11" y="70"/>
                      </a:lnTo>
                      <a:lnTo>
                        <a:pt x="12" y="70"/>
                      </a:lnTo>
                      <a:lnTo>
                        <a:pt x="12" y="71"/>
                      </a:lnTo>
                      <a:lnTo>
                        <a:pt x="12" y="72"/>
                      </a:lnTo>
                      <a:lnTo>
                        <a:pt x="12" y="72"/>
                      </a:lnTo>
                      <a:lnTo>
                        <a:pt x="13" y="72"/>
                      </a:lnTo>
                      <a:lnTo>
                        <a:pt x="13" y="72"/>
                      </a:lnTo>
                      <a:lnTo>
                        <a:pt x="13" y="72"/>
                      </a:lnTo>
                      <a:lnTo>
                        <a:pt x="13" y="71"/>
                      </a:lnTo>
                      <a:lnTo>
                        <a:pt x="14" y="71"/>
                      </a:lnTo>
                      <a:lnTo>
                        <a:pt x="14" y="72"/>
                      </a:lnTo>
                      <a:lnTo>
                        <a:pt x="14" y="72"/>
                      </a:lnTo>
                      <a:lnTo>
                        <a:pt x="15" y="73"/>
                      </a:lnTo>
                      <a:lnTo>
                        <a:pt x="15" y="74"/>
                      </a:lnTo>
                      <a:lnTo>
                        <a:pt x="15" y="74"/>
                      </a:lnTo>
                      <a:lnTo>
                        <a:pt x="15" y="74"/>
                      </a:lnTo>
                      <a:lnTo>
                        <a:pt x="16" y="74"/>
                      </a:lnTo>
                      <a:lnTo>
                        <a:pt x="17" y="74"/>
                      </a:lnTo>
                      <a:lnTo>
                        <a:pt x="17" y="75"/>
                      </a:lnTo>
                      <a:lnTo>
                        <a:pt x="18" y="76"/>
                      </a:lnTo>
                      <a:lnTo>
                        <a:pt x="19" y="76"/>
                      </a:lnTo>
                      <a:lnTo>
                        <a:pt x="19" y="75"/>
                      </a:lnTo>
                      <a:lnTo>
                        <a:pt x="19" y="74"/>
                      </a:lnTo>
                      <a:lnTo>
                        <a:pt x="19" y="74"/>
                      </a:lnTo>
                      <a:lnTo>
                        <a:pt x="19" y="73"/>
                      </a:lnTo>
                      <a:lnTo>
                        <a:pt x="19" y="73"/>
                      </a:lnTo>
                      <a:lnTo>
                        <a:pt x="19" y="72"/>
                      </a:lnTo>
                      <a:lnTo>
                        <a:pt x="20" y="73"/>
                      </a:lnTo>
                      <a:lnTo>
                        <a:pt x="20" y="74"/>
                      </a:lnTo>
                      <a:lnTo>
                        <a:pt x="20" y="74"/>
                      </a:lnTo>
                      <a:lnTo>
                        <a:pt x="20" y="75"/>
                      </a:lnTo>
                      <a:lnTo>
                        <a:pt x="21" y="76"/>
                      </a:lnTo>
                      <a:lnTo>
                        <a:pt x="21" y="76"/>
                      </a:lnTo>
                      <a:lnTo>
                        <a:pt x="21" y="77"/>
                      </a:lnTo>
                      <a:lnTo>
                        <a:pt x="21" y="76"/>
                      </a:lnTo>
                      <a:lnTo>
                        <a:pt x="22" y="76"/>
                      </a:lnTo>
                      <a:lnTo>
                        <a:pt x="23" y="75"/>
                      </a:lnTo>
                      <a:lnTo>
                        <a:pt x="23" y="75"/>
                      </a:lnTo>
                      <a:lnTo>
                        <a:pt x="23" y="76"/>
                      </a:lnTo>
                      <a:lnTo>
                        <a:pt x="23" y="76"/>
                      </a:lnTo>
                      <a:lnTo>
                        <a:pt x="23" y="76"/>
                      </a:lnTo>
                      <a:lnTo>
                        <a:pt x="23" y="77"/>
                      </a:lnTo>
                      <a:lnTo>
                        <a:pt x="24" y="77"/>
                      </a:lnTo>
                      <a:lnTo>
                        <a:pt x="25" y="77"/>
                      </a:lnTo>
                      <a:lnTo>
                        <a:pt x="25" y="78"/>
                      </a:lnTo>
                      <a:lnTo>
                        <a:pt x="25" y="78"/>
                      </a:lnTo>
                      <a:lnTo>
                        <a:pt x="25" y="78"/>
                      </a:lnTo>
                      <a:lnTo>
                        <a:pt x="25" y="78"/>
                      </a:lnTo>
                      <a:lnTo>
                        <a:pt x="26" y="78"/>
                      </a:lnTo>
                      <a:lnTo>
                        <a:pt x="26" y="77"/>
                      </a:lnTo>
                      <a:lnTo>
                        <a:pt x="27" y="77"/>
                      </a:lnTo>
                      <a:lnTo>
                        <a:pt x="27" y="78"/>
                      </a:lnTo>
                      <a:lnTo>
                        <a:pt x="28" y="78"/>
                      </a:lnTo>
                      <a:lnTo>
                        <a:pt x="29" y="79"/>
                      </a:lnTo>
                      <a:lnTo>
                        <a:pt x="30" y="79"/>
                      </a:lnTo>
                      <a:lnTo>
                        <a:pt x="30" y="78"/>
                      </a:lnTo>
                      <a:lnTo>
                        <a:pt x="30" y="78"/>
                      </a:lnTo>
                      <a:lnTo>
                        <a:pt x="30" y="77"/>
                      </a:lnTo>
                      <a:lnTo>
                        <a:pt x="30" y="76"/>
                      </a:lnTo>
                      <a:lnTo>
                        <a:pt x="31" y="76"/>
                      </a:lnTo>
                      <a:lnTo>
                        <a:pt x="31" y="77"/>
                      </a:lnTo>
                      <a:lnTo>
                        <a:pt x="32" y="77"/>
                      </a:lnTo>
                      <a:lnTo>
                        <a:pt x="32" y="77"/>
                      </a:lnTo>
                      <a:lnTo>
                        <a:pt x="32" y="78"/>
                      </a:lnTo>
                      <a:lnTo>
                        <a:pt x="33" y="78"/>
                      </a:lnTo>
                      <a:lnTo>
                        <a:pt x="33" y="78"/>
                      </a:lnTo>
                      <a:lnTo>
                        <a:pt x="34" y="78"/>
                      </a:lnTo>
                      <a:lnTo>
                        <a:pt x="34" y="78"/>
                      </a:lnTo>
                      <a:lnTo>
                        <a:pt x="34" y="78"/>
                      </a:lnTo>
                      <a:lnTo>
                        <a:pt x="34" y="77"/>
                      </a:lnTo>
                      <a:lnTo>
                        <a:pt x="34" y="76"/>
                      </a:lnTo>
                      <a:lnTo>
                        <a:pt x="34" y="76"/>
                      </a:lnTo>
                      <a:lnTo>
                        <a:pt x="34" y="75"/>
                      </a:lnTo>
                      <a:lnTo>
                        <a:pt x="34" y="75"/>
                      </a:lnTo>
                      <a:lnTo>
                        <a:pt x="35" y="74"/>
                      </a:lnTo>
                      <a:lnTo>
                        <a:pt x="35" y="74"/>
                      </a:lnTo>
                      <a:lnTo>
                        <a:pt x="36" y="74"/>
                      </a:lnTo>
                      <a:lnTo>
                        <a:pt x="36" y="74"/>
                      </a:lnTo>
                      <a:lnTo>
                        <a:pt x="37" y="74"/>
                      </a:lnTo>
                      <a:lnTo>
                        <a:pt x="37" y="74"/>
                      </a:lnTo>
                      <a:lnTo>
                        <a:pt x="37" y="75"/>
                      </a:lnTo>
                      <a:lnTo>
                        <a:pt x="36" y="76"/>
                      </a:lnTo>
                      <a:lnTo>
                        <a:pt x="36" y="76"/>
                      </a:lnTo>
                      <a:lnTo>
                        <a:pt x="37" y="76"/>
                      </a:lnTo>
                      <a:lnTo>
                        <a:pt x="37" y="77"/>
                      </a:lnTo>
                      <a:lnTo>
                        <a:pt x="38" y="77"/>
                      </a:lnTo>
                      <a:lnTo>
                        <a:pt x="38" y="76"/>
                      </a:lnTo>
                      <a:lnTo>
                        <a:pt x="38" y="76"/>
                      </a:lnTo>
                      <a:lnTo>
                        <a:pt x="38" y="75"/>
                      </a:lnTo>
                      <a:lnTo>
                        <a:pt x="38" y="74"/>
                      </a:lnTo>
                      <a:lnTo>
                        <a:pt x="39" y="74"/>
                      </a:lnTo>
                      <a:lnTo>
                        <a:pt x="40" y="74"/>
                      </a:lnTo>
                      <a:lnTo>
                        <a:pt x="40" y="75"/>
                      </a:lnTo>
                      <a:lnTo>
                        <a:pt x="40" y="76"/>
                      </a:lnTo>
                      <a:lnTo>
                        <a:pt x="39" y="76"/>
                      </a:lnTo>
                      <a:lnTo>
                        <a:pt x="39" y="77"/>
                      </a:lnTo>
                      <a:lnTo>
                        <a:pt x="39" y="78"/>
                      </a:lnTo>
                      <a:lnTo>
                        <a:pt x="40" y="78"/>
                      </a:lnTo>
                      <a:lnTo>
                        <a:pt x="40" y="78"/>
                      </a:lnTo>
                      <a:lnTo>
                        <a:pt x="41" y="78"/>
                      </a:lnTo>
                      <a:lnTo>
                        <a:pt x="42" y="78"/>
                      </a:lnTo>
                      <a:lnTo>
                        <a:pt x="42" y="79"/>
                      </a:lnTo>
                      <a:lnTo>
                        <a:pt x="43" y="79"/>
                      </a:lnTo>
                      <a:lnTo>
                        <a:pt x="44" y="79"/>
                      </a:lnTo>
                      <a:lnTo>
                        <a:pt x="44" y="80"/>
                      </a:lnTo>
                      <a:lnTo>
                        <a:pt x="44" y="80"/>
                      </a:lnTo>
                      <a:lnTo>
                        <a:pt x="44" y="80"/>
                      </a:lnTo>
                      <a:lnTo>
                        <a:pt x="45" y="80"/>
                      </a:lnTo>
                      <a:lnTo>
                        <a:pt x="46" y="80"/>
                      </a:lnTo>
                      <a:lnTo>
                        <a:pt x="46" y="81"/>
                      </a:lnTo>
                      <a:lnTo>
                        <a:pt x="45" y="81"/>
                      </a:lnTo>
                      <a:lnTo>
                        <a:pt x="46" y="81"/>
                      </a:lnTo>
                      <a:lnTo>
                        <a:pt x="46" y="82"/>
                      </a:lnTo>
                      <a:lnTo>
                        <a:pt x="46" y="82"/>
                      </a:lnTo>
                      <a:lnTo>
                        <a:pt x="46" y="81"/>
                      </a:lnTo>
                      <a:lnTo>
                        <a:pt x="46" y="80"/>
                      </a:lnTo>
                      <a:lnTo>
                        <a:pt x="47" y="80"/>
                      </a:lnTo>
                      <a:lnTo>
                        <a:pt x="47" y="79"/>
                      </a:lnTo>
                      <a:lnTo>
                        <a:pt x="48" y="79"/>
                      </a:lnTo>
                      <a:lnTo>
                        <a:pt x="48" y="80"/>
                      </a:lnTo>
                      <a:lnTo>
                        <a:pt x="48" y="80"/>
                      </a:lnTo>
                      <a:lnTo>
                        <a:pt x="49" y="81"/>
                      </a:lnTo>
                      <a:lnTo>
                        <a:pt x="49" y="80"/>
                      </a:lnTo>
                      <a:lnTo>
                        <a:pt x="49" y="80"/>
                      </a:lnTo>
                      <a:lnTo>
                        <a:pt x="49" y="81"/>
                      </a:lnTo>
                      <a:lnTo>
                        <a:pt x="49" y="82"/>
                      </a:lnTo>
                      <a:lnTo>
                        <a:pt x="50" y="82"/>
                      </a:lnTo>
                      <a:lnTo>
                        <a:pt x="51" y="82"/>
                      </a:lnTo>
                      <a:lnTo>
                        <a:pt x="50" y="82"/>
                      </a:lnTo>
                      <a:lnTo>
                        <a:pt x="50" y="82"/>
                      </a:lnTo>
                      <a:lnTo>
                        <a:pt x="50" y="83"/>
                      </a:lnTo>
                      <a:lnTo>
                        <a:pt x="51" y="83"/>
                      </a:lnTo>
                      <a:lnTo>
                        <a:pt x="51" y="84"/>
                      </a:lnTo>
                      <a:lnTo>
                        <a:pt x="50" y="84"/>
                      </a:lnTo>
                      <a:lnTo>
                        <a:pt x="50" y="84"/>
                      </a:lnTo>
                      <a:lnTo>
                        <a:pt x="50" y="85"/>
                      </a:lnTo>
                      <a:lnTo>
                        <a:pt x="49" y="85"/>
                      </a:lnTo>
                      <a:lnTo>
                        <a:pt x="49" y="85"/>
                      </a:lnTo>
                      <a:lnTo>
                        <a:pt x="49" y="86"/>
                      </a:lnTo>
                      <a:lnTo>
                        <a:pt x="49" y="86"/>
                      </a:lnTo>
                      <a:lnTo>
                        <a:pt x="49" y="86"/>
                      </a:lnTo>
                      <a:lnTo>
                        <a:pt x="50" y="86"/>
                      </a:lnTo>
                      <a:lnTo>
                        <a:pt x="50" y="86"/>
                      </a:lnTo>
                      <a:lnTo>
                        <a:pt x="51" y="86"/>
                      </a:lnTo>
                      <a:lnTo>
                        <a:pt x="51" y="86"/>
                      </a:lnTo>
                      <a:lnTo>
                        <a:pt x="51" y="87"/>
                      </a:lnTo>
                      <a:lnTo>
                        <a:pt x="51" y="87"/>
                      </a:lnTo>
                      <a:lnTo>
                        <a:pt x="50" y="87"/>
                      </a:lnTo>
                      <a:lnTo>
                        <a:pt x="51" y="88"/>
                      </a:lnTo>
                      <a:lnTo>
                        <a:pt x="51" y="88"/>
                      </a:lnTo>
                      <a:lnTo>
                        <a:pt x="51" y="88"/>
                      </a:lnTo>
                      <a:lnTo>
                        <a:pt x="52" y="88"/>
                      </a:lnTo>
                      <a:lnTo>
                        <a:pt x="52" y="89"/>
                      </a:lnTo>
                      <a:lnTo>
                        <a:pt x="51" y="89"/>
                      </a:lnTo>
                      <a:lnTo>
                        <a:pt x="51" y="89"/>
                      </a:lnTo>
                      <a:lnTo>
                        <a:pt x="51" y="90"/>
                      </a:lnTo>
                      <a:lnTo>
                        <a:pt x="50" y="90"/>
                      </a:lnTo>
                      <a:lnTo>
                        <a:pt x="51" y="90"/>
                      </a:lnTo>
                      <a:lnTo>
                        <a:pt x="51" y="91"/>
                      </a:lnTo>
                      <a:lnTo>
                        <a:pt x="50" y="91"/>
                      </a:lnTo>
                      <a:lnTo>
                        <a:pt x="50" y="90"/>
                      </a:lnTo>
                      <a:lnTo>
                        <a:pt x="49" y="90"/>
                      </a:lnTo>
                      <a:lnTo>
                        <a:pt x="49" y="91"/>
                      </a:lnTo>
                      <a:lnTo>
                        <a:pt x="49" y="91"/>
                      </a:lnTo>
                      <a:lnTo>
                        <a:pt x="49" y="91"/>
                      </a:lnTo>
                      <a:lnTo>
                        <a:pt x="49" y="91"/>
                      </a:lnTo>
                      <a:lnTo>
                        <a:pt x="49" y="93"/>
                      </a:lnTo>
                      <a:lnTo>
                        <a:pt x="49" y="93"/>
                      </a:lnTo>
                      <a:lnTo>
                        <a:pt x="50" y="93"/>
                      </a:lnTo>
                      <a:lnTo>
                        <a:pt x="51" y="93"/>
                      </a:lnTo>
                      <a:lnTo>
                        <a:pt x="51" y="94"/>
                      </a:lnTo>
                      <a:lnTo>
                        <a:pt x="51" y="95"/>
                      </a:lnTo>
                      <a:lnTo>
                        <a:pt x="51" y="95"/>
                      </a:lnTo>
                      <a:lnTo>
                        <a:pt x="52" y="95"/>
                      </a:lnTo>
                      <a:lnTo>
                        <a:pt x="52" y="95"/>
                      </a:lnTo>
                      <a:lnTo>
                        <a:pt x="51" y="95"/>
                      </a:lnTo>
                      <a:lnTo>
                        <a:pt x="51" y="95"/>
                      </a:lnTo>
                      <a:lnTo>
                        <a:pt x="51" y="95"/>
                      </a:lnTo>
                      <a:lnTo>
                        <a:pt x="51" y="95"/>
                      </a:lnTo>
                      <a:lnTo>
                        <a:pt x="51" y="96"/>
                      </a:lnTo>
                      <a:lnTo>
                        <a:pt x="51" y="97"/>
                      </a:lnTo>
                      <a:lnTo>
                        <a:pt x="51" y="97"/>
                      </a:lnTo>
                      <a:lnTo>
                        <a:pt x="52" y="96"/>
                      </a:lnTo>
                      <a:lnTo>
                        <a:pt x="53" y="96"/>
                      </a:lnTo>
                      <a:lnTo>
                        <a:pt x="53" y="97"/>
                      </a:lnTo>
                      <a:lnTo>
                        <a:pt x="53" y="97"/>
                      </a:lnTo>
                      <a:lnTo>
                        <a:pt x="53" y="97"/>
                      </a:lnTo>
                      <a:lnTo>
                        <a:pt x="54" y="97"/>
                      </a:lnTo>
                      <a:lnTo>
                        <a:pt x="54" y="97"/>
                      </a:lnTo>
                      <a:lnTo>
                        <a:pt x="54" y="96"/>
                      </a:lnTo>
                      <a:lnTo>
                        <a:pt x="54" y="95"/>
                      </a:lnTo>
                      <a:lnTo>
                        <a:pt x="54" y="95"/>
                      </a:lnTo>
                      <a:lnTo>
                        <a:pt x="55" y="95"/>
                      </a:lnTo>
                      <a:lnTo>
                        <a:pt x="55" y="96"/>
                      </a:lnTo>
                      <a:lnTo>
                        <a:pt x="55" y="97"/>
                      </a:lnTo>
                      <a:lnTo>
                        <a:pt x="55" y="97"/>
                      </a:lnTo>
                      <a:lnTo>
                        <a:pt x="56" y="97"/>
                      </a:lnTo>
                      <a:lnTo>
                        <a:pt x="56" y="97"/>
                      </a:lnTo>
                      <a:lnTo>
                        <a:pt x="56" y="96"/>
                      </a:lnTo>
                      <a:lnTo>
                        <a:pt x="57" y="96"/>
                      </a:lnTo>
                      <a:lnTo>
                        <a:pt x="57" y="96"/>
                      </a:lnTo>
                      <a:lnTo>
                        <a:pt x="57" y="97"/>
                      </a:lnTo>
                      <a:lnTo>
                        <a:pt x="58" y="97"/>
                      </a:lnTo>
                      <a:lnTo>
                        <a:pt x="58" y="97"/>
                      </a:lnTo>
                      <a:lnTo>
                        <a:pt x="59" y="97"/>
                      </a:lnTo>
                      <a:lnTo>
                        <a:pt x="59" y="98"/>
                      </a:lnTo>
                      <a:lnTo>
                        <a:pt x="59" y="99"/>
                      </a:lnTo>
                      <a:lnTo>
                        <a:pt x="59" y="99"/>
                      </a:lnTo>
                      <a:lnTo>
                        <a:pt x="59" y="99"/>
                      </a:lnTo>
                      <a:lnTo>
                        <a:pt x="59" y="100"/>
                      </a:lnTo>
                      <a:lnTo>
                        <a:pt x="59" y="100"/>
                      </a:lnTo>
                      <a:lnTo>
                        <a:pt x="59" y="101"/>
                      </a:lnTo>
                      <a:lnTo>
                        <a:pt x="59" y="101"/>
                      </a:lnTo>
                      <a:lnTo>
                        <a:pt x="60" y="101"/>
                      </a:lnTo>
                      <a:lnTo>
                        <a:pt x="61" y="101"/>
                      </a:lnTo>
                      <a:lnTo>
                        <a:pt x="61" y="101"/>
                      </a:lnTo>
                      <a:lnTo>
                        <a:pt x="61" y="101"/>
                      </a:lnTo>
                      <a:lnTo>
                        <a:pt x="61" y="102"/>
                      </a:lnTo>
                      <a:lnTo>
                        <a:pt x="62" y="102"/>
                      </a:lnTo>
                      <a:lnTo>
                        <a:pt x="63" y="102"/>
                      </a:lnTo>
                      <a:lnTo>
                        <a:pt x="63" y="103"/>
                      </a:lnTo>
                      <a:lnTo>
                        <a:pt x="63" y="103"/>
                      </a:lnTo>
                      <a:lnTo>
                        <a:pt x="62" y="103"/>
                      </a:lnTo>
                      <a:lnTo>
                        <a:pt x="62" y="103"/>
                      </a:lnTo>
                      <a:lnTo>
                        <a:pt x="62" y="103"/>
                      </a:lnTo>
                      <a:lnTo>
                        <a:pt x="61" y="103"/>
                      </a:lnTo>
                      <a:lnTo>
                        <a:pt x="61" y="104"/>
                      </a:lnTo>
                      <a:lnTo>
                        <a:pt x="62" y="104"/>
                      </a:lnTo>
                      <a:lnTo>
                        <a:pt x="62" y="105"/>
                      </a:lnTo>
                      <a:lnTo>
                        <a:pt x="62" y="105"/>
                      </a:lnTo>
                      <a:lnTo>
                        <a:pt x="61" y="105"/>
                      </a:lnTo>
                      <a:lnTo>
                        <a:pt x="61" y="106"/>
                      </a:lnTo>
                      <a:lnTo>
                        <a:pt x="61" y="107"/>
                      </a:lnTo>
                      <a:lnTo>
                        <a:pt x="62" y="107"/>
                      </a:lnTo>
                      <a:lnTo>
                        <a:pt x="63" y="106"/>
                      </a:lnTo>
                      <a:lnTo>
                        <a:pt x="63" y="105"/>
                      </a:lnTo>
                      <a:lnTo>
                        <a:pt x="63" y="105"/>
                      </a:lnTo>
                      <a:lnTo>
                        <a:pt x="63" y="106"/>
                      </a:lnTo>
                      <a:lnTo>
                        <a:pt x="63" y="105"/>
                      </a:lnTo>
                      <a:lnTo>
                        <a:pt x="64" y="105"/>
                      </a:lnTo>
                      <a:lnTo>
                        <a:pt x="64" y="106"/>
                      </a:lnTo>
                      <a:lnTo>
                        <a:pt x="64" y="107"/>
                      </a:lnTo>
                      <a:lnTo>
                        <a:pt x="64" y="107"/>
                      </a:lnTo>
                      <a:lnTo>
                        <a:pt x="64" y="108"/>
                      </a:lnTo>
                      <a:lnTo>
                        <a:pt x="65" y="108"/>
                      </a:lnTo>
                      <a:lnTo>
                        <a:pt x="65" y="107"/>
                      </a:lnTo>
                      <a:lnTo>
                        <a:pt x="65" y="107"/>
                      </a:lnTo>
                      <a:lnTo>
                        <a:pt x="66" y="107"/>
                      </a:lnTo>
                      <a:lnTo>
                        <a:pt x="66" y="108"/>
                      </a:lnTo>
                      <a:lnTo>
                        <a:pt x="66" y="109"/>
                      </a:lnTo>
                      <a:lnTo>
                        <a:pt x="67" y="109"/>
                      </a:lnTo>
                      <a:lnTo>
                        <a:pt x="67" y="110"/>
                      </a:lnTo>
                      <a:lnTo>
                        <a:pt x="67" y="109"/>
                      </a:lnTo>
                      <a:lnTo>
                        <a:pt x="68" y="109"/>
                      </a:lnTo>
                      <a:lnTo>
                        <a:pt x="68" y="110"/>
                      </a:lnTo>
                      <a:lnTo>
                        <a:pt x="68" y="110"/>
                      </a:lnTo>
                      <a:lnTo>
                        <a:pt x="68" y="110"/>
                      </a:lnTo>
                      <a:lnTo>
                        <a:pt x="68" y="111"/>
                      </a:lnTo>
                      <a:lnTo>
                        <a:pt x="68" y="111"/>
                      </a:lnTo>
                      <a:lnTo>
                        <a:pt x="68" y="112"/>
                      </a:lnTo>
                      <a:lnTo>
                        <a:pt x="68" y="112"/>
                      </a:lnTo>
                      <a:lnTo>
                        <a:pt x="68" y="111"/>
                      </a:lnTo>
                      <a:lnTo>
                        <a:pt x="69" y="111"/>
                      </a:lnTo>
                      <a:lnTo>
                        <a:pt x="69" y="112"/>
                      </a:lnTo>
                      <a:lnTo>
                        <a:pt x="69" y="112"/>
                      </a:lnTo>
                      <a:lnTo>
                        <a:pt x="69" y="113"/>
                      </a:lnTo>
                      <a:lnTo>
                        <a:pt x="69" y="114"/>
                      </a:lnTo>
                      <a:lnTo>
                        <a:pt x="69" y="114"/>
                      </a:lnTo>
                      <a:lnTo>
                        <a:pt x="70" y="114"/>
                      </a:lnTo>
                      <a:lnTo>
                        <a:pt x="69" y="114"/>
                      </a:lnTo>
                      <a:lnTo>
                        <a:pt x="69" y="115"/>
                      </a:lnTo>
                      <a:lnTo>
                        <a:pt x="70" y="115"/>
                      </a:lnTo>
                      <a:lnTo>
                        <a:pt x="70" y="115"/>
                      </a:lnTo>
                      <a:lnTo>
                        <a:pt x="71" y="115"/>
                      </a:lnTo>
                      <a:lnTo>
                        <a:pt x="71" y="114"/>
                      </a:lnTo>
                      <a:lnTo>
                        <a:pt x="72" y="114"/>
                      </a:lnTo>
                      <a:lnTo>
                        <a:pt x="72" y="115"/>
                      </a:lnTo>
                      <a:lnTo>
                        <a:pt x="72" y="116"/>
                      </a:lnTo>
                      <a:lnTo>
                        <a:pt x="72" y="116"/>
                      </a:lnTo>
                      <a:lnTo>
                        <a:pt x="72" y="116"/>
                      </a:lnTo>
                      <a:lnTo>
                        <a:pt x="71" y="116"/>
                      </a:lnTo>
                      <a:lnTo>
                        <a:pt x="71" y="116"/>
                      </a:lnTo>
                      <a:lnTo>
                        <a:pt x="71" y="117"/>
                      </a:lnTo>
                      <a:lnTo>
                        <a:pt x="72" y="117"/>
                      </a:lnTo>
                      <a:lnTo>
                        <a:pt x="72" y="116"/>
                      </a:lnTo>
                      <a:lnTo>
                        <a:pt x="72" y="117"/>
                      </a:lnTo>
                      <a:lnTo>
                        <a:pt x="72" y="117"/>
                      </a:lnTo>
                      <a:lnTo>
                        <a:pt x="72" y="118"/>
                      </a:lnTo>
                      <a:lnTo>
                        <a:pt x="72" y="118"/>
                      </a:lnTo>
                      <a:lnTo>
                        <a:pt x="72" y="119"/>
                      </a:lnTo>
                      <a:lnTo>
                        <a:pt x="73" y="119"/>
                      </a:lnTo>
                      <a:lnTo>
                        <a:pt x="73" y="118"/>
                      </a:lnTo>
                      <a:lnTo>
                        <a:pt x="73" y="118"/>
                      </a:lnTo>
                      <a:lnTo>
                        <a:pt x="74" y="118"/>
                      </a:lnTo>
                      <a:lnTo>
                        <a:pt x="74" y="119"/>
                      </a:lnTo>
                      <a:lnTo>
                        <a:pt x="74" y="120"/>
                      </a:lnTo>
                      <a:lnTo>
                        <a:pt x="74" y="120"/>
                      </a:lnTo>
                      <a:lnTo>
                        <a:pt x="74" y="120"/>
                      </a:lnTo>
                      <a:lnTo>
                        <a:pt x="74" y="121"/>
                      </a:lnTo>
                      <a:lnTo>
                        <a:pt x="75" y="121"/>
                      </a:lnTo>
                      <a:lnTo>
                        <a:pt x="75" y="122"/>
                      </a:lnTo>
                      <a:lnTo>
                        <a:pt x="75" y="122"/>
                      </a:lnTo>
                      <a:lnTo>
                        <a:pt x="76" y="122"/>
                      </a:lnTo>
                      <a:lnTo>
                        <a:pt x="76" y="123"/>
                      </a:lnTo>
                      <a:lnTo>
                        <a:pt x="76" y="124"/>
                      </a:lnTo>
                      <a:lnTo>
                        <a:pt x="76" y="124"/>
                      </a:lnTo>
                      <a:lnTo>
                        <a:pt x="77" y="124"/>
                      </a:lnTo>
                      <a:lnTo>
                        <a:pt x="77" y="124"/>
                      </a:lnTo>
                      <a:lnTo>
                        <a:pt x="77" y="125"/>
                      </a:lnTo>
                      <a:lnTo>
                        <a:pt x="77" y="126"/>
                      </a:lnTo>
                      <a:lnTo>
                        <a:pt x="78" y="126"/>
                      </a:lnTo>
                      <a:lnTo>
                        <a:pt x="78" y="127"/>
                      </a:lnTo>
                      <a:lnTo>
                        <a:pt x="77" y="127"/>
                      </a:lnTo>
                      <a:lnTo>
                        <a:pt x="76" y="128"/>
                      </a:lnTo>
                      <a:lnTo>
                        <a:pt x="77" y="128"/>
                      </a:lnTo>
                      <a:lnTo>
                        <a:pt x="78" y="128"/>
                      </a:lnTo>
                      <a:lnTo>
                        <a:pt x="78" y="127"/>
                      </a:lnTo>
                      <a:lnTo>
                        <a:pt x="78" y="128"/>
                      </a:lnTo>
                      <a:lnTo>
                        <a:pt x="78" y="128"/>
                      </a:lnTo>
                      <a:lnTo>
                        <a:pt x="78" y="129"/>
                      </a:lnTo>
                      <a:lnTo>
                        <a:pt x="79" y="129"/>
                      </a:lnTo>
                      <a:lnTo>
                        <a:pt x="79" y="130"/>
                      </a:lnTo>
                      <a:lnTo>
                        <a:pt x="79" y="131"/>
                      </a:lnTo>
                      <a:lnTo>
                        <a:pt x="79" y="131"/>
                      </a:lnTo>
                      <a:lnTo>
                        <a:pt x="80" y="131"/>
                      </a:lnTo>
                      <a:lnTo>
                        <a:pt x="80" y="132"/>
                      </a:lnTo>
                      <a:lnTo>
                        <a:pt x="80" y="133"/>
                      </a:lnTo>
                      <a:lnTo>
                        <a:pt x="79" y="133"/>
                      </a:lnTo>
                      <a:lnTo>
                        <a:pt x="79" y="132"/>
                      </a:lnTo>
                      <a:lnTo>
                        <a:pt x="78" y="132"/>
                      </a:lnTo>
                      <a:lnTo>
                        <a:pt x="78" y="132"/>
                      </a:lnTo>
                      <a:lnTo>
                        <a:pt x="78" y="133"/>
                      </a:lnTo>
                      <a:lnTo>
                        <a:pt x="78" y="133"/>
                      </a:lnTo>
                      <a:lnTo>
                        <a:pt x="78" y="133"/>
                      </a:lnTo>
                      <a:lnTo>
                        <a:pt x="79" y="134"/>
                      </a:lnTo>
                      <a:lnTo>
                        <a:pt x="79" y="135"/>
                      </a:lnTo>
                      <a:lnTo>
                        <a:pt x="78" y="135"/>
                      </a:lnTo>
                      <a:lnTo>
                        <a:pt x="78" y="135"/>
                      </a:lnTo>
                      <a:lnTo>
                        <a:pt x="77" y="135"/>
                      </a:lnTo>
                      <a:lnTo>
                        <a:pt x="77" y="135"/>
                      </a:lnTo>
                      <a:lnTo>
                        <a:pt x="77" y="136"/>
                      </a:lnTo>
                      <a:lnTo>
                        <a:pt x="78" y="136"/>
                      </a:lnTo>
                      <a:lnTo>
                        <a:pt x="78" y="135"/>
                      </a:lnTo>
                      <a:lnTo>
                        <a:pt x="79" y="136"/>
                      </a:lnTo>
                      <a:lnTo>
                        <a:pt x="79" y="137"/>
                      </a:lnTo>
                      <a:lnTo>
                        <a:pt x="79" y="137"/>
                      </a:lnTo>
                      <a:lnTo>
                        <a:pt x="79" y="138"/>
                      </a:lnTo>
                      <a:lnTo>
                        <a:pt x="78" y="137"/>
                      </a:lnTo>
                      <a:lnTo>
                        <a:pt x="78" y="138"/>
                      </a:lnTo>
                      <a:lnTo>
                        <a:pt x="78" y="139"/>
                      </a:lnTo>
                      <a:lnTo>
                        <a:pt x="78" y="139"/>
                      </a:lnTo>
                      <a:lnTo>
                        <a:pt x="79" y="138"/>
                      </a:lnTo>
                      <a:lnTo>
                        <a:pt x="80" y="138"/>
                      </a:lnTo>
                      <a:lnTo>
                        <a:pt x="80" y="139"/>
                      </a:lnTo>
                      <a:lnTo>
                        <a:pt x="80" y="139"/>
                      </a:lnTo>
                      <a:lnTo>
                        <a:pt x="81" y="139"/>
                      </a:lnTo>
                      <a:lnTo>
                        <a:pt x="82" y="139"/>
                      </a:lnTo>
                      <a:lnTo>
                        <a:pt x="82" y="139"/>
                      </a:lnTo>
                      <a:lnTo>
                        <a:pt x="83" y="139"/>
                      </a:lnTo>
                      <a:lnTo>
                        <a:pt x="83" y="140"/>
                      </a:lnTo>
                      <a:lnTo>
                        <a:pt x="84" y="140"/>
                      </a:lnTo>
                      <a:lnTo>
                        <a:pt x="84" y="141"/>
                      </a:lnTo>
                      <a:lnTo>
                        <a:pt x="84" y="141"/>
                      </a:lnTo>
                      <a:lnTo>
                        <a:pt x="84" y="141"/>
                      </a:lnTo>
                      <a:lnTo>
                        <a:pt x="84" y="142"/>
                      </a:lnTo>
                      <a:lnTo>
                        <a:pt x="84" y="143"/>
                      </a:lnTo>
                      <a:lnTo>
                        <a:pt x="85" y="143"/>
                      </a:lnTo>
                      <a:lnTo>
                        <a:pt x="86" y="143"/>
                      </a:lnTo>
                      <a:lnTo>
                        <a:pt x="86" y="142"/>
                      </a:lnTo>
                      <a:lnTo>
                        <a:pt x="86" y="143"/>
                      </a:lnTo>
                      <a:lnTo>
                        <a:pt x="86" y="143"/>
                      </a:lnTo>
                      <a:lnTo>
                        <a:pt x="85" y="144"/>
                      </a:lnTo>
                      <a:lnTo>
                        <a:pt x="86" y="144"/>
                      </a:lnTo>
                      <a:lnTo>
                        <a:pt x="86" y="145"/>
                      </a:lnTo>
                      <a:lnTo>
                        <a:pt x="87" y="145"/>
                      </a:lnTo>
                      <a:lnTo>
                        <a:pt x="87" y="145"/>
                      </a:lnTo>
                      <a:lnTo>
                        <a:pt x="87" y="145"/>
                      </a:lnTo>
                      <a:lnTo>
                        <a:pt x="88" y="145"/>
                      </a:lnTo>
                      <a:lnTo>
                        <a:pt x="89" y="145"/>
                      </a:lnTo>
                      <a:lnTo>
                        <a:pt x="89" y="145"/>
                      </a:lnTo>
                      <a:lnTo>
                        <a:pt x="89" y="145"/>
                      </a:lnTo>
                      <a:lnTo>
                        <a:pt x="90" y="145"/>
                      </a:lnTo>
                      <a:lnTo>
                        <a:pt x="90" y="146"/>
                      </a:lnTo>
                      <a:lnTo>
                        <a:pt x="91" y="146"/>
                      </a:lnTo>
                      <a:lnTo>
                        <a:pt x="91" y="147"/>
                      </a:lnTo>
                      <a:lnTo>
                        <a:pt x="91" y="147"/>
                      </a:lnTo>
                      <a:lnTo>
                        <a:pt x="91" y="148"/>
                      </a:lnTo>
                      <a:lnTo>
                        <a:pt x="92" y="148"/>
                      </a:lnTo>
                      <a:lnTo>
                        <a:pt x="92" y="149"/>
                      </a:lnTo>
                      <a:lnTo>
                        <a:pt x="92" y="150"/>
                      </a:lnTo>
                      <a:lnTo>
                        <a:pt x="92" y="150"/>
                      </a:lnTo>
                      <a:lnTo>
                        <a:pt x="92" y="151"/>
                      </a:lnTo>
                      <a:lnTo>
                        <a:pt x="91" y="151"/>
                      </a:lnTo>
                      <a:lnTo>
                        <a:pt x="91" y="151"/>
                      </a:lnTo>
                      <a:lnTo>
                        <a:pt x="91" y="152"/>
                      </a:lnTo>
                      <a:lnTo>
                        <a:pt x="91" y="152"/>
                      </a:lnTo>
                      <a:lnTo>
                        <a:pt x="91" y="152"/>
                      </a:lnTo>
                      <a:lnTo>
                        <a:pt x="91" y="153"/>
                      </a:lnTo>
                      <a:lnTo>
                        <a:pt x="91" y="154"/>
                      </a:lnTo>
                      <a:lnTo>
                        <a:pt x="91" y="154"/>
                      </a:lnTo>
                      <a:lnTo>
                        <a:pt x="91" y="155"/>
                      </a:lnTo>
                      <a:lnTo>
                        <a:pt x="91" y="156"/>
                      </a:lnTo>
                      <a:lnTo>
                        <a:pt x="91" y="156"/>
                      </a:lnTo>
                      <a:lnTo>
                        <a:pt x="91" y="156"/>
                      </a:lnTo>
                      <a:lnTo>
                        <a:pt x="91" y="157"/>
                      </a:lnTo>
                      <a:lnTo>
                        <a:pt x="90" y="158"/>
                      </a:lnTo>
                      <a:lnTo>
                        <a:pt x="91" y="158"/>
                      </a:lnTo>
                      <a:lnTo>
                        <a:pt x="91" y="158"/>
                      </a:lnTo>
                      <a:lnTo>
                        <a:pt x="91" y="159"/>
                      </a:lnTo>
                      <a:lnTo>
                        <a:pt x="90" y="159"/>
                      </a:lnTo>
                      <a:lnTo>
                        <a:pt x="90" y="160"/>
                      </a:lnTo>
                      <a:lnTo>
                        <a:pt x="89" y="160"/>
                      </a:lnTo>
                      <a:lnTo>
                        <a:pt x="89" y="160"/>
                      </a:lnTo>
                      <a:lnTo>
                        <a:pt x="89" y="161"/>
                      </a:lnTo>
                      <a:lnTo>
                        <a:pt x="89" y="161"/>
                      </a:lnTo>
                      <a:lnTo>
                        <a:pt x="88" y="161"/>
                      </a:lnTo>
                      <a:lnTo>
                        <a:pt x="87" y="161"/>
                      </a:lnTo>
                      <a:lnTo>
                        <a:pt x="87" y="162"/>
                      </a:lnTo>
                      <a:lnTo>
                        <a:pt x="87" y="162"/>
                      </a:lnTo>
                      <a:lnTo>
                        <a:pt x="86" y="162"/>
                      </a:lnTo>
                      <a:lnTo>
                        <a:pt x="86" y="163"/>
                      </a:lnTo>
                      <a:lnTo>
                        <a:pt x="86" y="164"/>
                      </a:lnTo>
                      <a:lnTo>
                        <a:pt x="86" y="164"/>
                      </a:lnTo>
                      <a:lnTo>
                        <a:pt x="85" y="164"/>
                      </a:lnTo>
                      <a:lnTo>
                        <a:pt x="85" y="165"/>
                      </a:lnTo>
                      <a:lnTo>
                        <a:pt x="85" y="166"/>
                      </a:lnTo>
                      <a:lnTo>
                        <a:pt x="84" y="166"/>
                      </a:lnTo>
                      <a:lnTo>
                        <a:pt x="84" y="166"/>
                      </a:lnTo>
                      <a:lnTo>
                        <a:pt x="84" y="167"/>
                      </a:lnTo>
                      <a:lnTo>
                        <a:pt x="84" y="167"/>
                      </a:lnTo>
                      <a:lnTo>
                        <a:pt x="84" y="168"/>
                      </a:lnTo>
                      <a:lnTo>
                        <a:pt x="83" y="168"/>
                      </a:lnTo>
                      <a:lnTo>
                        <a:pt x="83" y="169"/>
                      </a:lnTo>
                      <a:lnTo>
                        <a:pt x="84" y="169"/>
                      </a:lnTo>
                      <a:lnTo>
                        <a:pt x="83" y="169"/>
                      </a:lnTo>
                      <a:lnTo>
                        <a:pt x="83" y="170"/>
                      </a:lnTo>
                      <a:lnTo>
                        <a:pt x="82" y="170"/>
                      </a:lnTo>
                      <a:lnTo>
                        <a:pt x="83" y="170"/>
                      </a:lnTo>
                      <a:lnTo>
                        <a:pt x="84" y="170"/>
                      </a:lnTo>
                      <a:lnTo>
                        <a:pt x="84" y="169"/>
                      </a:lnTo>
                      <a:lnTo>
                        <a:pt x="84" y="170"/>
                      </a:lnTo>
                      <a:lnTo>
                        <a:pt x="85" y="170"/>
                      </a:lnTo>
                      <a:lnTo>
                        <a:pt x="85" y="171"/>
                      </a:lnTo>
                      <a:lnTo>
                        <a:pt x="84" y="171"/>
                      </a:lnTo>
                      <a:lnTo>
                        <a:pt x="84" y="171"/>
                      </a:lnTo>
                      <a:lnTo>
                        <a:pt x="84" y="171"/>
                      </a:lnTo>
                      <a:lnTo>
                        <a:pt x="84" y="171"/>
                      </a:lnTo>
                      <a:lnTo>
                        <a:pt x="84" y="172"/>
                      </a:lnTo>
                      <a:lnTo>
                        <a:pt x="85" y="172"/>
                      </a:lnTo>
                      <a:lnTo>
                        <a:pt x="85" y="171"/>
                      </a:lnTo>
                      <a:lnTo>
                        <a:pt x="86" y="171"/>
                      </a:lnTo>
                      <a:lnTo>
                        <a:pt x="86" y="172"/>
                      </a:lnTo>
                      <a:lnTo>
                        <a:pt x="86" y="173"/>
                      </a:lnTo>
                      <a:lnTo>
                        <a:pt x="87" y="173"/>
                      </a:lnTo>
                      <a:lnTo>
                        <a:pt x="87" y="173"/>
                      </a:lnTo>
                      <a:lnTo>
                        <a:pt x="87" y="173"/>
                      </a:lnTo>
                      <a:lnTo>
                        <a:pt x="87" y="173"/>
                      </a:lnTo>
                      <a:lnTo>
                        <a:pt x="88" y="173"/>
                      </a:lnTo>
                      <a:lnTo>
                        <a:pt x="88" y="174"/>
                      </a:lnTo>
                      <a:lnTo>
                        <a:pt x="87" y="174"/>
                      </a:lnTo>
                      <a:lnTo>
                        <a:pt x="87" y="175"/>
                      </a:lnTo>
                      <a:lnTo>
                        <a:pt x="88" y="175"/>
                      </a:lnTo>
                      <a:lnTo>
                        <a:pt x="89" y="175"/>
                      </a:lnTo>
                      <a:lnTo>
                        <a:pt x="89" y="174"/>
                      </a:lnTo>
                      <a:lnTo>
                        <a:pt x="89" y="173"/>
                      </a:lnTo>
                      <a:lnTo>
                        <a:pt x="89" y="173"/>
                      </a:lnTo>
                      <a:lnTo>
                        <a:pt x="90" y="173"/>
                      </a:lnTo>
                      <a:lnTo>
                        <a:pt x="90" y="174"/>
                      </a:lnTo>
                      <a:lnTo>
                        <a:pt x="89" y="174"/>
                      </a:lnTo>
                      <a:lnTo>
                        <a:pt x="89" y="175"/>
                      </a:lnTo>
                      <a:lnTo>
                        <a:pt x="90" y="175"/>
                      </a:lnTo>
                      <a:lnTo>
                        <a:pt x="91" y="175"/>
                      </a:lnTo>
                      <a:lnTo>
                        <a:pt x="91" y="175"/>
                      </a:lnTo>
                      <a:lnTo>
                        <a:pt x="91" y="175"/>
                      </a:lnTo>
                      <a:lnTo>
                        <a:pt x="91" y="176"/>
                      </a:lnTo>
                      <a:lnTo>
                        <a:pt x="91" y="177"/>
                      </a:lnTo>
                      <a:lnTo>
                        <a:pt x="91" y="177"/>
                      </a:lnTo>
                      <a:lnTo>
                        <a:pt x="92" y="177"/>
                      </a:lnTo>
                      <a:lnTo>
                        <a:pt x="92" y="178"/>
                      </a:lnTo>
                      <a:lnTo>
                        <a:pt x="93" y="178"/>
                      </a:lnTo>
                      <a:lnTo>
                        <a:pt x="93" y="179"/>
                      </a:lnTo>
                      <a:lnTo>
                        <a:pt x="93" y="179"/>
                      </a:lnTo>
                      <a:lnTo>
                        <a:pt x="94" y="179"/>
                      </a:lnTo>
                      <a:lnTo>
                        <a:pt x="95" y="179"/>
                      </a:lnTo>
                      <a:lnTo>
                        <a:pt x="95" y="179"/>
                      </a:lnTo>
                      <a:lnTo>
                        <a:pt x="95" y="179"/>
                      </a:lnTo>
                      <a:lnTo>
                        <a:pt x="96" y="179"/>
                      </a:lnTo>
                      <a:lnTo>
                        <a:pt x="96" y="180"/>
                      </a:lnTo>
                      <a:lnTo>
                        <a:pt x="95" y="180"/>
                      </a:lnTo>
                      <a:lnTo>
                        <a:pt x="95" y="181"/>
                      </a:lnTo>
                      <a:lnTo>
                        <a:pt x="96" y="181"/>
                      </a:lnTo>
                      <a:lnTo>
                        <a:pt x="96" y="181"/>
                      </a:lnTo>
                      <a:lnTo>
                        <a:pt x="97" y="181"/>
                      </a:lnTo>
                      <a:lnTo>
                        <a:pt x="97" y="182"/>
                      </a:lnTo>
                      <a:lnTo>
                        <a:pt x="97" y="182"/>
                      </a:lnTo>
                      <a:lnTo>
                        <a:pt x="98" y="182"/>
                      </a:lnTo>
                      <a:lnTo>
                        <a:pt x="98" y="183"/>
                      </a:lnTo>
                      <a:lnTo>
                        <a:pt x="97" y="183"/>
                      </a:lnTo>
                      <a:lnTo>
                        <a:pt x="97" y="183"/>
                      </a:lnTo>
                      <a:lnTo>
                        <a:pt x="98" y="183"/>
                      </a:lnTo>
                      <a:lnTo>
                        <a:pt x="99" y="183"/>
                      </a:lnTo>
                      <a:lnTo>
                        <a:pt x="99" y="183"/>
                      </a:lnTo>
                      <a:lnTo>
                        <a:pt x="100" y="183"/>
                      </a:lnTo>
                      <a:lnTo>
                        <a:pt x="100" y="184"/>
                      </a:lnTo>
                      <a:lnTo>
                        <a:pt x="101" y="184"/>
                      </a:lnTo>
                      <a:lnTo>
                        <a:pt x="101" y="185"/>
                      </a:lnTo>
                      <a:lnTo>
                        <a:pt x="101" y="185"/>
                      </a:lnTo>
                      <a:lnTo>
                        <a:pt x="101" y="184"/>
                      </a:lnTo>
                      <a:lnTo>
                        <a:pt x="101" y="183"/>
                      </a:lnTo>
                      <a:lnTo>
                        <a:pt x="102" y="184"/>
                      </a:lnTo>
                      <a:lnTo>
                        <a:pt x="102" y="185"/>
                      </a:lnTo>
                      <a:lnTo>
                        <a:pt x="103" y="185"/>
                      </a:lnTo>
                      <a:lnTo>
                        <a:pt x="104" y="185"/>
                      </a:lnTo>
                      <a:lnTo>
                        <a:pt x="104" y="185"/>
                      </a:lnTo>
                      <a:lnTo>
                        <a:pt x="103" y="185"/>
                      </a:lnTo>
                      <a:lnTo>
                        <a:pt x="102" y="185"/>
                      </a:lnTo>
                      <a:lnTo>
                        <a:pt x="103" y="186"/>
                      </a:lnTo>
                      <a:lnTo>
                        <a:pt x="103" y="185"/>
                      </a:lnTo>
                      <a:lnTo>
                        <a:pt x="103" y="186"/>
                      </a:lnTo>
                      <a:lnTo>
                        <a:pt x="104" y="186"/>
                      </a:lnTo>
                      <a:lnTo>
                        <a:pt x="104" y="186"/>
                      </a:lnTo>
                      <a:lnTo>
                        <a:pt x="104" y="187"/>
                      </a:lnTo>
                      <a:lnTo>
                        <a:pt x="105" y="187"/>
                      </a:lnTo>
                      <a:lnTo>
                        <a:pt x="106" y="187"/>
                      </a:lnTo>
                      <a:lnTo>
                        <a:pt x="106" y="187"/>
                      </a:lnTo>
                      <a:lnTo>
                        <a:pt x="106" y="188"/>
                      </a:lnTo>
                      <a:lnTo>
                        <a:pt x="106" y="188"/>
                      </a:lnTo>
                      <a:lnTo>
                        <a:pt x="106" y="187"/>
                      </a:lnTo>
                      <a:lnTo>
                        <a:pt x="107" y="187"/>
                      </a:lnTo>
                      <a:lnTo>
                        <a:pt x="106" y="188"/>
                      </a:lnTo>
                      <a:lnTo>
                        <a:pt x="107" y="188"/>
                      </a:lnTo>
                      <a:lnTo>
                        <a:pt x="107" y="189"/>
                      </a:lnTo>
                      <a:lnTo>
                        <a:pt x="108" y="189"/>
                      </a:lnTo>
                      <a:lnTo>
                        <a:pt x="108" y="189"/>
                      </a:lnTo>
                      <a:lnTo>
                        <a:pt x="108" y="190"/>
                      </a:lnTo>
                      <a:lnTo>
                        <a:pt x="109" y="190"/>
                      </a:lnTo>
                      <a:lnTo>
                        <a:pt x="109" y="190"/>
                      </a:lnTo>
                      <a:lnTo>
                        <a:pt x="110" y="190"/>
                      </a:lnTo>
                      <a:lnTo>
                        <a:pt x="110" y="190"/>
                      </a:lnTo>
                      <a:lnTo>
                        <a:pt x="111" y="191"/>
                      </a:lnTo>
                      <a:lnTo>
                        <a:pt x="112" y="191"/>
                      </a:lnTo>
                      <a:lnTo>
                        <a:pt x="112" y="192"/>
                      </a:lnTo>
                      <a:lnTo>
                        <a:pt x="112" y="192"/>
                      </a:lnTo>
                      <a:lnTo>
                        <a:pt x="113" y="192"/>
                      </a:lnTo>
                      <a:lnTo>
                        <a:pt x="113" y="192"/>
                      </a:lnTo>
                      <a:lnTo>
                        <a:pt x="113" y="193"/>
                      </a:lnTo>
                      <a:lnTo>
                        <a:pt x="113" y="194"/>
                      </a:lnTo>
                      <a:lnTo>
                        <a:pt x="113" y="194"/>
                      </a:lnTo>
                      <a:lnTo>
                        <a:pt x="114" y="194"/>
                      </a:lnTo>
                      <a:lnTo>
                        <a:pt x="114" y="194"/>
                      </a:lnTo>
                      <a:lnTo>
                        <a:pt x="114" y="194"/>
                      </a:lnTo>
                      <a:lnTo>
                        <a:pt x="115" y="194"/>
                      </a:lnTo>
                      <a:lnTo>
                        <a:pt x="115" y="194"/>
                      </a:lnTo>
                      <a:lnTo>
                        <a:pt x="115" y="194"/>
                      </a:lnTo>
                      <a:lnTo>
                        <a:pt x="115" y="194"/>
                      </a:lnTo>
                      <a:lnTo>
                        <a:pt x="115" y="194"/>
                      </a:lnTo>
                      <a:lnTo>
                        <a:pt x="116" y="194"/>
                      </a:lnTo>
                      <a:lnTo>
                        <a:pt x="116" y="195"/>
                      </a:lnTo>
                      <a:lnTo>
                        <a:pt x="116" y="195"/>
                      </a:lnTo>
                      <a:lnTo>
                        <a:pt x="117" y="195"/>
                      </a:lnTo>
                      <a:lnTo>
                        <a:pt x="118" y="196"/>
                      </a:lnTo>
                      <a:lnTo>
                        <a:pt x="118" y="196"/>
                      </a:lnTo>
                      <a:lnTo>
                        <a:pt x="117" y="196"/>
                      </a:lnTo>
                      <a:lnTo>
                        <a:pt x="118" y="197"/>
                      </a:lnTo>
                      <a:lnTo>
                        <a:pt x="118" y="197"/>
                      </a:lnTo>
                      <a:lnTo>
                        <a:pt x="119" y="197"/>
                      </a:lnTo>
                      <a:lnTo>
                        <a:pt x="119" y="198"/>
                      </a:lnTo>
                      <a:lnTo>
                        <a:pt x="119" y="198"/>
                      </a:lnTo>
                      <a:lnTo>
                        <a:pt x="120" y="198"/>
                      </a:lnTo>
                      <a:lnTo>
                        <a:pt x="120" y="198"/>
                      </a:lnTo>
                      <a:lnTo>
                        <a:pt x="120" y="198"/>
                      </a:lnTo>
                      <a:lnTo>
                        <a:pt x="121" y="198"/>
                      </a:lnTo>
                      <a:lnTo>
                        <a:pt x="121" y="198"/>
                      </a:lnTo>
                      <a:lnTo>
                        <a:pt x="122" y="198"/>
                      </a:lnTo>
                      <a:lnTo>
                        <a:pt x="122" y="199"/>
                      </a:lnTo>
                      <a:lnTo>
                        <a:pt x="123" y="199"/>
                      </a:lnTo>
                      <a:lnTo>
                        <a:pt x="123" y="200"/>
                      </a:lnTo>
                      <a:lnTo>
                        <a:pt x="123" y="200"/>
                      </a:lnTo>
                      <a:lnTo>
                        <a:pt x="123" y="199"/>
                      </a:lnTo>
                      <a:lnTo>
                        <a:pt x="124" y="199"/>
                      </a:lnTo>
                      <a:lnTo>
                        <a:pt x="124" y="200"/>
                      </a:lnTo>
                      <a:lnTo>
                        <a:pt x="123" y="200"/>
                      </a:lnTo>
                      <a:lnTo>
                        <a:pt x="124" y="200"/>
                      </a:lnTo>
                      <a:lnTo>
                        <a:pt x="124" y="201"/>
                      </a:lnTo>
                      <a:lnTo>
                        <a:pt x="125" y="202"/>
                      </a:lnTo>
                      <a:lnTo>
                        <a:pt x="125" y="202"/>
                      </a:lnTo>
                      <a:lnTo>
                        <a:pt x="125" y="203"/>
                      </a:lnTo>
                      <a:lnTo>
                        <a:pt x="125" y="203"/>
                      </a:lnTo>
                      <a:lnTo>
                        <a:pt x="125" y="204"/>
                      </a:lnTo>
                      <a:lnTo>
                        <a:pt x="125" y="204"/>
                      </a:lnTo>
                      <a:lnTo>
                        <a:pt x="125" y="204"/>
                      </a:lnTo>
                      <a:lnTo>
                        <a:pt x="126" y="204"/>
                      </a:lnTo>
                      <a:lnTo>
                        <a:pt x="126" y="204"/>
                      </a:lnTo>
                      <a:lnTo>
                        <a:pt x="127" y="204"/>
                      </a:lnTo>
                      <a:lnTo>
                        <a:pt x="127" y="204"/>
                      </a:lnTo>
                      <a:lnTo>
                        <a:pt x="127" y="204"/>
                      </a:lnTo>
                      <a:lnTo>
                        <a:pt x="127" y="205"/>
                      </a:lnTo>
                      <a:lnTo>
                        <a:pt x="127" y="205"/>
                      </a:lnTo>
                      <a:lnTo>
                        <a:pt x="127" y="206"/>
                      </a:lnTo>
                      <a:lnTo>
                        <a:pt x="127" y="206"/>
                      </a:lnTo>
                      <a:lnTo>
                        <a:pt x="128" y="206"/>
                      </a:lnTo>
                      <a:lnTo>
                        <a:pt x="128" y="206"/>
                      </a:lnTo>
                      <a:lnTo>
                        <a:pt x="129" y="206"/>
                      </a:lnTo>
                      <a:lnTo>
                        <a:pt x="129" y="207"/>
                      </a:lnTo>
                      <a:lnTo>
                        <a:pt x="129" y="208"/>
                      </a:lnTo>
                      <a:lnTo>
                        <a:pt x="129" y="208"/>
                      </a:lnTo>
                      <a:lnTo>
                        <a:pt x="129" y="209"/>
                      </a:lnTo>
                      <a:lnTo>
                        <a:pt x="130" y="209"/>
                      </a:lnTo>
                      <a:lnTo>
                        <a:pt x="130" y="209"/>
                      </a:lnTo>
                      <a:lnTo>
                        <a:pt x="131" y="210"/>
                      </a:lnTo>
                      <a:lnTo>
                        <a:pt x="130" y="210"/>
                      </a:lnTo>
                      <a:lnTo>
                        <a:pt x="131" y="211"/>
                      </a:lnTo>
                      <a:lnTo>
                        <a:pt x="131" y="211"/>
                      </a:lnTo>
                      <a:lnTo>
                        <a:pt x="131" y="211"/>
                      </a:lnTo>
                      <a:lnTo>
                        <a:pt x="132" y="211"/>
                      </a:lnTo>
                      <a:lnTo>
                        <a:pt x="131" y="211"/>
                      </a:lnTo>
                      <a:lnTo>
                        <a:pt x="131" y="212"/>
                      </a:lnTo>
                      <a:lnTo>
                        <a:pt x="131" y="212"/>
                      </a:lnTo>
                      <a:lnTo>
                        <a:pt x="131" y="213"/>
                      </a:lnTo>
                      <a:lnTo>
                        <a:pt x="131" y="213"/>
                      </a:lnTo>
                      <a:lnTo>
                        <a:pt x="131" y="214"/>
                      </a:lnTo>
                      <a:lnTo>
                        <a:pt x="131" y="215"/>
                      </a:lnTo>
                      <a:lnTo>
                        <a:pt x="131" y="215"/>
                      </a:lnTo>
                      <a:lnTo>
                        <a:pt x="132" y="215"/>
                      </a:lnTo>
                      <a:lnTo>
                        <a:pt x="133" y="215"/>
                      </a:lnTo>
                      <a:lnTo>
                        <a:pt x="133" y="215"/>
                      </a:lnTo>
                      <a:lnTo>
                        <a:pt x="134" y="215"/>
                      </a:lnTo>
                      <a:lnTo>
                        <a:pt x="134" y="216"/>
                      </a:lnTo>
                      <a:lnTo>
                        <a:pt x="134" y="217"/>
                      </a:lnTo>
                      <a:lnTo>
                        <a:pt x="134" y="217"/>
                      </a:lnTo>
                      <a:lnTo>
                        <a:pt x="135" y="217"/>
                      </a:lnTo>
                      <a:lnTo>
                        <a:pt x="135" y="218"/>
                      </a:lnTo>
                      <a:lnTo>
                        <a:pt x="135" y="218"/>
                      </a:lnTo>
                      <a:lnTo>
                        <a:pt x="135" y="219"/>
                      </a:lnTo>
                      <a:lnTo>
                        <a:pt x="136" y="219"/>
                      </a:lnTo>
                      <a:lnTo>
                        <a:pt x="136" y="219"/>
                      </a:lnTo>
                      <a:lnTo>
                        <a:pt x="136" y="220"/>
                      </a:lnTo>
                      <a:lnTo>
                        <a:pt x="137" y="220"/>
                      </a:lnTo>
                      <a:lnTo>
                        <a:pt x="137" y="219"/>
                      </a:lnTo>
                      <a:lnTo>
                        <a:pt x="137" y="220"/>
                      </a:lnTo>
                      <a:lnTo>
                        <a:pt x="137" y="221"/>
                      </a:lnTo>
                      <a:lnTo>
                        <a:pt x="137" y="221"/>
                      </a:lnTo>
                      <a:lnTo>
                        <a:pt x="137" y="221"/>
                      </a:lnTo>
                      <a:lnTo>
                        <a:pt x="137" y="222"/>
                      </a:lnTo>
                      <a:lnTo>
                        <a:pt x="138" y="222"/>
                      </a:lnTo>
                      <a:lnTo>
                        <a:pt x="138" y="223"/>
                      </a:lnTo>
                      <a:lnTo>
                        <a:pt x="138" y="223"/>
                      </a:lnTo>
                      <a:lnTo>
                        <a:pt x="139" y="223"/>
                      </a:lnTo>
                      <a:lnTo>
                        <a:pt x="139" y="224"/>
                      </a:lnTo>
                      <a:lnTo>
                        <a:pt x="139" y="224"/>
                      </a:lnTo>
                      <a:lnTo>
                        <a:pt x="139" y="225"/>
                      </a:lnTo>
                      <a:lnTo>
                        <a:pt x="139" y="224"/>
                      </a:lnTo>
                      <a:lnTo>
                        <a:pt x="140" y="225"/>
                      </a:lnTo>
                      <a:lnTo>
                        <a:pt x="140" y="225"/>
                      </a:lnTo>
                      <a:lnTo>
                        <a:pt x="140" y="226"/>
                      </a:lnTo>
                      <a:lnTo>
                        <a:pt x="140" y="227"/>
                      </a:lnTo>
                      <a:lnTo>
                        <a:pt x="140" y="228"/>
                      </a:lnTo>
                      <a:lnTo>
                        <a:pt x="140" y="228"/>
                      </a:lnTo>
                      <a:lnTo>
                        <a:pt x="139" y="228"/>
                      </a:lnTo>
                      <a:lnTo>
                        <a:pt x="139" y="229"/>
                      </a:lnTo>
                      <a:lnTo>
                        <a:pt x="139" y="229"/>
                      </a:lnTo>
                      <a:lnTo>
                        <a:pt x="138" y="230"/>
                      </a:lnTo>
                      <a:lnTo>
                        <a:pt x="138" y="230"/>
                      </a:lnTo>
                      <a:lnTo>
                        <a:pt x="139" y="230"/>
                      </a:lnTo>
                      <a:lnTo>
                        <a:pt x="139" y="231"/>
                      </a:lnTo>
                      <a:lnTo>
                        <a:pt x="139" y="232"/>
                      </a:lnTo>
                      <a:lnTo>
                        <a:pt x="139" y="232"/>
                      </a:lnTo>
                      <a:lnTo>
                        <a:pt x="139" y="233"/>
                      </a:lnTo>
                      <a:lnTo>
                        <a:pt x="139" y="234"/>
                      </a:lnTo>
                      <a:lnTo>
                        <a:pt x="138" y="234"/>
                      </a:lnTo>
                      <a:lnTo>
                        <a:pt x="143" y="240"/>
                      </a:lnTo>
                      <a:lnTo>
                        <a:pt x="147" y="249"/>
                      </a:lnTo>
                      <a:lnTo>
                        <a:pt x="152" y="254"/>
                      </a:lnTo>
                      <a:lnTo>
                        <a:pt x="156" y="259"/>
                      </a:lnTo>
                      <a:lnTo>
                        <a:pt x="158" y="260"/>
                      </a:lnTo>
                      <a:lnTo>
                        <a:pt x="168" y="272"/>
                      </a:lnTo>
                      <a:lnTo>
                        <a:pt x="167" y="272"/>
                      </a:lnTo>
                      <a:lnTo>
                        <a:pt x="167" y="272"/>
                      </a:lnTo>
                      <a:lnTo>
                        <a:pt x="167" y="272"/>
                      </a:lnTo>
                      <a:lnTo>
                        <a:pt x="166" y="272"/>
                      </a:lnTo>
                      <a:lnTo>
                        <a:pt x="166" y="272"/>
                      </a:lnTo>
                      <a:lnTo>
                        <a:pt x="165" y="272"/>
                      </a:lnTo>
                      <a:lnTo>
                        <a:pt x="165" y="272"/>
                      </a:lnTo>
                      <a:lnTo>
                        <a:pt x="165" y="271"/>
                      </a:lnTo>
                      <a:lnTo>
                        <a:pt x="164" y="271"/>
                      </a:lnTo>
                      <a:lnTo>
                        <a:pt x="164" y="272"/>
                      </a:lnTo>
                      <a:lnTo>
                        <a:pt x="163" y="272"/>
                      </a:lnTo>
                      <a:lnTo>
                        <a:pt x="163" y="272"/>
                      </a:lnTo>
                      <a:lnTo>
                        <a:pt x="163" y="273"/>
                      </a:lnTo>
                      <a:lnTo>
                        <a:pt x="162" y="273"/>
                      </a:lnTo>
                      <a:lnTo>
                        <a:pt x="161" y="273"/>
                      </a:lnTo>
                      <a:lnTo>
                        <a:pt x="161" y="273"/>
                      </a:lnTo>
                      <a:lnTo>
                        <a:pt x="160" y="274"/>
                      </a:lnTo>
                      <a:lnTo>
                        <a:pt x="159" y="274"/>
                      </a:lnTo>
                      <a:lnTo>
                        <a:pt x="158" y="274"/>
                      </a:lnTo>
                      <a:lnTo>
                        <a:pt x="158" y="274"/>
                      </a:lnTo>
                      <a:lnTo>
                        <a:pt x="158" y="275"/>
                      </a:lnTo>
                      <a:lnTo>
                        <a:pt x="157" y="276"/>
                      </a:lnTo>
                      <a:lnTo>
                        <a:pt x="156" y="275"/>
                      </a:lnTo>
                      <a:lnTo>
                        <a:pt x="156" y="275"/>
                      </a:lnTo>
                      <a:lnTo>
                        <a:pt x="155" y="274"/>
                      </a:lnTo>
                      <a:lnTo>
                        <a:pt x="155" y="274"/>
                      </a:lnTo>
                      <a:lnTo>
                        <a:pt x="154" y="274"/>
                      </a:lnTo>
                      <a:lnTo>
                        <a:pt x="154" y="273"/>
                      </a:lnTo>
                      <a:lnTo>
                        <a:pt x="153" y="273"/>
                      </a:lnTo>
                      <a:lnTo>
                        <a:pt x="152" y="273"/>
                      </a:lnTo>
                      <a:lnTo>
                        <a:pt x="152" y="272"/>
                      </a:lnTo>
                      <a:lnTo>
                        <a:pt x="151" y="272"/>
                      </a:lnTo>
                      <a:lnTo>
                        <a:pt x="150" y="273"/>
                      </a:lnTo>
                      <a:lnTo>
                        <a:pt x="150" y="274"/>
                      </a:lnTo>
                      <a:lnTo>
                        <a:pt x="150" y="274"/>
                      </a:lnTo>
                      <a:lnTo>
                        <a:pt x="150" y="274"/>
                      </a:lnTo>
                      <a:lnTo>
                        <a:pt x="149" y="275"/>
                      </a:lnTo>
                      <a:lnTo>
                        <a:pt x="148" y="275"/>
                      </a:lnTo>
                      <a:lnTo>
                        <a:pt x="148" y="276"/>
                      </a:lnTo>
                      <a:lnTo>
                        <a:pt x="148" y="276"/>
                      </a:lnTo>
                      <a:lnTo>
                        <a:pt x="147" y="276"/>
                      </a:lnTo>
                      <a:lnTo>
                        <a:pt x="147" y="277"/>
                      </a:lnTo>
                      <a:lnTo>
                        <a:pt x="146" y="277"/>
                      </a:lnTo>
                      <a:lnTo>
                        <a:pt x="146" y="278"/>
                      </a:lnTo>
                      <a:lnTo>
                        <a:pt x="146" y="278"/>
                      </a:lnTo>
                      <a:lnTo>
                        <a:pt x="146" y="279"/>
                      </a:lnTo>
                      <a:lnTo>
                        <a:pt x="145" y="279"/>
                      </a:lnTo>
                      <a:lnTo>
                        <a:pt x="145" y="280"/>
                      </a:lnTo>
                      <a:lnTo>
                        <a:pt x="144" y="280"/>
                      </a:lnTo>
                      <a:lnTo>
                        <a:pt x="144" y="280"/>
                      </a:lnTo>
                      <a:lnTo>
                        <a:pt x="144" y="280"/>
                      </a:lnTo>
                      <a:lnTo>
                        <a:pt x="144" y="281"/>
                      </a:lnTo>
                      <a:lnTo>
                        <a:pt x="143" y="282"/>
                      </a:lnTo>
                      <a:lnTo>
                        <a:pt x="142" y="282"/>
                      </a:lnTo>
                      <a:lnTo>
                        <a:pt x="142" y="282"/>
                      </a:lnTo>
                      <a:lnTo>
                        <a:pt x="142" y="283"/>
                      </a:lnTo>
                      <a:lnTo>
                        <a:pt x="142" y="283"/>
                      </a:lnTo>
                      <a:lnTo>
                        <a:pt x="142" y="284"/>
                      </a:lnTo>
                      <a:lnTo>
                        <a:pt x="142" y="284"/>
                      </a:lnTo>
                      <a:lnTo>
                        <a:pt x="142" y="284"/>
                      </a:lnTo>
                      <a:lnTo>
                        <a:pt x="142" y="285"/>
                      </a:lnTo>
                      <a:lnTo>
                        <a:pt x="142" y="286"/>
                      </a:lnTo>
                      <a:lnTo>
                        <a:pt x="141" y="286"/>
                      </a:lnTo>
                      <a:lnTo>
                        <a:pt x="141" y="287"/>
                      </a:lnTo>
                      <a:lnTo>
                        <a:pt x="140" y="287"/>
                      </a:lnTo>
                      <a:lnTo>
                        <a:pt x="140" y="287"/>
                      </a:lnTo>
                      <a:lnTo>
                        <a:pt x="140" y="288"/>
                      </a:lnTo>
                      <a:lnTo>
                        <a:pt x="139" y="288"/>
                      </a:lnTo>
                      <a:lnTo>
                        <a:pt x="139" y="289"/>
                      </a:lnTo>
                      <a:lnTo>
                        <a:pt x="139" y="289"/>
                      </a:lnTo>
                      <a:lnTo>
                        <a:pt x="139" y="289"/>
                      </a:lnTo>
                      <a:lnTo>
                        <a:pt x="139" y="290"/>
                      </a:lnTo>
                      <a:lnTo>
                        <a:pt x="140" y="290"/>
                      </a:lnTo>
                      <a:lnTo>
                        <a:pt x="141" y="289"/>
                      </a:lnTo>
                      <a:lnTo>
                        <a:pt x="141" y="290"/>
                      </a:lnTo>
                      <a:lnTo>
                        <a:pt x="141" y="291"/>
                      </a:lnTo>
                      <a:lnTo>
                        <a:pt x="141" y="291"/>
                      </a:lnTo>
                      <a:lnTo>
                        <a:pt x="142" y="291"/>
                      </a:lnTo>
                      <a:lnTo>
                        <a:pt x="141" y="292"/>
                      </a:lnTo>
                      <a:lnTo>
                        <a:pt x="141" y="293"/>
                      </a:lnTo>
                      <a:lnTo>
                        <a:pt x="140" y="293"/>
                      </a:lnTo>
                      <a:lnTo>
                        <a:pt x="141" y="294"/>
                      </a:lnTo>
                      <a:lnTo>
                        <a:pt x="141" y="295"/>
                      </a:lnTo>
                      <a:lnTo>
                        <a:pt x="142" y="295"/>
                      </a:lnTo>
                      <a:lnTo>
                        <a:pt x="142" y="295"/>
                      </a:lnTo>
                      <a:lnTo>
                        <a:pt x="142" y="295"/>
                      </a:lnTo>
                      <a:lnTo>
                        <a:pt x="143" y="295"/>
                      </a:lnTo>
                      <a:lnTo>
                        <a:pt x="144" y="296"/>
                      </a:lnTo>
                      <a:lnTo>
                        <a:pt x="144" y="296"/>
                      </a:lnTo>
                      <a:lnTo>
                        <a:pt x="145" y="296"/>
                      </a:lnTo>
                      <a:lnTo>
                        <a:pt x="145" y="297"/>
                      </a:lnTo>
                      <a:lnTo>
                        <a:pt x="146" y="297"/>
                      </a:lnTo>
                      <a:lnTo>
                        <a:pt x="146" y="297"/>
                      </a:lnTo>
                      <a:lnTo>
                        <a:pt x="146" y="298"/>
                      </a:lnTo>
                      <a:lnTo>
                        <a:pt x="146" y="299"/>
                      </a:lnTo>
                      <a:lnTo>
                        <a:pt x="146" y="299"/>
                      </a:lnTo>
                      <a:lnTo>
                        <a:pt x="146" y="300"/>
                      </a:lnTo>
                      <a:lnTo>
                        <a:pt x="146" y="300"/>
                      </a:lnTo>
                      <a:lnTo>
                        <a:pt x="146" y="301"/>
                      </a:lnTo>
                      <a:lnTo>
                        <a:pt x="145" y="301"/>
                      </a:lnTo>
                      <a:lnTo>
                        <a:pt x="145" y="301"/>
                      </a:lnTo>
                      <a:lnTo>
                        <a:pt x="144" y="301"/>
                      </a:lnTo>
                      <a:lnTo>
                        <a:pt x="144" y="302"/>
                      </a:lnTo>
                      <a:lnTo>
                        <a:pt x="144" y="303"/>
                      </a:lnTo>
                      <a:lnTo>
                        <a:pt x="144" y="303"/>
                      </a:lnTo>
                      <a:lnTo>
                        <a:pt x="145" y="303"/>
                      </a:lnTo>
                      <a:lnTo>
                        <a:pt x="145" y="304"/>
                      </a:lnTo>
                      <a:lnTo>
                        <a:pt x="146" y="304"/>
                      </a:lnTo>
                      <a:lnTo>
                        <a:pt x="146" y="305"/>
                      </a:lnTo>
                      <a:lnTo>
                        <a:pt x="146" y="305"/>
                      </a:lnTo>
                      <a:lnTo>
                        <a:pt x="146" y="305"/>
                      </a:lnTo>
                      <a:lnTo>
                        <a:pt x="147" y="306"/>
                      </a:lnTo>
                      <a:lnTo>
                        <a:pt x="147" y="307"/>
                      </a:lnTo>
                      <a:lnTo>
                        <a:pt x="148" y="308"/>
                      </a:lnTo>
                      <a:lnTo>
                        <a:pt x="148" y="308"/>
                      </a:lnTo>
                      <a:lnTo>
                        <a:pt x="148" y="308"/>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39" name="Freeform 49">
                  <a:extLst>
                    <a:ext uri="{FF2B5EF4-FFF2-40B4-BE49-F238E27FC236}">
                      <a16:creationId xmlns:a16="http://schemas.microsoft.com/office/drawing/2014/main" xmlns="" id="{F8DD99F3-94DC-1B1A-BE12-7A8791021F81}"/>
                    </a:ext>
                  </a:extLst>
                </p:cNvPr>
                <p:cNvSpPr>
                  <a:spLocks/>
                </p:cNvSpPr>
                <p:nvPr/>
              </p:nvSpPr>
              <p:spPr bwMode="auto">
                <a:xfrm>
                  <a:off x="2637" y="2382"/>
                  <a:ext cx="76" cy="455"/>
                </a:xfrm>
                <a:custGeom>
                  <a:avLst/>
                  <a:gdLst>
                    <a:gd name="T0" fmla="*/ 34 w 76"/>
                    <a:gd name="T1" fmla="*/ 7 h 455"/>
                    <a:gd name="T2" fmla="*/ 28 w 76"/>
                    <a:gd name="T3" fmla="*/ 13 h 455"/>
                    <a:gd name="T4" fmla="*/ 26 w 76"/>
                    <a:gd name="T5" fmla="*/ 21 h 455"/>
                    <a:gd name="T6" fmla="*/ 27 w 76"/>
                    <a:gd name="T7" fmla="*/ 28 h 455"/>
                    <a:gd name="T8" fmla="*/ 27 w 76"/>
                    <a:gd name="T9" fmla="*/ 38 h 455"/>
                    <a:gd name="T10" fmla="*/ 27 w 76"/>
                    <a:gd name="T11" fmla="*/ 47 h 455"/>
                    <a:gd name="T12" fmla="*/ 34 w 76"/>
                    <a:gd name="T13" fmla="*/ 53 h 455"/>
                    <a:gd name="T14" fmla="*/ 38 w 76"/>
                    <a:gd name="T15" fmla="*/ 61 h 455"/>
                    <a:gd name="T16" fmla="*/ 44 w 76"/>
                    <a:gd name="T17" fmla="*/ 70 h 455"/>
                    <a:gd name="T18" fmla="*/ 44 w 76"/>
                    <a:gd name="T19" fmla="*/ 80 h 455"/>
                    <a:gd name="T20" fmla="*/ 44 w 76"/>
                    <a:gd name="T21" fmla="*/ 88 h 455"/>
                    <a:gd name="T22" fmla="*/ 52 w 76"/>
                    <a:gd name="T23" fmla="*/ 94 h 455"/>
                    <a:gd name="T24" fmla="*/ 56 w 76"/>
                    <a:gd name="T25" fmla="*/ 102 h 455"/>
                    <a:gd name="T26" fmla="*/ 58 w 76"/>
                    <a:gd name="T27" fmla="*/ 113 h 455"/>
                    <a:gd name="T28" fmla="*/ 59 w 76"/>
                    <a:gd name="T29" fmla="*/ 123 h 455"/>
                    <a:gd name="T30" fmla="*/ 61 w 76"/>
                    <a:gd name="T31" fmla="*/ 134 h 455"/>
                    <a:gd name="T32" fmla="*/ 62 w 76"/>
                    <a:gd name="T33" fmla="*/ 144 h 455"/>
                    <a:gd name="T34" fmla="*/ 65 w 76"/>
                    <a:gd name="T35" fmla="*/ 153 h 455"/>
                    <a:gd name="T36" fmla="*/ 66 w 76"/>
                    <a:gd name="T37" fmla="*/ 162 h 455"/>
                    <a:gd name="T38" fmla="*/ 71 w 76"/>
                    <a:gd name="T39" fmla="*/ 168 h 455"/>
                    <a:gd name="T40" fmla="*/ 76 w 76"/>
                    <a:gd name="T41" fmla="*/ 177 h 455"/>
                    <a:gd name="T42" fmla="*/ 75 w 76"/>
                    <a:gd name="T43" fmla="*/ 186 h 455"/>
                    <a:gd name="T44" fmla="*/ 74 w 76"/>
                    <a:gd name="T45" fmla="*/ 194 h 455"/>
                    <a:gd name="T46" fmla="*/ 70 w 76"/>
                    <a:gd name="T47" fmla="*/ 203 h 455"/>
                    <a:gd name="T48" fmla="*/ 72 w 76"/>
                    <a:gd name="T49" fmla="*/ 210 h 455"/>
                    <a:gd name="T50" fmla="*/ 74 w 76"/>
                    <a:gd name="T51" fmla="*/ 221 h 455"/>
                    <a:gd name="T52" fmla="*/ 68 w 76"/>
                    <a:gd name="T53" fmla="*/ 229 h 455"/>
                    <a:gd name="T54" fmla="*/ 63 w 76"/>
                    <a:gd name="T55" fmla="*/ 235 h 455"/>
                    <a:gd name="T56" fmla="*/ 56 w 76"/>
                    <a:gd name="T57" fmla="*/ 241 h 455"/>
                    <a:gd name="T58" fmla="*/ 49 w 76"/>
                    <a:gd name="T59" fmla="*/ 244 h 455"/>
                    <a:gd name="T60" fmla="*/ 39 w 76"/>
                    <a:gd name="T61" fmla="*/ 243 h 455"/>
                    <a:gd name="T62" fmla="*/ 32 w 76"/>
                    <a:gd name="T63" fmla="*/ 244 h 455"/>
                    <a:gd name="T64" fmla="*/ 24 w 76"/>
                    <a:gd name="T65" fmla="*/ 248 h 455"/>
                    <a:gd name="T66" fmla="*/ 16 w 76"/>
                    <a:gd name="T67" fmla="*/ 258 h 455"/>
                    <a:gd name="T68" fmla="*/ 15 w 76"/>
                    <a:gd name="T69" fmla="*/ 268 h 455"/>
                    <a:gd name="T70" fmla="*/ 8 w 76"/>
                    <a:gd name="T71" fmla="*/ 273 h 455"/>
                    <a:gd name="T72" fmla="*/ 9 w 76"/>
                    <a:gd name="T73" fmla="*/ 283 h 455"/>
                    <a:gd name="T74" fmla="*/ 12 w 76"/>
                    <a:gd name="T75" fmla="*/ 292 h 455"/>
                    <a:gd name="T76" fmla="*/ 16 w 76"/>
                    <a:gd name="T77" fmla="*/ 301 h 455"/>
                    <a:gd name="T78" fmla="*/ 21 w 76"/>
                    <a:gd name="T79" fmla="*/ 306 h 455"/>
                    <a:gd name="T80" fmla="*/ 27 w 76"/>
                    <a:gd name="T81" fmla="*/ 314 h 455"/>
                    <a:gd name="T82" fmla="*/ 35 w 76"/>
                    <a:gd name="T83" fmla="*/ 320 h 455"/>
                    <a:gd name="T84" fmla="*/ 40 w 76"/>
                    <a:gd name="T85" fmla="*/ 328 h 455"/>
                    <a:gd name="T86" fmla="*/ 38 w 76"/>
                    <a:gd name="T87" fmla="*/ 338 h 455"/>
                    <a:gd name="T88" fmla="*/ 42 w 76"/>
                    <a:gd name="T89" fmla="*/ 347 h 455"/>
                    <a:gd name="T90" fmla="*/ 40 w 76"/>
                    <a:gd name="T91" fmla="*/ 356 h 455"/>
                    <a:gd name="T92" fmla="*/ 42 w 76"/>
                    <a:gd name="T93" fmla="*/ 364 h 455"/>
                    <a:gd name="T94" fmla="*/ 49 w 76"/>
                    <a:gd name="T95" fmla="*/ 369 h 455"/>
                    <a:gd name="T96" fmla="*/ 49 w 76"/>
                    <a:gd name="T97" fmla="*/ 376 h 455"/>
                    <a:gd name="T98" fmla="*/ 51 w 76"/>
                    <a:gd name="T99" fmla="*/ 382 h 455"/>
                    <a:gd name="T100" fmla="*/ 49 w 76"/>
                    <a:gd name="T101" fmla="*/ 388 h 455"/>
                    <a:gd name="T102" fmla="*/ 44 w 76"/>
                    <a:gd name="T103" fmla="*/ 396 h 455"/>
                    <a:gd name="T104" fmla="*/ 49 w 76"/>
                    <a:gd name="T105" fmla="*/ 402 h 455"/>
                    <a:gd name="T106" fmla="*/ 53 w 76"/>
                    <a:gd name="T107" fmla="*/ 408 h 455"/>
                    <a:gd name="T108" fmla="*/ 57 w 76"/>
                    <a:gd name="T109" fmla="*/ 416 h 455"/>
                    <a:gd name="T110" fmla="*/ 58 w 76"/>
                    <a:gd name="T111" fmla="*/ 425 h 455"/>
                    <a:gd name="T112" fmla="*/ 50 w 76"/>
                    <a:gd name="T113" fmla="*/ 429 h 455"/>
                    <a:gd name="T114" fmla="*/ 45 w 76"/>
                    <a:gd name="T115" fmla="*/ 434 h 455"/>
                    <a:gd name="T116" fmla="*/ 40 w 76"/>
                    <a:gd name="T117" fmla="*/ 441 h 455"/>
                    <a:gd name="T118" fmla="*/ 0 w 76"/>
                    <a:gd name="T119" fmla="*/ 443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455">
                      <a:moveTo>
                        <a:pt x="36" y="0"/>
                      </a:moveTo>
                      <a:lnTo>
                        <a:pt x="35" y="1"/>
                      </a:lnTo>
                      <a:lnTo>
                        <a:pt x="35" y="2"/>
                      </a:lnTo>
                      <a:lnTo>
                        <a:pt x="36" y="2"/>
                      </a:lnTo>
                      <a:lnTo>
                        <a:pt x="36" y="3"/>
                      </a:lnTo>
                      <a:lnTo>
                        <a:pt x="36" y="3"/>
                      </a:lnTo>
                      <a:lnTo>
                        <a:pt x="37" y="4"/>
                      </a:lnTo>
                      <a:lnTo>
                        <a:pt x="38" y="4"/>
                      </a:lnTo>
                      <a:lnTo>
                        <a:pt x="38" y="5"/>
                      </a:lnTo>
                      <a:lnTo>
                        <a:pt x="37" y="5"/>
                      </a:lnTo>
                      <a:lnTo>
                        <a:pt x="36" y="5"/>
                      </a:lnTo>
                      <a:lnTo>
                        <a:pt x="36" y="6"/>
                      </a:lnTo>
                      <a:lnTo>
                        <a:pt x="36" y="6"/>
                      </a:lnTo>
                      <a:lnTo>
                        <a:pt x="35" y="6"/>
                      </a:lnTo>
                      <a:lnTo>
                        <a:pt x="34" y="6"/>
                      </a:lnTo>
                      <a:lnTo>
                        <a:pt x="34" y="6"/>
                      </a:lnTo>
                      <a:lnTo>
                        <a:pt x="34" y="7"/>
                      </a:lnTo>
                      <a:lnTo>
                        <a:pt x="33" y="7"/>
                      </a:lnTo>
                      <a:lnTo>
                        <a:pt x="33" y="8"/>
                      </a:lnTo>
                      <a:lnTo>
                        <a:pt x="33" y="8"/>
                      </a:lnTo>
                      <a:lnTo>
                        <a:pt x="32" y="8"/>
                      </a:lnTo>
                      <a:lnTo>
                        <a:pt x="32" y="8"/>
                      </a:lnTo>
                      <a:lnTo>
                        <a:pt x="32" y="9"/>
                      </a:lnTo>
                      <a:lnTo>
                        <a:pt x="31" y="9"/>
                      </a:lnTo>
                      <a:lnTo>
                        <a:pt x="31" y="10"/>
                      </a:lnTo>
                      <a:lnTo>
                        <a:pt x="30" y="10"/>
                      </a:lnTo>
                      <a:lnTo>
                        <a:pt x="30" y="10"/>
                      </a:lnTo>
                      <a:lnTo>
                        <a:pt x="30" y="11"/>
                      </a:lnTo>
                      <a:lnTo>
                        <a:pt x="30" y="11"/>
                      </a:lnTo>
                      <a:lnTo>
                        <a:pt x="29" y="11"/>
                      </a:lnTo>
                      <a:lnTo>
                        <a:pt x="29" y="12"/>
                      </a:lnTo>
                      <a:lnTo>
                        <a:pt x="28" y="12"/>
                      </a:lnTo>
                      <a:lnTo>
                        <a:pt x="28" y="12"/>
                      </a:lnTo>
                      <a:lnTo>
                        <a:pt x="28" y="13"/>
                      </a:lnTo>
                      <a:lnTo>
                        <a:pt x="28" y="14"/>
                      </a:lnTo>
                      <a:lnTo>
                        <a:pt x="27" y="14"/>
                      </a:lnTo>
                      <a:lnTo>
                        <a:pt x="27" y="14"/>
                      </a:lnTo>
                      <a:lnTo>
                        <a:pt x="27" y="14"/>
                      </a:lnTo>
                      <a:lnTo>
                        <a:pt x="27" y="15"/>
                      </a:lnTo>
                      <a:lnTo>
                        <a:pt x="27" y="16"/>
                      </a:lnTo>
                      <a:lnTo>
                        <a:pt x="26" y="16"/>
                      </a:lnTo>
                      <a:lnTo>
                        <a:pt x="26" y="16"/>
                      </a:lnTo>
                      <a:lnTo>
                        <a:pt x="26" y="17"/>
                      </a:lnTo>
                      <a:lnTo>
                        <a:pt x="27" y="17"/>
                      </a:lnTo>
                      <a:lnTo>
                        <a:pt x="27" y="18"/>
                      </a:lnTo>
                      <a:lnTo>
                        <a:pt x="27" y="19"/>
                      </a:lnTo>
                      <a:lnTo>
                        <a:pt x="27" y="19"/>
                      </a:lnTo>
                      <a:lnTo>
                        <a:pt x="27" y="20"/>
                      </a:lnTo>
                      <a:lnTo>
                        <a:pt x="27" y="20"/>
                      </a:lnTo>
                      <a:lnTo>
                        <a:pt x="26" y="20"/>
                      </a:lnTo>
                      <a:lnTo>
                        <a:pt x="26" y="21"/>
                      </a:lnTo>
                      <a:lnTo>
                        <a:pt x="25" y="21"/>
                      </a:lnTo>
                      <a:lnTo>
                        <a:pt x="25" y="21"/>
                      </a:lnTo>
                      <a:lnTo>
                        <a:pt x="25" y="21"/>
                      </a:lnTo>
                      <a:lnTo>
                        <a:pt x="25" y="22"/>
                      </a:lnTo>
                      <a:lnTo>
                        <a:pt x="24" y="22"/>
                      </a:lnTo>
                      <a:lnTo>
                        <a:pt x="25" y="22"/>
                      </a:lnTo>
                      <a:lnTo>
                        <a:pt x="25" y="23"/>
                      </a:lnTo>
                      <a:lnTo>
                        <a:pt x="25" y="23"/>
                      </a:lnTo>
                      <a:lnTo>
                        <a:pt x="26" y="23"/>
                      </a:lnTo>
                      <a:lnTo>
                        <a:pt x="26" y="24"/>
                      </a:lnTo>
                      <a:lnTo>
                        <a:pt x="25" y="25"/>
                      </a:lnTo>
                      <a:lnTo>
                        <a:pt x="26" y="25"/>
                      </a:lnTo>
                      <a:lnTo>
                        <a:pt x="27" y="26"/>
                      </a:lnTo>
                      <a:lnTo>
                        <a:pt x="26" y="27"/>
                      </a:lnTo>
                      <a:lnTo>
                        <a:pt x="26" y="27"/>
                      </a:lnTo>
                      <a:lnTo>
                        <a:pt x="26" y="28"/>
                      </a:lnTo>
                      <a:lnTo>
                        <a:pt x="27" y="28"/>
                      </a:lnTo>
                      <a:lnTo>
                        <a:pt x="27" y="29"/>
                      </a:lnTo>
                      <a:lnTo>
                        <a:pt x="27" y="29"/>
                      </a:lnTo>
                      <a:lnTo>
                        <a:pt x="27" y="30"/>
                      </a:lnTo>
                      <a:lnTo>
                        <a:pt x="27" y="31"/>
                      </a:lnTo>
                      <a:lnTo>
                        <a:pt x="27" y="31"/>
                      </a:lnTo>
                      <a:lnTo>
                        <a:pt x="27" y="32"/>
                      </a:lnTo>
                      <a:lnTo>
                        <a:pt x="27" y="33"/>
                      </a:lnTo>
                      <a:lnTo>
                        <a:pt x="27" y="33"/>
                      </a:lnTo>
                      <a:lnTo>
                        <a:pt x="27" y="33"/>
                      </a:lnTo>
                      <a:lnTo>
                        <a:pt x="28" y="34"/>
                      </a:lnTo>
                      <a:lnTo>
                        <a:pt x="27" y="34"/>
                      </a:lnTo>
                      <a:lnTo>
                        <a:pt x="27" y="35"/>
                      </a:lnTo>
                      <a:lnTo>
                        <a:pt x="27" y="35"/>
                      </a:lnTo>
                      <a:lnTo>
                        <a:pt x="27" y="36"/>
                      </a:lnTo>
                      <a:lnTo>
                        <a:pt x="27" y="37"/>
                      </a:lnTo>
                      <a:lnTo>
                        <a:pt x="27" y="37"/>
                      </a:lnTo>
                      <a:lnTo>
                        <a:pt x="27" y="38"/>
                      </a:lnTo>
                      <a:lnTo>
                        <a:pt x="27" y="38"/>
                      </a:lnTo>
                      <a:lnTo>
                        <a:pt x="27" y="39"/>
                      </a:lnTo>
                      <a:lnTo>
                        <a:pt x="27" y="40"/>
                      </a:lnTo>
                      <a:lnTo>
                        <a:pt x="26" y="40"/>
                      </a:lnTo>
                      <a:lnTo>
                        <a:pt x="25" y="40"/>
                      </a:lnTo>
                      <a:lnTo>
                        <a:pt x="26" y="41"/>
                      </a:lnTo>
                      <a:lnTo>
                        <a:pt x="25" y="42"/>
                      </a:lnTo>
                      <a:lnTo>
                        <a:pt x="25" y="42"/>
                      </a:lnTo>
                      <a:lnTo>
                        <a:pt x="26" y="43"/>
                      </a:lnTo>
                      <a:lnTo>
                        <a:pt x="25" y="44"/>
                      </a:lnTo>
                      <a:lnTo>
                        <a:pt x="25" y="44"/>
                      </a:lnTo>
                      <a:lnTo>
                        <a:pt x="25" y="45"/>
                      </a:lnTo>
                      <a:lnTo>
                        <a:pt x="25" y="46"/>
                      </a:lnTo>
                      <a:lnTo>
                        <a:pt x="25" y="46"/>
                      </a:lnTo>
                      <a:lnTo>
                        <a:pt x="25" y="47"/>
                      </a:lnTo>
                      <a:lnTo>
                        <a:pt x="26" y="47"/>
                      </a:lnTo>
                      <a:lnTo>
                        <a:pt x="27" y="47"/>
                      </a:lnTo>
                      <a:lnTo>
                        <a:pt x="27" y="48"/>
                      </a:lnTo>
                      <a:lnTo>
                        <a:pt x="27" y="48"/>
                      </a:lnTo>
                      <a:lnTo>
                        <a:pt x="27" y="49"/>
                      </a:lnTo>
                      <a:lnTo>
                        <a:pt x="28" y="50"/>
                      </a:lnTo>
                      <a:lnTo>
                        <a:pt x="29" y="50"/>
                      </a:lnTo>
                      <a:lnTo>
                        <a:pt x="29" y="49"/>
                      </a:lnTo>
                      <a:lnTo>
                        <a:pt x="30" y="49"/>
                      </a:lnTo>
                      <a:lnTo>
                        <a:pt x="30" y="50"/>
                      </a:lnTo>
                      <a:lnTo>
                        <a:pt x="30" y="50"/>
                      </a:lnTo>
                      <a:lnTo>
                        <a:pt x="31" y="50"/>
                      </a:lnTo>
                      <a:lnTo>
                        <a:pt x="31" y="51"/>
                      </a:lnTo>
                      <a:lnTo>
                        <a:pt x="32" y="51"/>
                      </a:lnTo>
                      <a:lnTo>
                        <a:pt x="32" y="51"/>
                      </a:lnTo>
                      <a:lnTo>
                        <a:pt x="32" y="52"/>
                      </a:lnTo>
                      <a:lnTo>
                        <a:pt x="32" y="52"/>
                      </a:lnTo>
                      <a:lnTo>
                        <a:pt x="33" y="52"/>
                      </a:lnTo>
                      <a:lnTo>
                        <a:pt x="34" y="53"/>
                      </a:lnTo>
                      <a:lnTo>
                        <a:pt x="34" y="54"/>
                      </a:lnTo>
                      <a:lnTo>
                        <a:pt x="33" y="54"/>
                      </a:lnTo>
                      <a:lnTo>
                        <a:pt x="34" y="54"/>
                      </a:lnTo>
                      <a:lnTo>
                        <a:pt x="34" y="55"/>
                      </a:lnTo>
                      <a:lnTo>
                        <a:pt x="35" y="55"/>
                      </a:lnTo>
                      <a:lnTo>
                        <a:pt x="34" y="56"/>
                      </a:lnTo>
                      <a:lnTo>
                        <a:pt x="35" y="56"/>
                      </a:lnTo>
                      <a:lnTo>
                        <a:pt x="35" y="57"/>
                      </a:lnTo>
                      <a:lnTo>
                        <a:pt x="36" y="57"/>
                      </a:lnTo>
                      <a:lnTo>
                        <a:pt x="36" y="58"/>
                      </a:lnTo>
                      <a:lnTo>
                        <a:pt x="36" y="58"/>
                      </a:lnTo>
                      <a:lnTo>
                        <a:pt x="37" y="59"/>
                      </a:lnTo>
                      <a:lnTo>
                        <a:pt x="37" y="59"/>
                      </a:lnTo>
                      <a:lnTo>
                        <a:pt x="37" y="60"/>
                      </a:lnTo>
                      <a:lnTo>
                        <a:pt x="37" y="61"/>
                      </a:lnTo>
                      <a:lnTo>
                        <a:pt x="38" y="61"/>
                      </a:lnTo>
                      <a:lnTo>
                        <a:pt x="38" y="61"/>
                      </a:lnTo>
                      <a:lnTo>
                        <a:pt x="39" y="62"/>
                      </a:lnTo>
                      <a:lnTo>
                        <a:pt x="39" y="63"/>
                      </a:lnTo>
                      <a:lnTo>
                        <a:pt x="38" y="63"/>
                      </a:lnTo>
                      <a:lnTo>
                        <a:pt x="38" y="64"/>
                      </a:lnTo>
                      <a:lnTo>
                        <a:pt x="39" y="65"/>
                      </a:lnTo>
                      <a:lnTo>
                        <a:pt x="40" y="65"/>
                      </a:lnTo>
                      <a:lnTo>
                        <a:pt x="40" y="65"/>
                      </a:lnTo>
                      <a:lnTo>
                        <a:pt x="40" y="66"/>
                      </a:lnTo>
                      <a:lnTo>
                        <a:pt x="41" y="67"/>
                      </a:lnTo>
                      <a:lnTo>
                        <a:pt x="41" y="67"/>
                      </a:lnTo>
                      <a:lnTo>
                        <a:pt x="42" y="67"/>
                      </a:lnTo>
                      <a:lnTo>
                        <a:pt x="42" y="68"/>
                      </a:lnTo>
                      <a:lnTo>
                        <a:pt x="42" y="69"/>
                      </a:lnTo>
                      <a:lnTo>
                        <a:pt x="43" y="69"/>
                      </a:lnTo>
                      <a:lnTo>
                        <a:pt x="43" y="69"/>
                      </a:lnTo>
                      <a:lnTo>
                        <a:pt x="44" y="69"/>
                      </a:lnTo>
                      <a:lnTo>
                        <a:pt x="44" y="70"/>
                      </a:lnTo>
                      <a:lnTo>
                        <a:pt x="44" y="71"/>
                      </a:lnTo>
                      <a:lnTo>
                        <a:pt x="44" y="71"/>
                      </a:lnTo>
                      <a:lnTo>
                        <a:pt x="44" y="72"/>
                      </a:lnTo>
                      <a:lnTo>
                        <a:pt x="44" y="73"/>
                      </a:lnTo>
                      <a:lnTo>
                        <a:pt x="45" y="73"/>
                      </a:lnTo>
                      <a:lnTo>
                        <a:pt x="45" y="73"/>
                      </a:lnTo>
                      <a:lnTo>
                        <a:pt x="45" y="74"/>
                      </a:lnTo>
                      <a:lnTo>
                        <a:pt x="45" y="75"/>
                      </a:lnTo>
                      <a:lnTo>
                        <a:pt x="45" y="75"/>
                      </a:lnTo>
                      <a:lnTo>
                        <a:pt x="45" y="76"/>
                      </a:lnTo>
                      <a:lnTo>
                        <a:pt x="45" y="77"/>
                      </a:lnTo>
                      <a:lnTo>
                        <a:pt x="44" y="77"/>
                      </a:lnTo>
                      <a:lnTo>
                        <a:pt x="44" y="78"/>
                      </a:lnTo>
                      <a:lnTo>
                        <a:pt x="44" y="78"/>
                      </a:lnTo>
                      <a:lnTo>
                        <a:pt x="44" y="79"/>
                      </a:lnTo>
                      <a:lnTo>
                        <a:pt x="44" y="80"/>
                      </a:lnTo>
                      <a:lnTo>
                        <a:pt x="44" y="80"/>
                      </a:lnTo>
                      <a:lnTo>
                        <a:pt x="44" y="81"/>
                      </a:lnTo>
                      <a:lnTo>
                        <a:pt x="44" y="81"/>
                      </a:lnTo>
                      <a:lnTo>
                        <a:pt x="44" y="82"/>
                      </a:lnTo>
                      <a:lnTo>
                        <a:pt x="44" y="82"/>
                      </a:lnTo>
                      <a:lnTo>
                        <a:pt x="44" y="83"/>
                      </a:lnTo>
                      <a:lnTo>
                        <a:pt x="43" y="83"/>
                      </a:lnTo>
                      <a:lnTo>
                        <a:pt x="43" y="84"/>
                      </a:lnTo>
                      <a:lnTo>
                        <a:pt x="44" y="84"/>
                      </a:lnTo>
                      <a:lnTo>
                        <a:pt x="44" y="84"/>
                      </a:lnTo>
                      <a:lnTo>
                        <a:pt x="44" y="85"/>
                      </a:lnTo>
                      <a:lnTo>
                        <a:pt x="44" y="86"/>
                      </a:lnTo>
                      <a:lnTo>
                        <a:pt x="44" y="86"/>
                      </a:lnTo>
                      <a:lnTo>
                        <a:pt x="43" y="86"/>
                      </a:lnTo>
                      <a:lnTo>
                        <a:pt x="43" y="87"/>
                      </a:lnTo>
                      <a:lnTo>
                        <a:pt x="44" y="87"/>
                      </a:lnTo>
                      <a:lnTo>
                        <a:pt x="44" y="88"/>
                      </a:lnTo>
                      <a:lnTo>
                        <a:pt x="44" y="88"/>
                      </a:lnTo>
                      <a:lnTo>
                        <a:pt x="44" y="88"/>
                      </a:lnTo>
                      <a:lnTo>
                        <a:pt x="44" y="89"/>
                      </a:lnTo>
                      <a:lnTo>
                        <a:pt x="45" y="89"/>
                      </a:lnTo>
                      <a:lnTo>
                        <a:pt x="45" y="90"/>
                      </a:lnTo>
                      <a:lnTo>
                        <a:pt x="46" y="90"/>
                      </a:lnTo>
                      <a:lnTo>
                        <a:pt x="46" y="90"/>
                      </a:lnTo>
                      <a:lnTo>
                        <a:pt x="47" y="90"/>
                      </a:lnTo>
                      <a:lnTo>
                        <a:pt x="48" y="90"/>
                      </a:lnTo>
                      <a:lnTo>
                        <a:pt x="49" y="90"/>
                      </a:lnTo>
                      <a:lnTo>
                        <a:pt x="49" y="92"/>
                      </a:lnTo>
                      <a:lnTo>
                        <a:pt x="50" y="92"/>
                      </a:lnTo>
                      <a:lnTo>
                        <a:pt x="50" y="92"/>
                      </a:lnTo>
                      <a:lnTo>
                        <a:pt x="51" y="92"/>
                      </a:lnTo>
                      <a:lnTo>
                        <a:pt x="51" y="92"/>
                      </a:lnTo>
                      <a:lnTo>
                        <a:pt x="52" y="92"/>
                      </a:lnTo>
                      <a:lnTo>
                        <a:pt x="52" y="93"/>
                      </a:lnTo>
                      <a:lnTo>
                        <a:pt x="52" y="94"/>
                      </a:lnTo>
                      <a:lnTo>
                        <a:pt x="53" y="94"/>
                      </a:lnTo>
                      <a:lnTo>
                        <a:pt x="53" y="95"/>
                      </a:lnTo>
                      <a:lnTo>
                        <a:pt x="53" y="96"/>
                      </a:lnTo>
                      <a:lnTo>
                        <a:pt x="53" y="96"/>
                      </a:lnTo>
                      <a:lnTo>
                        <a:pt x="54" y="96"/>
                      </a:lnTo>
                      <a:lnTo>
                        <a:pt x="55" y="96"/>
                      </a:lnTo>
                      <a:lnTo>
                        <a:pt x="55" y="96"/>
                      </a:lnTo>
                      <a:lnTo>
                        <a:pt x="55" y="97"/>
                      </a:lnTo>
                      <a:lnTo>
                        <a:pt x="55" y="98"/>
                      </a:lnTo>
                      <a:lnTo>
                        <a:pt x="56" y="98"/>
                      </a:lnTo>
                      <a:lnTo>
                        <a:pt x="57" y="99"/>
                      </a:lnTo>
                      <a:lnTo>
                        <a:pt x="57" y="99"/>
                      </a:lnTo>
                      <a:lnTo>
                        <a:pt x="57" y="100"/>
                      </a:lnTo>
                      <a:lnTo>
                        <a:pt x="57" y="101"/>
                      </a:lnTo>
                      <a:lnTo>
                        <a:pt x="57" y="101"/>
                      </a:lnTo>
                      <a:lnTo>
                        <a:pt x="56" y="101"/>
                      </a:lnTo>
                      <a:lnTo>
                        <a:pt x="56" y="102"/>
                      </a:lnTo>
                      <a:lnTo>
                        <a:pt x="57" y="103"/>
                      </a:lnTo>
                      <a:lnTo>
                        <a:pt x="57" y="103"/>
                      </a:lnTo>
                      <a:lnTo>
                        <a:pt x="57" y="104"/>
                      </a:lnTo>
                      <a:lnTo>
                        <a:pt x="57" y="105"/>
                      </a:lnTo>
                      <a:lnTo>
                        <a:pt x="57" y="105"/>
                      </a:lnTo>
                      <a:lnTo>
                        <a:pt x="57" y="106"/>
                      </a:lnTo>
                      <a:lnTo>
                        <a:pt x="57" y="107"/>
                      </a:lnTo>
                      <a:lnTo>
                        <a:pt x="58" y="107"/>
                      </a:lnTo>
                      <a:lnTo>
                        <a:pt x="57" y="108"/>
                      </a:lnTo>
                      <a:lnTo>
                        <a:pt x="58" y="109"/>
                      </a:lnTo>
                      <a:lnTo>
                        <a:pt x="58" y="110"/>
                      </a:lnTo>
                      <a:lnTo>
                        <a:pt x="59" y="111"/>
                      </a:lnTo>
                      <a:lnTo>
                        <a:pt x="58" y="111"/>
                      </a:lnTo>
                      <a:lnTo>
                        <a:pt x="59" y="111"/>
                      </a:lnTo>
                      <a:lnTo>
                        <a:pt x="59" y="112"/>
                      </a:lnTo>
                      <a:lnTo>
                        <a:pt x="59" y="113"/>
                      </a:lnTo>
                      <a:lnTo>
                        <a:pt x="58" y="113"/>
                      </a:lnTo>
                      <a:lnTo>
                        <a:pt x="58" y="113"/>
                      </a:lnTo>
                      <a:lnTo>
                        <a:pt x="58" y="114"/>
                      </a:lnTo>
                      <a:lnTo>
                        <a:pt x="57" y="114"/>
                      </a:lnTo>
                      <a:lnTo>
                        <a:pt x="57" y="115"/>
                      </a:lnTo>
                      <a:lnTo>
                        <a:pt x="58" y="115"/>
                      </a:lnTo>
                      <a:lnTo>
                        <a:pt x="58" y="116"/>
                      </a:lnTo>
                      <a:lnTo>
                        <a:pt x="58" y="117"/>
                      </a:lnTo>
                      <a:lnTo>
                        <a:pt x="58" y="118"/>
                      </a:lnTo>
                      <a:lnTo>
                        <a:pt x="59" y="118"/>
                      </a:lnTo>
                      <a:lnTo>
                        <a:pt x="59" y="118"/>
                      </a:lnTo>
                      <a:lnTo>
                        <a:pt x="58" y="118"/>
                      </a:lnTo>
                      <a:lnTo>
                        <a:pt x="58" y="119"/>
                      </a:lnTo>
                      <a:lnTo>
                        <a:pt x="58" y="120"/>
                      </a:lnTo>
                      <a:lnTo>
                        <a:pt x="58" y="120"/>
                      </a:lnTo>
                      <a:lnTo>
                        <a:pt x="58" y="121"/>
                      </a:lnTo>
                      <a:lnTo>
                        <a:pt x="59" y="122"/>
                      </a:lnTo>
                      <a:lnTo>
                        <a:pt x="59" y="123"/>
                      </a:lnTo>
                      <a:lnTo>
                        <a:pt x="59" y="124"/>
                      </a:lnTo>
                      <a:lnTo>
                        <a:pt x="59" y="124"/>
                      </a:lnTo>
                      <a:lnTo>
                        <a:pt x="59" y="125"/>
                      </a:lnTo>
                      <a:lnTo>
                        <a:pt x="59" y="126"/>
                      </a:lnTo>
                      <a:lnTo>
                        <a:pt x="59" y="126"/>
                      </a:lnTo>
                      <a:lnTo>
                        <a:pt x="59" y="127"/>
                      </a:lnTo>
                      <a:lnTo>
                        <a:pt x="59" y="128"/>
                      </a:lnTo>
                      <a:lnTo>
                        <a:pt x="60" y="128"/>
                      </a:lnTo>
                      <a:lnTo>
                        <a:pt x="60" y="129"/>
                      </a:lnTo>
                      <a:lnTo>
                        <a:pt x="60" y="130"/>
                      </a:lnTo>
                      <a:lnTo>
                        <a:pt x="60" y="130"/>
                      </a:lnTo>
                      <a:lnTo>
                        <a:pt x="61" y="130"/>
                      </a:lnTo>
                      <a:lnTo>
                        <a:pt x="61" y="131"/>
                      </a:lnTo>
                      <a:lnTo>
                        <a:pt x="62" y="132"/>
                      </a:lnTo>
                      <a:lnTo>
                        <a:pt x="62" y="132"/>
                      </a:lnTo>
                      <a:lnTo>
                        <a:pt x="62" y="133"/>
                      </a:lnTo>
                      <a:lnTo>
                        <a:pt x="61" y="134"/>
                      </a:lnTo>
                      <a:lnTo>
                        <a:pt x="61" y="134"/>
                      </a:lnTo>
                      <a:lnTo>
                        <a:pt x="61" y="135"/>
                      </a:lnTo>
                      <a:lnTo>
                        <a:pt x="61" y="136"/>
                      </a:lnTo>
                      <a:lnTo>
                        <a:pt x="61" y="137"/>
                      </a:lnTo>
                      <a:lnTo>
                        <a:pt x="61" y="137"/>
                      </a:lnTo>
                      <a:lnTo>
                        <a:pt x="61" y="137"/>
                      </a:lnTo>
                      <a:lnTo>
                        <a:pt x="61" y="138"/>
                      </a:lnTo>
                      <a:lnTo>
                        <a:pt x="61" y="139"/>
                      </a:lnTo>
                      <a:lnTo>
                        <a:pt x="61" y="139"/>
                      </a:lnTo>
                      <a:lnTo>
                        <a:pt x="61" y="140"/>
                      </a:lnTo>
                      <a:lnTo>
                        <a:pt x="61" y="141"/>
                      </a:lnTo>
                      <a:lnTo>
                        <a:pt x="61" y="141"/>
                      </a:lnTo>
                      <a:lnTo>
                        <a:pt x="61" y="142"/>
                      </a:lnTo>
                      <a:lnTo>
                        <a:pt x="61" y="143"/>
                      </a:lnTo>
                      <a:lnTo>
                        <a:pt x="62" y="143"/>
                      </a:lnTo>
                      <a:lnTo>
                        <a:pt x="62" y="143"/>
                      </a:lnTo>
                      <a:lnTo>
                        <a:pt x="62" y="144"/>
                      </a:lnTo>
                      <a:lnTo>
                        <a:pt x="62" y="145"/>
                      </a:lnTo>
                      <a:lnTo>
                        <a:pt x="62" y="145"/>
                      </a:lnTo>
                      <a:lnTo>
                        <a:pt x="62" y="146"/>
                      </a:lnTo>
                      <a:lnTo>
                        <a:pt x="61" y="146"/>
                      </a:lnTo>
                      <a:lnTo>
                        <a:pt x="61" y="147"/>
                      </a:lnTo>
                      <a:lnTo>
                        <a:pt x="61" y="147"/>
                      </a:lnTo>
                      <a:lnTo>
                        <a:pt x="61" y="148"/>
                      </a:lnTo>
                      <a:lnTo>
                        <a:pt x="61" y="149"/>
                      </a:lnTo>
                      <a:lnTo>
                        <a:pt x="61" y="149"/>
                      </a:lnTo>
                      <a:lnTo>
                        <a:pt x="61" y="150"/>
                      </a:lnTo>
                      <a:lnTo>
                        <a:pt x="61" y="150"/>
                      </a:lnTo>
                      <a:lnTo>
                        <a:pt x="62" y="151"/>
                      </a:lnTo>
                      <a:lnTo>
                        <a:pt x="62" y="151"/>
                      </a:lnTo>
                      <a:lnTo>
                        <a:pt x="63" y="152"/>
                      </a:lnTo>
                      <a:lnTo>
                        <a:pt x="63" y="152"/>
                      </a:lnTo>
                      <a:lnTo>
                        <a:pt x="64" y="153"/>
                      </a:lnTo>
                      <a:lnTo>
                        <a:pt x="65" y="153"/>
                      </a:lnTo>
                      <a:lnTo>
                        <a:pt x="65" y="154"/>
                      </a:lnTo>
                      <a:lnTo>
                        <a:pt x="66" y="155"/>
                      </a:lnTo>
                      <a:lnTo>
                        <a:pt x="66" y="155"/>
                      </a:lnTo>
                      <a:lnTo>
                        <a:pt x="66" y="156"/>
                      </a:lnTo>
                      <a:lnTo>
                        <a:pt x="66" y="157"/>
                      </a:lnTo>
                      <a:lnTo>
                        <a:pt x="65" y="158"/>
                      </a:lnTo>
                      <a:lnTo>
                        <a:pt x="65" y="158"/>
                      </a:lnTo>
                      <a:lnTo>
                        <a:pt x="64" y="158"/>
                      </a:lnTo>
                      <a:lnTo>
                        <a:pt x="64" y="158"/>
                      </a:lnTo>
                      <a:lnTo>
                        <a:pt x="64" y="159"/>
                      </a:lnTo>
                      <a:lnTo>
                        <a:pt x="64" y="160"/>
                      </a:lnTo>
                      <a:lnTo>
                        <a:pt x="65" y="160"/>
                      </a:lnTo>
                      <a:lnTo>
                        <a:pt x="65" y="161"/>
                      </a:lnTo>
                      <a:lnTo>
                        <a:pt x="65" y="161"/>
                      </a:lnTo>
                      <a:lnTo>
                        <a:pt x="65" y="162"/>
                      </a:lnTo>
                      <a:lnTo>
                        <a:pt x="66" y="162"/>
                      </a:lnTo>
                      <a:lnTo>
                        <a:pt x="66" y="162"/>
                      </a:lnTo>
                      <a:lnTo>
                        <a:pt x="66" y="163"/>
                      </a:lnTo>
                      <a:lnTo>
                        <a:pt x="67" y="163"/>
                      </a:lnTo>
                      <a:lnTo>
                        <a:pt x="68" y="163"/>
                      </a:lnTo>
                      <a:lnTo>
                        <a:pt x="68" y="164"/>
                      </a:lnTo>
                      <a:lnTo>
                        <a:pt x="68" y="164"/>
                      </a:lnTo>
                      <a:lnTo>
                        <a:pt x="67" y="164"/>
                      </a:lnTo>
                      <a:lnTo>
                        <a:pt x="68" y="165"/>
                      </a:lnTo>
                      <a:lnTo>
                        <a:pt x="68" y="165"/>
                      </a:lnTo>
                      <a:lnTo>
                        <a:pt x="69" y="165"/>
                      </a:lnTo>
                      <a:lnTo>
                        <a:pt x="69" y="166"/>
                      </a:lnTo>
                      <a:lnTo>
                        <a:pt x="69" y="166"/>
                      </a:lnTo>
                      <a:lnTo>
                        <a:pt x="70" y="166"/>
                      </a:lnTo>
                      <a:lnTo>
                        <a:pt x="70" y="167"/>
                      </a:lnTo>
                      <a:lnTo>
                        <a:pt x="70" y="167"/>
                      </a:lnTo>
                      <a:lnTo>
                        <a:pt x="70" y="168"/>
                      </a:lnTo>
                      <a:lnTo>
                        <a:pt x="70" y="168"/>
                      </a:lnTo>
                      <a:lnTo>
                        <a:pt x="71" y="168"/>
                      </a:lnTo>
                      <a:lnTo>
                        <a:pt x="71" y="169"/>
                      </a:lnTo>
                      <a:lnTo>
                        <a:pt x="72" y="170"/>
                      </a:lnTo>
                      <a:lnTo>
                        <a:pt x="72" y="170"/>
                      </a:lnTo>
                      <a:lnTo>
                        <a:pt x="72" y="171"/>
                      </a:lnTo>
                      <a:lnTo>
                        <a:pt x="73" y="172"/>
                      </a:lnTo>
                      <a:lnTo>
                        <a:pt x="73" y="172"/>
                      </a:lnTo>
                      <a:lnTo>
                        <a:pt x="74" y="173"/>
                      </a:lnTo>
                      <a:lnTo>
                        <a:pt x="73" y="173"/>
                      </a:lnTo>
                      <a:lnTo>
                        <a:pt x="73" y="174"/>
                      </a:lnTo>
                      <a:lnTo>
                        <a:pt x="74" y="174"/>
                      </a:lnTo>
                      <a:lnTo>
                        <a:pt x="74" y="174"/>
                      </a:lnTo>
                      <a:lnTo>
                        <a:pt x="74" y="174"/>
                      </a:lnTo>
                      <a:lnTo>
                        <a:pt x="74" y="175"/>
                      </a:lnTo>
                      <a:lnTo>
                        <a:pt x="75" y="175"/>
                      </a:lnTo>
                      <a:lnTo>
                        <a:pt x="75" y="176"/>
                      </a:lnTo>
                      <a:lnTo>
                        <a:pt x="76" y="177"/>
                      </a:lnTo>
                      <a:lnTo>
                        <a:pt x="76" y="177"/>
                      </a:lnTo>
                      <a:lnTo>
                        <a:pt x="76" y="178"/>
                      </a:lnTo>
                      <a:lnTo>
                        <a:pt x="76" y="179"/>
                      </a:lnTo>
                      <a:lnTo>
                        <a:pt x="75" y="179"/>
                      </a:lnTo>
                      <a:lnTo>
                        <a:pt x="75" y="180"/>
                      </a:lnTo>
                      <a:lnTo>
                        <a:pt x="74" y="180"/>
                      </a:lnTo>
                      <a:lnTo>
                        <a:pt x="74" y="181"/>
                      </a:lnTo>
                      <a:lnTo>
                        <a:pt x="75" y="181"/>
                      </a:lnTo>
                      <a:lnTo>
                        <a:pt x="75" y="181"/>
                      </a:lnTo>
                      <a:lnTo>
                        <a:pt x="74" y="182"/>
                      </a:lnTo>
                      <a:lnTo>
                        <a:pt x="75" y="182"/>
                      </a:lnTo>
                      <a:lnTo>
                        <a:pt x="75" y="183"/>
                      </a:lnTo>
                      <a:lnTo>
                        <a:pt x="75" y="183"/>
                      </a:lnTo>
                      <a:lnTo>
                        <a:pt x="76" y="183"/>
                      </a:lnTo>
                      <a:lnTo>
                        <a:pt x="75" y="184"/>
                      </a:lnTo>
                      <a:lnTo>
                        <a:pt x="75" y="185"/>
                      </a:lnTo>
                      <a:lnTo>
                        <a:pt x="75" y="185"/>
                      </a:lnTo>
                      <a:lnTo>
                        <a:pt x="75" y="186"/>
                      </a:lnTo>
                      <a:lnTo>
                        <a:pt x="74" y="186"/>
                      </a:lnTo>
                      <a:lnTo>
                        <a:pt x="74" y="186"/>
                      </a:lnTo>
                      <a:lnTo>
                        <a:pt x="74" y="187"/>
                      </a:lnTo>
                      <a:lnTo>
                        <a:pt x="74" y="187"/>
                      </a:lnTo>
                      <a:lnTo>
                        <a:pt x="73" y="188"/>
                      </a:lnTo>
                      <a:lnTo>
                        <a:pt x="72" y="188"/>
                      </a:lnTo>
                      <a:lnTo>
                        <a:pt x="72" y="189"/>
                      </a:lnTo>
                      <a:lnTo>
                        <a:pt x="73" y="189"/>
                      </a:lnTo>
                      <a:lnTo>
                        <a:pt x="73" y="189"/>
                      </a:lnTo>
                      <a:lnTo>
                        <a:pt x="73" y="190"/>
                      </a:lnTo>
                      <a:lnTo>
                        <a:pt x="73" y="191"/>
                      </a:lnTo>
                      <a:lnTo>
                        <a:pt x="73" y="191"/>
                      </a:lnTo>
                      <a:lnTo>
                        <a:pt x="74" y="191"/>
                      </a:lnTo>
                      <a:lnTo>
                        <a:pt x="74" y="192"/>
                      </a:lnTo>
                      <a:lnTo>
                        <a:pt x="74" y="193"/>
                      </a:lnTo>
                      <a:lnTo>
                        <a:pt x="74" y="193"/>
                      </a:lnTo>
                      <a:lnTo>
                        <a:pt x="74" y="194"/>
                      </a:lnTo>
                      <a:lnTo>
                        <a:pt x="74" y="195"/>
                      </a:lnTo>
                      <a:lnTo>
                        <a:pt x="74" y="195"/>
                      </a:lnTo>
                      <a:lnTo>
                        <a:pt x="73" y="196"/>
                      </a:lnTo>
                      <a:lnTo>
                        <a:pt x="72" y="196"/>
                      </a:lnTo>
                      <a:lnTo>
                        <a:pt x="72" y="197"/>
                      </a:lnTo>
                      <a:lnTo>
                        <a:pt x="73" y="197"/>
                      </a:lnTo>
                      <a:lnTo>
                        <a:pt x="72" y="198"/>
                      </a:lnTo>
                      <a:lnTo>
                        <a:pt x="72" y="198"/>
                      </a:lnTo>
                      <a:lnTo>
                        <a:pt x="72" y="198"/>
                      </a:lnTo>
                      <a:lnTo>
                        <a:pt x="72" y="199"/>
                      </a:lnTo>
                      <a:lnTo>
                        <a:pt x="71" y="200"/>
                      </a:lnTo>
                      <a:lnTo>
                        <a:pt x="71" y="200"/>
                      </a:lnTo>
                      <a:lnTo>
                        <a:pt x="71" y="201"/>
                      </a:lnTo>
                      <a:lnTo>
                        <a:pt x="71" y="202"/>
                      </a:lnTo>
                      <a:lnTo>
                        <a:pt x="71" y="202"/>
                      </a:lnTo>
                      <a:lnTo>
                        <a:pt x="70" y="202"/>
                      </a:lnTo>
                      <a:lnTo>
                        <a:pt x="70" y="203"/>
                      </a:lnTo>
                      <a:lnTo>
                        <a:pt x="70" y="204"/>
                      </a:lnTo>
                      <a:lnTo>
                        <a:pt x="70" y="204"/>
                      </a:lnTo>
                      <a:lnTo>
                        <a:pt x="70" y="204"/>
                      </a:lnTo>
                      <a:lnTo>
                        <a:pt x="70" y="205"/>
                      </a:lnTo>
                      <a:lnTo>
                        <a:pt x="70" y="205"/>
                      </a:lnTo>
                      <a:lnTo>
                        <a:pt x="70" y="206"/>
                      </a:lnTo>
                      <a:lnTo>
                        <a:pt x="70" y="206"/>
                      </a:lnTo>
                      <a:lnTo>
                        <a:pt x="70" y="206"/>
                      </a:lnTo>
                      <a:lnTo>
                        <a:pt x="70" y="207"/>
                      </a:lnTo>
                      <a:lnTo>
                        <a:pt x="70" y="207"/>
                      </a:lnTo>
                      <a:lnTo>
                        <a:pt x="70" y="208"/>
                      </a:lnTo>
                      <a:lnTo>
                        <a:pt x="71" y="208"/>
                      </a:lnTo>
                      <a:lnTo>
                        <a:pt x="71" y="208"/>
                      </a:lnTo>
                      <a:lnTo>
                        <a:pt x="72" y="208"/>
                      </a:lnTo>
                      <a:lnTo>
                        <a:pt x="72" y="209"/>
                      </a:lnTo>
                      <a:lnTo>
                        <a:pt x="72" y="210"/>
                      </a:lnTo>
                      <a:lnTo>
                        <a:pt x="72" y="210"/>
                      </a:lnTo>
                      <a:lnTo>
                        <a:pt x="73" y="211"/>
                      </a:lnTo>
                      <a:lnTo>
                        <a:pt x="74" y="212"/>
                      </a:lnTo>
                      <a:lnTo>
                        <a:pt x="74" y="212"/>
                      </a:lnTo>
                      <a:lnTo>
                        <a:pt x="74" y="213"/>
                      </a:lnTo>
                      <a:lnTo>
                        <a:pt x="74" y="214"/>
                      </a:lnTo>
                      <a:lnTo>
                        <a:pt x="74" y="214"/>
                      </a:lnTo>
                      <a:lnTo>
                        <a:pt x="74" y="215"/>
                      </a:lnTo>
                      <a:lnTo>
                        <a:pt x="74" y="215"/>
                      </a:lnTo>
                      <a:lnTo>
                        <a:pt x="74" y="216"/>
                      </a:lnTo>
                      <a:lnTo>
                        <a:pt x="74" y="217"/>
                      </a:lnTo>
                      <a:lnTo>
                        <a:pt x="73" y="217"/>
                      </a:lnTo>
                      <a:lnTo>
                        <a:pt x="73" y="217"/>
                      </a:lnTo>
                      <a:lnTo>
                        <a:pt x="73" y="218"/>
                      </a:lnTo>
                      <a:lnTo>
                        <a:pt x="74" y="218"/>
                      </a:lnTo>
                      <a:lnTo>
                        <a:pt x="74" y="219"/>
                      </a:lnTo>
                      <a:lnTo>
                        <a:pt x="74" y="220"/>
                      </a:lnTo>
                      <a:lnTo>
                        <a:pt x="74" y="221"/>
                      </a:lnTo>
                      <a:lnTo>
                        <a:pt x="74" y="222"/>
                      </a:lnTo>
                      <a:lnTo>
                        <a:pt x="73" y="223"/>
                      </a:lnTo>
                      <a:lnTo>
                        <a:pt x="72" y="223"/>
                      </a:lnTo>
                      <a:lnTo>
                        <a:pt x="72" y="224"/>
                      </a:lnTo>
                      <a:lnTo>
                        <a:pt x="72" y="225"/>
                      </a:lnTo>
                      <a:lnTo>
                        <a:pt x="72" y="225"/>
                      </a:lnTo>
                      <a:lnTo>
                        <a:pt x="71" y="225"/>
                      </a:lnTo>
                      <a:lnTo>
                        <a:pt x="70" y="225"/>
                      </a:lnTo>
                      <a:lnTo>
                        <a:pt x="70" y="225"/>
                      </a:lnTo>
                      <a:lnTo>
                        <a:pt x="70" y="226"/>
                      </a:lnTo>
                      <a:lnTo>
                        <a:pt x="70" y="227"/>
                      </a:lnTo>
                      <a:lnTo>
                        <a:pt x="70" y="227"/>
                      </a:lnTo>
                      <a:lnTo>
                        <a:pt x="70" y="228"/>
                      </a:lnTo>
                      <a:lnTo>
                        <a:pt x="69" y="228"/>
                      </a:lnTo>
                      <a:lnTo>
                        <a:pt x="69" y="229"/>
                      </a:lnTo>
                      <a:lnTo>
                        <a:pt x="68" y="229"/>
                      </a:lnTo>
                      <a:lnTo>
                        <a:pt x="68" y="229"/>
                      </a:lnTo>
                      <a:lnTo>
                        <a:pt x="67" y="229"/>
                      </a:lnTo>
                      <a:lnTo>
                        <a:pt x="67" y="229"/>
                      </a:lnTo>
                      <a:lnTo>
                        <a:pt x="66" y="229"/>
                      </a:lnTo>
                      <a:lnTo>
                        <a:pt x="65" y="229"/>
                      </a:lnTo>
                      <a:lnTo>
                        <a:pt x="65" y="229"/>
                      </a:lnTo>
                      <a:lnTo>
                        <a:pt x="65" y="230"/>
                      </a:lnTo>
                      <a:lnTo>
                        <a:pt x="64" y="230"/>
                      </a:lnTo>
                      <a:lnTo>
                        <a:pt x="64" y="231"/>
                      </a:lnTo>
                      <a:lnTo>
                        <a:pt x="63" y="231"/>
                      </a:lnTo>
                      <a:lnTo>
                        <a:pt x="63" y="232"/>
                      </a:lnTo>
                      <a:lnTo>
                        <a:pt x="64" y="232"/>
                      </a:lnTo>
                      <a:lnTo>
                        <a:pt x="64" y="233"/>
                      </a:lnTo>
                      <a:lnTo>
                        <a:pt x="65" y="233"/>
                      </a:lnTo>
                      <a:lnTo>
                        <a:pt x="65" y="233"/>
                      </a:lnTo>
                      <a:lnTo>
                        <a:pt x="64" y="233"/>
                      </a:lnTo>
                      <a:lnTo>
                        <a:pt x="63" y="234"/>
                      </a:lnTo>
                      <a:lnTo>
                        <a:pt x="63" y="235"/>
                      </a:lnTo>
                      <a:lnTo>
                        <a:pt x="63" y="235"/>
                      </a:lnTo>
                      <a:lnTo>
                        <a:pt x="62" y="235"/>
                      </a:lnTo>
                      <a:lnTo>
                        <a:pt x="62" y="236"/>
                      </a:lnTo>
                      <a:lnTo>
                        <a:pt x="61" y="236"/>
                      </a:lnTo>
                      <a:lnTo>
                        <a:pt x="61" y="236"/>
                      </a:lnTo>
                      <a:lnTo>
                        <a:pt x="61" y="236"/>
                      </a:lnTo>
                      <a:lnTo>
                        <a:pt x="60" y="236"/>
                      </a:lnTo>
                      <a:lnTo>
                        <a:pt x="60" y="237"/>
                      </a:lnTo>
                      <a:lnTo>
                        <a:pt x="60" y="238"/>
                      </a:lnTo>
                      <a:lnTo>
                        <a:pt x="59" y="238"/>
                      </a:lnTo>
                      <a:lnTo>
                        <a:pt x="59" y="238"/>
                      </a:lnTo>
                      <a:lnTo>
                        <a:pt x="58" y="238"/>
                      </a:lnTo>
                      <a:lnTo>
                        <a:pt x="58" y="239"/>
                      </a:lnTo>
                      <a:lnTo>
                        <a:pt x="57" y="240"/>
                      </a:lnTo>
                      <a:lnTo>
                        <a:pt x="57" y="240"/>
                      </a:lnTo>
                      <a:lnTo>
                        <a:pt x="57" y="240"/>
                      </a:lnTo>
                      <a:lnTo>
                        <a:pt x="56" y="241"/>
                      </a:lnTo>
                      <a:lnTo>
                        <a:pt x="55" y="242"/>
                      </a:lnTo>
                      <a:lnTo>
                        <a:pt x="55" y="242"/>
                      </a:lnTo>
                      <a:lnTo>
                        <a:pt x="54" y="242"/>
                      </a:lnTo>
                      <a:lnTo>
                        <a:pt x="54" y="242"/>
                      </a:lnTo>
                      <a:lnTo>
                        <a:pt x="53" y="242"/>
                      </a:lnTo>
                      <a:lnTo>
                        <a:pt x="53" y="243"/>
                      </a:lnTo>
                      <a:lnTo>
                        <a:pt x="52" y="243"/>
                      </a:lnTo>
                      <a:lnTo>
                        <a:pt x="52" y="244"/>
                      </a:lnTo>
                      <a:lnTo>
                        <a:pt x="51" y="244"/>
                      </a:lnTo>
                      <a:lnTo>
                        <a:pt x="51" y="244"/>
                      </a:lnTo>
                      <a:lnTo>
                        <a:pt x="51" y="244"/>
                      </a:lnTo>
                      <a:lnTo>
                        <a:pt x="50" y="244"/>
                      </a:lnTo>
                      <a:lnTo>
                        <a:pt x="50" y="244"/>
                      </a:lnTo>
                      <a:lnTo>
                        <a:pt x="49" y="244"/>
                      </a:lnTo>
                      <a:lnTo>
                        <a:pt x="49" y="244"/>
                      </a:lnTo>
                      <a:lnTo>
                        <a:pt x="49" y="244"/>
                      </a:lnTo>
                      <a:lnTo>
                        <a:pt x="49" y="244"/>
                      </a:lnTo>
                      <a:lnTo>
                        <a:pt x="48" y="244"/>
                      </a:lnTo>
                      <a:lnTo>
                        <a:pt x="48" y="243"/>
                      </a:lnTo>
                      <a:lnTo>
                        <a:pt x="47" y="243"/>
                      </a:lnTo>
                      <a:lnTo>
                        <a:pt x="46" y="243"/>
                      </a:lnTo>
                      <a:lnTo>
                        <a:pt x="46" y="242"/>
                      </a:lnTo>
                      <a:lnTo>
                        <a:pt x="46" y="243"/>
                      </a:lnTo>
                      <a:lnTo>
                        <a:pt x="45" y="243"/>
                      </a:lnTo>
                      <a:lnTo>
                        <a:pt x="44" y="243"/>
                      </a:lnTo>
                      <a:lnTo>
                        <a:pt x="44" y="242"/>
                      </a:lnTo>
                      <a:lnTo>
                        <a:pt x="43" y="242"/>
                      </a:lnTo>
                      <a:lnTo>
                        <a:pt x="42" y="242"/>
                      </a:lnTo>
                      <a:lnTo>
                        <a:pt x="42" y="243"/>
                      </a:lnTo>
                      <a:lnTo>
                        <a:pt x="42" y="243"/>
                      </a:lnTo>
                      <a:lnTo>
                        <a:pt x="41" y="243"/>
                      </a:lnTo>
                      <a:lnTo>
                        <a:pt x="40" y="243"/>
                      </a:lnTo>
                      <a:lnTo>
                        <a:pt x="40" y="243"/>
                      </a:lnTo>
                      <a:lnTo>
                        <a:pt x="39" y="243"/>
                      </a:lnTo>
                      <a:lnTo>
                        <a:pt x="38" y="243"/>
                      </a:lnTo>
                      <a:lnTo>
                        <a:pt x="38" y="244"/>
                      </a:lnTo>
                      <a:lnTo>
                        <a:pt x="38" y="244"/>
                      </a:lnTo>
                      <a:lnTo>
                        <a:pt x="38" y="243"/>
                      </a:lnTo>
                      <a:lnTo>
                        <a:pt x="38" y="242"/>
                      </a:lnTo>
                      <a:lnTo>
                        <a:pt x="37" y="242"/>
                      </a:lnTo>
                      <a:lnTo>
                        <a:pt x="37" y="243"/>
                      </a:lnTo>
                      <a:lnTo>
                        <a:pt x="36" y="243"/>
                      </a:lnTo>
                      <a:lnTo>
                        <a:pt x="36" y="242"/>
                      </a:lnTo>
                      <a:lnTo>
                        <a:pt x="35" y="242"/>
                      </a:lnTo>
                      <a:lnTo>
                        <a:pt x="34" y="243"/>
                      </a:lnTo>
                      <a:lnTo>
                        <a:pt x="34" y="242"/>
                      </a:lnTo>
                      <a:lnTo>
                        <a:pt x="34" y="242"/>
                      </a:lnTo>
                      <a:lnTo>
                        <a:pt x="34" y="243"/>
                      </a:lnTo>
                      <a:lnTo>
                        <a:pt x="34" y="244"/>
                      </a:lnTo>
                      <a:lnTo>
                        <a:pt x="33" y="244"/>
                      </a:lnTo>
                      <a:lnTo>
                        <a:pt x="32" y="244"/>
                      </a:lnTo>
                      <a:lnTo>
                        <a:pt x="32" y="243"/>
                      </a:lnTo>
                      <a:lnTo>
                        <a:pt x="32" y="242"/>
                      </a:lnTo>
                      <a:lnTo>
                        <a:pt x="31" y="243"/>
                      </a:lnTo>
                      <a:lnTo>
                        <a:pt x="30" y="243"/>
                      </a:lnTo>
                      <a:lnTo>
                        <a:pt x="30" y="243"/>
                      </a:lnTo>
                      <a:lnTo>
                        <a:pt x="29" y="243"/>
                      </a:lnTo>
                      <a:lnTo>
                        <a:pt x="28" y="243"/>
                      </a:lnTo>
                      <a:lnTo>
                        <a:pt x="28" y="244"/>
                      </a:lnTo>
                      <a:lnTo>
                        <a:pt x="27" y="244"/>
                      </a:lnTo>
                      <a:lnTo>
                        <a:pt x="27" y="244"/>
                      </a:lnTo>
                      <a:lnTo>
                        <a:pt x="27" y="245"/>
                      </a:lnTo>
                      <a:lnTo>
                        <a:pt x="27" y="245"/>
                      </a:lnTo>
                      <a:lnTo>
                        <a:pt x="26" y="246"/>
                      </a:lnTo>
                      <a:lnTo>
                        <a:pt x="25" y="247"/>
                      </a:lnTo>
                      <a:lnTo>
                        <a:pt x="25" y="248"/>
                      </a:lnTo>
                      <a:lnTo>
                        <a:pt x="25" y="248"/>
                      </a:lnTo>
                      <a:lnTo>
                        <a:pt x="24" y="248"/>
                      </a:lnTo>
                      <a:lnTo>
                        <a:pt x="24" y="248"/>
                      </a:lnTo>
                      <a:lnTo>
                        <a:pt x="23" y="248"/>
                      </a:lnTo>
                      <a:lnTo>
                        <a:pt x="23" y="249"/>
                      </a:lnTo>
                      <a:lnTo>
                        <a:pt x="23" y="250"/>
                      </a:lnTo>
                      <a:lnTo>
                        <a:pt x="23" y="250"/>
                      </a:lnTo>
                      <a:lnTo>
                        <a:pt x="23" y="252"/>
                      </a:lnTo>
                      <a:lnTo>
                        <a:pt x="23" y="252"/>
                      </a:lnTo>
                      <a:lnTo>
                        <a:pt x="22" y="252"/>
                      </a:lnTo>
                      <a:lnTo>
                        <a:pt x="21" y="253"/>
                      </a:lnTo>
                      <a:lnTo>
                        <a:pt x="21" y="254"/>
                      </a:lnTo>
                      <a:lnTo>
                        <a:pt x="20" y="254"/>
                      </a:lnTo>
                      <a:lnTo>
                        <a:pt x="19" y="255"/>
                      </a:lnTo>
                      <a:lnTo>
                        <a:pt x="19" y="257"/>
                      </a:lnTo>
                      <a:lnTo>
                        <a:pt x="18" y="257"/>
                      </a:lnTo>
                      <a:lnTo>
                        <a:pt x="17" y="257"/>
                      </a:lnTo>
                      <a:lnTo>
                        <a:pt x="17" y="258"/>
                      </a:lnTo>
                      <a:lnTo>
                        <a:pt x="16" y="258"/>
                      </a:lnTo>
                      <a:lnTo>
                        <a:pt x="16" y="259"/>
                      </a:lnTo>
                      <a:lnTo>
                        <a:pt x="15" y="259"/>
                      </a:lnTo>
                      <a:lnTo>
                        <a:pt x="15" y="260"/>
                      </a:lnTo>
                      <a:lnTo>
                        <a:pt x="15" y="261"/>
                      </a:lnTo>
                      <a:lnTo>
                        <a:pt x="15" y="262"/>
                      </a:lnTo>
                      <a:lnTo>
                        <a:pt x="15" y="263"/>
                      </a:lnTo>
                      <a:lnTo>
                        <a:pt x="15" y="263"/>
                      </a:lnTo>
                      <a:lnTo>
                        <a:pt x="16" y="264"/>
                      </a:lnTo>
                      <a:lnTo>
                        <a:pt x="16" y="265"/>
                      </a:lnTo>
                      <a:lnTo>
                        <a:pt x="16" y="265"/>
                      </a:lnTo>
                      <a:lnTo>
                        <a:pt x="17" y="266"/>
                      </a:lnTo>
                      <a:lnTo>
                        <a:pt x="17" y="267"/>
                      </a:lnTo>
                      <a:lnTo>
                        <a:pt x="17" y="267"/>
                      </a:lnTo>
                      <a:lnTo>
                        <a:pt x="16" y="267"/>
                      </a:lnTo>
                      <a:lnTo>
                        <a:pt x="15" y="267"/>
                      </a:lnTo>
                      <a:lnTo>
                        <a:pt x="15" y="268"/>
                      </a:lnTo>
                      <a:lnTo>
                        <a:pt x="15" y="268"/>
                      </a:lnTo>
                      <a:lnTo>
                        <a:pt x="14" y="268"/>
                      </a:lnTo>
                      <a:lnTo>
                        <a:pt x="14" y="269"/>
                      </a:lnTo>
                      <a:lnTo>
                        <a:pt x="13" y="269"/>
                      </a:lnTo>
                      <a:lnTo>
                        <a:pt x="13" y="269"/>
                      </a:lnTo>
                      <a:lnTo>
                        <a:pt x="13" y="269"/>
                      </a:lnTo>
                      <a:lnTo>
                        <a:pt x="12" y="269"/>
                      </a:lnTo>
                      <a:lnTo>
                        <a:pt x="11" y="269"/>
                      </a:lnTo>
                      <a:lnTo>
                        <a:pt x="11" y="270"/>
                      </a:lnTo>
                      <a:lnTo>
                        <a:pt x="11" y="271"/>
                      </a:lnTo>
                      <a:lnTo>
                        <a:pt x="11" y="271"/>
                      </a:lnTo>
                      <a:lnTo>
                        <a:pt x="11" y="272"/>
                      </a:lnTo>
                      <a:lnTo>
                        <a:pt x="11" y="272"/>
                      </a:lnTo>
                      <a:lnTo>
                        <a:pt x="11" y="273"/>
                      </a:lnTo>
                      <a:lnTo>
                        <a:pt x="10" y="273"/>
                      </a:lnTo>
                      <a:lnTo>
                        <a:pt x="9" y="273"/>
                      </a:lnTo>
                      <a:lnTo>
                        <a:pt x="8" y="273"/>
                      </a:lnTo>
                      <a:lnTo>
                        <a:pt x="8" y="273"/>
                      </a:lnTo>
                      <a:lnTo>
                        <a:pt x="8" y="274"/>
                      </a:lnTo>
                      <a:lnTo>
                        <a:pt x="8" y="274"/>
                      </a:lnTo>
                      <a:lnTo>
                        <a:pt x="8" y="275"/>
                      </a:lnTo>
                      <a:lnTo>
                        <a:pt x="8" y="276"/>
                      </a:lnTo>
                      <a:lnTo>
                        <a:pt x="8" y="276"/>
                      </a:lnTo>
                      <a:lnTo>
                        <a:pt x="8" y="276"/>
                      </a:lnTo>
                      <a:lnTo>
                        <a:pt x="8" y="277"/>
                      </a:lnTo>
                      <a:lnTo>
                        <a:pt x="9" y="277"/>
                      </a:lnTo>
                      <a:lnTo>
                        <a:pt x="9" y="278"/>
                      </a:lnTo>
                      <a:lnTo>
                        <a:pt x="9" y="278"/>
                      </a:lnTo>
                      <a:lnTo>
                        <a:pt x="9" y="279"/>
                      </a:lnTo>
                      <a:lnTo>
                        <a:pt x="9" y="280"/>
                      </a:lnTo>
                      <a:lnTo>
                        <a:pt x="9" y="280"/>
                      </a:lnTo>
                      <a:lnTo>
                        <a:pt x="9" y="281"/>
                      </a:lnTo>
                      <a:lnTo>
                        <a:pt x="9" y="282"/>
                      </a:lnTo>
                      <a:lnTo>
                        <a:pt x="9" y="282"/>
                      </a:lnTo>
                      <a:lnTo>
                        <a:pt x="9" y="283"/>
                      </a:lnTo>
                      <a:lnTo>
                        <a:pt x="9" y="284"/>
                      </a:lnTo>
                      <a:lnTo>
                        <a:pt x="9" y="284"/>
                      </a:lnTo>
                      <a:lnTo>
                        <a:pt x="9" y="285"/>
                      </a:lnTo>
                      <a:lnTo>
                        <a:pt x="9" y="286"/>
                      </a:lnTo>
                      <a:lnTo>
                        <a:pt x="10" y="286"/>
                      </a:lnTo>
                      <a:lnTo>
                        <a:pt x="10" y="286"/>
                      </a:lnTo>
                      <a:lnTo>
                        <a:pt x="10" y="287"/>
                      </a:lnTo>
                      <a:lnTo>
                        <a:pt x="11" y="287"/>
                      </a:lnTo>
                      <a:lnTo>
                        <a:pt x="11" y="288"/>
                      </a:lnTo>
                      <a:lnTo>
                        <a:pt x="11" y="288"/>
                      </a:lnTo>
                      <a:lnTo>
                        <a:pt x="11" y="288"/>
                      </a:lnTo>
                      <a:lnTo>
                        <a:pt x="11" y="289"/>
                      </a:lnTo>
                      <a:lnTo>
                        <a:pt x="11" y="290"/>
                      </a:lnTo>
                      <a:lnTo>
                        <a:pt x="12" y="290"/>
                      </a:lnTo>
                      <a:lnTo>
                        <a:pt x="12" y="290"/>
                      </a:lnTo>
                      <a:lnTo>
                        <a:pt x="12" y="291"/>
                      </a:lnTo>
                      <a:lnTo>
                        <a:pt x="12" y="292"/>
                      </a:lnTo>
                      <a:lnTo>
                        <a:pt x="12" y="292"/>
                      </a:lnTo>
                      <a:lnTo>
                        <a:pt x="13" y="292"/>
                      </a:lnTo>
                      <a:lnTo>
                        <a:pt x="13" y="293"/>
                      </a:lnTo>
                      <a:lnTo>
                        <a:pt x="13" y="294"/>
                      </a:lnTo>
                      <a:lnTo>
                        <a:pt x="13" y="295"/>
                      </a:lnTo>
                      <a:lnTo>
                        <a:pt x="13" y="295"/>
                      </a:lnTo>
                      <a:lnTo>
                        <a:pt x="14" y="295"/>
                      </a:lnTo>
                      <a:lnTo>
                        <a:pt x="14" y="296"/>
                      </a:lnTo>
                      <a:lnTo>
                        <a:pt x="14" y="297"/>
                      </a:lnTo>
                      <a:lnTo>
                        <a:pt x="14" y="297"/>
                      </a:lnTo>
                      <a:lnTo>
                        <a:pt x="14" y="298"/>
                      </a:lnTo>
                      <a:lnTo>
                        <a:pt x="14" y="299"/>
                      </a:lnTo>
                      <a:lnTo>
                        <a:pt x="15" y="299"/>
                      </a:lnTo>
                      <a:lnTo>
                        <a:pt x="15" y="299"/>
                      </a:lnTo>
                      <a:lnTo>
                        <a:pt x="15" y="300"/>
                      </a:lnTo>
                      <a:lnTo>
                        <a:pt x="15" y="300"/>
                      </a:lnTo>
                      <a:lnTo>
                        <a:pt x="16" y="301"/>
                      </a:lnTo>
                      <a:lnTo>
                        <a:pt x="17" y="301"/>
                      </a:lnTo>
                      <a:lnTo>
                        <a:pt x="17" y="301"/>
                      </a:lnTo>
                      <a:lnTo>
                        <a:pt x="17" y="301"/>
                      </a:lnTo>
                      <a:lnTo>
                        <a:pt x="17" y="302"/>
                      </a:lnTo>
                      <a:lnTo>
                        <a:pt x="18" y="302"/>
                      </a:lnTo>
                      <a:lnTo>
                        <a:pt x="18" y="303"/>
                      </a:lnTo>
                      <a:lnTo>
                        <a:pt x="19" y="303"/>
                      </a:lnTo>
                      <a:lnTo>
                        <a:pt x="19" y="303"/>
                      </a:lnTo>
                      <a:lnTo>
                        <a:pt x="20" y="303"/>
                      </a:lnTo>
                      <a:lnTo>
                        <a:pt x="20" y="304"/>
                      </a:lnTo>
                      <a:lnTo>
                        <a:pt x="21" y="304"/>
                      </a:lnTo>
                      <a:lnTo>
                        <a:pt x="21" y="305"/>
                      </a:lnTo>
                      <a:lnTo>
                        <a:pt x="21" y="305"/>
                      </a:lnTo>
                      <a:lnTo>
                        <a:pt x="21" y="305"/>
                      </a:lnTo>
                      <a:lnTo>
                        <a:pt x="21" y="305"/>
                      </a:lnTo>
                      <a:lnTo>
                        <a:pt x="21" y="306"/>
                      </a:lnTo>
                      <a:lnTo>
                        <a:pt x="21" y="306"/>
                      </a:lnTo>
                      <a:lnTo>
                        <a:pt x="22" y="307"/>
                      </a:lnTo>
                      <a:lnTo>
                        <a:pt x="22" y="307"/>
                      </a:lnTo>
                      <a:lnTo>
                        <a:pt x="23" y="307"/>
                      </a:lnTo>
                      <a:lnTo>
                        <a:pt x="23" y="308"/>
                      </a:lnTo>
                      <a:lnTo>
                        <a:pt x="23" y="309"/>
                      </a:lnTo>
                      <a:lnTo>
                        <a:pt x="24" y="309"/>
                      </a:lnTo>
                      <a:lnTo>
                        <a:pt x="24" y="309"/>
                      </a:lnTo>
                      <a:lnTo>
                        <a:pt x="25" y="309"/>
                      </a:lnTo>
                      <a:lnTo>
                        <a:pt x="25" y="310"/>
                      </a:lnTo>
                      <a:lnTo>
                        <a:pt x="25" y="311"/>
                      </a:lnTo>
                      <a:lnTo>
                        <a:pt x="25" y="311"/>
                      </a:lnTo>
                      <a:lnTo>
                        <a:pt x="25" y="312"/>
                      </a:lnTo>
                      <a:lnTo>
                        <a:pt x="26" y="312"/>
                      </a:lnTo>
                      <a:lnTo>
                        <a:pt x="26" y="313"/>
                      </a:lnTo>
                      <a:lnTo>
                        <a:pt x="26" y="313"/>
                      </a:lnTo>
                      <a:lnTo>
                        <a:pt x="27" y="313"/>
                      </a:lnTo>
                      <a:lnTo>
                        <a:pt x="27" y="314"/>
                      </a:lnTo>
                      <a:lnTo>
                        <a:pt x="27" y="314"/>
                      </a:lnTo>
                      <a:lnTo>
                        <a:pt x="27" y="315"/>
                      </a:lnTo>
                      <a:lnTo>
                        <a:pt x="28" y="315"/>
                      </a:lnTo>
                      <a:lnTo>
                        <a:pt x="28" y="316"/>
                      </a:lnTo>
                      <a:lnTo>
                        <a:pt x="29" y="316"/>
                      </a:lnTo>
                      <a:lnTo>
                        <a:pt x="30" y="316"/>
                      </a:lnTo>
                      <a:lnTo>
                        <a:pt x="30" y="316"/>
                      </a:lnTo>
                      <a:lnTo>
                        <a:pt x="31" y="317"/>
                      </a:lnTo>
                      <a:lnTo>
                        <a:pt x="32" y="317"/>
                      </a:lnTo>
                      <a:lnTo>
                        <a:pt x="32" y="317"/>
                      </a:lnTo>
                      <a:lnTo>
                        <a:pt x="32" y="318"/>
                      </a:lnTo>
                      <a:lnTo>
                        <a:pt x="33" y="318"/>
                      </a:lnTo>
                      <a:lnTo>
                        <a:pt x="33" y="318"/>
                      </a:lnTo>
                      <a:lnTo>
                        <a:pt x="34" y="318"/>
                      </a:lnTo>
                      <a:lnTo>
                        <a:pt x="34" y="319"/>
                      </a:lnTo>
                      <a:lnTo>
                        <a:pt x="34" y="319"/>
                      </a:lnTo>
                      <a:lnTo>
                        <a:pt x="35" y="320"/>
                      </a:lnTo>
                      <a:lnTo>
                        <a:pt x="35" y="320"/>
                      </a:lnTo>
                      <a:lnTo>
                        <a:pt x="36" y="320"/>
                      </a:lnTo>
                      <a:lnTo>
                        <a:pt x="36" y="321"/>
                      </a:lnTo>
                      <a:lnTo>
                        <a:pt x="36" y="321"/>
                      </a:lnTo>
                      <a:lnTo>
                        <a:pt x="36" y="322"/>
                      </a:lnTo>
                      <a:lnTo>
                        <a:pt x="36" y="322"/>
                      </a:lnTo>
                      <a:lnTo>
                        <a:pt x="37" y="322"/>
                      </a:lnTo>
                      <a:lnTo>
                        <a:pt x="38" y="322"/>
                      </a:lnTo>
                      <a:lnTo>
                        <a:pt x="38" y="323"/>
                      </a:lnTo>
                      <a:lnTo>
                        <a:pt x="38" y="324"/>
                      </a:lnTo>
                      <a:lnTo>
                        <a:pt x="38" y="324"/>
                      </a:lnTo>
                      <a:lnTo>
                        <a:pt x="38" y="325"/>
                      </a:lnTo>
                      <a:lnTo>
                        <a:pt x="38" y="326"/>
                      </a:lnTo>
                      <a:lnTo>
                        <a:pt x="39" y="326"/>
                      </a:lnTo>
                      <a:lnTo>
                        <a:pt x="39" y="327"/>
                      </a:lnTo>
                      <a:lnTo>
                        <a:pt x="40" y="327"/>
                      </a:lnTo>
                      <a:lnTo>
                        <a:pt x="40" y="328"/>
                      </a:lnTo>
                      <a:lnTo>
                        <a:pt x="40" y="328"/>
                      </a:lnTo>
                      <a:lnTo>
                        <a:pt x="40" y="329"/>
                      </a:lnTo>
                      <a:lnTo>
                        <a:pt x="40" y="330"/>
                      </a:lnTo>
                      <a:lnTo>
                        <a:pt x="40" y="330"/>
                      </a:lnTo>
                      <a:lnTo>
                        <a:pt x="40" y="330"/>
                      </a:lnTo>
                      <a:lnTo>
                        <a:pt x="40" y="331"/>
                      </a:lnTo>
                      <a:lnTo>
                        <a:pt x="40" y="332"/>
                      </a:lnTo>
                      <a:lnTo>
                        <a:pt x="40" y="332"/>
                      </a:lnTo>
                      <a:lnTo>
                        <a:pt x="40" y="333"/>
                      </a:lnTo>
                      <a:lnTo>
                        <a:pt x="40" y="334"/>
                      </a:lnTo>
                      <a:lnTo>
                        <a:pt x="40" y="335"/>
                      </a:lnTo>
                      <a:lnTo>
                        <a:pt x="40" y="335"/>
                      </a:lnTo>
                      <a:lnTo>
                        <a:pt x="40" y="336"/>
                      </a:lnTo>
                      <a:lnTo>
                        <a:pt x="39" y="337"/>
                      </a:lnTo>
                      <a:lnTo>
                        <a:pt x="39" y="337"/>
                      </a:lnTo>
                      <a:lnTo>
                        <a:pt x="39" y="338"/>
                      </a:lnTo>
                      <a:lnTo>
                        <a:pt x="38" y="338"/>
                      </a:lnTo>
                      <a:lnTo>
                        <a:pt x="39" y="339"/>
                      </a:lnTo>
                      <a:lnTo>
                        <a:pt x="39" y="339"/>
                      </a:lnTo>
                      <a:lnTo>
                        <a:pt x="39" y="340"/>
                      </a:lnTo>
                      <a:lnTo>
                        <a:pt x="39" y="341"/>
                      </a:lnTo>
                      <a:lnTo>
                        <a:pt x="39" y="341"/>
                      </a:lnTo>
                      <a:lnTo>
                        <a:pt x="39" y="342"/>
                      </a:lnTo>
                      <a:lnTo>
                        <a:pt x="39" y="343"/>
                      </a:lnTo>
                      <a:lnTo>
                        <a:pt x="39" y="343"/>
                      </a:lnTo>
                      <a:lnTo>
                        <a:pt x="40" y="343"/>
                      </a:lnTo>
                      <a:lnTo>
                        <a:pt x="40" y="344"/>
                      </a:lnTo>
                      <a:lnTo>
                        <a:pt x="40" y="345"/>
                      </a:lnTo>
                      <a:lnTo>
                        <a:pt x="41" y="345"/>
                      </a:lnTo>
                      <a:lnTo>
                        <a:pt x="41" y="345"/>
                      </a:lnTo>
                      <a:lnTo>
                        <a:pt x="41" y="346"/>
                      </a:lnTo>
                      <a:lnTo>
                        <a:pt x="41" y="347"/>
                      </a:lnTo>
                      <a:lnTo>
                        <a:pt x="41" y="347"/>
                      </a:lnTo>
                      <a:lnTo>
                        <a:pt x="42" y="347"/>
                      </a:lnTo>
                      <a:lnTo>
                        <a:pt x="42" y="348"/>
                      </a:lnTo>
                      <a:lnTo>
                        <a:pt x="42" y="349"/>
                      </a:lnTo>
                      <a:lnTo>
                        <a:pt x="42" y="349"/>
                      </a:lnTo>
                      <a:lnTo>
                        <a:pt x="42" y="350"/>
                      </a:lnTo>
                      <a:lnTo>
                        <a:pt x="42" y="350"/>
                      </a:lnTo>
                      <a:lnTo>
                        <a:pt x="42" y="350"/>
                      </a:lnTo>
                      <a:lnTo>
                        <a:pt x="42" y="351"/>
                      </a:lnTo>
                      <a:lnTo>
                        <a:pt x="42" y="351"/>
                      </a:lnTo>
                      <a:lnTo>
                        <a:pt x="42" y="352"/>
                      </a:lnTo>
                      <a:lnTo>
                        <a:pt x="42" y="353"/>
                      </a:lnTo>
                      <a:lnTo>
                        <a:pt x="42" y="353"/>
                      </a:lnTo>
                      <a:lnTo>
                        <a:pt x="41" y="353"/>
                      </a:lnTo>
                      <a:lnTo>
                        <a:pt x="41" y="354"/>
                      </a:lnTo>
                      <a:lnTo>
                        <a:pt x="40" y="354"/>
                      </a:lnTo>
                      <a:lnTo>
                        <a:pt x="40" y="355"/>
                      </a:lnTo>
                      <a:lnTo>
                        <a:pt x="40" y="356"/>
                      </a:lnTo>
                      <a:lnTo>
                        <a:pt x="40" y="356"/>
                      </a:lnTo>
                      <a:lnTo>
                        <a:pt x="40" y="356"/>
                      </a:lnTo>
                      <a:lnTo>
                        <a:pt x="40" y="357"/>
                      </a:lnTo>
                      <a:lnTo>
                        <a:pt x="40" y="358"/>
                      </a:lnTo>
                      <a:lnTo>
                        <a:pt x="40" y="358"/>
                      </a:lnTo>
                      <a:lnTo>
                        <a:pt x="40" y="359"/>
                      </a:lnTo>
                      <a:lnTo>
                        <a:pt x="40" y="360"/>
                      </a:lnTo>
                      <a:lnTo>
                        <a:pt x="39" y="360"/>
                      </a:lnTo>
                      <a:lnTo>
                        <a:pt x="40" y="360"/>
                      </a:lnTo>
                      <a:lnTo>
                        <a:pt x="40" y="361"/>
                      </a:lnTo>
                      <a:lnTo>
                        <a:pt x="40" y="362"/>
                      </a:lnTo>
                      <a:lnTo>
                        <a:pt x="40" y="362"/>
                      </a:lnTo>
                      <a:lnTo>
                        <a:pt x="40" y="363"/>
                      </a:lnTo>
                      <a:lnTo>
                        <a:pt x="40" y="364"/>
                      </a:lnTo>
                      <a:lnTo>
                        <a:pt x="40" y="364"/>
                      </a:lnTo>
                      <a:lnTo>
                        <a:pt x="41" y="364"/>
                      </a:lnTo>
                      <a:lnTo>
                        <a:pt x="41" y="364"/>
                      </a:lnTo>
                      <a:lnTo>
                        <a:pt x="42" y="364"/>
                      </a:lnTo>
                      <a:lnTo>
                        <a:pt x="42" y="365"/>
                      </a:lnTo>
                      <a:lnTo>
                        <a:pt x="42" y="365"/>
                      </a:lnTo>
                      <a:lnTo>
                        <a:pt x="42" y="366"/>
                      </a:lnTo>
                      <a:lnTo>
                        <a:pt x="43" y="366"/>
                      </a:lnTo>
                      <a:lnTo>
                        <a:pt x="43" y="366"/>
                      </a:lnTo>
                      <a:lnTo>
                        <a:pt x="44" y="366"/>
                      </a:lnTo>
                      <a:lnTo>
                        <a:pt x="44" y="366"/>
                      </a:lnTo>
                      <a:lnTo>
                        <a:pt x="44" y="367"/>
                      </a:lnTo>
                      <a:lnTo>
                        <a:pt x="45" y="367"/>
                      </a:lnTo>
                      <a:lnTo>
                        <a:pt x="46" y="367"/>
                      </a:lnTo>
                      <a:lnTo>
                        <a:pt x="46" y="368"/>
                      </a:lnTo>
                      <a:lnTo>
                        <a:pt x="46" y="368"/>
                      </a:lnTo>
                      <a:lnTo>
                        <a:pt x="46" y="368"/>
                      </a:lnTo>
                      <a:lnTo>
                        <a:pt x="47" y="368"/>
                      </a:lnTo>
                      <a:lnTo>
                        <a:pt x="48" y="368"/>
                      </a:lnTo>
                      <a:lnTo>
                        <a:pt x="48" y="369"/>
                      </a:lnTo>
                      <a:lnTo>
                        <a:pt x="49" y="369"/>
                      </a:lnTo>
                      <a:lnTo>
                        <a:pt x="49" y="369"/>
                      </a:lnTo>
                      <a:lnTo>
                        <a:pt x="49" y="370"/>
                      </a:lnTo>
                      <a:lnTo>
                        <a:pt x="50" y="370"/>
                      </a:lnTo>
                      <a:lnTo>
                        <a:pt x="51" y="370"/>
                      </a:lnTo>
                      <a:lnTo>
                        <a:pt x="51" y="370"/>
                      </a:lnTo>
                      <a:lnTo>
                        <a:pt x="51" y="370"/>
                      </a:lnTo>
                      <a:lnTo>
                        <a:pt x="51" y="371"/>
                      </a:lnTo>
                      <a:lnTo>
                        <a:pt x="51" y="372"/>
                      </a:lnTo>
                      <a:lnTo>
                        <a:pt x="51" y="372"/>
                      </a:lnTo>
                      <a:lnTo>
                        <a:pt x="51" y="373"/>
                      </a:lnTo>
                      <a:lnTo>
                        <a:pt x="51" y="373"/>
                      </a:lnTo>
                      <a:lnTo>
                        <a:pt x="51" y="374"/>
                      </a:lnTo>
                      <a:lnTo>
                        <a:pt x="51" y="375"/>
                      </a:lnTo>
                      <a:lnTo>
                        <a:pt x="51" y="375"/>
                      </a:lnTo>
                      <a:lnTo>
                        <a:pt x="51" y="376"/>
                      </a:lnTo>
                      <a:lnTo>
                        <a:pt x="50" y="376"/>
                      </a:lnTo>
                      <a:lnTo>
                        <a:pt x="49" y="376"/>
                      </a:lnTo>
                      <a:lnTo>
                        <a:pt x="49" y="376"/>
                      </a:lnTo>
                      <a:lnTo>
                        <a:pt x="48" y="376"/>
                      </a:lnTo>
                      <a:lnTo>
                        <a:pt x="48" y="377"/>
                      </a:lnTo>
                      <a:lnTo>
                        <a:pt x="47" y="377"/>
                      </a:lnTo>
                      <a:lnTo>
                        <a:pt x="47" y="377"/>
                      </a:lnTo>
                      <a:lnTo>
                        <a:pt x="47" y="378"/>
                      </a:lnTo>
                      <a:lnTo>
                        <a:pt x="48" y="379"/>
                      </a:lnTo>
                      <a:lnTo>
                        <a:pt x="49" y="379"/>
                      </a:lnTo>
                      <a:lnTo>
                        <a:pt x="49" y="379"/>
                      </a:lnTo>
                      <a:lnTo>
                        <a:pt x="50" y="379"/>
                      </a:lnTo>
                      <a:lnTo>
                        <a:pt x="50" y="379"/>
                      </a:lnTo>
                      <a:lnTo>
                        <a:pt x="51" y="379"/>
                      </a:lnTo>
                      <a:lnTo>
                        <a:pt x="51" y="380"/>
                      </a:lnTo>
                      <a:lnTo>
                        <a:pt x="51" y="380"/>
                      </a:lnTo>
                      <a:lnTo>
                        <a:pt x="51" y="381"/>
                      </a:lnTo>
                      <a:lnTo>
                        <a:pt x="51" y="381"/>
                      </a:lnTo>
                      <a:lnTo>
                        <a:pt x="51" y="382"/>
                      </a:lnTo>
                      <a:lnTo>
                        <a:pt x="51" y="383"/>
                      </a:lnTo>
                      <a:lnTo>
                        <a:pt x="51" y="383"/>
                      </a:lnTo>
                      <a:lnTo>
                        <a:pt x="51" y="384"/>
                      </a:lnTo>
                      <a:lnTo>
                        <a:pt x="51" y="385"/>
                      </a:lnTo>
                      <a:lnTo>
                        <a:pt x="50" y="385"/>
                      </a:lnTo>
                      <a:lnTo>
                        <a:pt x="50" y="385"/>
                      </a:lnTo>
                      <a:lnTo>
                        <a:pt x="50" y="386"/>
                      </a:lnTo>
                      <a:lnTo>
                        <a:pt x="49" y="387"/>
                      </a:lnTo>
                      <a:lnTo>
                        <a:pt x="50" y="387"/>
                      </a:lnTo>
                      <a:lnTo>
                        <a:pt x="50" y="387"/>
                      </a:lnTo>
                      <a:lnTo>
                        <a:pt x="50" y="388"/>
                      </a:lnTo>
                      <a:lnTo>
                        <a:pt x="51" y="388"/>
                      </a:lnTo>
                      <a:lnTo>
                        <a:pt x="51" y="389"/>
                      </a:lnTo>
                      <a:lnTo>
                        <a:pt x="50" y="389"/>
                      </a:lnTo>
                      <a:lnTo>
                        <a:pt x="49" y="389"/>
                      </a:lnTo>
                      <a:lnTo>
                        <a:pt x="49" y="388"/>
                      </a:lnTo>
                      <a:lnTo>
                        <a:pt x="49" y="388"/>
                      </a:lnTo>
                      <a:lnTo>
                        <a:pt x="49" y="389"/>
                      </a:lnTo>
                      <a:lnTo>
                        <a:pt x="48" y="389"/>
                      </a:lnTo>
                      <a:lnTo>
                        <a:pt x="47" y="389"/>
                      </a:lnTo>
                      <a:lnTo>
                        <a:pt x="46" y="389"/>
                      </a:lnTo>
                      <a:lnTo>
                        <a:pt x="46" y="389"/>
                      </a:lnTo>
                      <a:lnTo>
                        <a:pt x="46" y="390"/>
                      </a:lnTo>
                      <a:lnTo>
                        <a:pt x="46" y="391"/>
                      </a:lnTo>
                      <a:lnTo>
                        <a:pt x="46" y="391"/>
                      </a:lnTo>
                      <a:lnTo>
                        <a:pt x="46" y="392"/>
                      </a:lnTo>
                      <a:lnTo>
                        <a:pt x="46" y="393"/>
                      </a:lnTo>
                      <a:lnTo>
                        <a:pt x="46" y="394"/>
                      </a:lnTo>
                      <a:lnTo>
                        <a:pt x="45" y="394"/>
                      </a:lnTo>
                      <a:lnTo>
                        <a:pt x="45" y="394"/>
                      </a:lnTo>
                      <a:lnTo>
                        <a:pt x="44" y="394"/>
                      </a:lnTo>
                      <a:lnTo>
                        <a:pt x="44" y="395"/>
                      </a:lnTo>
                      <a:lnTo>
                        <a:pt x="44" y="395"/>
                      </a:lnTo>
                      <a:lnTo>
                        <a:pt x="44" y="396"/>
                      </a:lnTo>
                      <a:lnTo>
                        <a:pt x="44" y="396"/>
                      </a:lnTo>
                      <a:lnTo>
                        <a:pt x="43" y="396"/>
                      </a:lnTo>
                      <a:lnTo>
                        <a:pt x="43" y="397"/>
                      </a:lnTo>
                      <a:lnTo>
                        <a:pt x="44" y="398"/>
                      </a:lnTo>
                      <a:lnTo>
                        <a:pt x="44" y="398"/>
                      </a:lnTo>
                      <a:lnTo>
                        <a:pt x="44" y="399"/>
                      </a:lnTo>
                      <a:lnTo>
                        <a:pt x="44" y="399"/>
                      </a:lnTo>
                      <a:lnTo>
                        <a:pt x="44" y="400"/>
                      </a:lnTo>
                      <a:lnTo>
                        <a:pt x="45" y="400"/>
                      </a:lnTo>
                      <a:lnTo>
                        <a:pt x="46" y="400"/>
                      </a:lnTo>
                      <a:lnTo>
                        <a:pt x="46" y="401"/>
                      </a:lnTo>
                      <a:lnTo>
                        <a:pt x="46" y="401"/>
                      </a:lnTo>
                      <a:lnTo>
                        <a:pt x="46" y="402"/>
                      </a:lnTo>
                      <a:lnTo>
                        <a:pt x="47" y="402"/>
                      </a:lnTo>
                      <a:lnTo>
                        <a:pt x="48" y="402"/>
                      </a:lnTo>
                      <a:lnTo>
                        <a:pt x="49" y="402"/>
                      </a:lnTo>
                      <a:lnTo>
                        <a:pt x="49" y="402"/>
                      </a:lnTo>
                      <a:lnTo>
                        <a:pt x="50" y="402"/>
                      </a:lnTo>
                      <a:lnTo>
                        <a:pt x="50" y="403"/>
                      </a:lnTo>
                      <a:lnTo>
                        <a:pt x="51" y="403"/>
                      </a:lnTo>
                      <a:lnTo>
                        <a:pt x="51" y="403"/>
                      </a:lnTo>
                      <a:lnTo>
                        <a:pt x="52" y="403"/>
                      </a:lnTo>
                      <a:lnTo>
                        <a:pt x="52" y="404"/>
                      </a:lnTo>
                      <a:lnTo>
                        <a:pt x="53" y="404"/>
                      </a:lnTo>
                      <a:lnTo>
                        <a:pt x="53" y="404"/>
                      </a:lnTo>
                      <a:lnTo>
                        <a:pt x="53" y="405"/>
                      </a:lnTo>
                      <a:lnTo>
                        <a:pt x="53" y="405"/>
                      </a:lnTo>
                      <a:lnTo>
                        <a:pt x="53" y="406"/>
                      </a:lnTo>
                      <a:lnTo>
                        <a:pt x="54" y="406"/>
                      </a:lnTo>
                      <a:lnTo>
                        <a:pt x="54" y="406"/>
                      </a:lnTo>
                      <a:lnTo>
                        <a:pt x="54" y="407"/>
                      </a:lnTo>
                      <a:lnTo>
                        <a:pt x="54" y="408"/>
                      </a:lnTo>
                      <a:lnTo>
                        <a:pt x="54" y="408"/>
                      </a:lnTo>
                      <a:lnTo>
                        <a:pt x="53" y="408"/>
                      </a:lnTo>
                      <a:lnTo>
                        <a:pt x="54" y="408"/>
                      </a:lnTo>
                      <a:lnTo>
                        <a:pt x="54" y="409"/>
                      </a:lnTo>
                      <a:lnTo>
                        <a:pt x="53" y="409"/>
                      </a:lnTo>
                      <a:lnTo>
                        <a:pt x="54" y="409"/>
                      </a:lnTo>
                      <a:lnTo>
                        <a:pt x="54" y="410"/>
                      </a:lnTo>
                      <a:lnTo>
                        <a:pt x="54" y="410"/>
                      </a:lnTo>
                      <a:lnTo>
                        <a:pt x="54" y="411"/>
                      </a:lnTo>
                      <a:lnTo>
                        <a:pt x="54" y="412"/>
                      </a:lnTo>
                      <a:lnTo>
                        <a:pt x="54" y="412"/>
                      </a:lnTo>
                      <a:lnTo>
                        <a:pt x="55" y="413"/>
                      </a:lnTo>
                      <a:lnTo>
                        <a:pt x="55" y="413"/>
                      </a:lnTo>
                      <a:lnTo>
                        <a:pt x="55" y="414"/>
                      </a:lnTo>
                      <a:lnTo>
                        <a:pt x="55" y="415"/>
                      </a:lnTo>
                      <a:lnTo>
                        <a:pt x="56" y="415"/>
                      </a:lnTo>
                      <a:lnTo>
                        <a:pt x="56" y="415"/>
                      </a:lnTo>
                      <a:lnTo>
                        <a:pt x="56" y="416"/>
                      </a:lnTo>
                      <a:lnTo>
                        <a:pt x="57" y="416"/>
                      </a:lnTo>
                      <a:lnTo>
                        <a:pt x="57" y="417"/>
                      </a:lnTo>
                      <a:lnTo>
                        <a:pt x="57" y="417"/>
                      </a:lnTo>
                      <a:lnTo>
                        <a:pt x="57" y="417"/>
                      </a:lnTo>
                      <a:lnTo>
                        <a:pt x="57" y="418"/>
                      </a:lnTo>
                      <a:lnTo>
                        <a:pt x="57" y="419"/>
                      </a:lnTo>
                      <a:lnTo>
                        <a:pt x="58" y="419"/>
                      </a:lnTo>
                      <a:lnTo>
                        <a:pt x="58" y="419"/>
                      </a:lnTo>
                      <a:lnTo>
                        <a:pt x="59" y="419"/>
                      </a:lnTo>
                      <a:lnTo>
                        <a:pt x="59" y="420"/>
                      </a:lnTo>
                      <a:lnTo>
                        <a:pt x="59" y="420"/>
                      </a:lnTo>
                      <a:lnTo>
                        <a:pt x="59" y="421"/>
                      </a:lnTo>
                      <a:lnTo>
                        <a:pt x="59" y="421"/>
                      </a:lnTo>
                      <a:lnTo>
                        <a:pt x="59" y="422"/>
                      </a:lnTo>
                      <a:lnTo>
                        <a:pt x="59" y="423"/>
                      </a:lnTo>
                      <a:lnTo>
                        <a:pt x="59" y="423"/>
                      </a:lnTo>
                      <a:lnTo>
                        <a:pt x="58" y="424"/>
                      </a:lnTo>
                      <a:lnTo>
                        <a:pt x="58" y="425"/>
                      </a:lnTo>
                      <a:lnTo>
                        <a:pt x="57" y="425"/>
                      </a:lnTo>
                      <a:lnTo>
                        <a:pt x="57" y="425"/>
                      </a:lnTo>
                      <a:lnTo>
                        <a:pt x="57" y="425"/>
                      </a:lnTo>
                      <a:lnTo>
                        <a:pt x="57" y="426"/>
                      </a:lnTo>
                      <a:lnTo>
                        <a:pt x="56" y="426"/>
                      </a:lnTo>
                      <a:lnTo>
                        <a:pt x="55" y="426"/>
                      </a:lnTo>
                      <a:lnTo>
                        <a:pt x="55" y="426"/>
                      </a:lnTo>
                      <a:lnTo>
                        <a:pt x="54" y="426"/>
                      </a:lnTo>
                      <a:lnTo>
                        <a:pt x="54" y="427"/>
                      </a:lnTo>
                      <a:lnTo>
                        <a:pt x="54" y="427"/>
                      </a:lnTo>
                      <a:lnTo>
                        <a:pt x="53" y="427"/>
                      </a:lnTo>
                      <a:lnTo>
                        <a:pt x="53" y="427"/>
                      </a:lnTo>
                      <a:lnTo>
                        <a:pt x="52" y="428"/>
                      </a:lnTo>
                      <a:lnTo>
                        <a:pt x="51" y="428"/>
                      </a:lnTo>
                      <a:lnTo>
                        <a:pt x="51" y="428"/>
                      </a:lnTo>
                      <a:lnTo>
                        <a:pt x="50" y="428"/>
                      </a:lnTo>
                      <a:lnTo>
                        <a:pt x="50" y="429"/>
                      </a:lnTo>
                      <a:lnTo>
                        <a:pt x="49" y="429"/>
                      </a:lnTo>
                      <a:lnTo>
                        <a:pt x="49" y="429"/>
                      </a:lnTo>
                      <a:lnTo>
                        <a:pt x="49" y="429"/>
                      </a:lnTo>
                      <a:lnTo>
                        <a:pt x="48" y="429"/>
                      </a:lnTo>
                      <a:lnTo>
                        <a:pt x="47" y="429"/>
                      </a:lnTo>
                      <a:lnTo>
                        <a:pt x="46" y="429"/>
                      </a:lnTo>
                      <a:lnTo>
                        <a:pt x="46" y="429"/>
                      </a:lnTo>
                      <a:lnTo>
                        <a:pt x="45" y="429"/>
                      </a:lnTo>
                      <a:lnTo>
                        <a:pt x="44" y="429"/>
                      </a:lnTo>
                      <a:lnTo>
                        <a:pt x="44" y="430"/>
                      </a:lnTo>
                      <a:lnTo>
                        <a:pt x="44" y="430"/>
                      </a:lnTo>
                      <a:lnTo>
                        <a:pt x="44" y="431"/>
                      </a:lnTo>
                      <a:lnTo>
                        <a:pt x="44" y="431"/>
                      </a:lnTo>
                      <a:lnTo>
                        <a:pt x="44" y="432"/>
                      </a:lnTo>
                      <a:lnTo>
                        <a:pt x="44" y="433"/>
                      </a:lnTo>
                      <a:lnTo>
                        <a:pt x="44" y="434"/>
                      </a:lnTo>
                      <a:lnTo>
                        <a:pt x="45" y="434"/>
                      </a:lnTo>
                      <a:lnTo>
                        <a:pt x="45" y="434"/>
                      </a:lnTo>
                      <a:lnTo>
                        <a:pt x="44" y="434"/>
                      </a:lnTo>
                      <a:lnTo>
                        <a:pt x="44" y="435"/>
                      </a:lnTo>
                      <a:lnTo>
                        <a:pt x="44" y="435"/>
                      </a:lnTo>
                      <a:lnTo>
                        <a:pt x="43" y="435"/>
                      </a:lnTo>
                      <a:lnTo>
                        <a:pt x="43" y="436"/>
                      </a:lnTo>
                      <a:lnTo>
                        <a:pt x="42" y="436"/>
                      </a:lnTo>
                      <a:lnTo>
                        <a:pt x="42" y="436"/>
                      </a:lnTo>
                      <a:lnTo>
                        <a:pt x="42" y="437"/>
                      </a:lnTo>
                      <a:lnTo>
                        <a:pt x="42" y="437"/>
                      </a:lnTo>
                      <a:lnTo>
                        <a:pt x="42" y="438"/>
                      </a:lnTo>
                      <a:lnTo>
                        <a:pt x="42" y="438"/>
                      </a:lnTo>
                      <a:lnTo>
                        <a:pt x="42" y="439"/>
                      </a:lnTo>
                      <a:lnTo>
                        <a:pt x="42" y="440"/>
                      </a:lnTo>
                      <a:lnTo>
                        <a:pt x="41" y="440"/>
                      </a:lnTo>
                      <a:lnTo>
                        <a:pt x="41" y="441"/>
                      </a:lnTo>
                      <a:lnTo>
                        <a:pt x="40" y="441"/>
                      </a:lnTo>
                      <a:lnTo>
                        <a:pt x="40" y="442"/>
                      </a:lnTo>
                      <a:lnTo>
                        <a:pt x="38" y="443"/>
                      </a:lnTo>
                      <a:lnTo>
                        <a:pt x="33" y="446"/>
                      </a:lnTo>
                      <a:lnTo>
                        <a:pt x="32" y="447"/>
                      </a:lnTo>
                      <a:lnTo>
                        <a:pt x="29" y="448"/>
                      </a:lnTo>
                      <a:lnTo>
                        <a:pt x="21" y="451"/>
                      </a:lnTo>
                      <a:lnTo>
                        <a:pt x="19" y="452"/>
                      </a:lnTo>
                      <a:lnTo>
                        <a:pt x="11" y="455"/>
                      </a:lnTo>
                      <a:lnTo>
                        <a:pt x="11" y="454"/>
                      </a:lnTo>
                      <a:lnTo>
                        <a:pt x="10" y="453"/>
                      </a:lnTo>
                      <a:lnTo>
                        <a:pt x="9" y="451"/>
                      </a:lnTo>
                      <a:lnTo>
                        <a:pt x="6" y="449"/>
                      </a:lnTo>
                      <a:lnTo>
                        <a:pt x="4" y="448"/>
                      </a:lnTo>
                      <a:lnTo>
                        <a:pt x="4" y="448"/>
                      </a:lnTo>
                      <a:lnTo>
                        <a:pt x="2" y="447"/>
                      </a:lnTo>
                      <a:lnTo>
                        <a:pt x="0" y="444"/>
                      </a:lnTo>
                      <a:lnTo>
                        <a:pt x="0" y="443"/>
                      </a:lnTo>
                      <a:lnTo>
                        <a:pt x="2" y="439"/>
                      </a:lnTo>
                      <a:lnTo>
                        <a:pt x="4" y="435"/>
                      </a:lnTo>
                      <a:lnTo>
                        <a:pt x="7" y="430"/>
                      </a:lnTo>
                      <a:lnTo>
                        <a:pt x="7" y="427"/>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0" name="Freeform 50">
                  <a:extLst>
                    <a:ext uri="{FF2B5EF4-FFF2-40B4-BE49-F238E27FC236}">
                      <a16:creationId xmlns:a16="http://schemas.microsoft.com/office/drawing/2014/main" xmlns="" id="{99BBDF2C-12D3-5F79-7097-7693FEA3EBBF}"/>
                    </a:ext>
                  </a:extLst>
                </p:cNvPr>
                <p:cNvSpPr>
                  <a:spLocks/>
                </p:cNvSpPr>
                <p:nvPr/>
              </p:nvSpPr>
              <p:spPr bwMode="auto">
                <a:xfrm>
                  <a:off x="1973" y="2757"/>
                  <a:ext cx="671" cy="204"/>
                </a:xfrm>
                <a:custGeom>
                  <a:avLst/>
                  <a:gdLst>
                    <a:gd name="T0" fmla="*/ 645 w 671"/>
                    <a:gd name="T1" fmla="*/ 36 h 204"/>
                    <a:gd name="T2" fmla="*/ 628 w 671"/>
                    <a:gd name="T3" fmla="*/ 22 h 204"/>
                    <a:gd name="T4" fmla="*/ 626 w 671"/>
                    <a:gd name="T5" fmla="*/ 11 h 204"/>
                    <a:gd name="T6" fmla="*/ 624 w 671"/>
                    <a:gd name="T7" fmla="*/ 3 h 204"/>
                    <a:gd name="T8" fmla="*/ 616 w 671"/>
                    <a:gd name="T9" fmla="*/ 2 h 204"/>
                    <a:gd name="T10" fmla="*/ 610 w 671"/>
                    <a:gd name="T11" fmla="*/ 2 h 204"/>
                    <a:gd name="T12" fmla="*/ 603 w 671"/>
                    <a:gd name="T13" fmla="*/ 8 h 204"/>
                    <a:gd name="T14" fmla="*/ 600 w 671"/>
                    <a:gd name="T15" fmla="*/ 15 h 204"/>
                    <a:gd name="T16" fmla="*/ 594 w 671"/>
                    <a:gd name="T17" fmla="*/ 20 h 204"/>
                    <a:gd name="T18" fmla="*/ 590 w 671"/>
                    <a:gd name="T19" fmla="*/ 27 h 204"/>
                    <a:gd name="T20" fmla="*/ 585 w 671"/>
                    <a:gd name="T21" fmla="*/ 34 h 204"/>
                    <a:gd name="T22" fmla="*/ 578 w 671"/>
                    <a:gd name="T23" fmla="*/ 52 h 204"/>
                    <a:gd name="T24" fmla="*/ 571 w 671"/>
                    <a:gd name="T25" fmla="*/ 65 h 204"/>
                    <a:gd name="T26" fmla="*/ 562 w 671"/>
                    <a:gd name="T27" fmla="*/ 53 h 204"/>
                    <a:gd name="T28" fmla="*/ 556 w 671"/>
                    <a:gd name="T29" fmla="*/ 50 h 204"/>
                    <a:gd name="T30" fmla="*/ 546 w 671"/>
                    <a:gd name="T31" fmla="*/ 56 h 204"/>
                    <a:gd name="T32" fmla="*/ 543 w 671"/>
                    <a:gd name="T33" fmla="*/ 63 h 204"/>
                    <a:gd name="T34" fmla="*/ 539 w 671"/>
                    <a:gd name="T35" fmla="*/ 72 h 204"/>
                    <a:gd name="T36" fmla="*/ 547 w 671"/>
                    <a:gd name="T37" fmla="*/ 84 h 204"/>
                    <a:gd name="T38" fmla="*/ 516 w 671"/>
                    <a:gd name="T39" fmla="*/ 118 h 204"/>
                    <a:gd name="T40" fmla="*/ 485 w 671"/>
                    <a:gd name="T41" fmla="*/ 149 h 204"/>
                    <a:gd name="T42" fmla="*/ 472 w 671"/>
                    <a:gd name="T43" fmla="*/ 147 h 204"/>
                    <a:gd name="T44" fmla="*/ 468 w 671"/>
                    <a:gd name="T45" fmla="*/ 142 h 204"/>
                    <a:gd name="T46" fmla="*/ 459 w 671"/>
                    <a:gd name="T47" fmla="*/ 134 h 204"/>
                    <a:gd name="T48" fmla="*/ 434 w 671"/>
                    <a:gd name="T49" fmla="*/ 120 h 204"/>
                    <a:gd name="T50" fmla="*/ 427 w 671"/>
                    <a:gd name="T51" fmla="*/ 115 h 204"/>
                    <a:gd name="T52" fmla="*/ 392 w 671"/>
                    <a:gd name="T53" fmla="*/ 101 h 204"/>
                    <a:gd name="T54" fmla="*/ 372 w 671"/>
                    <a:gd name="T55" fmla="*/ 96 h 204"/>
                    <a:gd name="T56" fmla="*/ 360 w 671"/>
                    <a:gd name="T57" fmla="*/ 90 h 204"/>
                    <a:gd name="T58" fmla="*/ 349 w 671"/>
                    <a:gd name="T59" fmla="*/ 84 h 204"/>
                    <a:gd name="T60" fmla="*/ 343 w 671"/>
                    <a:gd name="T61" fmla="*/ 78 h 204"/>
                    <a:gd name="T62" fmla="*/ 330 w 671"/>
                    <a:gd name="T63" fmla="*/ 78 h 204"/>
                    <a:gd name="T64" fmla="*/ 322 w 671"/>
                    <a:gd name="T65" fmla="*/ 85 h 204"/>
                    <a:gd name="T66" fmla="*/ 315 w 671"/>
                    <a:gd name="T67" fmla="*/ 91 h 204"/>
                    <a:gd name="T68" fmla="*/ 306 w 671"/>
                    <a:gd name="T69" fmla="*/ 99 h 204"/>
                    <a:gd name="T70" fmla="*/ 296 w 671"/>
                    <a:gd name="T71" fmla="*/ 105 h 204"/>
                    <a:gd name="T72" fmla="*/ 288 w 671"/>
                    <a:gd name="T73" fmla="*/ 108 h 204"/>
                    <a:gd name="T74" fmla="*/ 285 w 671"/>
                    <a:gd name="T75" fmla="*/ 133 h 204"/>
                    <a:gd name="T76" fmla="*/ 280 w 671"/>
                    <a:gd name="T77" fmla="*/ 139 h 204"/>
                    <a:gd name="T78" fmla="*/ 271 w 671"/>
                    <a:gd name="T79" fmla="*/ 143 h 204"/>
                    <a:gd name="T80" fmla="*/ 266 w 671"/>
                    <a:gd name="T81" fmla="*/ 148 h 204"/>
                    <a:gd name="T82" fmla="*/ 257 w 671"/>
                    <a:gd name="T83" fmla="*/ 153 h 204"/>
                    <a:gd name="T84" fmla="*/ 248 w 671"/>
                    <a:gd name="T85" fmla="*/ 158 h 204"/>
                    <a:gd name="T86" fmla="*/ 239 w 671"/>
                    <a:gd name="T87" fmla="*/ 158 h 204"/>
                    <a:gd name="T88" fmla="*/ 231 w 671"/>
                    <a:gd name="T89" fmla="*/ 164 h 204"/>
                    <a:gd name="T90" fmla="*/ 225 w 671"/>
                    <a:gd name="T91" fmla="*/ 170 h 204"/>
                    <a:gd name="T92" fmla="*/ 214 w 671"/>
                    <a:gd name="T93" fmla="*/ 172 h 204"/>
                    <a:gd name="T94" fmla="*/ 170 w 671"/>
                    <a:gd name="T95" fmla="*/ 190 h 204"/>
                    <a:gd name="T96" fmla="*/ 106 w 671"/>
                    <a:gd name="T97" fmla="*/ 187 h 204"/>
                    <a:gd name="T98" fmla="*/ 96 w 671"/>
                    <a:gd name="T99" fmla="*/ 181 h 204"/>
                    <a:gd name="T100" fmla="*/ 92 w 671"/>
                    <a:gd name="T101" fmla="*/ 174 h 204"/>
                    <a:gd name="T102" fmla="*/ 92 w 671"/>
                    <a:gd name="T103" fmla="*/ 166 h 204"/>
                    <a:gd name="T104" fmla="*/ 93 w 671"/>
                    <a:gd name="T105" fmla="*/ 157 h 204"/>
                    <a:gd name="T106" fmla="*/ 92 w 671"/>
                    <a:gd name="T107" fmla="*/ 151 h 204"/>
                    <a:gd name="T108" fmla="*/ 90 w 671"/>
                    <a:gd name="T109" fmla="*/ 143 h 204"/>
                    <a:gd name="T110" fmla="*/ 89 w 671"/>
                    <a:gd name="T111" fmla="*/ 136 h 204"/>
                    <a:gd name="T112" fmla="*/ 84 w 671"/>
                    <a:gd name="T113" fmla="*/ 130 h 204"/>
                    <a:gd name="T114" fmla="*/ 83 w 671"/>
                    <a:gd name="T115" fmla="*/ 123 h 204"/>
                    <a:gd name="T116" fmla="*/ 48 w 671"/>
                    <a:gd name="T117" fmla="*/ 79 h 204"/>
                    <a:gd name="T118" fmla="*/ 0 w 671"/>
                    <a:gd name="T119" fmla="*/ 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1" h="204">
                      <a:moveTo>
                        <a:pt x="671" y="52"/>
                      </a:moveTo>
                      <a:lnTo>
                        <a:pt x="670" y="50"/>
                      </a:lnTo>
                      <a:lnTo>
                        <a:pt x="670" y="48"/>
                      </a:lnTo>
                      <a:lnTo>
                        <a:pt x="667" y="45"/>
                      </a:lnTo>
                      <a:lnTo>
                        <a:pt x="664" y="44"/>
                      </a:lnTo>
                      <a:lnTo>
                        <a:pt x="663" y="42"/>
                      </a:lnTo>
                      <a:lnTo>
                        <a:pt x="662" y="40"/>
                      </a:lnTo>
                      <a:lnTo>
                        <a:pt x="661" y="40"/>
                      </a:lnTo>
                      <a:lnTo>
                        <a:pt x="661" y="39"/>
                      </a:lnTo>
                      <a:lnTo>
                        <a:pt x="660" y="37"/>
                      </a:lnTo>
                      <a:lnTo>
                        <a:pt x="659" y="37"/>
                      </a:lnTo>
                      <a:lnTo>
                        <a:pt x="658" y="37"/>
                      </a:lnTo>
                      <a:lnTo>
                        <a:pt x="656" y="37"/>
                      </a:lnTo>
                      <a:lnTo>
                        <a:pt x="655" y="35"/>
                      </a:lnTo>
                      <a:lnTo>
                        <a:pt x="653" y="36"/>
                      </a:lnTo>
                      <a:lnTo>
                        <a:pt x="650" y="36"/>
                      </a:lnTo>
                      <a:lnTo>
                        <a:pt x="645" y="36"/>
                      </a:lnTo>
                      <a:lnTo>
                        <a:pt x="641" y="33"/>
                      </a:lnTo>
                      <a:lnTo>
                        <a:pt x="640" y="33"/>
                      </a:lnTo>
                      <a:lnTo>
                        <a:pt x="638" y="32"/>
                      </a:lnTo>
                      <a:lnTo>
                        <a:pt x="636" y="30"/>
                      </a:lnTo>
                      <a:lnTo>
                        <a:pt x="632" y="28"/>
                      </a:lnTo>
                      <a:lnTo>
                        <a:pt x="632" y="27"/>
                      </a:lnTo>
                      <a:lnTo>
                        <a:pt x="632" y="27"/>
                      </a:lnTo>
                      <a:lnTo>
                        <a:pt x="631" y="27"/>
                      </a:lnTo>
                      <a:lnTo>
                        <a:pt x="630" y="26"/>
                      </a:lnTo>
                      <a:lnTo>
                        <a:pt x="630" y="26"/>
                      </a:lnTo>
                      <a:lnTo>
                        <a:pt x="629" y="25"/>
                      </a:lnTo>
                      <a:lnTo>
                        <a:pt x="628" y="25"/>
                      </a:lnTo>
                      <a:lnTo>
                        <a:pt x="628" y="24"/>
                      </a:lnTo>
                      <a:lnTo>
                        <a:pt x="627" y="23"/>
                      </a:lnTo>
                      <a:lnTo>
                        <a:pt x="627" y="23"/>
                      </a:lnTo>
                      <a:lnTo>
                        <a:pt x="627" y="22"/>
                      </a:lnTo>
                      <a:lnTo>
                        <a:pt x="628" y="22"/>
                      </a:lnTo>
                      <a:lnTo>
                        <a:pt x="628" y="21"/>
                      </a:lnTo>
                      <a:lnTo>
                        <a:pt x="628" y="21"/>
                      </a:lnTo>
                      <a:lnTo>
                        <a:pt x="628" y="21"/>
                      </a:lnTo>
                      <a:lnTo>
                        <a:pt x="628" y="20"/>
                      </a:lnTo>
                      <a:lnTo>
                        <a:pt x="628" y="19"/>
                      </a:lnTo>
                      <a:lnTo>
                        <a:pt x="628" y="19"/>
                      </a:lnTo>
                      <a:lnTo>
                        <a:pt x="628" y="18"/>
                      </a:lnTo>
                      <a:lnTo>
                        <a:pt x="628" y="17"/>
                      </a:lnTo>
                      <a:lnTo>
                        <a:pt x="628" y="16"/>
                      </a:lnTo>
                      <a:lnTo>
                        <a:pt x="628" y="15"/>
                      </a:lnTo>
                      <a:lnTo>
                        <a:pt x="628" y="14"/>
                      </a:lnTo>
                      <a:lnTo>
                        <a:pt x="628" y="14"/>
                      </a:lnTo>
                      <a:lnTo>
                        <a:pt x="628" y="13"/>
                      </a:lnTo>
                      <a:lnTo>
                        <a:pt x="627" y="12"/>
                      </a:lnTo>
                      <a:lnTo>
                        <a:pt x="626" y="12"/>
                      </a:lnTo>
                      <a:lnTo>
                        <a:pt x="626" y="11"/>
                      </a:lnTo>
                      <a:lnTo>
                        <a:pt x="626" y="11"/>
                      </a:lnTo>
                      <a:lnTo>
                        <a:pt x="626" y="10"/>
                      </a:lnTo>
                      <a:lnTo>
                        <a:pt x="625" y="10"/>
                      </a:lnTo>
                      <a:lnTo>
                        <a:pt x="625" y="10"/>
                      </a:lnTo>
                      <a:lnTo>
                        <a:pt x="625" y="9"/>
                      </a:lnTo>
                      <a:lnTo>
                        <a:pt x="625" y="8"/>
                      </a:lnTo>
                      <a:lnTo>
                        <a:pt x="625" y="8"/>
                      </a:lnTo>
                      <a:lnTo>
                        <a:pt x="626" y="8"/>
                      </a:lnTo>
                      <a:lnTo>
                        <a:pt x="626" y="7"/>
                      </a:lnTo>
                      <a:lnTo>
                        <a:pt x="626" y="6"/>
                      </a:lnTo>
                      <a:lnTo>
                        <a:pt x="626" y="6"/>
                      </a:lnTo>
                      <a:lnTo>
                        <a:pt x="626" y="6"/>
                      </a:lnTo>
                      <a:lnTo>
                        <a:pt x="626" y="6"/>
                      </a:lnTo>
                      <a:lnTo>
                        <a:pt x="626" y="5"/>
                      </a:lnTo>
                      <a:lnTo>
                        <a:pt x="625" y="5"/>
                      </a:lnTo>
                      <a:lnTo>
                        <a:pt x="624" y="4"/>
                      </a:lnTo>
                      <a:lnTo>
                        <a:pt x="624" y="3"/>
                      </a:lnTo>
                      <a:lnTo>
                        <a:pt x="624" y="3"/>
                      </a:lnTo>
                      <a:lnTo>
                        <a:pt x="624" y="2"/>
                      </a:lnTo>
                      <a:lnTo>
                        <a:pt x="623" y="2"/>
                      </a:lnTo>
                      <a:lnTo>
                        <a:pt x="622" y="2"/>
                      </a:lnTo>
                      <a:lnTo>
                        <a:pt x="622" y="2"/>
                      </a:lnTo>
                      <a:lnTo>
                        <a:pt x="621" y="2"/>
                      </a:lnTo>
                      <a:lnTo>
                        <a:pt x="620" y="2"/>
                      </a:lnTo>
                      <a:lnTo>
                        <a:pt x="620" y="3"/>
                      </a:lnTo>
                      <a:lnTo>
                        <a:pt x="620" y="3"/>
                      </a:lnTo>
                      <a:lnTo>
                        <a:pt x="620" y="2"/>
                      </a:lnTo>
                      <a:lnTo>
                        <a:pt x="619" y="2"/>
                      </a:lnTo>
                      <a:lnTo>
                        <a:pt x="619" y="2"/>
                      </a:lnTo>
                      <a:lnTo>
                        <a:pt x="618" y="2"/>
                      </a:lnTo>
                      <a:lnTo>
                        <a:pt x="617" y="2"/>
                      </a:lnTo>
                      <a:lnTo>
                        <a:pt x="617" y="2"/>
                      </a:lnTo>
                      <a:lnTo>
                        <a:pt x="617" y="3"/>
                      </a:lnTo>
                      <a:lnTo>
                        <a:pt x="617" y="2"/>
                      </a:lnTo>
                      <a:lnTo>
                        <a:pt x="616" y="2"/>
                      </a:lnTo>
                      <a:lnTo>
                        <a:pt x="616" y="2"/>
                      </a:lnTo>
                      <a:lnTo>
                        <a:pt x="615" y="2"/>
                      </a:lnTo>
                      <a:lnTo>
                        <a:pt x="616" y="2"/>
                      </a:lnTo>
                      <a:lnTo>
                        <a:pt x="615" y="2"/>
                      </a:lnTo>
                      <a:lnTo>
                        <a:pt x="615" y="2"/>
                      </a:lnTo>
                      <a:lnTo>
                        <a:pt x="615" y="1"/>
                      </a:lnTo>
                      <a:lnTo>
                        <a:pt x="614" y="1"/>
                      </a:lnTo>
                      <a:lnTo>
                        <a:pt x="613" y="0"/>
                      </a:lnTo>
                      <a:lnTo>
                        <a:pt x="613" y="0"/>
                      </a:lnTo>
                      <a:lnTo>
                        <a:pt x="613" y="0"/>
                      </a:lnTo>
                      <a:lnTo>
                        <a:pt x="612" y="0"/>
                      </a:lnTo>
                      <a:lnTo>
                        <a:pt x="611" y="0"/>
                      </a:lnTo>
                      <a:lnTo>
                        <a:pt x="611" y="0"/>
                      </a:lnTo>
                      <a:lnTo>
                        <a:pt x="611" y="0"/>
                      </a:lnTo>
                      <a:lnTo>
                        <a:pt x="611" y="1"/>
                      </a:lnTo>
                      <a:lnTo>
                        <a:pt x="610" y="2"/>
                      </a:lnTo>
                      <a:lnTo>
                        <a:pt x="610" y="2"/>
                      </a:lnTo>
                      <a:lnTo>
                        <a:pt x="609" y="2"/>
                      </a:lnTo>
                      <a:lnTo>
                        <a:pt x="609" y="3"/>
                      </a:lnTo>
                      <a:lnTo>
                        <a:pt x="608" y="3"/>
                      </a:lnTo>
                      <a:lnTo>
                        <a:pt x="607" y="4"/>
                      </a:lnTo>
                      <a:lnTo>
                        <a:pt x="607" y="4"/>
                      </a:lnTo>
                      <a:lnTo>
                        <a:pt x="606" y="4"/>
                      </a:lnTo>
                      <a:lnTo>
                        <a:pt x="606" y="4"/>
                      </a:lnTo>
                      <a:lnTo>
                        <a:pt x="605" y="4"/>
                      </a:lnTo>
                      <a:lnTo>
                        <a:pt x="605" y="5"/>
                      </a:lnTo>
                      <a:lnTo>
                        <a:pt x="605" y="5"/>
                      </a:lnTo>
                      <a:lnTo>
                        <a:pt x="605" y="6"/>
                      </a:lnTo>
                      <a:lnTo>
                        <a:pt x="605" y="6"/>
                      </a:lnTo>
                      <a:lnTo>
                        <a:pt x="604" y="6"/>
                      </a:lnTo>
                      <a:lnTo>
                        <a:pt x="604" y="7"/>
                      </a:lnTo>
                      <a:lnTo>
                        <a:pt x="603" y="7"/>
                      </a:lnTo>
                      <a:lnTo>
                        <a:pt x="603" y="8"/>
                      </a:lnTo>
                      <a:lnTo>
                        <a:pt x="603" y="8"/>
                      </a:lnTo>
                      <a:lnTo>
                        <a:pt x="603" y="8"/>
                      </a:lnTo>
                      <a:lnTo>
                        <a:pt x="603" y="9"/>
                      </a:lnTo>
                      <a:lnTo>
                        <a:pt x="603" y="10"/>
                      </a:lnTo>
                      <a:lnTo>
                        <a:pt x="603" y="10"/>
                      </a:lnTo>
                      <a:lnTo>
                        <a:pt x="603" y="10"/>
                      </a:lnTo>
                      <a:lnTo>
                        <a:pt x="603" y="10"/>
                      </a:lnTo>
                      <a:lnTo>
                        <a:pt x="603" y="11"/>
                      </a:lnTo>
                      <a:lnTo>
                        <a:pt x="603" y="12"/>
                      </a:lnTo>
                      <a:lnTo>
                        <a:pt x="602" y="12"/>
                      </a:lnTo>
                      <a:lnTo>
                        <a:pt x="602" y="12"/>
                      </a:lnTo>
                      <a:lnTo>
                        <a:pt x="601" y="12"/>
                      </a:lnTo>
                      <a:lnTo>
                        <a:pt x="601" y="13"/>
                      </a:lnTo>
                      <a:lnTo>
                        <a:pt x="601" y="13"/>
                      </a:lnTo>
                      <a:lnTo>
                        <a:pt x="601" y="14"/>
                      </a:lnTo>
                      <a:lnTo>
                        <a:pt x="601" y="14"/>
                      </a:lnTo>
                      <a:lnTo>
                        <a:pt x="601" y="15"/>
                      </a:lnTo>
                      <a:lnTo>
                        <a:pt x="600" y="15"/>
                      </a:lnTo>
                      <a:lnTo>
                        <a:pt x="600" y="16"/>
                      </a:lnTo>
                      <a:lnTo>
                        <a:pt x="599" y="15"/>
                      </a:lnTo>
                      <a:lnTo>
                        <a:pt x="598" y="15"/>
                      </a:lnTo>
                      <a:lnTo>
                        <a:pt x="598" y="15"/>
                      </a:lnTo>
                      <a:lnTo>
                        <a:pt x="597" y="15"/>
                      </a:lnTo>
                      <a:lnTo>
                        <a:pt x="597" y="14"/>
                      </a:lnTo>
                      <a:lnTo>
                        <a:pt x="596" y="14"/>
                      </a:lnTo>
                      <a:lnTo>
                        <a:pt x="596" y="15"/>
                      </a:lnTo>
                      <a:lnTo>
                        <a:pt x="596" y="15"/>
                      </a:lnTo>
                      <a:lnTo>
                        <a:pt x="596" y="16"/>
                      </a:lnTo>
                      <a:lnTo>
                        <a:pt x="596" y="16"/>
                      </a:lnTo>
                      <a:lnTo>
                        <a:pt x="596" y="17"/>
                      </a:lnTo>
                      <a:lnTo>
                        <a:pt x="596" y="18"/>
                      </a:lnTo>
                      <a:lnTo>
                        <a:pt x="595" y="18"/>
                      </a:lnTo>
                      <a:lnTo>
                        <a:pt x="594" y="18"/>
                      </a:lnTo>
                      <a:lnTo>
                        <a:pt x="594" y="19"/>
                      </a:lnTo>
                      <a:lnTo>
                        <a:pt x="594" y="20"/>
                      </a:lnTo>
                      <a:lnTo>
                        <a:pt x="594" y="21"/>
                      </a:lnTo>
                      <a:lnTo>
                        <a:pt x="595" y="21"/>
                      </a:lnTo>
                      <a:lnTo>
                        <a:pt x="596" y="22"/>
                      </a:lnTo>
                      <a:lnTo>
                        <a:pt x="596" y="23"/>
                      </a:lnTo>
                      <a:lnTo>
                        <a:pt x="596" y="24"/>
                      </a:lnTo>
                      <a:lnTo>
                        <a:pt x="595" y="24"/>
                      </a:lnTo>
                      <a:lnTo>
                        <a:pt x="595" y="25"/>
                      </a:lnTo>
                      <a:lnTo>
                        <a:pt x="595" y="25"/>
                      </a:lnTo>
                      <a:lnTo>
                        <a:pt x="594" y="25"/>
                      </a:lnTo>
                      <a:lnTo>
                        <a:pt x="594" y="26"/>
                      </a:lnTo>
                      <a:lnTo>
                        <a:pt x="594" y="27"/>
                      </a:lnTo>
                      <a:lnTo>
                        <a:pt x="594" y="27"/>
                      </a:lnTo>
                      <a:lnTo>
                        <a:pt x="593" y="27"/>
                      </a:lnTo>
                      <a:lnTo>
                        <a:pt x="592" y="27"/>
                      </a:lnTo>
                      <a:lnTo>
                        <a:pt x="592" y="27"/>
                      </a:lnTo>
                      <a:lnTo>
                        <a:pt x="591" y="27"/>
                      </a:lnTo>
                      <a:lnTo>
                        <a:pt x="590" y="27"/>
                      </a:lnTo>
                      <a:lnTo>
                        <a:pt x="590" y="28"/>
                      </a:lnTo>
                      <a:lnTo>
                        <a:pt x="590" y="28"/>
                      </a:lnTo>
                      <a:lnTo>
                        <a:pt x="590" y="29"/>
                      </a:lnTo>
                      <a:lnTo>
                        <a:pt x="590" y="29"/>
                      </a:lnTo>
                      <a:lnTo>
                        <a:pt x="590" y="30"/>
                      </a:lnTo>
                      <a:lnTo>
                        <a:pt x="590" y="31"/>
                      </a:lnTo>
                      <a:lnTo>
                        <a:pt x="590" y="31"/>
                      </a:lnTo>
                      <a:lnTo>
                        <a:pt x="590" y="32"/>
                      </a:lnTo>
                      <a:lnTo>
                        <a:pt x="590" y="33"/>
                      </a:lnTo>
                      <a:lnTo>
                        <a:pt x="589" y="33"/>
                      </a:lnTo>
                      <a:lnTo>
                        <a:pt x="588" y="33"/>
                      </a:lnTo>
                      <a:lnTo>
                        <a:pt x="588" y="33"/>
                      </a:lnTo>
                      <a:lnTo>
                        <a:pt x="588" y="33"/>
                      </a:lnTo>
                      <a:lnTo>
                        <a:pt x="587" y="34"/>
                      </a:lnTo>
                      <a:lnTo>
                        <a:pt x="586" y="34"/>
                      </a:lnTo>
                      <a:lnTo>
                        <a:pt x="586" y="34"/>
                      </a:lnTo>
                      <a:lnTo>
                        <a:pt x="585" y="34"/>
                      </a:lnTo>
                      <a:lnTo>
                        <a:pt x="584" y="34"/>
                      </a:lnTo>
                      <a:lnTo>
                        <a:pt x="583" y="34"/>
                      </a:lnTo>
                      <a:lnTo>
                        <a:pt x="582" y="35"/>
                      </a:lnTo>
                      <a:lnTo>
                        <a:pt x="581" y="37"/>
                      </a:lnTo>
                      <a:lnTo>
                        <a:pt x="581" y="38"/>
                      </a:lnTo>
                      <a:lnTo>
                        <a:pt x="580" y="40"/>
                      </a:lnTo>
                      <a:lnTo>
                        <a:pt x="580" y="41"/>
                      </a:lnTo>
                      <a:lnTo>
                        <a:pt x="580" y="44"/>
                      </a:lnTo>
                      <a:lnTo>
                        <a:pt x="581" y="44"/>
                      </a:lnTo>
                      <a:lnTo>
                        <a:pt x="580" y="45"/>
                      </a:lnTo>
                      <a:lnTo>
                        <a:pt x="580" y="46"/>
                      </a:lnTo>
                      <a:lnTo>
                        <a:pt x="579" y="47"/>
                      </a:lnTo>
                      <a:lnTo>
                        <a:pt x="579" y="48"/>
                      </a:lnTo>
                      <a:lnTo>
                        <a:pt x="579" y="49"/>
                      </a:lnTo>
                      <a:lnTo>
                        <a:pt x="579" y="50"/>
                      </a:lnTo>
                      <a:lnTo>
                        <a:pt x="577" y="51"/>
                      </a:lnTo>
                      <a:lnTo>
                        <a:pt x="578" y="52"/>
                      </a:lnTo>
                      <a:lnTo>
                        <a:pt x="579" y="52"/>
                      </a:lnTo>
                      <a:lnTo>
                        <a:pt x="579" y="54"/>
                      </a:lnTo>
                      <a:lnTo>
                        <a:pt x="579" y="54"/>
                      </a:lnTo>
                      <a:lnTo>
                        <a:pt x="579" y="55"/>
                      </a:lnTo>
                      <a:lnTo>
                        <a:pt x="579" y="56"/>
                      </a:lnTo>
                      <a:lnTo>
                        <a:pt x="580" y="56"/>
                      </a:lnTo>
                      <a:lnTo>
                        <a:pt x="580" y="57"/>
                      </a:lnTo>
                      <a:lnTo>
                        <a:pt x="579" y="57"/>
                      </a:lnTo>
                      <a:lnTo>
                        <a:pt x="579" y="58"/>
                      </a:lnTo>
                      <a:lnTo>
                        <a:pt x="578" y="59"/>
                      </a:lnTo>
                      <a:lnTo>
                        <a:pt x="577" y="60"/>
                      </a:lnTo>
                      <a:lnTo>
                        <a:pt x="577" y="63"/>
                      </a:lnTo>
                      <a:lnTo>
                        <a:pt x="574" y="67"/>
                      </a:lnTo>
                      <a:lnTo>
                        <a:pt x="573" y="66"/>
                      </a:lnTo>
                      <a:lnTo>
                        <a:pt x="572" y="66"/>
                      </a:lnTo>
                      <a:lnTo>
                        <a:pt x="571" y="65"/>
                      </a:lnTo>
                      <a:lnTo>
                        <a:pt x="571" y="65"/>
                      </a:lnTo>
                      <a:lnTo>
                        <a:pt x="570" y="64"/>
                      </a:lnTo>
                      <a:lnTo>
                        <a:pt x="569" y="63"/>
                      </a:lnTo>
                      <a:lnTo>
                        <a:pt x="567" y="63"/>
                      </a:lnTo>
                      <a:lnTo>
                        <a:pt x="567" y="63"/>
                      </a:lnTo>
                      <a:lnTo>
                        <a:pt x="565" y="61"/>
                      </a:lnTo>
                      <a:lnTo>
                        <a:pt x="565" y="60"/>
                      </a:lnTo>
                      <a:lnTo>
                        <a:pt x="564" y="59"/>
                      </a:lnTo>
                      <a:lnTo>
                        <a:pt x="564" y="58"/>
                      </a:lnTo>
                      <a:lnTo>
                        <a:pt x="563" y="58"/>
                      </a:lnTo>
                      <a:lnTo>
                        <a:pt x="563" y="57"/>
                      </a:lnTo>
                      <a:lnTo>
                        <a:pt x="563" y="56"/>
                      </a:lnTo>
                      <a:lnTo>
                        <a:pt x="563" y="56"/>
                      </a:lnTo>
                      <a:lnTo>
                        <a:pt x="563" y="55"/>
                      </a:lnTo>
                      <a:lnTo>
                        <a:pt x="563" y="54"/>
                      </a:lnTo>
                      <a:lnTo>
                        <a:pt x="563" y="54"/>
                      </a:lnTo>
                      <a:lnTo>
                        <a:pt x="562" y="54"/>
                      </a:lnTo>
                      <a:lnTo>
                        <a:pt x="562" y="53"/>
                      </a:lnTo>
                      <a:lnTo>
                        <a:pt x="561" y="53"/>
                      </a:lnTo>
                      <a:lnTo>
                        <a:pt x="560" y="53"/>
                      </a:lnTo>
                      <a:lnTo>
                        <a:pt x="560" y="52"/>
                      </a:lnTo>
                      <a:lnTo>
                        <a:pt x="560" y="52"/>
                      </a:lnTo>
                      <a:lnTo>
                        <a:pt x="560" y="52"/>
                      </a:lnTo>
                      <a:lnTo>
                        <a:pt x="560" y="51"/>
                      </a:lnTo>
                      <a:lnTo>
                        <a:pt x="559" y="51"/>
                      </a:lnTo>
                      <a:lnTo>
                        <a:pt x="558" y="51"/>
                      </a:lnTo>
                      <a:lnTo>
                        <a:pt x="558" y="50"/>
                      </a:lnTo>
                      <a:lnTo>
                        <a:pt x="558" y="50"/>
                      </a:lnTo>
                      <a:lnTo>
                        <a:pt x="558" y="50"/>
                      </a:lnTo>
                      <a:lnTo>
                        <a:pt x="558" y="49"/>
                      </a:lnTo>
                      <a:lnTo>
                        <a:pt x="557" y="49"/>
                      </a:lnTo>
                      <a:lnTo>
                        <a:pt x="556" y="49"/>
                      </a:lnTo>
                      <a:lnTo>
                        <a:pt x="556" y="50"/>
                      </a:lnTo>
                      <a:lnTo>
                        <a:pt x="556" y="50"/>
                      </a:lnTo>
                      <a:lnTo>
                        <a:pt x="556" y="50"/>
                      </a:lnTo>
                      <a:lnTo>
                        <a:pt x="556" y="51"/>
                      </a:lnTo>
                      <a:lnTo>
                        <a:pt x="556" y="52"/>
                      </a:lnTo>
                      <a:lnTo>
                        <a:pt x="555" y="52"/>
                      </a:lnTo>
                      <a:lnTo>
                        <a:pt x="555" y="52"/>
                      </a:lnTo>
                      <a:lnTo>
                        <a:pt x="554" y="52"/>
                      </a:lnTo>
                      <a:lnTo>
                        <a:pt x="554" y="53"/>
                      </a:lnTo>
                      <a:lnTo>
                        <a:pt x="554" y="53"/>
                      </a:lnTo>
                      <a:lnTo>
                        <a:pt x="553" y="53"/>
                      </a:lnTo>
                      <a:lnTo>
                        <a:pt x="552" y="53"/>
                      </a:lnTo>
                      <a:lnTo>
                        <a:pt x="552" y="53"/>
                      </a:lnTo>
                      <a:lnTo>
                        <a:pt x="550" y="53"/>
                      </a:lnTo>
                      <a:lnTo>
                        <a:pt x="550" y="53"/>
                      </a:lnTo>
                      <a:lnTo>
                        <a:pt x="549" y="52"/>
                      </a:lnTo>
                      <a:lnTo>
                        <a:pt x="548" y="52"/>
                      </a:lnTo>
                      <a:lnTo>
                        <a:pt x="548" y="52"/>
                      </a:lnTo>
                      <a:lnTo>
                        <a:pt x="548" y="53"/>
                      </a:lnTo>
                      <a:lnTo>
                        <a:pt x="546" y="56"/>
                      </a:lnTo>
                      <a:lnTo>
                        <a:pt x="546" y="56"/>
                      </a:lnTo>
                      <a:lnTo>
                        <a:pt x="546" y="56"/>
                      </a:lnTo>
                      <a:lnTo>
                        <a:pt x="546" y="57"/>
                      </a:lnTo>
                      <a:lnTo>
                        <a:pt x="546" y="58"/>
                      </a:lnTo>
                      <a:lnTo>
                        <a:pt x="545" y="59"/>
                      </a:lnTo>
                      <a:lnTo>
                        <a:pt x="545" y="59"/>
                      </a:lnTo>
                      <a:lnTo>
                        <a:pt x="544" y="59"/>
                      </a:lnTo>
                      <a:lnTo>
                        <a:pt x="544" y="59"/>
                      </a:lnTo>
                      <a:lnTo>
                        <a:pt x="544" y="60"/>
                      </a:lnTo>
                      <a:lnTo>
                        <a:pt x="544" y="61"/>
                      </a:lnTo>
                      <a:lnTo>
                        <a:pt x="544" y="61"/>
                      </a:lnTo>
                      <a:lnTo>
                        <a:pt x="544" y="61"/>
                      </a:lnTo>
                      <a:lnTo>
                        <a:pt x="544" y="62"/>
                      </a:lnTo>
                      <a:lnTo>
                        <a:pt x="544" y="62"/>
                      </a:lnTo>
                      <a:lnTo>
                        <a:pt x="544" y="63"/>
                      </a:lnTo>
                      <a:lnTo>
                        <a:pt x="543" y="63"/>
                      </a:lnTo>
                      <a:lnTo>
                        <a:pt x="543" y="63"/>
                      </a:lnTo>
                      <a:lnTo>
                        <a:pt x="542" y="63"/>
                      </a:lnTo>
                      <a:lnTo>
                        <a:pt x="541" y="63"/>
                      </a:lnTo>
                      <a:lnTo>
                        <a:pt x="541" y="64"/>
                      </a:lnTo>
                      <a:lnTo>
                        <a:pt x="541" y="64"/>
                      </a:lnTo>
                      <a:lnTo>
                        <a:pt x="541" y="65"/>
                      </a:lnTo>
                      <a:lnTo>
                        <a:pt x="540" y="65"/>
                      </a:lnTo>
                      <a:lnTo>
                        <a:pt x="540" y="65"/>
                      </a:lnTo>
                      <a:lnTo>
                        <a:pt x="539" y="66"/>
                      </a:lnTo>
                      <a:lnTo>
                        <a:pt x="539" y="67"/>
                      </a:lnTo>
                      <a:lnTo>
                        <a:pt x="538" y="67"/>
                      </a:lnTo>
                      <a:lnTo>
                        <a:pt x="537" y="68"/>
                      </a:lnTo>
                      <a:lnTo>
                        <a:pt x="537" y="69"/>
                      </a:lnTo>
                      <a:lnTo>
                        <a:pt x="537" y="69"/>
                      </a:lnTo>
                      <a:lnTo>
                        <a:pt x="537" y="69"/>
                      </a:lnTo>
                      <a:lnTo>
                        <a:pt x="537" y="71"/>
                      </a:lnTo>
                      <a:lnTo>
                        <a:pt x="537" y="71"/>
                      </a:lnTo>
                      <a:lnTo>
                        <a:pt x="539" y="72"/>
                      </a:lnTo>
                      <a:lnTo>
                        <a:pt x="540" y="73"/>
                      </a:lnTo>
                      <a:lnTo>
                        <a:pt x="541" y="73"/>
                      </a:lnTo>
                      <a:lnTo>
                        <a:pt x="541" y="73"/>
                      </a:lnTo>
                      <a:lnTo>
                        <a:pt x="542" y="73"/>
                      </a:lnTo>
                      <a:lnTo>
                        <a:pt x="543" y="74"/>
                      </a:lnTo>
                      <a:lnTo>
                        <a:pt x="542" y="75"/>
                      </a:lnTo>
                      <a:lnTo>
                        <a:pt x="542" y="76"/>
                      </a:lnTo>
                      <a:lnTo>
                        <a:pt x="542" y="77"/>
                      </a:lnTo>
                      <a:lnTo>
                        <a:pt x="542" y="78"/>
                      </a:lnTo>
                      <a:lnTo>
                        <a:pt x="543" y="78"/>
                      </a:lnTo>
                      <a:lnTo>
                        <a:pt x="543" y="79"/>
                      </a:lnTo>
                      <a:lnTo>
                        <a:pt x="544" y="80"/>
                      </a:lnTo>
                      <a:lnTo>
                        <a:pt x="545" y="82"/>
                      </a:lnTo>
                      <a:lnTo>
                        <a:pt x="546" y="82"/>
                      </a:lnTo>
                      <a:lnTo>
                        <a:pt x="546" y="83"/>
                      </a:lnTo>
                      <a:lnTo>
                        <a:pt x="546" y="84"/>
                      </a:lnTo>
                      <a:lnTo>
                        <a:pt x="547" y="84"/>
                      </a:lnTo>
                      <a:lnTo>
                        <a:pt x="548" y="85"/>
                      </a:lnTo>
                      <a:lnTo>
                        <a:pt x="548" y="86"/>
                      </a:lnTo>
                      <a:lnTo>
                        <a:pt x="548" y="86"/>
                      </a:lnTo>
                      <a:lnTo>
                        <a:pt x="548" y="88"/>
                      </a:lnTo>
                      <a:lnTo>
                        <a:pt x="548" y="88"/>
                      </a:lnTo>
                      <a:lnTo>
                        <a:pt x="547" y="90"/>
                      </a:lnTo>
                      <a:lnTo>
                        <a:pt x="547" y="90"/>
                      </a:lnTo>
                      <a:lnTo>
                        <a:pt x="547" y="91"/>
                      </a:lnTo>
                      <a:lnTo>
                        <a:pt x="546" y="92"/>
                      </a:lnTo>
                      <a:lnTo>
                        <a:pt x="546" y="93"/>
                      </a:lnTo>
                      <a:lnTo>
                        <a:pt x="542" y="94"/>
                      </a:lnTo>
                      <a:lnTo>
                        <a:pt x="535" y="102"/>
                      </a:lnTo>
                      <a:lnTo>
                        <a:pt x="529" y="104"/>
                      </a:lnTo>
                      <a:lnTo>
                        <a:pt x="529" y="115"/>
                      </a:lnTo>
                      <a:lnTo>
                        <a:pt x="529" y="119"/>
                      </a:lnTo>
                      <a:lnTo>
                        <a:pt x="517" y="119"/>
                      </a:lnTo>
                      <a:lnTo>
                        <a:pt x="516" y="118"/>
                      </a:lnTo>
                      <a:lnTo>
                        <a:pt x="514" y="117"/>
                      </a:lnTo>
                      <a:lnTo>
                        <a:pt x="506" y="119"/>
                      </a:lnTo>
                      <a:lnTo>
                        <a:pt x="505" y="122"/>
                      </a:lnTo>
                      <a:lnTo>
                        <a:pt x="499" y="129"/>
                      </a:lnTo>
                      <a:lnTo>
                        <a:pt x="499" y="141"/>
                      </a:lnTo>
                      <a:lnTo>
                        <a:pt x="496" y="142"/>
                      </a:lnTo>
                      <a:lnTo>
                        <a:pt x="494" y="143"/>
                      </a:lnTo>
                      <a:lnTo>
                        <a:pt x="493" y="144"/>
                      </a:lnTo>
                      <a:lnTo>
                        <a:pt x="493" y="145"/>
                      </a:lnTo>
                      <a:lnTo>
                        <a:pt x="490" y="146"/>
                      </a:lnTo>
                      <a:lnTo>
                        <a:pt x="488" y="147"/>
                      </a:lnTo>
                      <a:lnTo>
                        <a:pt x="488" y="147"/>
                      </a:lnTo>
                      <a:lnTo>
                        <a:pt x="487" y="147"/>
                      </a:lnTo>
                      <a:lnTo>
                        <a:pt x="487" y="148"/>
                      </a:lnTo>
                      <a:lnTo>
                        <a:pt x="487" y="148"/>
                      </a:lnTo>
                      <a:lnTo>
                        <a:pt x="486" y="148"/>
                      </a:lnTo>
                      <a:lnTo>
                        <a:pt x="485" y="149"/>
                      </a:lnTo>
                      <a:lnTo>
                        <a:pt x="484" y="149"/>
                      </a:lnTo>
                      <a:lnTo>
                        <a:pt x="482" y="149"/>
                      </a:lnTo>
                      <a:lnTo>
                        <a:pt x="481" y="149"/>
                      </a:lnTo>
                      <a:lnTo>
                        <a:pt x="480" y="150"/>
                      </a:lnTo>
                      <a:lnTo>
                        <a:pt x="479" y="150"/>
                      </a:lnTo>
                      <a:lnTo>
                        <a:pt x="478" y="150"/>
                      </a:lnTo>
                      <a:lnTo>
                        <a:pt x="478" y="150"/>
                      </a:lnTo>
                      <a:lnTo>
                        <a:pt x="476" y="149"/>
                      </a:lnTo>
                      <a:lnTo>
                        <a:pt x="476" y="149"/>
                      </a:lnTo>
                      <a:lnTo>
                        <a:pt x="475" y="149"/>
                      </a:lnTo>
                      <a:lnTo>
                        <a:pt x="474" y="149"/>
                      </a:lnTo>
                      <a:lnTo>
                        <a:pt x="474" y="149"/>
                      </a:lnTo>
                      <a:lnTo>
                        <a:pt x="474" y="148"/>
                      </a:lnTo>
                      <a:lnTo>
                        <a:pt x="473" y="149"/>
                      </a:lnTo>
                      <a:lnTo>
                        <a:pt x="473" y="148"/>
                      </a:lnTo>
                      <a:lnTo>
                        <a:pt x="473" y="147"/>
                      </a:lnTo>
                      <a:lnTo>
                        <a:pt x="472" y="147"/>
                      </a:lnTo>
                      <a:lnTo>
                        <a:pt x="472" y="147"/>
                      </a:lnTo>
                      <a:lnTo>
                        <a:pt x="472" y="147"/>
                      </a:lnTo>
                      <a:lnTo>
                        <a:pt x="471" y="147"/>
                      </a:lnTo>
                      <a:lnTo>
                        <a:pt x="471" y="146"/>
                      </a:lnTo>
                      <a:lnTo>
                        <a:pt x="470" y="146"/>
                      </a:lnTo>
                      <a:lnTo>
                        <a:pt x="470" y="145"/>
                      </a:lnTo>
                      <a:lnTo>
                        <a:pt x="470" y="145"/>
                      </a:lnTo>
                      <a:lnTo>
                        <a:pt x="469" y="145"/>
                      </a:lnTo>
                      <a:lnTo>
                        <a:pt x="470" y="145"/>
                      </a:lnTo>
                      <a:lnTo>
                        <a:pt x="470" y="145"/>
                      </a:lnTo>
                      <a:lnTo>
                        <a:pt x="469" y="145"/>
                      </a:lnTo>
                      <a:lnTo>
                        <a:pt x="469" y="144"/>
                      </a:lnTo>
                      <a:lnTo>
                        <a:pt x="468" y="144"/>
                      </a:lnTo>
                      <a:lnTo>
                        <a:pt x="468" y="143"/>
                      </a:lnTo>
                      <a:lnTo>
                        <a:pt x="468" y="143"/>
                      </a:lnTo>
                      <a:lnTo>
                        <a:pt x="468" y="143"/>
                      </a:lnTo>
                      <a:lnTo>
                        <a:pt x="468" y="142"/>
                      </a:lnTo>
                      <a:lnTo>
                        <a:pt x="467" y="142"/>
                      </a:lnTo>
                      <a:lnTo>
                        <a:pt x="466" y="142"/>
                      </a:lnTo>
                      <a:lnTo>
                        <a:pt x="465" y="140"/>
                      </a:lnTo>
                      <a:lnTo>
                        <a:pt x="464" y="139"/>
                      </a:lnTo>
                      <a:lnTo>
                        <a:pt x="464" y="139"/>
                      </a:lnTo>
                      <a:lnTo>
                        <a:pt x="463" y="139"/>
                      </a:lnTo>
                      <a:lnTo>
                        <a:pt x="463" y="138"/>
                      </a:lnTo>
                      <a:lnTo>
                        <a:pt x="463" y="137"/>
                      </a:lnTo>
                      <a:lnTo>
                        <a:pt x="462" y="137"/>
                      </a:lnTo>
                      <a:lnTo>
                        <a:pt x="461" y="137"/>
                      </a:lnTo>
                      <a:lnTo>
                        <a:pt x="461" y="136"/>
                      </a:lnTo>
                      <a:lnTo>
                        <a:pt x="461" y="136"/>
                      </a:lnTo>
                      <a:lnTo>
                        <a:pt x="461" y="136"/>
                      </a:lnTo>
                      <a:lnTo>
                        <a:pt x="461" y="135"/>
                      </a:lnTo>
                      <a:lnTo>
                        <a:pt x="460" y="135"/>
                      </a:lnTo>
                      <a:lnTo>
                        <a:pt x="459" y="135"/>
                      </a:lnTo>
                      <a:lnTo>
                        <a:pt x="459" y="134"/>
                      </a:lnTo>
                      <a:lnTo>
                        <a:pt x="459" y="134"/>
                      </a:lnTo>
                      <a:lnTo>
                        <a:pt x="459" y="133"/>
                      </a:lnTo>
                      <a:lnTo>
                        <a:pt x="459" y="133"/>
                      </a:lnTo>
                      <a:lnTo>
                        <a:pt x="458" y="133"/>
                      </a:lnTo>
                      <a:lnTo>
                        <a:pt x="458" y="132"/>
                      </a:lnTo>
                      <a:lnTo>
                        <a:pt x="457" y="132"/>
                      </a:lnTo>
                      <a:lnTo>
                        <a:pt x="457" y="132"/>
                      </a:lnTo>
                      <a:lnTo>
                        <a:pt x="456" y="132"/>
                      </a:lnTo>
                      <a:lnTo>
                        <a:pt x="455" y="132"/>
                      </a:lnTo>
                      <a:lnTo>
                        <a:pt x="455" y="132"/>
                      </a:lnTo>
                      <a:lnTo>
                        <a:pt x="455" y="131"/>
                      </a:lnTo>
                      <a:lnTo>
                        <a:pt x="454" y="131"/>
                      </a:lnTo>
                      <a:lnTo>
                        <a:pt x="453" y="131"/>
                      </a:lnTo>
                      <a:lnTo>
                        <a:pt x="449" y="127"/>
                      </a:lnTo>
                      <a:lnTo>
                        <a:pt x="442" y="125"/>
                      </a:lnTo>
                      <a:lnTo>
                        <a:pt x="439" y="123"/>
                      </a:lnTo>
                      <a:lnTo>
                        <a:pt x="434" y="120"/>
                      </a:lnTo>
                      <a:lnTo>
                        <a:pt x="433" y="118"/>
                      </a:lnTo>
                      <a:lnTo>
                        <a:pt x="432" y="116"/>
                      </a:lnTo>
                      <a:lnTo>
                        <a:pt x="432" y="115"/>
                      </a:lnTo>
                      <a:lnTo>
                        <a:pt x="432" y="115"/>
                      </a:lnTo>
                      <a:lnTo>
                        <a:pt x="432" y="114"/>
                      </a:lnTo>
                      <a:lnTo>
                        <a:pt x="432" y="113"/>
                      </a:lnTo>
                      <a:lnTo>
                        <a:pt x="432" y="113"/>
                      </a:lnTo>
                      <a:lnTo>
                        <a:pt x="432" y="112"/>
                      </a:lnTo>
                      <a:lnTo>
                        <a:pt x="431" y="112"/>
                      </a:lnTo>
                      <a:lnTo>
                        <a:pt x="431" y="113"/>
                      </a:lnTo>
                      <a:lnTo>
                        <a:pt x="430" y="113"/>
                      </a:lnTo>
                      <a:lnTo>
                        <a:pt x="430" y="113"/>
                      </a:lnTo>
                      <a:lnTo>
                        <a:pt x="429" y="114"/>
                      </a:lnTo>
                      <a:lnTo>
                        <a:pt x="428" y="114"/>
                      </a:lnTo>
                      <a:lnTo>
                        <a:pt x="428" y="115"/>
                      </a:lnTo>
                      <a:lnTo>
                        <a:pt x="427" y="115"/>
                      </a:lnTo>
                      <a:lnTo>
                        <a:pt x="427" y="115"/>
                      </a:lnTo>
                      <a:lnTo>
                        <a:pt x="426" y="115"/>
                      </a:lnTo>
                      <a:lnTo>
                        <a:pt x="426" y="114"/>
                      </a:lnTo>
                      <a:lnTo>
                        <a:pt x="425" y="114"/>
                      </a:lnTo>
                      <a:lnTo>
                        <a:pt x="425" y="114"/>
                      </a:lnTo>
                      <a:lnTo>
                        <a:pt x="424" y="114"/>
                      </a:lnTo>
                      <a:lnTo>
                        <a:pt x="423" y="114"/>
                      </a:lnTo>
                      <a:lnTo>
                        <a:pt x="423" y="115"/>
                      </a:lnTo>
                      <a:lnTo>
                        <a:pt x="423" y="114"/>
                      </a:lnTo>
                      <a:lnTo>
                        <a:pt x="419" y="113"/>
                      </a:lnTo>
                      <a:lnTo>
                        <a:pt x="419" y="113"/>
                      </a:lnTo>
                      <a:lnTo>
                        <a:pt x="409" y="109"/>
                      </a:lnTo>
                      <a:lnTo>
                        <a:pt x="404" y="109"/>
                      </a:lnTo>
                      <a:lnTo>
                        <a:pt x="402" y="108"/>
                      </a:lnTo>
                      <a:lnTo>
                        <a:pt x="399" y="105"/>
                      </a:lnTo>
                      <a:lnTo>
                        <a:pt x="398" y="104"/>
                      </a:lnTo>
                      <a:lnTo>
                        <a:pt x="396" y="103"/>
                      </a:lnTo>
                      <a:lnTo>
                        <a:pt x="392" y="101"/>
                      </a:lnTo>
                      <a:lnTo>
                        <a:pt x="391" y="100"/>
                      </a:lnTo>
                      <a:lnTo>
                        <a:pt x="388" y="99"/>
                      </a:lnTo>
                      <a:lnTo>
                        <a:pt x="386" y="96"/>
                      </a:lnTo>
                      <a:lnTo>
                        <a:pt x="381" y="95"/>
                      </a:lnTo>
                      <a:lnTo>
                        <a:pt x="378" y="94"/>
                      </a:lnTo>
                      <a:lnTo>
                        <a:pt x="376" y="94"/>
                      </a:lnTo>
                      <a:lnTo>
                        <a:pt x="375" y="93"/>
                      </a:lnTo>
                      <a:lnTo>
                        <a:pt x="375" y="94"/>
                      </a:lnTo>
                      <a:lnTo>
                        <a:pt x="375" y="94"/>
                      </a:lnTo>
                      <a:lnTo>
                        <a:pt x="375" y="95"/>
                      </a:lnTo>
                      <a:lnTo>
                        <a:pt x="374" y="95"/>
                      </a:lnTo>
                      <a:lnTo>
                        <a:pt x="374" y="96"/>
                      </a:lnTo>
                      <a:lnTo>
                        <a:pt x="374" y="95"/>
                      </a:lnTo>
                      <a:lnTo>
                        <a:pt x="373" y="95"/>
                      </a:lnTo>
                      <a:lnTo>
                        <a:pt x="373" y="96"/>
                      </a:lnTo>
                      <a:lnTo>
                        <a:pt x="372" y="96"/>
                      </a:lnTo>
                      <a:lnTo>
                        <a:pt x="372" y="96"/>
                      </a:lnTo>
                      <a:lnTo>
                        <a:pt x="372" y="96"/>
                      </a:lnTo>
                      <a:lnTo>
                        <a:pt x="372" y="97"/>
                      </a:lnTo>
                      <a:lnTo>
                        <a:pt x="372" y="98"/>
                      </a:lnTo>
                      <a:lnTo>
                        <a:pt x="371" y="98"/>
                      </a:lnTo>
                      <a:lnTo>
                        <a:pt x="370" y="97"/>
                      </a:lnTo>
                      <a:lnTo>
                        <a:pt x="370" y="97"/>
                      </a:lnTo>
                      <a:lnTo>
                        <a:pt x="369" y="96"/>
                      </a:lnTo>
                      <a:lnTo>
                        <a:pt x="368" y="96"/>
                      </a:lnTo>
                      <a:lnTo>
                        <a:pt x="367" y="94"/>
                      </a:lnTo>
                      <a:lnTo>
                        <a:pt x="366" y="92"/>
                      </a:lnTo>
                      <a:lnTo>
                        <a:pt x="366" y="92"/>
                      </a:lnTo>
                      <a:lnTo>
                        <a:pt x="365" y="92"/>
                      </a:lnTo>
                      <a:lnTo>
                        <a:pt x="364" y="92"/>
                      </a:lnTo>
                      <a:lnTo>
                        <a:pt x="363" y="92"/>
                      </a:lnTo>
                      <a:lnTo>
                        <a:pt x="362" y="92"/>
                      </a:lnTo>
                      <a:lnTo>
                        <a:pt x="361" y="91"/>
                      </a:lnTo>
                      <a:lnTo>
                        <a:pt x="360" y="90"/>
                      </a:lnTo>
                      <a:lnTo>
                        <a:pt x="360" y="90"/>
                      </a:lnTo>
                      <a:lnTo>
                        <a:pt x="359" y="89"/>
                      </a:lnTo>
                      <a:lnTo>
                        <a:pt x="358" y="89"/>
                      </a:lnTo>
                      <a:lnTo>
                        <a:pt x="358" y="89"/>
                      </a:lnTo>
                      <a:lnTo>
                        <a:pt x="357" y="89"/>
                      </a:lnTo>
                      <a:lnTo>
                        <a:pt x="356" y="90"/>
                      </a:lnTo>
                      <a:lnTo>
                        <a:pt x="356" y="90"/>
                      </a:lnTo>
                      <a:lnTo>
                        <a:pt x="355" y="90"/>
                      </a:lnTo>
                      <a:lnTo>
                        <a:pt x="354" y="90"/>
                      </a:lnTo>
                      <a:lnTo>
                        <a:pt x="353" y="90"/>
                      </a:lnTo>
                      <a:lnTo>
                        <a:pt x="353" y="90"/>
                      </a:lnTo>
                      <a:lnTo>
                        <a:pt x="353" y="89"/>
                      </a:lnTo>
                      <a:lnTo>
                        <a:pt x="353" y="88"/>
                      </a:lnTo>
                      <a:lnTo>
                        <a:pt x="352" y="87"/>
                      </a:lnTo>
                      <a:lnTo>
                        <a:pt x="351" y="86"/>
                      </a:lnTo>
                      <a:lnTo>
                        <a:pt x="350" y="85"/>
                      </a:lnTo>
                      <a:lnTo>
                        <a:pt x="349" y="84"/>
                      </a:lnTo>
                      <a:lnTo>
                        <a:pt x="349" y="84"/>
                      </a:lnTo>
                      <a:lnTo>
                        <a:pt x="349" y="84"/>
                      </a:lnTo>
                      <a:lnTo>
                        <a:pt x="349" y="83"/>
                      </a:lnTo>
                      <a:lnTo>
                        <a:pt x="348" y="83"/>
                      </a:lnTo>
                      <a:lnTo>
                        <a:pt x="347" y="82"/>
                      </a:lnTo>
                      <a:lnTo>
                        <a:pt x="347" y="81"/>
                      </a:lnTo>
                      <a:lnTo>
                        <a:pt x="347" y="80"/>
                      </a:lnTo>
                      <a:lnTo>
                        <a:pt x="346" y="80"/>
                      </a:lnTo>
                      <a:lnTo>
                        <a:pt x="346" y="80"/>
                      </a:lnTo>
                      <a:lnTo>
                        <a:pt x="345" y="80"/>
                      </a:lnTo>
                      <a:lnTo>
                        <a:pt x="345" y="80"/>
                      </a:lnTo>
                      <a:lnTo>
                        <a:pt x="344" y="79"/>
                      </a:lnTo>
                      <a:lnTo>
                        <a:pt x="344" y="78"/>
                      </a:lnTo>
                      <a:lnTo>
                        <a:pt x="343" y="78"/>
                      </a:lnTo>
                      <a:lnTo>
                        <a:pt x="343" y="78"/>
                      </a:lnTo>
                      <a:lnTo>
                        <a:pt x="343" y="78"/>
                      </a:lnTo>
                      <a:lnTo>
                        <a:pt x="343" y="78"/>
                      </a:lnTo>
                      <a:lnTo>
                        <a:pt x="343" y="79"/>
                      </a:lnTo>
                      <a:lnTo>
                        <a:pt x="342" y="79"/>
                      </a:lnTo>
                      <a:lnTo>
                        <a:pt x="341" y="79"/>
                      </a:lnTo>
                      <a:lnTo>
                        <a:pt x="341" y="79"/>
                      </a:lnTo>
                      <a:lnTo>
                        <a:pt x="340" y="79"/>
                      </a:lnTo>
                      <a:lnTo>
                        <a:pt x="340" y="80"/>
                      </a:lnTo>
                      <a:lnTo>
                        <a:pt x="339" y="80"/>
                      </a:lnTo>
                      <a:lnTo>
                        <a:pt x="339" y="80"/>
                      </a:lnTo>
                      <a:lnTo>
                        <a:pt x="339" y="80"/>
                      </a:lnTo>
                      <a:lnTo>
                        <a:pt x="339" y="81"/>
                      </a:lnTo>
                      <a:lnTo>
                        <a:pt x="338" y="81"/>
                      </a:lnTo>
                      <a:lnTo>
                        <a:pt x="338" y="82"/>
                      </a:lnTo>
                      <a:lnTo>
                        <a:pt x="334" y="79"/>
                      </a:lnTo>
                      <a:lnTo>
                        <a:pt x="334" y="78"/>
                      </a:lnTo>
                      <a:lnTo>
                        <a:pt x="332" y="78"/>
                      </a:lnTo>
                      <a:lnTo>
                        <a:pt x="331" y="78"/>
                      </a:lnTo>
                      <a:lnTo>
                        <a:pt x="330" y="78"/>
                      </a:lnTo>
                      <a:lnTo>
                        <a:pt x="328" y="78"/>
                      </a:lnTo>
                      <a:lnTo>
                        <a:pt x="327" y="78"/>
                      </a:lnTo>
                      <a:lnTo>
                        <a:pt x="326" y="78"/>
                      </a:lnTo>
                      <a:lnTo>
                        <a:pt x="326" y="79"/>
                      </a:lnTo>
                      <a:lnTo>
                        <a:pt x="325" y="80"/>
                      </a:lnTo>
                      <a:lnTo>
                        <a:pt x="324" y="80"/>
                      </a:lnTo>
                      <a:lnTo>
                        <a:pt x="324" y="80"/>
                      </a:lnTo>
                      <a:lnTo>
                        <a:pt x="324" y="81"/>
                      </a:lnTo>
                      <a:lnTo>
                        <a:pt x="324" y="82"/>
                      </a:lnTo>
                      <a:lnTo>
                        <a:pt x="324" y="82"/>
                      </a:lnTo>
                      <a:lnTo>
                        <a:pt x="324" y="83"/>
                      </a:lnTo>
                      <a:lnTo>
                        <a:pt x="324" y="84"/>
                      </a:lnTo>
                      <a:lnTo>
                        <a:pt x="324" y="84"/>
                      </a:lnTo>
                      <a:lnTo>
                        <a:pt x="324" y="85"/>
                      </a:lnTo>
                      <a:lnTo>
                        <a:pt x="323" y="85"/>
                      </a:lnTo>
                      <a:lnTo>
                        <a:pt x="322" y="85"/>
                      </a:lnTo>
                      <a:lnTo>
                        <a:pt x="322" y="85"/>
                      </a:lnTo>
                      <a:lnTo>
                        <a:pt x="321" y="85"/>
                      </a:lnTo>
                      <a:lnTo>
                        <a:pt x="320" y="86"/>
                      </a:lnTo>
                      <a:lnTo>
                        <a:pt x="320" y="86"/>
                      </a:lnTo>
                      <a:lnTo>
                        <a:pt x="320" y="86"/>
                      </a:lnTo>
                      <a:lnTo>
                        <a:pt x="319" y="86"/>
                      </a:lnTo>
                      <a:lnTo>
                        <a:pt x="318" y="86"/>
                      </a:lnTo>
                      <a:lnTo>
                        <a:pt x="318" y="86"/>
                      </a:lnTo>
                      <a:lnTo>
                        <a:pt x="318" y="87"/>
                      </a:lnTo>
                      <a:lnTo>
                        <a:pt x="317" y="87"/>
                      </a:lnTo>
                      <a:lnTo>
                        <a:pt x="317" y="88"/>
                      </a:lnTo>
                      <a:lnTo>
                        <a:pt x="317" y="88"/>
                      </a:lnTo>
                      <a:lnTo>
                        <a:pt x="317" y="89"/>
                      </a:lnTo>
                      <a:lnTo>
                        <a:pt x="317" y="90"/>
                      </a:lnTo>
                      <a:lnTo>
                        <a:pt x="316" y="90"/>
                      </a:lnTo>
                      <a:lnTo>
                        <a:pt x="316" y="90"/>
                      </a:lnTo>
                      <a:lnTo>
                        <a:pt x="316" y="91"/>
                      </a:lnTo>
                      <a:lnTo>
                        <a:pt x="315" y="91"/>
                      </a:lnTo>
                      <a:lnTo>
                        <a:pt x="315" y="92"/>
                      </a:lnTo>
                      <a:lnTo>
                        <a:pt x="315" y="92"/>
                      </a:lnTo>
                      <a:lnTo>
                        <a:pt x="314" y="93"/>
                      </a:lnTo>
                      <a:lnTo>
                        <a:pt x="312" y="96"/>
                      </a:lnTo>
                      <a:lnTo>
                        <a:pt x="312" y="97"/>
                      </a:lnTo>
                      <a:lnTo>
                        <a:pt x="312" y="98"/>
                      </a:lnTo>
                      <a:lnTo>
                        <a:pt x="312" y="99"/>
                      </a:lnTo>
                      <a:lnTo>
                        <a:pt x="311" y="99"/>
                      </a:lnTo>
                      <a:lnTo>
                        <a:pt x="311" y="99"/>
                      </a:lnTo>
                      <a:lnTo>
                        <a:pt x="310" y="98"/>
                      </a:lnTo>
                      <a:lnTo>
                        <a:pt x="309" y="98"/>
                      </a:lnTo>
                      <a:lnTo>
                        <a:pt x="309" y="97"/>
                      </a:lnTo>
                      <a:lnTo>
                        <a:pt x="308" y="97"/>
                      </a:lnTo>
                      <a:lnTo>
                        <a:pt x="307" y="97"/>
                      </a:lnTo>
                      <a:lnTo>
                        <a:pt x="307" y="98"/>
                      </a:lnTo>
                      <a:lnTo>
                        <a:pt x="307" y="99"/>
                      </a:lnTo>
                      <a:lnTo>
                        <a:pt x="306" y="99"/>
                      </a:lnTo>
                      <a:lnTo>
                        <a:pt x="305" y="99"/>
                      </a:lnTo>
                      <a:lnTo>
                        <a:pt x="305" y="99"/>
                      </a:lnTo>
                      <a:lnTo>
                        <a:pt x="305" y="99"/>
                      </a:lnTo>
                      <a:lnTo>
                        <a:pt x="305" y="100"/>
                      </a:lnTo>
                      <a:lnTo>
                        <a:pt x="305" y="101"/>
                      </a:lnTo>
                      <a:lnTo>
                        <a:pt x="304" y="102"/>
                      </a:lnTo>
                      <a:lnTo>
                        <a:pt x="303" y="103"/>
                      </a:lnTo>
                      <a:lnTo>
                        <a:pt x="303" y="104"/>
                      </a:lnTo>
                      <a:lnTo>
                        <a:pt x="302" y="104"/>
                      </a:lnTo>
                      <a:lnTo>
                        <a:pt x="301" y="103"/>
                      </a:lnTo>
                      <a:lnTo>
                        <a:pt x="301" y="103"/>
                      </a:lnTo>
                      <a:lnTo>
                        <a:pt x="301" y="103"/>
                      </a:lnTo>
                      <a:lnTo>
                        <a:pt x="299" y="104"/>
                      </a:lnTo>
                      <a:lnTo>
                        <a:pt x="298" y="104"/>
                      </a:lnTo>
                      <a:lnTo>
                        <a:pt x="297" y="105"/>
                      </a:lnTo>
                      <a:lnTo>
                        <a:pt x="296" y="105"/>
                      </a:lnTo>
                      <a:lnTo>
                        <a:pt x="296" y="105"/>
                      </a:lnTo>
                      <a:lnTo>
                        <a:pt x="296" y="106"/>
                      </a:lnTo>
                      <a:lnTo>
                        <a:pt x="296" y="107"/>
                      </a:lnTo>
                      <a:lnTo>
                        <a:pt x="296" y="107"/>
                      </a:lnTo>
                      <a:lnTo>
                        <a:pt x="296" y="107"/>
                      </a:lnTo>
                      <a:lnTo>
                        <a:pt x="295" y="108"/>
                      </a:lnTo>
                      <a:lnTo>
                        <a:pt x="295" y="109"/>
                      </a:lnTo>
                      <a:lnTo>
                        <a:pt x="294" y="109"/>
                      </a:lnTo>
                      <a:lnTo>
                        <a:pt x="294" y="109"/>
                      </a:lnTo>
                      <a:lnTo>
                        <a:pt x="294" y="109"/>
                      </a:lnTo>
                      <a:lnTo>
                        <a:pt x="293" y="109"/>
                      </a:lnTo>
                      <a:lnTo>
                        <a:pt x="292" y="109"/>
                      </a:lnTo>
                      <a:lnTo>
                        <a:pt x="292" y="109"/>
                      </a:lnTo>
                      <a:lnTo>
                        <a:pt x="291" y="108"/>
                      </a:lnTo>
                      <a:lnTo>
                        <a:pt x="290" y="108"/>
                      </a:lnTo>
                      <a:lnTo>
                        <a:pt x="290" y="108"/>
                      </a:lnTo>
                      <a:lnTo>
                        <a:pt x="289" y="108"/>
                      </a:lnTo>
                      <a:lnTo>
                        <a:pt x="288" y="108"/>
                      </a:lnTo>
                      <a:lnTo>
                        <a:pt x="288" y="108"/>
                      </a:lnTo>
                      <a:lnTo>
                        <a:pt x="287" y="109"/>
                      </a:lnTo>
                      <a:lnTo>
                        <a:pt x="287" y="110"/>
                      </a:lnTo>
                      <a:lnTo>
                        <a:pt x="286" y="111"/>
                      </a:lnTo>
                      <a:lnTo>
                        <a:pt x="286" y="111"/>
                      </a:lnTo>
                      <a:lnTo>
                        <a:pt x="286" y="112"/>
                      </a:lnTo>
                      <a:lnTo>
                        <a:pt x="286" y="113"/>
                      </a:lnTo>
                      <a:lnTo>
                        <a:pt x="286" y="114"/>
                      </a:lnTo>
                      <a:lnTo>
                        <a:pt x="286" y="116"/>
                      </a:lnTo>
                      <a:lnTo>
                        <a:pt x="286" y="118"/>
                      </a:lnTo>
                      <a:lnTo>
                        <a:pt x="285" y="124"/>
                      </a:lnTo>
                      <a:lnTo>
                        <a:pt x="285" y="126"/>
                      </a:lnTo>
                      <a:lnTo>
                        <a:pt x="286" y="128"/>
                      </a:lnTo>
                      <a:lnTo>
                        <a:pt x="286" y="130"/>
                      </a:lnTo>
                      <a:lnTo>
                        <a:pt x="286" y="131"/>
                      </a:lnTo>
                      <a:lnTo>
                        <a:pt x="285" y="132"/>
                      </a:lnTo>
                      <a:lnTo>
                        <a:pt x="285" y="133"/>
                      </a:lnTo>
                      <a:lnTo>
                        <a:pt x="286" y="133"/>
                      </a:lnTo>
                      <a:lnTo>
                        <a:pt x="286" y="134"/>
                      </a:lnTo>
                      <a:lnTo>
                        <a:pt x="287" y="134"/>
                      </a:lnTo>
                      <a:lnTo>
                        <a:pt x="288" y="136"/>
                      </a:lnTo>
                      <a:lnTo>
                        <a:pt x="288" y="136"/>
                      </a:lnTo>
                      <a:lnTo>
                        <a:pt x="287" y="137"/>
                      </a:lnTo>
                      <a:lnTo>
                        <a:pt x="286" y="137"/>
                      </a:lnTo>
                      <a:lnTo>
                        <a:pt x="286" y="137"/>
                      </a:lnTo>
                      <a:lnTo>
                        <a:pt x="285" y="138"/>
                      </a:lnTo>
                      <a:lnTo>
                        <a:pt x="284" y="138"/>
                      </a:lnTo>
                      <a:lnTo>
                        <a:pt x="284" y="139"/>
                      </a:lnTo>
                      <a:lnTo>
                        <a:pt x="283" y="139"/>
                      </a:lnTo>
                      <a:lnTo>
                        <a:pt x="283" y="139"/>
                      </a:lnTo>
                      <a:lnTo>
                        <a:pt x="282" y="139"/>
                      </a:lnTo>
                      <a:lnTo>
                        <a:pt x="282" y="139"/>
                      </a:lnTo>
                      <a:lnTo>
                        <a:pt x="281" y="139"/>
                      </a:lnTo>
                      <a:lnTo>
                        <a:pt x="280" y="139"/>
                      </a:lnTo>
                      <a:lnTo>
                        <a:pt x="280" y="139"/>
                      </a:lnTo>
                      <a:lnTo>
                        <a:pt x="280" y="139"/>
                      </a:lnTo>
                      <a:lnTo>
                        <a:pt x="279" y="139"/>
                      </a:lnTo>
                      <a:lnTo>
                        <a:pt x="278" y="139"/>
                      </a:lnTo>
                      <a:lnTo>
                        <a:pt x="277" y="139"/>
                      </a:lnTo>
                      <a:lnTo>
                        <a:pt x="277" y="139"/>
                      </a:lnTo>
                      <a:lnTo>
                        <a:pt x="276" y="139"/>
                      </a:lnTo>
                      <a:lnTo>
                        <a:pt x="275" y="139"/>
                      </a:lnTo>
                      <a:lnTo>
                        <a:pt x="275" y="140"/>
                      </a:lnTo>
                      <a:lnTo>
                        <a:pt x="275" y="140"/>
                      </a:lnTo>
                      <a:lnTo>
                        <a:pt x="274" y="140"/>
                      </a:lnTo>
                      <a:lnTo>
                        <a:pt x="274" y="141"/>
                      </a:lnTo>
                      <a:lnTo>
                        <a:pt x="273" y="141"/>
                      </a:lnTo>
                      <a:lnTo>
                        <a:pt x="273" y="141"/>
                      </a:lnTo>
                      <a:lnTo>
                        <a:pt x="273" y="142"/>
                      </a:lnTo>
                      <a:lnTo>
                        <a:pt x="272" y="142"/>
                      </a:lnTo>
                      <a:lnTo>
                        <a:pt x="271" y="143"/>
                      </a:lnTo>
                      <a:lnTo>
                        <a:pt x="271" y="143"/>
                      </a:lnTo>
                      <a:lnTo>
                        <a:pt x="270" y="143"/>
                      </a:lnTo>
                      <a:lnTo>
                        <a:pt x="270" y="144"/>
                      </a:lnTo>
                      <a:lnTo>
                        <a:pt x="269" y="144"/>
                      </a:lnTo>
                      <a:lnTo>
                        <a:pt x="269" y="145"/>
                      </a:lnTo>
                      <a:lnTo>
                        <a:pt x="269" y="145"/>
                      </a:lnTo>
                      <a:lnTo>
                        <a:pt x="269" y="144"/>
                      </a:lnTo>
                      <a:lnTo>
                        <a:pt x="268" y="144"/>
                      </a:lnTo>
                      <a:lnTo>
                        <a:pt x="268" y="145"/>
                      </a:lnTo>
                      <a:lnTo>
                        <a:pt x="267" y="145"/>
                      </a:lnTo>
                      <a:lnTo>
                        <a:pt x="267" y="145"/>
                      </a:lnTo>
                      <a:lnTo>
                        <a:pt x="267" y="145"/>
                      </a:lnTo>
                      <a:lnTo>
                        <a:pt x="267" y="146"/>
                      </a:lnTo>
                      <a:lnTo>
                        <a:pt x="266" y="146"/>
                      </a:lnTo>
                      <a:lnTo>
                        <a:pt x="266" y="147"/>
                      </a:lnTo>
                      <a:lnTo>
                        <a:pt x="266" y="147"/>
                      </a:lnTo>
                      <a:lnTo>
                        <a:pt x="266" y="148"/>
                      </a:lnTo>
                      <a:lnTo>
                        <a:pt x="265" y="148"/>
                      </a:lnTo>
                      <a:lnTo>
                        <a:pt x="265" y="148"/>
                      </a:lnTo>
                      <a:lnTo>
                        <a:pt x="263" y="149"/>
                      </a:lnTo>
                      <a:lnTo>
                        <a:pt x="263" y="149"/>
                      </a:lnTo>
                      <a:lnTo>
                        <a:pt x="263" y="150"/>
                      </a:lnTo>
                      <a:lnTo>
                        <a:pt x="262" y="151"/>
                      </a:lnTo>
                      <a:lnTo>
                        <a:pt x="262" y="151"/>
                      </a:lnTo>
                      <a:lnTo>
                        <a:pt x="261" y="151"/>
                      </a:lnTo>
                      <a:lnTo>
                        <a:pt x="261" y="152"/>
                      </a:lnTo>
                      <a:lnTo>
                        <a:pt x="261" y="151"/>
                      </a:lnTo>
                      <a:lnTo>
                        <a:pt x="261" y="152"/>
                      </a:lnTo>
                      <a:lnTo>
                        <a:pt x="260" y="152"/>
                      </a:lnTo>
                      <a:lnTo>
                        <a:pt x="260" y="153"/>
                      </a:lnTo>
                      <a:lnTo>
                        <a:pt x="259" y="153"/>
                      </a:lnTo>
                      <a:lnTo>
                        <a:pt x="258" y="153"/>
                      </a:lnTo>
                      <a:lnTo>
                        <a:pt x="258" y="153"/>
                      </a:lnTo>
                      <a:lnTo>
                        <a:pt x="257" y="153"/>
                      </a:lnTo>
                      <a:lnTo>
                        <a:pt x="256" y="153"/>
                      </a:lnTo>
                      <a:lnTo>
                        <a:pt x="256" y="153"/>
                      </a:lnTo>
                      <a:lnTo>
                        <a:pt x="256" y="154"/>
                      </a:lnTo>
                      <a:lnTo>
                        <a:pt x="255" y="155"/>
                      </a:lnTo>
                      <a:lnTo>
                        <a:pt x="255" y="155"/>
                      </a:lnTo>
                      <a:lnTo>
                        <a:pt x="254" y="155"/>
                      </a:lnTo>
                      <a:lnTo>
                        <a:pt x="254" y="156"/>
                      </a:lnTo>
                      <a:lnTo>
                        <a:pt x="254" y="156"/>
                      </a:lnTo>
                      <a:lnTo>
                        <a:pt x="253" y="156"/>
                      </a:lnTo>
                      <a:lnTo>
                        <a:pt x="252" y="156"/>
                      </a:lnTo>
                      <a:lnTo>
                        <a:pt x="252" y="156"/>
                      </a:lnTo>
                      <a:lnTo>
                        <a:pt x="251" y="156"/>
                      </a:lnTo>
                      <a:lnTo>
                        <a:pt x="250" y="156"/>
                      </a:lnTo>
                      <a:lnTo>
                        <a:pt x="250" y="156"/>
                      </a:lnTo>
                      <a:lnTo>
                        <a:pt x="249" y="156"/>
                      </a:lnTo>
                      <a:lnTo>
                        <a:pt x="248" y="157"/>
                      </a:lnTo>
                      <a:lnTo>
                        <a:pt x="248" y="158"/>
                      </a:lnTo>
                      <a:lnTo>
                        <a:pt x="248" y="158"/>
                      </a:lnTo>
                      <a:lnTo>
                        <a:pt x="248" y="158"/>
                      </a:lnTo>
                      <a:lnTo>
                        <a:pt x="248" y="159"/>
                      </a:lnTo>
                      <a:lnTo>
                        <a:pt x="247" y="159"/>
                      </a:lnTo>
                      <a:lnTo>
                        <a:pt x="246" y="159"/>
                      </a:lnTo>
                      <a:lnTo>
                        <a:pt x="246" y="159"/>
                      </a:lnTo>
                      <a:lnTo>
                        <a:pt x="245" y="159"/>
                      </a:lnTo>
                      <a:lnTo>
                        <a:pt x="244" y="159"/>
                      </a:lnTo>
                      <a:lnTo>
                        <a:pt x="244" y="159"/>
                      </a:lnTo>
                      <a:lnTo>
                        <a:pt x="243" y="159"/>
                      </a:lnTo>
                      <a:lnTo>
                        <a:pt x="242" y="159"/>
                      </a:lnTo>
                      <a:lnTo>
                        <a:pt x="242" y="159"/>
                      </a:lnTo>
                      <a:lnTo>
                        <a:pt x="242" y="160"/>
                      </a:lnTo>
                      <a:lnTo>
                        <a:pt x="241" y="160"/>
                      </a:lnTo>
                      <a:lnTo>
                        <a:pt x="240" y="159"/>
                      </a:lnTo>
                      <a:lnTo>
                        <a:pt x="239" y="159"/>
                      </a:lnTo>
                      <a:lnTo>
                        <a:pt x="239" y="158"/>
                      </a:lnTo>
                      <a:lnTo>
                        <a:pt x="239" y="158"/>
                      </a:lnTo>
                      <a:lnTo>
                        <a:pt x="238" y="158"/>
                      </a:lnTo>
                      <a:lnTo>
                        <a:pt x="237" y="158"/>
                      </a:lnTo>
                      <a:lnTo>
                        <a:pt x="236" y="159"/>
                      </a:lnTo>
                      <a:lnTo>
                        <a:pt x="236" y="160"/>
                      </a:lnTo>
                      <a:lnTo>
                        <a:pt x="235" y="160"/>
                      </a:lnTo>
                      <a:lnTo>
                        <a:pt x="235" y="160"/>
                      </a:lnTo>
                      <a:lnTo>
                        <a:pt x="235" y="161"/>
                      </a:lnTo>
                      <a:lnTo>
                        <a:pt x="234" y="161"/>
                      </a:lnTo>
                      <a:lnTo>
                        <a:pt x="233" y="162"/>
                      </a:lnTo>
                      <a:lnTo>
                        <a:pt x="233" y="162"/>
                      </a:lnTo>
                      <a:lnTo>
                        <a:pt x="233" y="162"/>
                      </a:lnTo>
                      <a:lnTo>
                        <a:pt x="232" y="162"/>
                      </a:lnTo>
                      <a:lnTo>
                        <a:pt x="232" y="163"/>
                      </a:lnTo>
                      <a:lnTo>
                        <a:pt x="231" y="163"/>
                      </a:lnTo>
                      <a:lnTo>
                        <a:pt x="231" y="164"/>
                      </a:lnTo>
                      <a:lnTo>
                        <a:pt x="231" y="164"/>
                      </a:lnTo>
                      <a:lnTo>
                        <a:pt x="232" y="164"/>
                      </a:lnTo>
                      <a:lnTo>
                        <a:pt x="232" y="165"/>
                      </a:lnTo>
                      <a:lnTo>
                        <a:pt x="231" y="165"/>
                      </a:lnTo>
                      <a:lnTo>
                        <a:pt x="231" y="166"/>
                      </a:lnTo>
                      <a:lnTo>
                        <a:pt x="231" y="166"/>
                      </a:lnTo>
                      <a:lnTo>
                        <a:pt x="231" y="166"/>
                      </a:lnTo>
                      <a:lnTo>
                        <a:pt x="231" y="167"/>
                      </a:lnTo>
                      <a:lnTo>
                        <a:pt x="230" y="167"/>
                      </a:lnTo>
                      <a:lnTo>
                        <a:pt x="229" y="167"/>
                      </a:lnTo>
                      <a:lnTo>
                        <a:pt x="229" y="168"/>
                      </a:lnTo>
                      <a:lnTo>
                        <a:pt x="229" y="168"/>
                      </a:lnTo>
                      <a:lnTo>
                        <a:pt x="228" y="168"/>
                      </a:lnTo>
                      <a:lnTo>
                        <a:pt x="227" y="168"/>
                      </a:lnTo>
                      <a:lnTo>
                        <a:pt x="227" y="169"/>
                      </a:lnTo>
                      <a:lnTo>
                        <a:pt x="227" y="170"/>
                      </a:lnTo>
                      <a:lnTo>
                        <a:pt x="226" y="170"/>
                      </a:lnTo>
                      <a:lnTo>
                        <a:pt x="225" y="170"/>
                      </a:lnTo>
                      <a:lnTo>
                        <a:pt x="225" y="170"/>
                      </a:lnTo>
                      <a:lnTo>
                        <a:pt x="223" y="170"/>
                      </a:lnTo>
                      <a:lnTo>
                        <a:pt x="223" y="170"/>
                      </a:lnTo>
                      <a:lnTo>
                        <a:pt x="222" y="170"/>
                      </a:lnTo>
                      <a:lnTo>
                        <a:pt x="221" y="170"/>
                      </a:lnTo>
                      <a:lnTo>
                        <a:pt x="220" y="170"/>
                      </a:lnTo>
                      <a:lnTo>
                        <a:pt x="220" y="170"/>
                      </a:lnTo>
                      <a:lnTo>
                        <a:pt x="218" y="171"/>
                      </a:lnTo>
                      <a:lnTo>
                        <a:pt x="218" y="171"/>
                      </a:lnTo>
                      <a:lnTo>
                        <a:pt x="217" y="171"/>
                      </a:lnTo>
                      <a:lnTo>
                        <a:pt x="216" y="171"/>
                      </a:lnTo>
                      <a:lnTo>
                        <a:pt x="216" y="171"/>
                      </a:lnTo>
                      <a:lnTo>
                        <a:pt x="216" y="172"/>
                      </a:lnTo>
                      <a:lnTo>
                        <a:pt x="215" y="172"/>
                      </a:lnTo>
                      <a:lnTo>
                        <a:pt x="214" y="172"/>
                      </a:lnTo>
                      <a:lnTo>
                        <a:pt x="214" y="172"/>
                      </a:lnTo>
                      <a:lnTo>
                        <a:pt x="214" y="172"/>
                      </a:lnTo>
                      <a:lnTo>
                        <a:pt x="213" y="172"/>
                      </a:lnTo>
                      <a:lnTo>
                        <a:pt x="212" y="173"/>
                      </a:lnTo>
                      <a:lnTo>
                        <a:pt x="212" y="174"/>
                      </a:lnTo>
                      <a:lnTo>
                        <a:pt x="212" y="174"/>
                      </a:lnTo>
                      <a:lnTo>
                        <a:pt x="212" y="174"/>
                      </a:lnTo>
                      <a:lnTo>
                        <a:pt x="211" y="174"/>
                      </a:lnTo>
                      <a:lnTo>
                        <a:pt x="210" y="174"/>
                      </a:lnTo>
                      <a:lnTo>
                        <a:pt x="210" y="174"/>
                      </a:lnTo>
                      <a:lnTo>
                        <a:pt x="209" y="173"/>
                      </a:lnTo>
                      <a:lnTo>
                        <a:pt x="208" y="173"/>
                      </a:lnTo>
                      <a:lnTo>
                        <a:pt x="204" y="175"/>
                      </a:lnTo>
                      <a:lnTo>
                        <a:pt x="193" y="177"/>
                      </a:lnTo>
                      <a:lnTo>
                        <a:pt x="188" y="181"/>
                      </a:lnTo>
                      <a:lnTo>
                        <a:pt x="180" y="186"/>
                      </a:lnTo>
                      <a:lnTo>
                        <a:pt x="174" y="189"/>
                      </a:lnTo>
                      <a:lnTo>
                        <a:pt x="173" y="189"/>
                      </a:lnTo>
                      <a:lnTo>
                        <a:pt x="170" y="190"/>
                      </a:lnTo>
                      <a:lnTo>
                        <a:pt x="168" y="193"/>
                      </a:lnTo>
                      <a:lnTo>
                        <a:pt x="165" y="193"/>
                      </a:lnTo>
                      <a:lnTo>
                        <a:pt x="162" y="195"/>
                      </a:lnTo>
                      <a:lnTo>
                        <a:pt x="159" y="199"/>
                      </a:lnTo>
                      <a:lnTo>
                        <a:pt x="157" y="200"/>
                      </a:lnTo>
                      <a:lnTo>
                        <a:pt x="153" y="202"/>
                      </a:lnTo>
                      <a:lnTo>
                        <a:pt x="151" y="204"/>
                      </a:lnTo>
                      <a:lnTo>
                        <a:pt x="149" y="203"/>
                      </a:lnTo>
                      <a:lnTo>
                        <a:pt x="143" y="202"/>
                      </a:lnTo>
                      <a:lnTo>
                        <a:pt x="139" y="200"/>
                      </a:lnTo>
                      <a:lnTo>
                        <a:pt x="117" y="189"/>
                      </a:lnTo>
                      <a:lnTo>
                        <a:pt x="114" y="187"/>
                      </a:lnTo>
                      <a:lnTo>
                        <a:pt x="113" y="187"/>
                      </a:lnTo>
                      <a:lnTo>
                        <a:pt x="112" y="189"/>
                      </a:lnTo>
                      <a:lnTo>
                        <a:pt x="110" y="189"/>
                      </a:lnTo>
                      <a:lnTo>
                        <a:pt x="108" y="188"/>
                      </a:lnTo>
                      <a:lnTo>
                        <a:pt x="106" y="187"/>
                      </a:lnTo>
                      <a:lnTo>
                        <a:pt x="106" y="183"/>
                      </a:lnTo>
                      <a:lnTo>
                        <a:pt x="106" y="181"/>
                      </a:lnTo>
                      <a:lnTo>
                        <a:pt x="105" y="181"/>
                      </a:lnTo>
                      <a:lnTo>
                        <a:pt x="100" y="185"/>
                      </a:lnTo>
                      <a:lnTo>
                        <a:pt x="100" y="185"/>
                      </a:lnTo>
                      <a:lnTo>
                        <a:pt x="99" y="185"/>
                      </a:lnTo>
                      <a:lnTo>
                        <a:pt x="99" y="185"/>
                      </a:lnTo>
                      <a:lnTo>
                        <a:pt x="98" y="185"/>
                      </a:lnTo>
                      <a:lnTo>
                        <a:pt x="98" y="184"/>
                      </a:lnTo>
                      <a:lnTo>
                        <a:pt x="98" y="183"/>
                      </a:lnTo>
                      <a:lnTo>
                        <a:pt x="98" y="183"/>
                      </a:lnTo>
                      <a:lnTo>
                        <a:pt x="98" y="183"/>
                      </a:lnTo>
                      <a:lnTo>
                        <a:pt x="97" y="183"/>
                      </a:lnTo>
                      <a:lnTo>
                        <a:pt x="97" y="182"/>
                      </a:lnTo>
                      <a:lnTo>
                        <a:pt x="97" y="181"/>
                      </a:lnTo>
                      <a:lnTo>
                        <a:pt x="96" y="181"/>
                      </a:lnTo>
                      <a:lnTo>
                        <a:pt x="96" y="181"/>
                      </a:lnTo>
                      <a:lnTo>
                        <a:pt x="96" y="181"/>
                      </a:lnTo>
                      <a:lnTo>
                        <a:pt x="96" y="180"/>
                      </a:lnTo>
                      <a:lnTo>
                        <a:pt x="96" y="179"/>
                      </a:lnTo>
                      <a:lnTo>
                        <a:pt x="95" y="179"/>
                      </a:lnTo>
                      <a:lnTo>
                        <a:pt x="95" y="179"/>
                      </a:lnTo>
                      <a:lnTo>
                        <a:pt x="95" y="178"/>
                      </a:lnTo>
                      <a:lnTo>
                        <a:pt x="94" y="178"/>
                      </a:lnTo>
                      <a:lnTo>
                        <a:pt x="94" y="177"/>
                      </a:lnTo>
                      <a:lnTo>
                        <a:pt x="94" y="177"/>
                      </a:lnTo>
                      <a:lnTo>
                        <a:pt x="94" y="177"/>
                      </a:lnTo>
                      <a:lnTo>
                        <a:pt x="94" y="176"/>
                      </a:lnTo>
                      <a:lnTo>
                        <a:pt x="94" y="176"/>
                      </a:lnTo>
                      <a:lnTo>
                        <a:pt x="94" y="175"/>
                      </a:lnTo>
                      <a:lnTo>
                        <a:pt x="94" y="174"/>
                      </a:lnTo>
                      <a:lnTo>
                        <a:pt x="93" y="174"/>
                      </a:lnTo>
                      <a:lnTo>
                        <a:pt x="93" y="174"/>
                      </a:lnTo>
                      <a:lnTo>
                        <a:pt x="92" y="174"/>
                      </a:lnTo>
                      <a:lnTo>
                        <a:pt x="92" y="173"/>
                      </a:lnTo>
                      <a:lnTo>
                        <a:pt x="92" y="173"/>
                      </a:lnTo>
                      <a:lnTo>
                        <a:pt x="92" y="172"/>
                      </a:lnTo>
                      <a:lnTo>
                        <a:pt x="92" y="172"/>
                      </a:lnTo>
                      <a:lnTo>
                        <a:pt x="91" y="172"/>
                      </a:lnTo>
                      <a:lnTo>
                        <a:pt x="91" y="171"/>
                      </a:lnTo>
                      <a:lnTo>
                        <a:pt x="91" y="170"/>
                      </a:lnTo>
                      <a:lnTo>
                        <a:pt x="91" y="170"/>
                      </a:lnTo>
                      <a:lnTo>
                        <a:pt x="90" y="170"/>
                      </a:lnTo>
                      <a:lnTo>
                        <a:pt x="90" y="169"/>
                      </a:lnTo>
                      <a:lnTo>
                        <a:pt x="91" y="169"/>
                      </a:lnTo>
                      <a:lnTo>
                        <a:pt x="91" y="168"/>
                      </a:lnTo>
                      <a:lnTo>
                        <a:pt x="91" y="168"/>
                      </a:lnTo>
                      <a:lnTo>
                        <a:pt x="91" y="167"/>
                      </a:lnTo>
                      <a:lnTo>
                        <a:pt x="91" y="166"/>
                      </a:lnTo>
                      <a:lnTo>
                        <a:pt x="92" y="166"/>
                      </a:lnTo>
                      <a:lnTo>
                        <a:pt x="92" y="166"/>
                      </a:lnTo>
                      <a:lnTo>
                        <a:pt x="92" y="165"/>
                      </a:lnTo>
                      <a:lnTo>
                        <a:pt x="92" y="164"/>
                      </a:lnTo>
                      <a:lnTo>
                        <a:pt x="92" y="164"/>
                      </a:lnTo>
                      <a:lnTo>
                        <a:pt x="92" y="163"/>
                      </a:lnTo>
                      <a:lnTo>
                        <a:pt x="92" y="163"/>
                      </a:lnTo>
                      <a:lnTo>
                        <a:pt x="92" y="162"/>
                      </a:lnTo>
                      <a:lnTo>
                        <a:pt x="92" y="162"/>
                      </a:lnTo>
                      <a:lnTo>
                        <a:pt x="92" y="161"/>
                      </a:lnTo>
                      <a:lnTo>
                        <a:pt x="92" y="160"/>
                      </a:lnTo>
                      <a:lnTo>
                        <a:pt x="92" y="160"/>
                      </a:lnTo>
                      <a:lnTo>
                        <a:pt x="92" y="159"/>
                      </a:lnTo>
                      <a:lnTo>
                        <a:pt x="91" y="159"/>
                      </a:lnTo>
                      <a:lnTo>
                        <a:pt x="92" y="158"/>
                      </a:lnTo>
                      <a:lnTo>
                        <a:pt x="92" y="158"/>
                      </a:lnTo>
                      <a:lnTo>
                        <a:pt x="92" y="158"/>
                      </a:lnTo>
                      <a:lnTo>
                        <a:pt x="93" y="158"/>
                      </a:lnTo>
                      <a:lnTo>
                        <a:pt x="93" y="157"/>
                      </a:lnTo>
                      <a:lnTo>
                        <a:pt x="94" y="157"/>
                      </a:lnTo>
                      <a:lnTo>
                        <a:pt x="94" y="156"/>
                      </a:lnTo>
                      <a:lnTo>
                        <a:pt x="94" y="155"/>
                      </a:lnTo>
                      <a:lnTo>
                        <a:pt x="93" y="155"/>
                      </a:lnTo>
                      <a:lnTo>
                        <a:pt x="94" y="155"/>
                      </a:lnTo>
                      <a:lnTo>
                        <a:pt x="94" y="155"/>
                      </a:lnTo>
                      <a:lnTo>
                        <a:pt x="94" y="154"/>
                      </a:lnTo>
                      <a:lnTo>
                        <a:pt x="93" y="154"/>
                      </a:lnTo>
                      <a:lnTo>
                        <a:pt x="94" y="154"/>
                      </a:lnTo>
                      <a:lnTo>
                        <a:pt x="93" y="153"/>
                      </a:lnTo>
                      <a:lnTo>
                        <a:pt x="93" y="154"/>
                      </a:lnTo>
                      <a:lnTo>
                        <a:pt x="93" y="153"/>
                      </a:lnTo>
                      <a:lnTo>
                        <a:pt x="93" y="153"/>
                      </a:lnTo>
                      <a:lnTo>
                        <a:pt x="92" y="153"/>
                      </a:lnTo>
                      <a:lnTo>
                        <a:pt x="92" y="153"/>
                      </a:lnTo>
                      <a:lnTo>
                        <a:pt x="92" y="152"/>
                      </a:lnTo>
                      <a:lnTo>
                        <a:pt x="92" y="151"/>
                      </a:lnTo>
                      <a:lnTo>
                        <a:pt x="92" y="151"/>
                      </a:lnTo>
                      <a:lnTo>
                        <a:pt x="92" y="150"/>
                      </a:lnTo>
                      <a:lnTo>
                        <a:pt x="92" y="149"/>
                      </a:lnTo>
                      <a:lnTo>
                        <a:pt x="92" y="149"/>
                      </a:lnTo>
                      <a:lnTo>
                        <a:pt x="92" y="148"/>
                      </a:lnTo>
                      <a:lnTo>
                        <a:pt x="92" y="147"/>
                      </a:lnTo>
                      <a:lnTo>
                        <a:pt x="92" y="147"/>
                      </a:lnTo>
                      <a:lnTo>
                        <a:pt x="91" y="147"/>
                      </a:lnTo>
                      <a:lnTo>
                        <a:pt x="91" y="146"/>
                      </a:lnTo>
                      <a:lnTo>
                        <a:pt x="90" y="146"/>
                      </a:lnTo>
                      <a:lnTo>
                        <a:pt x="90" y="145"/>
                      </a:lnTo>
                      <a:lnTo>
                        <a:pt x="90" y="145"/>
                      </a:lnTo>
                      <a:lnTo>
                        <a:pt x="90" y="144"/>
                      </a:lnTo>
                      <a:lnTo>
                        <a:pt x="91" y="144"/>
                      </a:lnTo>
                      <a:lnTo>
                        <a:pt x="91" y="143"/>
                      </a:lnTo>
                      <a:lnTo>
                        <a:pt x="91" y="143"/>
                      </a:lnTo>
                      <a:lnTo>
                        <a:pt x="90" y="143"/>
                      </a:lnTo>
                      <a:lnTo>
                        <a:pt x="91" y="143"/>
                      </a:lnTo>
                      <a:lnTo>
                        <a:pt x="91" y="142"/>
                      </a:lnTo>
                      <a:lnTo>
                        <a:pt x="90" y="142"/>
                      </a:lnTo>
                      <a:lnTo>
                        <a:pt x="91" y="142"/>
                      </a:lnTo>
                      <a:lnTo>
                        <a:pt x="91" y="141"/>
                      </a:lnTo>
                      <a:lnTo>
                        <a:pt x="90" y="141"/>
                      </a:lnTo>
                      <a:lnTo>
                        <a:pt x="90" y="141"/>
                      </a:lnTo>
                      <a:lnTo>
                        <a:pt x="90" y="140"/>
                      </a:lnTo>
                      <a:lnTo>
                        <a:pt x="89" y="140"/>
                      </a:lnTo>
                      <a:lnTo>
                        <a:pt x="89" y="139"/>
                      </a:lnTo>
                      <a:lnTo>
                        <a:pt x="90" y="139"/>
                      </a:lnTo>
                      <a:lnTo>
                        <a:pt x="90" y="139"/>
                      </a:lnTo>
                      <a:lnTo>
                        <a:pt x="89" y="139"/>
                      </a:lnTo>
                      <a:lnTo>
                        <a:pt x="89" y="138"/>
                      </a:lnTo>
                      <a:lnTo>
                        <a:pt x="89" y="137"/>
                      </a:lnTo>
                      <a:lnTo>
                        <a:pt x="89" y="137"/>
                      </a:lnTo>
                      <a:lnTo>
                        <a:pt x="89" y="136"/>
                      </a:lnTo>
                      <a:lnTo>
                        <a:pt x="88" y="136"/>
                      </a:lnTo>
                      <a:lnTo>
                        <a:pt x="88" y="136"/>
                      </a:lnTo>
                      <a:lnTo>
                        <a:pt x="87" y="136"/>
                      </a:lnTo>
                      <a:lnTo>
                        <a:pt x="87" y="135"/>
                      </a:lnTo>
                      <a:lnTo>
                        <a:pt x="87" y="134"/>
                      </a:lnTo>
                      <a:lnTo>
                        <a:pt x="87" y="134"/>
                      </a:lnTo>
                      <a:lnTo>
                        <a:pt x="86" y="134"/>
                      </a:lnTo>
                      <a:lnTo>
                        <a:pt x="86" y="134"/>
                      </a:lnTo>
                      <a:lnTo>
                        <a:pt x="85" y="134"/>
                      </a:lnTo>
                      <a:lnTo>
                        <a:pt x="85" y="133"/>
                      </a:lnTo>
                      <a:lnTo>
                        <a:pt x="85" y="133"/>
                      </a:lnTo>
                      <a:lnTo>
                        <a:pt x="85" y="132"/>
                      </a:lnTo>
                      <a:lnTo>
                        <a:pt x="85" y="132"/>
                      </a:lnTo>
                      <a:lnTo>
                        <a:pt x="84" y="132"/>
                      </a:lnTo>
                      <a:lnTo>
                        <a:pt x="84" y="131"/>
                      </a:lnTo>
                      <a:lnTo>
                        <a:pt x="84" y="130"/>
                      </a:lnTo>
                      <a:lnTo>
                        <a:pt x="84" y="130"/>
                      </a:lnTo>
                      <a:lnTo>
                        <a:pt x="83" y="130"/>
                      </a:lnTo>
                      <a:lnTo>
                        <a:pt x="83" y="129"/>
                      </a:lnTo>
                      <a:lnTo>
                        <a:pt x="83" y="128"/>
                      </a:lnTo>
                      <a:lnTo>
                        <a:pt x="83" y="128"/>
                      </a:lnTo>
                      <a:lnTo>
                        <a:pt x="83" y="128"/>
                      </a:lnTo>
                      <a:lnTo>
                        <a:pt x="83" y="128"/>
                      </a:lnTo>
                      <a:lnTo>
                        <a:pt x="83" y="127"/>
                      </a:lnTo>
                      <a:lnTo>
                        <a:pt x="83" y="127"/>
                      </a:lnTo>
                      <a:lnTo>
                        <a:pt x="83" y="126"/>
                      </a:lnTo>
                      <a:lnTo>
                        <a:pt x="83" y="126"/>
                      </a:lnTo>
                      <a:lnTo>
                        <a:pt x="83" y="126"/>
                      </a:lnTo>
                      <a:lnTo>
                        <a:pt x="83" y="126"/>
                      </a:lnTo>
                      <a:lnTo>
                        <a:pt x="83" y="125"/>
                      </a:lnTo>
                      <a:lnTo>
                        <a:pt x="83" y="125"/>
                      </a:lnTo>
                      <a:lnTo>
                        <a:pt x="83" y="124"/>
                      </a:lnTo>
                      <a:lnTo>
                        <a:pt x="83" y="124"/>
                      </a:lnTo>
                      <a:lnTo>
                        <a:pt x="83" y="123"/>
                      </a:lnTo>
                      <a:lnTo>
                        <a:pt x="83" y="123"/>
                      </a:lnTo>
                      <a:lnTo>
                        <a:pt x="83" y="122"/>
                      </a:lnTo>
                      <a:lnTo>
                        <a:pt x="83" y="122"/>
                      </a:lnTo>
                      <a:lnTo>
                        <a:pt x="82" y="122"/>
                      </a:lnTo>
                      <a:lnTo>
                        <a:pt x="81" y="122"/>
                      </a:lnTo>
                      <a:lnTo>
                        <a:pt x="81" y="121"/>
                      </a:lnTo>
                      <a:lnTo>
                        <a:pt x="81" y="120"/>
                      </a:lnTo>
                      <a:lnTo>
                        <a:pt x="77" y="117"/>
                      </a:lnTo>
                      <a:lnTo>
                        <a:pt x="74" y="114"/>
                      </a:lnTo>
                      <a:lnTo>
                        <a:pt x="68" y="108"/>
                      </a:lnTo>
                      <a:lnTo>
                        <a:pt x="63" y="104"/>
                      </a:lnTo>
                      <a:lnTo>
                        <a:pt x="58" y="99"/>
                      </a:lnTo>
                      <a:lnTo>
                        <a:pt x="52" y="94"/>
                      </a:lnTo>
                      <a:lnTo>
                        <a:pt x="50" y="92"/>
                      </a:lnTo>
                      <a:lnTo>
                        <a:pt x="48" y="90"/>
                      </a:lnTo>
                      <a:lnTo>
                        <a:pt x="48" y="88"/>
                      </a:lnTo>
                      <a:lnTo>
                        <a:pt x="48" y="79"/>
                      </a:lnTo>
                      <a:lnTo>
                        <a:pt x="47" y="77"/>
                      </a:lnTo>
                      <a:lnTo>
                        <a:pt x="47" y="75"/>
                      </a:lnTo>
                      <a:lnTo>
                        <a:pt x="47" y="72"/>
                      </a:lnTo>
                      <a:lnTo>
                        <a:pt x="47" y="73"/>
                      </a:lnTo>
                      <a:lnTo>
                        <a:pt x="47" y="69"/>
                      </a:lnTo>
                      <a:lnTo>
                        <a:pt x="47" y="61"/>
                      </a:lnTo>
                      <a:lnTo>
                        <a:pt x="47" y="60"/>
                      </a:lnTo>
                      <a:lnTo>
                        <a:pt x="47" y="44"/>
                      </a:lnTo>
                      <a:lnTo>
                        <a:pt x="47" y="40"/>
                      </a:lnTo>
                      <a:lnTo>
                        <a:pt x="46" y="29"/>
                      </a:lnTo>
                      <a:lnTo>
                        <a:pt x="35" y="21"/>
                      </a:lnTo>
                      <a:lnTo>
                        <a:pt x="18" y="8"/>
                      </a:lnTo>
                      <a:lnTo>
                        <a:pt x="1" y="7"/>
                      </a:lnTo>
                      <a:lnTo>
                        <a:pt x="1" y="6"/>
                      </a:lnTo>
                      <a:lnTo>
                        <a:pt x="1" y="6"/>
                      </a:lnTo>
                      <a:lnTo>
                        <a:pt x="0" y="6"/>
                      </a:lnTo>
                      <a:lnTo>
                        <a:pt x="0" y="5"/>
                      </a:lnTo>
                      <a:lnTo>
                        <a:pt x="1" y="5"/>
                      </a:lnTo>
                      <a:lnTo>
                        <a:pt x="1" y="4"/>
                      </a:lnTo>
                      <a:lnTo>
                        <a:pt x="1" y="4"/>
                      </a:lnTo>
                      <a:lnTo>
                        <a:pt x="1" y="4"/>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1" name="Freeform 51">
                  <a:extLst>
                    <a:ext uri="{FF2B5EF4-FFF2-40B4-BE49-F238E27FC236}">
                      <a16:creationId xmlns:a16="http://schemas.microsoft.com/office/drawing/2014/main" xmlns="" id="{5CEE93D4-D0CE-DD01-452D-4AED8AE1DCF0}"/>
                    </a:ext>
                  </a:extLst>
                </p:cNvPr>
                <p:cNvSpPr>
                  <a:spLocks/>
                </p:cNvSpPr>
                <p:nvPr/>
              </p:nvSpPr>
              <p:spPr bwMode="auto">
                <a:xfrm>
                  <a:off x="1974" y="2483"/>
                  <a:ext cx="267" cy="278"/>
                </a:xfrm>
                <a:custGeom>
                  <a:avLst/>
                  <a:gdLst>
                    <a:gd name="T0" fmla="*/ 9 w 267"/>
                    <a:gd name="T1" fmla="*/ 262 h 278"/>
                    <a:gd name="T2" fmla="*/ 16 w 267"/>
                    <a:gd name="T3" fmla="*/ 258 h 278"/>
                    <a:gd name="T4" fmla="*/ 34 w 267"/>
                    <a:gd name="T5" fmla="*/ 240 h 278"/>
                    <a:gd name="T6" fmla="*/ 65 w 267"/>
                    <a:gd name="T7" fmla="*/ 213 h 278"/>
                    <a:gd name="T8" fmla="*/ 62 w 267"/>
                    <a:gd name="T9" fmla="*/ 206 h 278"/>
                    <a:gd name="T10" fmla="*/ 67 w 267"/>
                    <a:gd name="T11" fmla="*/ 199 h 278"/>
                    <a:gd name="T12" fmla="*/ 80 w 267"/>
                    <a:gd name="T13" fmla="*/ 186 h 278"/>
                    <a:gd name="T14" fmla="*/ 105 w 267"/>
                    <a:gd name="T15" fmla="*/ 155 h 278"/>
                    <a:gd name="T16" fmla="*/ 126 w 267"/>
                    <a:gd name="T17" fmla="*/ 124 h 278"/>
                    <a:gd name="T18" fmla="*/ 147 w 267"/>
                    <a:gd name="T19" fmla="*/ 116 h 278"/>
                    <a:gd name="T20" fmla="*/ 154 w 267"/>
                    <a:gd name="T21" fmla="*/ 111 h 278"/>
                    <a:gd name="T22" fmla="*/ 153 w 267"/>
                    <a:gd name="T23" fmla="*/ 98 h 278"/>
                    <a:gd name="T24" fmla="*/ 148 w 267"/>
                    <a:gd name="T25" fmla="*/ 86 h 278"/>
                    <a:gd name="T26" fmla="*/ 152 w 267"/>
                    <a:gd name="T27" fmla="*/ 82 h 278"/>
                    <a:gd name="T28" fmla="*/ 160 w 267"/>
                    <a:gd name="T29" fmla="*/ 85 h 278"/>
                    <a:gd name="T30" fmla="*/ 166 w 267"/>
                    <a:gd name="T31" fmla="*/ 86 h 278"/>
                    <a:gd name="T32" fmla="*/ 173 w 267"/>
                    <a:gd name="T33" fmla="*/ 90 h 278"/>
                    <a:gd name="T34" fmla="*/ 178 w 267"/>
                    <a:gd name="T35" fmla="*/ 91 h 278"/>
                    <a:gd name="T36" fmla="*/ 185 w 267"/>
                    <a:gd name="T37" fmla="*/ 92 h 278"/>
                    <a:gd name="T38" fmla="*/ 192 w 267"/>
                    <a:gd name="T39" fmla="*/ 90 h 278"/>
                    <a:gd name="T40" fmla="*/ 194 w 267"/>
                    <a:gd name="T41" fmla="*/ 89 h 278"/>
                    <a:gd name="T42" fmla="*/ 197 w 267"/>
                    <a:gd name="T43" fmla="*/ 86 h 278"/>
                    <a:gd name="T44" fmla="*/ 200 w 267"/>
                    <a:gd name="T45" fmla="*/ 83 h 278"/>
                    <a:gd name="T46" fmla="*/ 200 w 267"/>
                    <a:gd name="T47" fmla="*/ 78 h 278"/>
                    <a:gd name="T48" fmla="*/ 198 w 267"/>
                    <a:gd name="T49" fmla="*/ 73 h 278"/>
                    <a:gd name="T50" fmla="*/ 202 w 267"/>
                    <a:gd name="T51" fmla="*/ 72 h 278"/>
                    <a:gd name="T52" fmla="*/ 200 w 267"/>
                    <a:gd name="T53" fmla="*/ 67 h 278"/>
                    <a:gd name="T54" fmla="*/ 203 w 267"/>
                    <a:gd name="T55" fmla="*/ 63 h 278"/>
                    <a:gd name="T56" fmla="*/ 198 w 267"/>
                    <a:gd name="T57" fmla="*/ 62 h 278"/>
                    <a:gd name="T58" fmla="*/ 190 w 267"/>
                    <a:gd name="T59" fmla="*/ 58 h 278"/>
                    <a:gd name="T60" fmla="*/ 184 w 267"/>
                    <a:gd name="T61" fmla="*/ 58 h 278"/>
                    <a:gd name="T62" fmla="*/ 175 w 267"/>
                    <a:gd name="T63" fmla="*/ 59 h 278"/>
                    <a:gd name="T64" fmla="*/ 169 w 267"/>
                    <a:gd name="T65" fmla="*/ 58 h 278"/>
                    <a:gd name="T66" fmla="*/ 170 w 267"/>
                    <a:gd name="T67" fmla="*/ 51 h 278"/>
                    <a:gd name="T68" fmla="*/ 173 w 267"/>
                    <a:gd name="T69" fmla="*/ 48 h 278"/>
                    <a:gd name="T70" fmla="*/ 182 w 267"/>
                    <a:gd name="T71" fmla="*/ 48 h 278"/>
                    <a:gd name="T72" fmla="*/ 189 w 267"/>
                    <a:gd name="T73" fmla="*/ 46 h 278"/>
                    <a:gd name="T74" fmla="*/ 196 w 267"/>
                    <a:gd name="T75" fmla="*/ 46 h 278"/>
                    <a:gd name="T76" fmla="*/ 203 w 267"/>
                    <a:gd name="T77" fmla="*/ 45 h 278"/>
                    <a:gd name="T78" fmla="*/ 210 w 267"/>
                    <a:gd name="T79" fmla="*/ 46 h 278"/>
                    <a:gd name="T80" fmla="*/ 217 w 267"/>
                    <a:gd name="T81" fmla="*/ 45 h 278"/>
                    <a:gd name="T82" fmla="*/ 223 w 267"/>
                    <a:gd name="T83" fmla="*/ 43 h 278"/>
                    <a:gd name="T84" fmla="*/ 228 w 267"/>
                    <a:gd name="T85" fmla="*/ 42 h 278"/>
                    <a:gd name="T86" fmla="*/ 230 w 267"/>
                    <a:gd name="T87" fmla="*/ 35 h 278"/>
                    <a:gd name="T88" fmla="*/ 236 w 267"/>
                    <a:gd name="T89" fmla="*/ 31 h 278"/>
                    <a:gd name="T90" fmla="*/ 240 w 267"/>
                    <a:gd name="T91" fmla="*/ 25 h 278"/>
                    <a:gd name="T92" fmla="*/ 236 w 267"/>
                    <a:gd name="T93" fmla="*/ 21 h 278"/>
                    <a:gd name="T94" fmla="*/ 230 w 267"/>
                    <a:gd name="T95" fmla="*/ 21 h 278"/>
                    <a:gd name="T96" fmla="*/ 227 w 267"/>
                    <a:gd name="T97" fmla="*/ 21 h 278"/>
                    <a:gd name="T98" fmla="*/ 228 w 267"/>
                    <a:gd name="T99" fmla="*/ 19 h 278"/>
                    <a:gd name="T100" fmla="*/ 235 w 267"/>
                    <a:gd name="T101" fmla="*/ 17 h 278"/>
                    <a:gd name="T102" fmla="*/ 238 w 267"/>
                    <a:gd name="T103" fmla="*/ 13 h 278"/>
                    <a:gd name="T104" fmla="*/ 246 w 267"/>
                    <a:gd name="T105" fmla="*/ 17 h 278"/>
                    <a:gd name="T106" fmla="*/ 252 w 267"/>
                    <a:gd name="T107" fmla="*/ 19 h 278"/>
                    <a:gd name="T108" fmla="*/ 257 w 267"/>
                    <a:gd name="T109" fmla="*/ 19 h 278"/>
                    <a:gd name="T110" fmla="*/ 262 w 267"/>
                    <a:gd name="T111" fmla="*/ 16 h 278"/>
                    <a:gd name="T112" fmla="*/ 260 w 267"/>
                    <a:gd name="T113" fmla="*/ 10 h 278"/>
                    <a:gd name="T114" fmla="*/ 261 w 267"/>
                    <a:gd name="T115" fmla="*/ 6 h 278"/>
                    <a:gd name="T116" fmla="*/ 263 w 267"/>
                    <a:gd name="T117" fmla="*/ 5 h 278"/>
                    <a:gd name="T118" fmla="*/ 267 w 267"/>
                    <a:gd name="T119" fmla="*/ 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8">
                      <a:moveTo>
                        <a:pt x="0" y="278"/>
                      </a:moveTo>
                      <a:lnTo>
                        <a:pt x="1" y="278"/>
                      </a:lnTo>
                      <a:lnTo>
                        <a:pt x="1" y="277"/>
                      </a:lnTo>
                      <a:lnTo>
                        <a:pt x="1" y="276"/>
                      </a:lnTo>
                      <a:lnTo>
                        <a:pt x="3" y="277"/>
                      </a:lnTo>
                      <a:lnTo>
                        <a:pt x="4" y="276"/>
                      </a:lnTo>
                      <a:lnTo>
                        <a:pt x="4" y="276"/>
                      </a:lnTo>
                      <a:lnTo>
                        <a:pt x="6" y="274"/>
                      </a:lnTo>
                      <a:lnTo>
                        <a:pt x="7" y="270"/>
                      </a:lnTo>
                      <a:lnTo>
                        <a:pt x="8" y="267"/>
                      </a:lnTo>
                      <a:lnTo>
                        <a:pt x="8" y="265"/>
                      </a:lnTo>
                      <a:lnTo>
                        <a:pt x="8" y="265"/>
                      </a:lnTo>
                      <a:lnTo>
                        <a:pt x="9" y="265"/>
                      </a:lnTo>
                      <a:lnTo>
                        <a:pt x="9" y="264"/>
                      </a:lnTo>
                      <a:lnTo>
                        <a:pt x="9" y="263"/>
                      </a:lnTo>
                      <a:lnTo>
                        <a:pt x="9" y="263"/>
                      </a:lnTo>
                      <a:lnTo>
                        <a:pt x="9" y="262"/>
                      </a:lnTo>
                      <a:lnTo>
                        <a:pt x="10" y="262"/>
                      </a:lnTo>
                      <a:lnTo>
                        <a:pt x="10" y="261"/>
                      </a:lnTo>
                      <a:lnTo>
                        <a:pt x="10" y="261"/>
                      </a:lnTo>
                      <a:lnTo>
                        <a:pt x="11" y="261"/>
                      </a:lnTo>
                      <a:lnTo>
                        <a:pt x="11" y="261"/>
                      </a:lnTo>
                      <a:lnTo>
                        <a:pt x="11" y="260"/>
                      </a:lnTo>
                      <a:lnTo>
                        <a:pt x="12" y="260"/>
                      </a:lnTo>
                      <a:lnTo>
                        <a:pt x="12" y="260"/>
                      </a:lnTo>
                      <a:lnTo>
                        <a:pt x="13" y="259"/>
                      </a:lnTo>
                      <a:lnTo>
                        <a:pt x="14" y="259"/>
                      </a:lnTo>
                      <a:lnTo>
                        <a:pt x="14" y="260"/>
                      </a:lnTo>
                      <a:lnTo>
                        <a:pt x="14" y="259"/>
                      </a:lnTo>
                      <a:lnTo>
                        <a:pt x="15" y="259"/>
                      </a:lnTo>
                      <a:lnTo>
                        <a:pt x="15" y="259"/>
                      </a:lnTo>
                      <a:lnTo>
                        <a:pt x="15" y="259"/>
                      </a:lnTo>
                      <a:lnTo>
                        <a:pt x="15" y="258"/>
                      </a:lnTo>
                      <a:lnTo>
                        <a:pt x="16" y="258"/>
                      </a:lnTo>
                      <a:lnTo>
                        <a:pt x="16" y="257"/>
                      </a:lnTo>
                      <a:lnTo>
                        <a:pt x="17" y="257"/>
                      </a:lnTo>
                      <a:lnTo>
                        <a:pt x="17" y="257"/>
                      </a:lnTo>
                      <a:lnTo>
                        <a:pt x="18" y="256"/>
                      </a:lnTo>
                      <a:lnTo>
                        <a:pt x="18" y="255"/>
                      </a:lnTo>
                      <a:lnTo>
                        <a:pt x="17" y="255"/>
                      </a:lnTo>
                      <a:lnTo>
                        <a:pt x="17" y="253"/>
                      </a:lnTo>
                      <a:lnTo>
                        <a:pt x="19" y="251"/>
                      </a:lnTo>
                      <a:lnTo>
                        <a:pt x="19" y="250"/>
                      </a:lnTo>
                      <a:lnTo>
                        <a:pt x="19" y="250"/>
                      </a:lnTo>
                      <a:lnTo>
                        <a:pt x="20" y="248"/>
                      </a:lnTo>
                      <a:lnTo>
                        <a:pt x="21" y="247"/>
                      </a:lnTo>
                      <a:lnTo>
                        <a:pt x="23" y="247"/>
                      </a:lnTo>
                      <a:lnTo>
                        <a:pt x="26" y="246"/>
                      </a:lnTo>
                      <a:lnTo>
                        <a:pt x="31" y="243"/>
                      </a:lnTo>
                      <a:lnTo>
                        <a:pt x="31" y="242"/>
                      </a:lnTo>
                      <a:lnTo>
                        <a:pt x="34" y="240"/>
                      </a:lnTo>
                      <a:lnTo>
                        <a:pt x="36" y="238"/>
                      </a:lnTo>
                      <a:lnTo>
                        <a:pt x="37" y="237"/>
                      </a:lnTo>
                      <a:lnTo>
                        <a:pt x="40" y="234"/>
                      </a:lnTo>
                      <a:lnTo>
                        <a:pt x="47" y="228"/>
                      </a:lnTo>
                      <a:lnTo>
                        <a:pt x="52" y="232"/>
                      </a:lnTo>
                      <a:lnTo>
                        <a:pt x="58" y="229"/>
                      </a:lnTo>
                      <a:lnTo>
                        <a:pt x="59" y="229"/>
                      </a:lnTo>
                      <a:lnTo>
                        <a:pt x="61" y="227"/>
                      </a:lnTo>
                      <a:lnTo>
                        <a:pt x="67" y="221"/>
                      </a:lnTo>
                      <a:lnTo>
                        <a:pt x="67" y="219"/>
                      </a:lnTo>
                      <a:lnTo>
                        <a:pt x="67" y="217"/>
                      </a:lnTo>
                      <a:lnTo>
                        <a:pt x="67" y="216"/>
                      </a:lnTo>
                      <a:lnTo>
                        <a:pt x="66" y="215"/>
                      </a:lnTo>
                      <a:lnTo>
                        <a:pt x="66" y="215"/>
                      </a:lnTo>
                      <a:lnTo>
                        <a:pt x="65" y="215"/>
                      </a:lnTo>
                      <a:lnTo>
                        <a:pt x="65" y="214"/>
                      </a:lnTo>
                      <a:lnTo>
                        <a:pt x="65" y="213"/>
                      </a:lnTo>
                      <a:lnTo>
                        <a:pt x="64" y="213"/>
                      </a:lnTo>
                      <a:lnTo>
                        <a:pt x="64" y="212"/>
                      </a:lnTo>
                      <a:lnTo>
                        <a:pt x="64" y="212"/>
                      </a:lnTo>
                      <a:lnTo>
                        <a:pt x="63" y="212"/>
                      </a:lnTo>
                      <a:lnTo>
                        <a:pt x="63" y="211"/>
                      </a:lnTo>
                      <a:lnTo>
                        <a:pt x="63" y="210"/>
                      </a:lnTo>
                      <a:lnTo>
                        <a:pt x="63" y="210"/>
                      </a:lnTo>
                      <a:lnTo>
                        <a:pt x="63" y="210"/>
                      </a:lnTo>
                      <a:lnTo>
                        <a:pt x="62" y="210"/>
                      </a:lnTo>
                      <a:lnTo>
                        <a:pt x="61" y="210"/>
                      </a:lnTo>
                      <a:lnTo>
                        <a:pt x="61" y="209"/>
                      </a:lnTo>
                      <a:lnTo>
                        <a:pt x="61" y="209"/>
                      </a:lnTo>
                      <a:lnTo>
                        <a:pt x="61" y="208"/>
                      </a:lnTo>
                      <a:lnTo>
                        <a:pt x="61" y="208"/>
                      </a:lnTo>
                      <a:lnTo>
                        <a:pt x="61" y="207"/>
                      </a:lnTo>
                      <a:lnTo>
                        <a:pt x="62" y="207"/>
                      </a:lnTo>
                      <a:lnTo>
                        <a:pt x="62" y="206"/>
                      </a:lnTo>
                      <a:lnTo>
                        <a:pt x="63" y="206"/>
                      </a:lnTo>
                      <a:lnTo>
                        <a:pt x="63" y="206"/>
                      </a:lnTo>
                      <a:lnTo>
                        <a:pt x="63" y="205"/>
                      </a:lnTo>
                      <a:lnTo>
                        <a:pt x="63" y="204"/>
                      </a:lnTo>
                      <a:lnTo>
                        <a:pt x="64" y="204"/>
                      </a:lnTo>
                      <a:lnTo>
                        <a:pt x="64" y="204"/>
                      </a:lnTo>
                      <a:lnTo>
                        <a:pt x="65" y="204"/>
                      </a:lnTo>
                      <a:lnTo>
                        <a:pt x="65" y="203"/>
                      </a:lnTo>
                      <a:lnTo>
                        <a:pt x="65" y="202"/>
                      </a:lnTo>
                      <a:lnTo>
                        <a:pt x="65" y="202"/>
                      </a:lnTo>
                      <a:lnTo>
                        <a:pt x="66" y="202"/>
                      </a:lnTo>
                      <a:lnTo>
                        <a:pt x="66" y="201"/>
                      </a:lnTo>
                      <a:lnTo>
                        <a:pt x="66" y="200"/>
                      </a:lnTo>
                      <a:lnTo>
                        <a:pt x="67" y="200"/>
                      </a:lnTo>
                      <a:lnTo>
                        <a:pt x="67" y="200"/>
                      </a:lnTo>
                      <a:lnTo>
                        <a:pt x="67" y="199"/>
                      </a:lnTo>
                      <a:lnTo>
                        <a:pt x="67" y="199"/>
                      </a:lnTo>
                      <a:lnTo>
                        <a:pt x="69" y="199"/>
                      </a:lnTo>
                      <a:lnTo>
                        <a:pt x="72" y="199"/>
                      </a:lnTo>
                      <a:lnTo>
                        <a:pt x="74" y="199"/>
                      </a:lnTo>
                      <a:lnTo>
                        <a:pt x="75" y="198"/>
                      </a:lnTo>
                      <a:lnTo>
                        <a:pt x="75" y="198"/>
                      </a:lnTo>
                      <a:lnTo>
                        <a:pt x="76" y="197"/>
                      </a:lnTo>
                      <a:lnTo>
                        <a:pt x="76" y="196"/>
                      </a:lnTo>
                      <a:lnTo>
                        <a:pt x="76" y="196"/>
                      </a:lnTo>
                      <a:lnTo>
                        <a:pt x="77" y="194"/>
                      </a:lnTo>
                      <a:lnTo>
                        <a:pt x="77" y="194"/>
                      </a:lnTo>
                      <a:lnTo>
                        <a:pt x="77" y="192"/>
                      </a:lnTo>
                      <a:lnTo>
                        <a:pt x="78" y="192"/>
                      </a:lnTo>
                      <a:lnTo>
                        <a:pt x="78" y="191"/>
                      </a:lnTo>
                      <a:lnTo>
                        <a:pt x="79" y="191"/>
                      </a:lnTo>
                      <a:lnTo>
                        <a:pt x="78" y="190"/>
                      </a:lnTo>
                      <a:lnTo>
                        <a:pt x="78" y="189"/>
                      </a:lnTo>
                      <a:lnTo>
                        <a:pt x="80" y="186"/>
                      </a:lnTo>
                      <a:lnTo>
                        <a:pt x="81" y="183"/>
                      </a:lnTo>
                      <a:lnTo>
                        <a:pt x="83" y="179"/>
                      </a:lnTo>
                      <a:lnTo>
                        <a:pt x="85" y="177"/>
                      </a:lnTo>
                      <a:lnTo>
                        <a:pt x="87" y="174"/>
                      </a:lnTo>
                      <a:lnTo>
                        <a:pt x="89" y="172"/>
                      </a:lnTo>
                      <a:lnTo>
                        <a:pt x="91" y="170"/>
                      </a:lnTo>
                      <a:lnTo>
                        <a:pt x="92" y="168"/>
                      </a:lnTo>
                      <a:lnTo>
                        <a:pt x="93" y="166"/>
                      </a:lnTo>
                      <a:lnTo>
                        <a:pt x="95" y="165"/>
                      </a:lnTo>
                      <a:lnTo>
                        <a:pt x="95" y="164"/>
                      </a:lnTo>
                      <a:lnTo>
                        <a:pt x="96" y="164"/>
                      </a:lnTo>
                      <a:lnTo>
                        <a:pt x="99" y="162"/>
                      </a:lnTo>
                      <a:lnTo>
                        <a:pt x="101" y="160"/>
                      </a:lnTo>
                      <a:lnTo>
                        <a:pt x="102" y="159"/>
                      </a:lnTo>
                      <a:lnTo>
                        <a:pt x="104" y="158"/>
                      </a:lnTo>
                      <a:lnTo>
                        <a:pt x="105" y="156"/>
                      </a:lnTo>
                      <a:lnTo>
                        <a:pt x="105" y="155"/>
                      </a:lnTo>
                      <a:lnTo>
                        <a:pt x="105" y="153"/>
                      </a:lnTo>
                      <a:lnTo>
                        <a:pt x="107" y="150"/>
                      </a:lnTo>
                      <a:lnTo>
                        <a:pt x="108" y="148"/>
                      </a:lnTo>
                      <a:lnTo>
                        <a:pt x="109" y="147"/>
                      </a:lnTo>
                      <a:lnTo>
                        <a:pt x="112" y="147"/>
                      </a:lnTo>
                      <a:lnTo>
                        <a:pt x="113" y="136"/>
                      </a:lnTo>
                      <a:lnTo>
                        <a:pt x="116" y="128"/>
                      </a:lnTo>
                      <a:lnTo>
                        <a:pt x="120" y="126"/>
                      </a:lnTo>
                      <a:lnTo>
                        <a:pt x="121" y="126"/>
                      </a:lnTo>
                      <a:lnTo>
                        <a:pt x="122" y="126"/>
                      </a:lnTo>
                      <a:lnTo>
                        <a:pt x="122" y="125"/>
                      </a:lnTo>
                      <a:lnTo>
                        <a:pt x="122" y="125"/>
                      </a:lnTo>
                      <a:lnTo>
                        <a:pt x="123" y="125"/>
                      </a:lnTo>
                      <a:lnTo>
                        <a:pt x="123" y="124"/>
                      </a:lnTo>
                      <a:lnTo>
                        <a:pt x="125" y="123"/>
                      </a:lnTo>
                      <a:lnTo>
                        <a:pt x="126" y="123"/>
                      </a:lnTo>
                      <a:lnTo>
                        <a:pt x="126" y="124"/>
                      </a:lnTo>
                      <a:lnTo>
                        <a:pt x="126" y="124"/>
                      </a:lnTo>
                      <a:lnTo>
                        <a:pt x="127" y="124"/>
                      </a:lnTo>
                      <a:lnTo>
                        <a:pt x="127" y="125"/>
                      </a:lnTo>
                      <a:lnTo>
                        <a:pt x="128" y="124"/>
                      </a:lnTo>
                      <a:lnTo>
                        <a:pt x="129" y="125"/>
                      </a:lnTo>
                      <a:lnTo>
                        <a:pt x="129" y="124"/>
                      </a:lnTo>
                      <a:lnTo>
                        <a:pt x="131" y="124"/>
                      </a:lnTo>
                      <a:lnTo>
                        <a:pt x="131" y="124"/>
                      </a:lnTo>
                      <a:lnTo>
                        <a:pt x="133" y="123"/>
                      </a:lnTo>
                      <a:lnTo>
                        <a:pt x="135" y="122"/>
                      </a:lnTo>
                      <a:lnTo>
                        <a:pt x="137" y="121"/>
                      </a:lnTo>
                      <a:lnTo>
                        <a:pt x="144" y="118"/>
                      </a:lnTo>
                      <a:lnTo>
                        <a:pt x="145" y="117"/>
                      </a:lnTo>
                      <a:lnTo>
                        <a:pt x="145" y="116"/>
                      </a:lnTo>
                      <a:lnTo>
                        <a:pt x="146" y="116"/>
                      </a:lnTo>
                      <a:lnTo>
                        <a:pt x="146" y="116"/>
                      </a:lnTo>
                      <a:lnTo>
                        <a:pt x="147" y="116"/>
                      </a:lnTo>
                      <a:lnTo>
                        <a:pt x="148" y="117"/>
                      </a:lnTo>
                      <a:lnTo>
                        <a:pt x="148" y="117"/>
                      </a:lnTo>
                      <a:lnTo>
                        <a:pt x="148" y="116"/>
                      </a:lnTo>
                      <a:lnTo>
                        <a:pt x="148" y="116"/>
                      </a:lnTo>
                      <a:lnTo>
                        <a:pt x="149" y="116"/>
                      </a:lnTo>
                      <a:lnTo>
                        <a:pt x="149" y="115"/>
                      </a:lnTo>
                      <a:lnTo>
                        <a:pt x="150" y="115"/>
                      </a:lnTo>
                      <a:lnTo>
                        <a:pt x="150" y="115"/>
                      </a:lnTo>
                      <a:lnTo>
                        <a:pt x="150" y="114"/>
                      </a:lnTo>
                      <a:lnTo>
                        <a:pt x="151" y="114"/>
                      </a:lnTo>
                      <a:lnTo>
                        <a:pt x="152" y="113"/>
                      </a:lnTo>
                      <a:lnTo>
                        <a:pt x="152" y="113"/>
                      </a:lnTo>
                      <a:lnTo>
                        <a:pt x="152" y="113"/>
                      </a:lnTo>
                      <a:lnTo>
                        <a:pt x="152" y="112"/>
                      </a:lnTo>
                      <a:lnTo>
                        <a:pt x="153" y="112"/>
                      </a:lnTo>
                      <a:lnTo>
                        <a:pt x="154" y="112"/>
                      </a:lnTo>
                      <a:lnTo>
                        <a:pt x="154" y="111"/>
                      </a:lnTo>
                      <a:lnTo>
                        <a:pt x="154" y="111"/>
                      </a:lnTo>
                      <a:lnTo>
                        <a:pt x="155" y="111"/>
                      </a:lnTo>
                      <a:lnTo>
                        <a:pt x="156" y="111"/>
                      </a:lnTo>
                      <a:lnTo>
                        <a:pt x="156" y="111"/>
                      </a:lnTo>
                      <a:lnTo>
                        <a:pt x="157" y="109"/>
                      </a:lnTo>
                      <a:lnTo>
                        <a:pt x="159" y="107"/>
                      </a:lnTo>
                      <a:lnTo>
                        <a:pt x="159" y="106"/>
                      </a:lnTo>
                      <a:lnTo>
                        <a:pt x="159" y="105"/>
                      </a:lnTo>
                      <a:lnTo>
                        <a:pt x="159" y="104"/>
                      </a:lnTo>
                      <a:lnTo>
                        <a:pt x="159" y="103"/>
                      </a:lnTo>
                      <a:lnTo>
                        <a:pt x="158" y="103"/>
                      </a:lnTo>
                      <a:lnTo>
                        <a:pt x="157" y="103"/>
                      </a:lnTo>
                      <a:lnTo>
                        <a:pt x="156" y="102"/>
                      </a:lnTo>
                      <a:lnTo>
                        <a:pt x="155" y="101"/>
                      </a:lnTo>
                      <a:lnTo>
                        <a:pt x="154" y="100"/>
                      </a:lnTo>
                      <a:lnTo>
                        <a:pt x="154" y="99"/>
                      </a:lnTo>
                      <a:lnTo>
                        <a:pt x="153" y="98"/>
                      </a:lnTo>
                      <a:lnTo>
                        <a:pt x="153" y="97"/>
                      </a:lnTo>
                      <a:lnTo>
                        <a:pt x="152" y="97"/>
                      </a:lnTo>
                      <a:lnTo>
                        <a:pt x="151" y="96"/>
                      </a:lnTo>
                      <a:lnTo>
                        <a:pt x="150" y="95"/>
                      </a:lnTo>
                      <a:lnTo>
                        <a:pt x="150" y="94"/>
                      </a:lnTo>
                      <a:lnTo>
                        <a:pt x="150" y="93"/>
                      </a:lnTo>
                      <a:lnTo>
                        <a:pt x="150" y="92"/>
                      </a:lnTo>
                      <a:lnTo>
                        <a:pt x="149" y="91"/>
                      </a:lnTo>
                      <a:lnTo>
                        <a:pt x="149" y="90"/>
                      </a:lnTo>
                      <a:lnTo>
                        <a:pt x="150" y="90"/>
                      </a:lnTo>
                      <a:lnTo>
                        <a:pt x="150" y="89"/>
                      </a:lnTo>
                      <a:lnTo>
                        <a:pt x="149" y="88"/>
                      </a:lnTo>
                      <a:lnTo>
                        <a:pt x="149" y="88"/>
                      </a:lnTo>
                      <a:lnTo>
                        <a:pt x="148" y="87"/>
                      </a:lnTo>
                      <a:lnTo>
                        <a:pt x="148" y="86"/>
                      </a:lnTo>
                      <a:lnTo>
                        <a:pt x="148" y="86"/>
                      </a:lnTo>
                      <a:lnTo>
                        <a:pt x="148" y="86"/>
                      </a:lnTo>
                      <a:lnTo>
                        <a:pt x="148" y="86"/>
                      </a:lnTo>
                      <a:lnTo>
                        <a:pt x="148" y="85"/>
                      </a:lnTo>
                      <a:lnTo>
                        <a:pt x="148" y="84"/>
                      </a:lnTo>
                      <a:lnTo>
                        <a:pt x="148" y="84"/>
                      </a:lnTo>
                      <a:lnTo>
                        <a:pt x="149" y="84"/>
                      </a:lnTo>
                      <a:lnTo>
                        <a:pt x="150" y="84"/>
                      </a:lnTo>
                      <a:lnTo>
                        <a:pt x="150" y="83"/>
                      </a:lnTo>
                      <a:lnTo>
                        <a:pt x="150" y="83"/>
                      </a:lnTo>
                      <a:lnTo>
                        <a:pt x="150" y="82"/>
                      </a:lnTo>
                      <a:lnTo>
                        <a:pt x="151" y="82"/>
                      </a:lnTo>
                      <a:lnTo>
                        <a:pt x="151" y="82"/>
                      </a:lnTo>
                      <a:lnTo>
                        <a:pt x="151" y="81"/>
                      </a:lnTo>
                      <a:lnTo>
                        <a:pt x="150" y="81"/>
                      </a:lnTo>
                      <a:lnTo>
                        <a:pt x="151" y="81"/>
                      </a:lnTo>
                      <a:lnTo>
                        <a:pt x="152" y="81"/>
                      </a:lnTo>
                      <a:lnTo>
                        <a:pt x="152" y="81"/>
                      </a:lnTo>
                      <a:lnTo>
                        <a:pt x="152" y="82"/>
                      </a:lnTo>
                      <a:lnTo>
                        <a:pt x="153" y="82"/>
                      </a:lnTo>
                      <a:lnTo>
                        <a:pt x="154" y="82"/>
                      </a:lnTo>
                      <a:lnTo>
                        <a:pt x="154" y="82"/>
                      </a:lnTo>
                      <a:lnTo>
                        <a:pt x="154" y="82"/>
                      </a:lnTo>
                      <a:lnTo>
                        <a:pt x="155" y="82"/>
                      </a:lnTo>
                      <a:lnTo>
                        <a:pt x="156" y="82"/>
                      </a:lnTo>
                      <a:lnTo>
                        <a:pt x="156" y="82"/>
                      </a:lnTo>
                      <a:lnTo>
                        <a:pt x="156" y="83"/>
                      </a:lnTo>
                      <a:lnTo>
                        <a:pt x="157" y="83"/>
                      </a:lnTo>
                      <a:lnTo>
                        <a:pt x="158" y="83"/>
                      </a:lnTo>
                      <a:lnTo>
                        <a:pt x="158" y="84"/>
                      </a:lnTo>
                      <a:lnTo>
                        <a:pt x="158" y="84"/>
                      </a:lnTo>
                      <a:lnTo>
                        <a:pt x="158" y="84"/>
                      </a:lnTo>
                      <a:lnTo>
                        <a:pt x="159" y="84"/>
                      </a:lnTo>
                      <a:lnTo>
                        <a:pt x="160" y="84"/>
                      </a:lnTo>
                      <a:lnTo>
                        <a:pt x="160" y="85"/>
                      </a:lnTo>
                      <a:lnTo>
                        <a:pt x="160" y="85"/>
                      </a:lnTo>
                      <a:lnTo>
                        <a:pt x="160" y="84"/>
                      </a:lnTo>
                      <a:lnTo>
                        <a:pt x="161" y="84"/>
                      </a:lnTo>
                      <a:lnTo>
                        <a:pt x="161" y="85"/>
                      </a:lnTo>
                      <a:lnTo>
                        <a:pt x="161" y="84"/>
                      </a:lnTo>
                      <a:lnTo>
                        <a:pt x="162" y="84"/>
                      </a:lnTo>
                      <a:lnTo>
                        <a:pt x="162" y="85"/>
                      </a:lnTo>
                      <a:lnTo>
                        <a:pt x="162" y="85"/>
                      </a:lnTo>
                      <a:lnTo>
                        <a:pt x="163" y="85"/>
                      </a:lnTo>
                      <a:lnTo>
                        <a:pt x="164" y="85"/>
                      </a:lnTo>
                      <a:lnTo>
                        <a:pt x="163" y="86"/>
                      </a:lnTo>
                      <a:lnTo>
                        <a:pt x="164" y="86"/>
                      </a:lnTo>
                      <a:lnTo>
                        <a:pt x="165" y="86"/>
                      </a:lnTo>
                      <a:lnTo>
                        <a:pt x="165" y="86"/>
                      </a:lnTo>
                      <a:lnTo>
                        <a:pt x="165" y="86"/>
                      </a:lnTo>
                      <a:lnTo>
                        <a:pt x="165" y="86"/>
                      </a:lnTo>
                      <a:lnTo>
                        <a:pt x="165" y="86"/>
                      </a:lnTo>
                      <a:lnTo>
                        <a:pt x="166" y="86"/>
                      </a:lnTo>
                      <a:lnTo>
                        <a:pt x="166" y="86"/>
                      </a:lnTo>
                      <a:lnTo>
                        <a:pt x="166" y="87"/>
                      </a:lnTo>
                      <a:lnTo>
                        <a:pt x="167" y="87"/>
                      </a:lnTo>
                      <a:lnTo>
                        <a:pt x="167" y="87"/>
                      </a:lnTo>
                      <a:lnTo>
                        <a:pt x="167" y="88"/>
                      </a:lnTo>
                      <a:lnTo>
                        <a:pt x="168" y="87"/>
                      </a:lnTo>
                      <a:lnTo>
                        <a:pt x="169" y="87"/>
                      </a:lnTo>
                      <a:lnTo>
                        <a:pt x="169" y="87"/>
                      </a:lnTo>
                      <a:lnTo>
                        <a:pt x="169" y="88"/>
                      </a:lnTo>
                      <a:lnTo>
                        <a:pt x="170" y="88"/>
                      </a:lnTo>
                      <a:lnTo>
                        <a:pt x="170" y="88"/>
                      </a:lnTo>
                      <a:lnTo>
                        <a:pt x="171" y="88"/>
                      </a:lnTo>
                      <a:lnTo>
                        <a:pt x="171" y="88"/>
                      </a:lnTo>
                      <a:lnTo>
                        <a:pt x="171" y="89"/>
                      </a:lnTo>
                      <a:lnTo>
                        <a:pt x="172" y="89"/>
                      </a:lnTo>
                      <a:lnTo>
                        <a:pt x="173" y="89"/>
                      </a:lnTo>
                      <a:lnTo>
                        <a:pt x="173" y="90"/>
                      </a:lnTo>
                      <a:lnTo>
                        <a:pt x="173" y="90"/>
                      </a:lnTo>
                      <a:lnTo>
                        <a:pt x="174" y="90"/>
                      </a:lnTo>
                      <a:lnTo>
                        <a:pt x="174" y="89"/>
                      </a:lnTo>
                      <a:lnTo>
                        <a:pt x="175" y="90"/>
                      </a:lnTo>
                      <a:lnTo>
                        <a:pt x="175" y="89"/>
                      </a:lnTo>
                      <a:lnTo>
                        <a:pt x="175" y="89"/>
                      </a:lnTo>
                      <a:lnTo>
                        <a:pt x="175" y="90"/>
                      </a:lnTo>
                      <a:lnTo>
                        <a:pt x="176" y="90"/>
                      </a:lnTo>
                      <a:lnTo>
                        <a:pt x="175" y="90"/>
                      </a:lnTo>
                      <a:lnTo>
                        <a:pt x="175" y="90"/>
                      </a:lnTo>
                      <a:lnTo>
                        <a:pt x="176" y="90"/>
                      </a:lnTo>
                      <a:lnTo>
                        <a:pt x="176" y="91"/>
                      </a:lnTo>
                      <a:lnTo>
                        <a:pt x="177" y="91"/>
                      </a:lnTo>
                      <a:lnTo>
                        <a:pt x="177" y="91"/>
                      </a:lnTo>
                      <a:lnTo>
                        <a:pt x="177" y="90"/>
                      </a:lnTo>
                      <a:lnTo>
                        <a:pt x="178" y="90"/>
                      </a:lnTo>
                      <a:lnTo>
                        <a:pt x="178" y="91"/>
                      </a:lnTo>
                      <a:lnTo>
                        <a:pt x="179" y="91"/>
                      </a:lnTo>
                      <a:lnTo>
                        <a:pt x="179" y="92"/>
                      </a:lnTo>
                      <a:lnTo>
                        <a:pt x="179" y="92"/>
                      </a:lnTo>
                      <a:lnTo>
                        <a:pt x="179" y="91"/>
                      </a:lnTo>
                      <a:lnTo>
                        <a:pt x="180" y="91"/>
                      </a:lnTo>
                      <a:lnTo>
                        <a:pt x="180" y="92"/>
                      </a:lnTo>
                      <a:lnTo>
                        <a:pt x="180" y="91"/>
                      </a:lnTo>
                      <a:lnTo>
                        <a:pt x="181" y="91"/>
                      </a:lnTo>
                      <a:lnTo>
                        <a:pt x="181" y="92"/>
                      </a:lnTo>
                      <a:lnTo>
                        <a:pt x="182" y="92"/>
                      </a:lnTo>
                      <a:lnTo>
                        <a:pt x="182" y="91"/>
                      </a:lnTo>
                      <a:lnTo>
                        <a:pt x="183" y="91"/>
                      </a:lnTo>
                      <a:lnTo>
                        <a:pt x="184" y="91"/>
                      </a:lnTo>
                      <a:lnTo>
                        <a:pt x="184" y="92"/>
                      </a:lnTo>
                      <a:lnTo>
                        <a:pt x="184" y="91"/>
                      </a:lnTo>
                      <a:lnTo>
                        <a:pt x="184" y="92"/>
                      </a:lnTo>
                      <a:lnTo>
                        <a:pt x="185" y="92"/>
                      </a:lnTo>
                      <a:lnTo>
                        <a:pt x="185" y="91"/>
                      </a:lnTo>
                      <a:lnTo>
                        <a:pt x="186" y="91"/>
                      </a:lnTo>
                      <a:lnTo>
                        <a:pt x="186" y="91"/>
                      </a:lnTo>
                      <a:lnTo>
                        <a:pt x="187" y="91"/>
                      </a:lnTo>
                      <a:lnTo>
                        <a:pt x="188" y="91"/>
                      </a:lnTo>
                      <a:lnTo>
                        <a:pt x="188" y="91"/>
                      </a:lnTo>
                      <a:lnTo>
                        <a:pt x="189" y="91"/>
                      </a:lnTo>
                      <a:lnTo>
                        <a:pt x="190" y="91"/>
                      </a:lnTo>
                      <a:lnTo>
                        <a:pt x="190" y="92"/>
                      </a:lnTo>
                      <a:lnTo>
                        <a:pt x="190" y="92"/>
                      </a:lnTo>
                      <a:lnTo>
                        <a:pt x="191" y="92"/>
                      </a:lnTo>
                      <a:lnTo>
                        <a:pt x="191" y="91"/>
                      </a:lnTo>
                      <a:lnTo>
                        <a:pt x="192" y="91"/>
                      </a:lnTo>
                      <a:lnTo>
                        <a:pt x="192" y="90"/>
                      </a:lnTo>
                      <a:lnTo>
                        <a:pt x="192" y="90"/>
                      </a:lnTo>
                      <a:lnTo>
                        <a:pt x="192" y="91"/>
                      </a:lnTo>
                      <a:lnTo>
                        <a:pt x="192" y="90"/>
                      </a:lnTo>
                      <a:lnTo>
                        <a:pt x="193" y="90"/>
                      </a:lnTo>
                      <a:lnTo>
                        <a:pt x="194" y="90"/>
                      </a:lnTo>
                      <a:lnTo>
                        <a:pt x="194" y="90"/>
                      </a:lnTo>
                      <a:lnTo>
                        <a:pt x="194" y="90"/>
                      </a:lnTo>
                      <a:lnTo>
                        <a:pt x="195" y="90"/>
                      </a:lnTo>
                      <a:lnTo>
                        <a:pt x="195" y="89"/>
                      </a:lnTo>
                      <a:lnTo>
                        <a:pt x="194" y="89"/>
                      </a:lnTo>
                      <a:lnTo>
                        <a:pt x="195" y="89"/>
                      </a:lnTo>
                      <a:lnTo>
                        <a:pt x="195" y="90"/>
                      </a:lnTo>
                      <a:lnTo>
                        <a:pt x="196" y="90"/>
                      </a:lnTo>
                      <a:lnTo>
                        <a:pt x="196" y="89"/>
                      </a:lnTo>
                      <a:lnTo>
                        <a:pt x="195" y="89"/>
                      </a:lnTo>
                      <a:lnTo>
                        <a:pt x="194" y="89"/>
                      </a:lnTo>
                      <a:lnTo>
                        <a:pt x="194" y="89"/>
                      </a:lnTo>
                      <a:lnTo>
                        <a:pt x="194" y="88"/>
                      </a:lnTo>
                      <a:lnTo>
                        <a:pt x="194" y="88"/>
                      </a:lnTo>
                      <a:lnTo>
                        <a:pt x="194" y="89"/>
                      </a:lnTo>
                      <a:lnTo>
                        <a:pt x="195" y="89"/>
                      </a:lnTo>
                      <a:lnTo>
                        <a:pt x="195" y="88"/>
                      </a:lnTo>
                      <a:lnTo>
                        <a:pt x="196" y="88"/>
                      </a:lnTo>
                      <a:lnTo>
                        <a:pt x="195" y="88"/>
                      </a:lnTo>
                      <a:lnTo>
                        <a:pt x="196" y="88"/>
                      </a:lnTo>
                      <a:lnTo>
                        <a:pt x="196" y="88"/>
                      </a:lnTo>
                      <a:lnTo>
                        <a:pt x="196" y="88"/>
                      </a:lnTo>
                      <a:lnTo>
                        <a:pt x="196" y="88"/>
                      </a:lnTo>
                      <a:lnTo>
                        <a:pt x="197" y="88"/>
                      </a:lnTo>
                      <a:lnTo>
                        <a:pt x="197" y="88"/>
                      </a:lnTo>
                      <a:lnTo>
                        <a:pt x="198" y="88"/>
                      </a:lnTo>
                      <a:lnTo>
                        <a:pt x="198" y="88"/>
                      </a:lnTo>
                      <a:lnTo>
                        <a:pt x="198" y="88"/>
                      </a:lnTo>
                      <a:lnTo>
                        <a:pt x="198" y="87"/>
                      </a:lnTo>
                      <a:lnTo>
                        <a:pt x="198" y="86"/>
                      </a:lnTo>
                      <a:lnTo>
                        <a:pt x="198" y="86"/>
                      </a:lnTo>
                      <a:lnTo>
                        <a:pt x="197" y="86"/>
                      </a:lnTo>
                      <a:lnTo>
                        <a:pt x="198" y="86"/>
                      </a:lnTo>
                      <a:lnTo>
                        <a:pt x="198" y="86"/>
                      </a:lnTo>
                      <a:lnTo>
                        <a:pt x="198" y="86"/>
                      </a:lnTo>
                      <a:lnTo>
                        <a:pt x="198" y="86"/>
                      </a:lnTo>
                      <a:lnTo>
                        <a:pt x="198" y="85"/>
                      </a:lnTo>
                      <a:lnTo>
                        <a:pt x="198" y="85"/>
                      </a:lnTo>
                      <a:lnTo>
                        <a:pt x="198" y="84"/>
                      </a:lnTo>
                      <a:lnTo>
                        <a:pt x="198" y="84"/>
                      </a:lnTo>
                      <a:lnTo>
                        <a:pt x="198" y="84"/>
                      </a:lnTo>
                      <a:lnTo>
                        <a:pt x="199" y="84"/>
                      </a:lnTo>
                      <a:lnTo>
                        <a:pt x="198" y="84"/>
                      </a:lnTo>
                      <a:lnTo>
                        <a:pt x="199" y="84"/>
                      </a:lnTo>
                      <a:lnTo>
                        <a:pt x="199" y="83"/>
                      </a:lnTo>
                      <a:lnTo>
                        <a:pt x="200" y="83"/>
                      </a:lnTo>
                      <a:lnTo>
                        <a:pt x="199" y="84"/>
                      </a:lnTo>
                      <a:lnTo>
                        <a:pt x="200" y="84"/>
                      </a:lnTo>
                      <a:lnTo>
                        <a:pt x="200" y="83"/>
                      </a:lnTo>
                      <a:lnTo>
                        <a:pt x="200" y="82"/>
                      </a:lnTo>
                      <a:lnTo>
                        <a:pt x="200" y="82"/>
                      </a:lnTo>
                      <a:lnTo>
                        <a:pt x="200" y="82"/>
                      </a:lnTo>
                      <a:lnTo>
                        <a:pt x="201" y="82"/>
                      </a:lnTo>
                      <a:lnTo>
                        <a:pt x="201" y="81"/>
                      </a:lnTo>
                      <a:lnTo>
                        <a:pt x="200" y="81"/>
                      </a:lnTo>
                      <a:lnTo>
                        <a:pt x="201" y="81"/>
                      </a:lnTo>
                      <a:lnTo>
                        <a:pt x="202" y="81"/>
                      </a:lnTo>
                      <a:lnTo>
                        <a:pt x="201" y="81"/>
                      </a:lnTo>
                      <a:lnTo>
                        <a:pt x="202" y="81"/>
                      </a:lnTo>
                      <a:lnTo>
                        <a:pt x="202" y="80"/>
                      </a:lnTo>
                      <a:lnTo>
                        <a:pt x="202" y="80"/>
                      </a:lnTo>
                      <a:lnTo>
                        <a:pt x="201" y="80"/>
                      </a:lnTo>
                      <a:lnTo>
                        <a:pt x="201" y="79"/>
                      </a:lnTo>
                      <a:lnTo>
                        <a:pt x="201" y="78"/>
                      </a:lnTo>
                      <a:lnTo>
                        <a:pt x="200" y="78"/>
                      </a:lnTo>
                      <a:lnTo>
                        <a:pt x="200" y="78"/>
                      </a:lnTo>
                      <a:lnTo>
                        <a:pt x="200" y="77"/>
                      </a:lnTo>
                      <a:lnTo>
                        <a:pt x="200" y="77"/>
                      </a:lnTo>
                      <a:lnTo>
                        <a:pt x="200" y="76"/>
                      </a:lnTo>
                      <a:lnTo>
                        <a:pt x="199" y="76"/>
                      </a:lnTo>
                      <a:lnTo>
                        <a:pt x="198" y="76"/>
                      </a:lnTo>
                      <a:lnTo>
                        <a:pt x="198" y="76"/>
                      </a:lnTo>
                      <a:lnTo>
                        <a:pt x="198" y="75"/>
                      </a:lnTo>
                      <a:lnTo>
                        <a:pt x="197" y="75"/>
                      </a:lnTo>
                      <a:lnTo>
                        <a:pt x="196" y="75"/>
                      </a:lnTo>
                      <a:lnTo>
                        <a:pt x="196" y="74"/>
                      </a:lnTo>
                      <a:lnTo>
                        <a:pt x="197" y="74"/>
                      </a:lnTo>
                      <a:lnTo>
                        <a:pt x="197" y="73"/>
                      </a:lnTo>
                      <a:lnTo>
                        <a:pt x="197" y="73"/>
                      </a:lnTo>
                      <a:lnTo>
                        <a:pt x="198" y="73"/>
                      </a:lnTo>
                      <a:lnTo>
                        <a:pt x="198" y="73"/>
                      </a:lnTo>
                      <a:lnTo>
                        <a:pt x="198" y="73"/>
                      </a:lnTo>
                      <a:lnTo>
                        <a:pt x="198" y="73"/>
                      </a:lnTo>
                      <a:lnTo>
                        <a:pt x="198" y="72"/>
                      </a:lnTo>
                      <a:lnTo>
                        <a:pt x="198" y="72"/>
                      </a:lnTo>
                      <a:lnTo>
                        <a:pt x="199" y="72"/>
                      </a:lnTo>
                      <a:lnTo>
                        <a:pt x="199" y="73"/>
                      </a:lnTo>
                      <a:lnTo>
                        <a:pt x="199" y="72"/>
                      </a:lnTo>
                      <a:lnTo>
                        <a:pt x="200" y="72"/>
                      </a:lnTo>
                      <a:lnTo>
                        <a:pt x="200" y="73"/>
                      </a:lnTo>
                      <a:lnTo>
                        <a:pt x="200" y="73"/>
                      </a:lnTo>
                      <a:lnTo>
                        <a:pt x="201" y="73"/>
                      </a:lnTo>
                      <a:lnTo>
                        <a:pt x="201" y="73"/>
                      </a:lnTo>
                      <a:lnTo>
                        <a:pt x="202" y="73"/>
                      </a:lnTo>
                      <a:lnTo>
                        <a:pt x="203" y="73"/>
                      </a:lnTo>
                      <a:lnTo>
                        <a:pt x="203" y="73"/>
                      </a:lnTo>
                      <a:lnTo>
                        <a:pt x="203" y="73"/>
                      </a:lnTo>
                      <a:lnTo>
                        <a:pt x="203" y="72"/>
                      </a:lnTo>
                      <a:lnTo>
                        <a:pt x="203" y="72"/>
                      </a:lnTo>
                      <a:lnTo>
                        <a:pt x="202" y="72"/>
                      </a:lnTo>
                      <a:lnTo>
                        <a:pt x="202" y="71"/>
                      </a:lnTo>
                      <a:lnTo>
                        <a:pt x="202" y="72"/>
                      </a:lnTo>
                      <a:lnTo>
                        <a:pt x="201" y="72"/>
                      </a:lnTo>
                      <a:lnTo>
                        <a:pt x="200" y="72"/>
                      </a:lnTo>
                      <a:lnTo>
                        <a:pt x="200" y="72"/>
                      </a:lnTo>
                      <a:lnTo>
                        <a:pt x="200" y="71"/>
                      </a:lnTo>
                      <a:lnTo>
                        <a:pt x="200" y="71"/>
                      </a:lnTo>
                      <a:lnTo>
                        <a:pt x="200" y="70"/>
                      </a:lnTo>
                      <a:lnTo>
                        <a:pt x="199" y="70"/>
                      </a:lnTo>
                      <a:lnTo>
                        <a:pt x="199" y="69"/>
                      </a:lnTo>
                      <a:lnTo>
                        <a:pt x="198" y="69"/>
                      </a:lnTo>
                      <a:lnTo>
                        <a:pt x="198" y="69"/>
                      </a:lnTo>
                      <a:lnTo>
                        <a:pt x="199" y="69"/>
                      </a:lnTo>
                      <a:lnTo>
                        <a:pt x="199" y="68"/>
                      </a:lnTo>
                      <a:lnTo>
                        <a:pt x="199" y="67"/>
                      </a:lnTo>
                      <a:lnTo>
                        <a:pt x="200" y="67"/>
                      </a:lnTo>
                      <a:lnTo>
                        <a:pt x="200" y="67"/>
                      </a:lnTo>
                      <a:lnTo>
                        <a:pt x="200" y="66"/>
                      </a:lnTo>
                      <a:lnTo>
                        <a:pt x="200" y="66"/>
                      </a:lnTo>
                      <a:lnTo>
                        <a:pt x="200" y="65"/>
                      </a:lnTo>
                      <a:lnTo>
                        <a:pt x="200" y="65"/>
                      </a:lnTo>
                      <a:lnTo>
                        <a:pt x="200" y="65"/>
                      </a:lnTo>
                      <a:lnTo>
                        <a:pt x="201" y="65"/>
                      </a:lnTo>
                      <a:lnTo>
                        <a:pt x="201" y="65"/>
                      </a:lnTo>
                      <a:lnTo>
                        <a:pt x="200" y="65"/>
                      </a:lnTo>
                      <a:lnTo>
                        <a:pt x="200" y="64"/>
                      </a:lnTo>
                      <a:lnTo>
                        <a:pt x="200" y="63"/>
                      </a:lnTo>
                      <a:lnTo>
                        <a:pt x="201" y="63"/>
                      </a:lnTo>
                      <a:lnTo>
                        <a:pt x="201" y="64"/>
                      </a:lnTo>
                      <a:lnTo>
                        <a:pt x="201" y="65"/>
                      </a:lnTo>
                      <a:lnTo>
                        <a:pt x="202" y="65"/>
                      </a:lnTo>
                      <a:lnTo>
                        <a:pt x="202" y="64"/>
                      </a:lnTo>
                      <a:lnTo>
                        <a:pt x="203" y="64"/>
                      </a:lnTo>
                      <a:lnTo>
                        <a:pt x="203" y="63"/>
                      </a:lnTo>
                      <a:lnTo>
                        <a:pt x="202" y="63"/>
                      </a:lnTo>
                      <a:lnTo>
                        <a:pt x="201" y="63"/>
                      </a:lnTo>
                      <a:lnTo>
                        <a:pt x="201" y="63"/>
                      </a:lnTo>
                      <a:lnTo>
                        <a:pt x="201" y="63"/>
                      </a:lnTo>
                      <a:lnTo>
                        <a:pt x="202" y="63"/>
                      </a:lnTo>
                      <a:lnTo>
                        <a:pt x="202" y="63"/>
                      </a:lnTo>
                      <a:lnTo>
                        <a:pt x="203" y="63"/>
                      </a:lnTo>
                      <a:lnTo>
                        <a:pt x="203" y="63"/>
                      </a:lnTo>
                      <a:lnTo>
                        <a:pt x="203" y="63"/>
                      </a:lnTo>
                      <a:lnTo>
                        <a:pt x="203" y="62"/>
                      </a:lnTo>
                      <a:lnTo>
                        <a:pt x="202" y="62"/>
                      </a:lnTo>
                      <a:lnTo>
                        <a:pt x="201" y="62"/>
                      </a:lnTo>
                      <a:lnTo>
                        <a:pt x="200" y="62"/>
                      </a:lnTo>
                      <a:lnTo>
                        <a:pt x="200" y="62"/>
                      </a:lnTo>
                      <a:lnTo>
                        <a:pt x="199" y="62"/>
                      </a:lnTo>
                      <a:lnTo>
                        <a:pt x="198" y="62"/>
                      </a:lnTo>
                      <a:lnTo>
                        <a:pt x="198" y="62"/>
                      </a:lnTo>
                      <a:lnTo>
                        <a:pt x="198" y="61"/>
                      </a:lnTo>
                      <a:lnTo>
                        <a:pt x="197" y="61"/>
                      </a:lnTo>
                      <a:lnTo>
                        <a:pt x="197" y="60"/>
                      </a:lnTo>
                      <a:lnTo>
                        <a:pt x="196" y="60"/>
                      </a:lnTo>
                      <a:lnTo>
                        <a:pt x="196" y="61"/>
                      </a:lnTo>
                      <a:lnTo>
                        <a:pt x="196" y="60"/>
                      </a:lnTo>
                      <a:lnTo>
                        <a:pt x="196" y="60"/>
                      </a:lnTo>
                      <a:lnTo>
                        <a:pt x="196" y="59"/>
                      </a:lnTo>
                      <a:lnTo>
                        <a:pt x="195" y="59"/>
                      </a:lnTo>
                      <a:lnTo>
                        <a:pt x="194" y="59"/>
                      </a:lnTo>
                      <a:lnTo>
                        <a:pt x="194" y="59"/>
                      </a:lnTo>
                      <a:lnTo>
                        <a:pt x="193" y="59"/>
                      </a:lnTo>
                      <a:lnTo>
                        <a:pt x="192" y="59"/>
                      </a:lnTo>
                      <a:lnTo>
                        <a:pt x="192" y="59"/>
                      </a:lnTo>
                      <a:lnTo>
                        <a:pt x="191" y="59"/>
                      </a:lnTo>
                      <a:lnTo>
                        <a:pt x="190" y="59"/>
                      </a:lnTo>
                      <a:lnTo>
                        <a:pt x="190" y="58"/>
                      </a:lnTo>
                      <a:lnTo>
                        <a:pt x="190" y="58"/>
                      </a:lnTo>
                      <a:lnTo>
                        <a:pt x="189" y="58"/>
                      </a:lnTo>
                      <a:lnTo>
                        <a:pt x="189" y="57"/>
                      </a:lnTo>
                      <a:lnTo>
                        <a:pt x="188" y="57"/>
                      </a:lnTo>
                      <a:lnTo>
                        <a:pt x="188" y="57"/>
                      </a:lnTo>
                      <a:lnTo>
                        <a:pt x="187" y="57"/>
                      </a:lnTo>
                      <a:lnTo>
                        <a:pt x="186" y="57"/>
                      </a:lnTo>
                      <a:lnTo>
                        <a:pt x="186" y="57"/>
                      </a:lnTo>
                      <a:lnTo>
                        <a:pt x="186" y="57"/>
                      </a:lnTo>
                      <a:lnTo>
                        <a:pt x="186" y="57"/>
                      </a:lnTo>
                      <a:lnTo>
                        <a:pt x="186" y="57"/>
                      </a:lnTo>
                      <a:lnTo>
                        <a:pt x="185" y="57"/>
                      </a:lnTo>
                      <a:lnTo>
                        <a:pt x="184" y="58"/>
                      </a:lnTo>
                      <a:lnTo>
                        <a:pt x="184" y="57"/>
                      </a:lnTo>
                      <a:lnTo>
                        <a:pt x="184" y="58"/>
                      </a:lnTo>
                      <a:lnTo>
                        <a:pt x="184" y="58"/>
                      </a:lnTo>
                      <a:lnTo>
                        <a:pt x="184" y="58"/>
                      </a:lnTo>
                      <a:lnTo>
                        <a:pt x="184" y="58"/>
                      </a:lnTo>
                      <a:lnTo>
                        <a:pt x="184" y="59"/>
                      </a:lnTo>
                      <a:lnTo>
                        <a:pt x="184" y="58"/>
                      </a:lnTo>
                      <a:lnTo>
                        <a:pt x="183" y="58"/>
                      </a:lnTo>
                      <a:lnTo>
                        <a:pt x="183" y="59"/>
                      </a:lnTo>
                      <a:lnTo>
                        <a:pt x="182" y="59"/>
                      </a:lnTo>
                      <a:lnTo>
                        <a:pt x="181" y="59"/>
                      </a:lnTo>
                      <a:lnTo>
                        <a:pt x="181" y="59"/>
                      </a:lnTo>
                      <a:lnTo>
                        <a:pt x="180" y="59"/>
                      </a:lnTo>
                      <a:lnTo>
                        <a:pt x="179" y="59"/>
                      </a:lnTo>
                      <a:lnTo>
                        <a:pt x="179" y="59"/>
                      </a:lnTo>
                      <a:lnTo>
                        <a:pt x="178" y="59"/>
                      </a:lnTo>
                      <a:lnTo>
                        <a:pt x="177" y="59"/>
                      </a:lnTo>
                      <a:lnTo>
                        <a:pt x="177" y="59"/>
                      </a:lnTo>
                      <a:lnTo>
                        <a:pt x="176" y="59"/>
                      </a:lnTo>
                      <a:lnTo>
                        <a:pt x="176" y="59"/>
                      </a:lnTo>
                      <a:lnTo>
                        <a:pt x="175" y="59"/>
                      </a:lnTo>
                      <a:lnTo>
                        <a:pt x="175" y="59"/>
                      </a:lnTo>
                      <a:lnTo>
                        <a:pt x="175" y="59"/>
                      </a:lnTo>
                      <a:lnTo>
                        <a:pt x="174" y="59"/>
                      </a:lnTo>
                      <a:lnTo>
                        <a:pt x="173" y="59"/>
                      </a:lnTo>
                      <a:lnTo>
                        <a:pt x="173" y="59"/>
                      </a:lnTo>
                      <a:lnTo>
                        <a:pt x="173" y="59"/>
                      </a:lnTo>
                      <a:lnTo>
                        <a:pt x="172" y="59"/>
                      </a:lnTo>
                      <a:lnTo>
                        <a:pt x="171" y="59"/>
                      </a:lnTo>
                      <a:lnTo>
                        <a:pt x="171" y="59"/>
                      </a:lnTo>
                      <a:lnTo>
                        <a:pt x="171" y="59"/>
                      </a:lnTo>
                      <a:lnTo>
                        <a:pt x="170" y="59"/>
                      </a:lnTo>
                      <a:lnTo>
                        <a:pt x="169" y="59"/>
                      </a:lnTo>
                      <a:lnTo>
                        <a:pt x="169" y="59"/>
                      </a:lnTo>
                      <a:lnTo>
                        <a:pt x="168" y="59"/>
                      </a:lnTo>
                      <a:lnTo>
                        <a:pt x="168" y="58"/>
                      </a:lnTo>
                      <a:lnTo>
                        <a:pt x="169" y="58"/>
                      </a:lnTo>
                      <a:lnTo>
                        <a:pt x="169" y="58"/>
                      </a:lnTo>
                      <a:lnTo>
                        <a:pt x="169" y="57"/>
                      </a:lnTo>
                      <a:lnTo>
                        <a:pt x="169" y="57"/>
                      </a:lnTo>
                      <a:lnTo>
                        <a:pt x="169" y="56"/>
                      </a:lnTo>
                      <a:lnTo>
                        <a:pt x="170" y="56"/>
                      </a:lnTo>
                      <a:lnTo>
                        <a:pt x="170" y="55"/>
                      </a:lnTo>
                      <a:lnTo>
                        <a:pt x="170" y="54"/>
                      </a:lnTo>
                      <a:lnTo>
                        <a:pt x="170" y="54"/>
                      </a:lnTo>
                      <a:lnTo>
                        <a:pt x="170" y="53"/>
                      </a:lnTo>
                      <a:lnTo>
                        <a:pt x="171" y="53"/>
                      </a:lnTo>
                      <a:lnTo>
                        <a:pt x="171" y="52"/>
                      </a:lnTo>
                      <a:lnTo>
                        <a:pt x="170" y="52"/>
                      </a:lnTo>
                      <a:lnTo>
                        <a:pt x="171" y="52"/>
                      </a:lnTo>
                      <a:lnTo>
                        <a:pt x="171" y="52"/>
                      </a:lnTo>
                      <a:lnTo>
                        <a:pt x="171" y="51"/>
                      </a:lnTo>
                      <a:lnTo>
                        <a:pt x="170" y="51"/>
                      </a:lnTo>
                      <a:lnTo>
                        <a:pt x="170" y="50"/>
                      </a:lnTo>
                      <a:lnTo>
                        <a:pt x="170" y="51"/>
                      </a:lnTo>
                      <a:lnTo>
                        <a:pt x="169" y="51"/>
                      </a:lnTo>
                      <a:lnTo>
                        <a:pt x="169" y="52"/>
                      </a:lnTo>
                      <a:lnTo>
                        <a:pt x="170" y="52"/>
                      </a:lnTo>
                      <a:lnTo>
                        <a:pt x="169" y="52"/>
                      </a:lnTo>
                      <a:lnTo>
                        <a:pt x="169" y="52"/>
                      </a:lnTo>
                      <a:lnTo>
                        <a:pt x="169" y="52"/>
                      </a:lnTo>
                      <a:lnTo>
                        <a:pt x="169" y="51"/>
                      </a:lnTo>
                      <a:lnTo>
                        <a:pt x="169" y="50"/>
                      </a:lnTo>
                      <a:lnTo>
                        <a:pt x="170" y="50"/>
                      </a:lnTo>
                      <a:lnTo>
                        <a:pt x="170" y="50"/>
                      </a:lnTo>
                      <a:lnTo>
                        <a:pt x="171" y="50"/>
                      </a:lnTo>
                      <a:lnTo>
                        <a:pt x="171" y="49"/>
                      </a:lnTo>
                      <a:lnTo>
                        <a:pt x="171" y="49"/>
                      </a:lnTo>
                      <a:lnTo>
                        <a:pt x="172" y="49"/>
                      </a:lnTo>
                      <a:lnTo>
                        <a:pt x="172" y="48"/>
                      </a:lnTo>
                      <a:lnTo>
                        <a:pt x="173" y="48"/>
                      </a:lnTo>
                      <a:lnTo>
                        <a:pt x="173" y="48"/>
                      </a:lnTo>
                      <a:lnTo>
                        <a:pt x="173" y="48"/>
                      </a:lnTo>
                      <a:lnTo>
                        <a:pt x="174" y="48"/>
                      </a:lnTo>
                      <a:lnTo>
                        <a:pt x="175" y="48"/>
                      </a:lnTo>
                      <a:lnTo>
                        <a:pt x="175" y="47"/>
                      </a:lnTo>
                      <a:lnTo>
                        <a:pt x="175" y="47"/>
                      </a:lnTo>
                      <a:lnTo>
                        <a:pt x="176" y="47"/>
                      </a:lnTo>
                      <a:lnTo>
                        <a:pt x="177" y="47"/>
                      </a:lnTo>
                      <a:lnTo>
                        <a:pt x="177" y="48"/>
                      </a:lnTo>
                      <a:lnTo>
                        <a:pt x="177" y="48"/>
                      </a:lnTo>
                      <a:lnTo>
                        <a:pt x="177" y="48"/>
                      </a:lnTo>
                      <a:lnTo>
                        <a:pt x="178" y="48"/>
                      </a:lnTo>
                      <a:lnTo>
                        <a:pt x="179" y="48"/>
                      </a:lnTo>
                      <a:lnTo>
                        <a:pt x="179" y="48"/>
                      </a:lnTo>
                      <a:lnTo>
                        <a:pt x="180" y="48"/>
                      </a:lnTo>
                      <a:lnTo>
                        <a:pt x="181" y="48"/>
                      </a:lnTo>
                      <a:lnTo>
                        <a:pt x="181" y="48"/>
                      </a:lnTo>
                      <a:lnTo>
                        <a:pt x="182" y="48"/>
                      </a:lnTo>
                      <a:lnTo>
                        <a:pt x="182" y="47"/>
                      </a:lnTo>
                      <a:lnTo>
                        <a:pt x="183" y="46"/>
                      </a:lnTo>
                      <a:lnTo>
                        <a:pt x="184" y="46"/>
                      </a:lnTo>
                      <a:lnTo>
                        <a:pt x="184" y="46"/>
                      </a:lnTo>
                      <a:lnTo>
                        <a:pt x="185" y="46"/>
                      </a:lnTo>
                      <a:lnTo>
                        <a:pt x="185" y="46"/>
                      </a:lnTo>
                      <a:lnTo>
                        <a:pt x="186" y="46"/>
                      </a:lnTo>
                      <a:lnTo>
                        <a:pt x="186" y="46"/>
                      </a:lnTo>
                      <a:lnTo>
                        <a:pt x="186" y="46"/>
                      </a:lnTo>
                      <a:lnTo>
                        <a:pt x="186" y="46"/>
                      </a:lnTo>
                      <a:lnTo>
                        <a:pt x="187" y="46"/>
                      </a:lnTo>
                      <a:lnTo>
                        <a:pt x="187" y="45"/>
                      </a:lnTo>
                      <a:lnTo>
                        <a:pt x="188" y="45"/>
                      </a:lnTo>
                      <a:lnTo>
                        <a:pt x="188" y="46"/>
                      </a:lnTo>
                      <a:lnTo>
                        <a:pt x="188" y="46"/>
                      </a:lnTo>
                      <a:lnTo>
                        <a:pt x="189" y="46"/>
                      </a:lnTo>
                      <a:lnTo>
                        <a:pt x="189" y="46"/>
                      </a:lnTo>
                      <a:lnTo>
                        <a:pt x="190" y="46"/>
                      </a:lnTo>
                      <a:lnTo>
                        <a:pt x="190" y="46"/>
                      </a:lnTo>
                      <a:lnTo>
                        <a:pt x="190" y="46"/>
                      </a:lnTo>
                      <a:lnTo>
                        <a:pt x="190" y="45"/>
                      </a:lnTo>
                      <a:lnTo>
                        <a:pt x="191" y="45"/>
                      </a:lnTo>
                      <a:lnTo>
                        <a:pt x="191" y="46"/>
                      </a:lnTo>
                      <a:lnTo>
                        <a:pt x="192" y="46"/>
                      </a:lnTo>
                      <a:lnTo>
                        <a:pt x="192" y="46"/>
                      </a:lnTo>
                      <a:lnTo>
                        <a:pt x="193" y="46"/>
                      </a:lnTo>
                      <a:lnTo>
                        <a:pt x="193" y="46"/>
                      </a:lnTo>
                      <a:lnTo>
                        <a:pt x="194" y="46"/>
                      </a:lnTo>
                      <a:lnTo>
                        <a:pt x="194" y="46"/>
                      </a:lnTo>
                      <a:lnTo>
                        <a:pt x="194" y="46"/>
                      </a:lnTo>
                      <a:lnTo>
                        <a:pt x="194" y="46"/>
                      </a:lnTo>
                      <a:lnTo>
                        <a:pt x="194" y="46"/>
                      </a:lnTo>
                      <a:lnTo>
                        <a:pt x="195" y="46"/>
                      </a:lnTo>
                      <a:lnTo>
                        <a:pt x="196" y="46"/>
                      </a:lnTo>
                      <a:lnTo>
                        <a:pt x="196" y="46"/>
                      </a:lnTo>
                      <a:lnTo>
                        <a:pt x="196" y="46"/>
                      </a:lnTo>
                      <a:lnTo>
                        <a:pt x="197" y="46"/>
                      </a:lnTo>
                      <a:lnTo>
                        <a:pt x="198" y="46"/>
                      </a:lnTo>
                      <a:lnTo>
                        <a:pt x="198" y="46"/>
                      </a:lnTo>
                      <a:lnTo>
                        <a:pt x="198" y="45"/>
                      </a:lnTo>
                      <a:lnTo>
                        <a:pt x="199" y="45"/>
                      </a:lnTo>
                      <a:lnTo>
                        <a:pt x="200" y="45"/>
                      </a:lnTo>
                      <a:lnTo>
                        <a:pt x="200" y="45"/>
                      </a:lnTo>
                      <a:lnTo>
                        <a:pt x="201" y="45"/>
                      </a:lnTo>
                      <a:lnTo>
                        <a:pt x="202" y="45"/>
                      </a:lnTo>
                      <a:lnTo>
                        <a:pt x="202" y="44"/>
                      </a:lnTo>
                      <a:lnTo>
                        <a:pt x="203" y="44"/>
                      </a:lnTo>
                      <a:lnTo>
                        <a:pt x="203" y="45"/>
                      </a:lnTo>
                      <a:lnTo>
                        <a:pt x="203" y="45"/>
                      </a:lnTo>
                      <a:lnTo>
                        <a:pt x="203" y="44"/>
                      </a:lnTo>
                      <a:lnTo>
                        <a:pt x="203" y="45"/>
                      </a:lnTo>
                      <a:lnTo>
                        <a:pt x="204" y="45"/>
                      </a:lnTo>
                      <a:lnTo>
                        <a:pt x="205" y="45"/>
                      </a:lnTo>
                      <a:lnTo>
                        <a:pt x="205" y="45"/>
                      </a:lnTo>
                      <a:lnTo>
                        <a:pt x="206" y="44"/>
                      </a:lnTo>
                      <a:lnTo>
                        <a:pt x="206" y="45"/>
                      </a:lnTo>
                      <a:lnTo>
                        <a:pt x="207" y="45"/>
                      </a:lnTo>
                      <a:lnTo>
                        <a:pt x="207" y="44"/>
                      </a:lnTo>
                      <a:lnTo>
                        <a:pt x="207" y="44"/>
                      </a:lnTo>
                      <a:lnTo>
                        <a:pt x="207" y="44"/>
                      </a:lnTo>
                      <a:lnTo>
                        <a:pt x="208" y="44"/>
                      </a:lnTo>
                      <a:lnTo>
                        <a:pt x="208" y="44"/>
                      </a:lnTo>
                      <a:lnTo>
                        <a:pt x="208" y="45"/>
                      </a:lnTo>
                      <a:lnTo>
                        <a:pt x="208" y="46"/>
                      </a:lnTo>
                      <a:lnTo>
                        <a:pt x="209" y="46"/>
                      </a:lnTo>
                      <a:lnTo>
                        <a:pt x="209" y="46"/>
                      </a:lnTo>
                      <a:lnTo>
                        <a:pt x="209" y="46"/>
                      </a:lnTo>
                      <a:lnTo>
                        <a:pt x="210" y="46"/>
                      </a:lnTo>
                      <a:lnTo>
                        <a:pt x="211" y="46"/>
                      </a:lnTo>
                      <a:lnTo>
                        <a:pt x="211" y="45"/>
                      </a:lnTo>
                      <a:lnTo>
                        <a:pt x="211" y="46"/>
                      </a:lnTo>
                      <a:lnTo>
                        <a:pt x="211" y="45"/>
                      </a:lnTo>
                      <a:lnTo>
                        <a:pt x="211" y="45"/>
                      </a:lnTo>
                      <a:lnTo>
                        <a:pt x="212" y="45"/>
                      </a:lnTo>
                      <a:lnTo>
                        <a:pt x="213" y="45"/>
                      </a:lnTo>
                      <a:lnTo>
                        <a:pt x="213" y="45"/>
                      </a:lnTo>
                      <a:lnTo>
                        <a:pt x="214" y="45"/>
                      </a:lnTo>
                      <a:lnTo>
                        <a:pt x="214" y="46"/>
                      </a:lnTo>
                      <a:lnTo>
                        <a:pt x="215" y="46"/>
                      </a:lnTo>
                      <a:lnTo>
                        <a:pt x="215" y="46"/>
                      </a:lnTo>
                      <a:lnTo>
                        <a:pt x="215" y="45"/>
                      </a:lnTo>
                      <a:lnTo>
                        <a:pt x="215" y="46"/>
                      </a:lnTo>
                      <a:lnTo>
                        <a:pt x="216" y="46"/>
                      </a:lnTo>
                      <a:lnTo>
                        <a:pt x="217" y="45"/>
                      </a:lnTo>
                      <a:lnTo>
                        <a:pt x="217" y="45"/>
                      </a:lnTo>
                      <a:lnTo>
                        <a:pt x="217" y="44"/>
                      </a:lnTo>
                      <a:lnTo>
                        <a:pt x="217" y="44"/>
                      </a:lnTo>
                      <a:lnTo>
                        <a:pt x="217" y="44"/>
                      </a:lnTo>
                      <a:lnTo>
                        <a:pt x="218" y="44"/>
                      </a:lnTo>
                      <a:lnTo>
                        <a:pt x="218" y="44"/>
                      </a:lnTo>
                      <a:lnTo>
                        <a:pt x="218" y="44"/>
                      </a:lnTo>
                      <a:lnTo>
                        <a:pt x="219" y="44"/>
                      </a:lnTo>
                      <a:lnTo>
                        <a:pt x="219" y="44"/>
                      </a:lnTo>
                      <a:lnTo>
                        <a:pt x="219" y="44"/>
                      </a:lnTo>
                      <a:lnTo>
                        <a:pt x="220" y="44"/>
                      </a:lnTo>
                      <a:lnTo>
                        <a:pt x="220" y="43"/>
                      </a:lnTo>
                      <a:lnTo>
                        <a:pt x="221" y="43"/>
                      </a:lnTo>
                      <a:lnTo>
                        <a:pt x="222" y="43"/>
                      </a:lnTo>
                      <a:lnTo>
                        <a:pt x="222" y="44"/>
                      </a:lnTo>
                      <a:lnTo>
                        <a:pt x="222" y="43"/>
                      </a:lnTo>
                      <a:lnTo>
                        <a:pt x="222" y="43"/>
                      </a:lnTo>
                      <a:lnTo>
                        <a:pt x="223" y="43"/>
                      </a:lnTo>
                      <a:lnTo>
                        <a:pt x="224" y="44"/>
                      </a:lnTo>
                      <a:lnTo>
                        <a:pt x="224" y="44"/>
                      </a:lnTo>
                      <a:lnTo>
                        <a:pt x="224" y="44"/>
                      </a:lnTo>
                      <a:lnTo>
                        <a:pt x="224" y="44"/>
                      </a:lnTo>
                      <a:lnTo>
                        <a:pt x="224" y="44"/>
                      </a:lnTo>
                      <a:lnTo>
                        <a:pt x="224" y="44"/>
                      </a:lnTo>
                      <a:lnTo>
                        <a:pt x="224" y="44"/>
                      </a:lnTo>
                      <a:lnTo>
                        <a:pt x="224" y="43"/>
                      </a:lnTo>
                      <a:lnTo>
                        <a:pt x="224" y="44"/>
                      </a:lnTo>
                      <a:lnTo>
                        <a:pt x="225" y="44"/>
                      </a:lnTo>
                      <a:lnTo>
                        <a:pt x="226" y="44"/>
                      </a:lnTo>
                      <a:lnTo>
                        <a:pt x="226" y="44"/>
                      </a:lnTo>
                      <a:lnTo>
                        <a:pt x="227" y="44"/>
                      </a:lnTo>
                      <a:lnTo>
                        <a:pt x="227" y="43"/>
                      </a:lnTo>
                      <a:lnTo>
                        <a:pt x="227" y="42"/>
                      </a:lnTo>
                      <a:lnTo>
                        <a:pt x="228" y="42"/>
                      </a:lnTo>
                      <a:lnTo>
                        <a:pt x="228" y="42"/>
                      </a:lnTo>
                      <a:lnTo>
                        <a:pt x="228" y="41"/>
                      </a:lnTo>
                      <a:lnTo>
                        <a:pt x="228" y="41"/>
                      </a:lnTo>
                      <a:lnTo>
                        <a:pt x="228" y="40"/>
                      </a:lnTo>
                      <a:lnTo>
                        <a:pt x="229" y="40"/>
                      </a:lnTo>
                      <a:lnTo>
                        <a:pt x="229" y="40"/>
                      </a:lnTo>
                      <a:lnTo>
                        <a:pt x="230" y="39"/>
                      </a:lnTo>
                      <a:lnTo>
                        <a:pt x="230" y="39"/>
                      </a:lnTo>
                      <a:lnTo>
                        <a:pt x="230" y="38"/>
                      </a:lnTo>
                      <a:lnTo>
                        <a:pt x="230" y="38"/>
                      </a:lnTo>
                      <a:lnTo>
                        <a:pt x="229" y="38"/>
                      </a:lnTo>
                      <a:lnTo>
                        <a:pt x="228" y="38"/>
                      </a:lnTo>
                      <a:lnTo>
                        <a:pt x="228" y="37"/>
                      </a:lnTo>
                      <a:lnTo>
                        <a:pt x="229" y="37"/>
                      </a:lnTo>
                      <a:lnTo>
                        <a:pt x="229" y="36"/>
                      </a:lnTo>
                      <a:lnTo>
                        <a:pt x="230" y="36"/>
                      </a:lnTo>
                      <a:lnTo>
                        <a:pt x="230" y="36"/>
                      </a:lnTo>
                      <a:lnTo>
                        <a:pt x="230" y="35"/>
                      </a:lnTo>
                      <a:lnTo>
                        <a:pt x="231" y="35"/>
                      </a:lnTo>
                      <a:lnTo>
                        <a:pt x="232" y="34"/>
                      </a:lnTo>
                      <a:lnTo>
                        <a:pt x="232" y="33"/>
                      </a:lnTo>
                      <a:lnTo>
                        <a:pt x="231" y="33"/>
                      </a:lnTo>
                      <a:lnTo>
                        <a:pt x="231" y="32"/>
                      </a:lnTo>
                      <a:lnTo>
                        <a:pt x="232" y="32"/>
                      </a:lnTo>
                      <a:lnTo>
                        <a:pt x="232" y="33"/>
                      </a:lnTo>
                      <a:lnTo>
                        <a:pt x="232" y="33"/>
                      </a:lnTo>
                      <a:lnTo>
                        <a:pt x="233" y="33"/>
                      </a:lnTo>
                      <a:lnTo>
                        <a:pt x="233" y="34"/>
                      </a:lnTo>
                      <a:lnTo>
                        <a:pt x="234" y="33"/>
                      </a:lnTo>
                      <a:lnTo>
                        <a:pt x="234" y="33"/>
                      </a:lnTo>
                      <a:lnTo>
                        <a:pt x="234" y="33"/>
                      </a:lnTo>
                      <a:lnTo>
                        <a:pt x="235" y="33"/>
                      </a:lnTo>
                      <a:lnTo>
                        <a:pt x="235" y="32"/>
                      </a:lnTo>
                      <a:lnTo>
                        <a:pt x="236" y="32"/>
                      </a:lnTo>
                      <a:lnTo>
                        <a:pt x="236" y="31"/>
                      </a:lnTo>
                      <a:lnTo>
                        <a:pt x="236" y="31"/>
                      </a:lnTo>
                      <a:lnTo>
                        <a:pt x="236" y="31"/>
                      </a:lnTo>
                      <a:lnTo>
                        <a:pt x="236" y="30"/>
                      </a:lnTo>
                      <a:lnTo>
                        <a:pt x="237" y="30"/>
                      </a:lnTo>
                      <a:lnTo>
                        <a:pt x="237" y="29"/>
                      </a:lnTo>
                      <a:lnTo>
                        <a:pt x="238" y="29"/>
                      </a:lnTo>
                      <a:lnTo>
                        <a:pt x="238" y="29"/>
                      </a:lnTo>
                      <a:lnTo>
                        <a:pt x="237" y="29"/>
                      </a:lnTo>
                      <a:lnTo>
                        <a:pt x="237" y="28"/>
                      </a:lnTo>
                      <a:lnTo>
                        <a:pt x="237" y="27"/>
                      </a:lnTo>
                      <a:lnTo>
                        <a:pt x="237" y="27"/>
                      </a:lnTo>
                      <a:lnTo>
                        <a:pt x="238" y="27"/>
                      </a:lnTo>
                      <a:lnTo>
                        <a:pt x="238" y="26"/>
                      </a:lnTo>
                      <a:lnTo>
                        <a:pt x="238" y="26"/>
                      </a:lnTo>
                      <a:lnTo>
                        <a:pt x="239" y="25"/>
                      </a:lnTo>
                      <a:lnTo>
                        <a:pt x="239" y="25"/>
                      </a:lnTo>
                      <a:lnTo>
                        <a:pt x="240" y="25"/>
                      </a:lnTo>
                      <a:lnTo>
                        <a:pt x="239" y="24"/>
                      </a:lnTo>
                      <a:lnTo>
                        <a:pt x="239" y="23"/>
                      </a:lnTo>
                      <a:lnTo>
                        <a:pt x="238" y="23"/>
                      </a:lnTo>
                      <a:lnTo>
                        <a:pt x="239" y="23"/>
                      </a:lnTo>
                      <a:lnTo>
                        <a:pt x="238" y="23"/>
                      </a:lnTo>
                      <a:lnTo>
                        <a:pt x="238" y="23"/>
                      </a:lnTo>
                      <a:lnTo>
                        <a:pt x="238" y="22"/>
                      </a:lnTo>
                      <a:lnTo>
                        <a:pt x="239" y="22"/>
                      </a:lnTo>
                      <a:lnTo>
                        <a:pt x="238" y="22"/>
                      </a:lnTo>
                      <a:lnTo>
                        <a:pt x="238" y="21"/>
                      </a:lnTo>
                      <a:lnTo>
                        <a:pt x="238" y="22"/>
                      </a:lnTo>
                      <a:lnTo>
                        <a:pt x="238" y="21"/>
                      </a:lnTo>
                      <a:lnTo>
                        <a:pt x="238" y="22"/>
                      </a:lnTo>
                      <a:lnTo>
                        <a:pt x="238" y="21"/>
                      </a:lnTo>
                      <a:lnTo>
                        <a:pt x="237" y="22"/>
                      </a:lnTo>
                      <a:lnTo>
                        <a:pt x="237" y="21"/>
                      </a:lnTo>
                      <a:lnTo>
                        <a:pt x="236" y="21"/>
                      </a:lnTo>
                      <a:lnTo>
                        <a:pt x="236" y="21"/>
                      </a:lnTo>
                      <a:lnTo>
                        <a:pt x="236" y="21"/>
                      </a:lnTo>
                      <a:lnTo>
                        <a:pt x="235" y="21"/>
                      </a:lnTo>
                      <a:lnTo>
                        <a:pt x="235" y="20"/>
                      </a:lnTo>
                      <a:lnTo>
                        <a:pt x="235" y="19"/>
                      </a:lnTo>
                      <a:lnTo>
                        <a:pt x="234" y="19"/>
                      </a:lnTo>
                      <a:lnTo>
                        <a:pt x="234" y="19"/>
                      </a:lnTo>
                      <a:lnTo>
                        <a:pt x="233" y="19"/>
                      </a:lnTo>
                      <a:lnTo>
                        <a:pt x="233" y="20"/>
                      </a:lnTo>
                      <a:lnTo>
                        <a:pt x="232" y="20"/>
                      </a:lnTo>
                      <a:lnTo>
                        <a:pt x="232" y="20"/>
                      </a:lnTo>
                      <a:lnTo>
                        <a:pt x="231" y="20"/>
                      </a:lnTo>
                      <a:lnTo>
                        <a:pt x="231" y="21"/>
                      </a:lnTo>
                      <a:lnTo>
                        <a:pt x="230" y="21"/>
                      </a:lnTo>
                      <a:lnTo>
                        <a:pt x="230" y="21"/>
                      </a:lnTo>
                      <a:lnTo>
                        <a:pt x="230" y="21"/>
                      </a:lnTo>
                      <a:lnTo>
                        <a:pt x="230" y="21"/>
                      </a:lnTo>
                      <a:lnTo>
                        <a:pt x="230" y="22"/>
                      </a:lnTo>
                      <a:lnTo>
                        <a:pt x="230" y="23"/>
                      </a:lnTo>
                      <a:lnTo>
                        <a:pt x="231" y="23"/>
                      </a:lnTo>
                      <a:lnTo>
                        <a:pt x="231" y="23"/>
                      </a:lnTo>
                      <a:lnTo>
                        <a:pt x="231" y="24"/>
                      </a:lnTo>
                      <a:lnTo>
                        <a:pt x="230" y="24"/>
                      </a:lnTo>
                      <a:lnTo>
                        <a:pt x="230" y="25"/>
                      </a:lnTo>
                      <a:lnTo>
                        <a:pt x="230" y="25"/>
                      </a:lnTo>
                      <a:lnTo>
                        <a:pt x="229" y="25"/>
                      </a:lnTo>
                      <a:lnTo>
                        <a:pt x="229" y="24"/>
                      </a:lnTo>
                      <a:lnTo>
                        <a:pt x="228" y="24"/>
                      </a:lnTo>
                      <a:lnTo>
                        <a:pt x="228" y="24"/>
                      </a:lnTo>
                      <a:lnTo>
                        <a:pt x="228" y="23"/>
                      </a:lnTo>
                      <a:lnTo>
                        <a:pt x="228" y="23"/>
                      </a:lnTo>
                      <a:lnTo>
                        <a:pt x="228" y="22"/>
                      </a:lnTo>
                      <a:lnTo>
                        <a:pt x="228" y="21"/>
                      </a:lnTo>
                      <a:lnTo>
                        <a:pt x="227" y="21"/>
                      </a:lnTo>
                      <a:lnTo>
                        <a:pt x="226" y="21"/>
                      </a:lnTo>
                      <a:lnTo>
                        <a:pt x="226" y="21"/>
                      </a:lnTo>
                      <a:lnTo>
                        <a:pt x="226" y="21"/>
                      </a:lnTo>
                      <a:lnTo>
                        <a:pt x="226" y="20"/>
                      </a:lnTo>
                      <a:lnTo>
                        <a:pt x="226" y="19"/>
                      </a:lnTo>
                      <a:lnTo>
                        <a:pt x="225" y="19"/>
                      </a:lnTo>
                      <a:lnTo>
                        <a:pt x="225" y="19"/>
                      </a:lnTo>
                      <a:lnTo>
                        <a:pt x="226" y="19"/>
                      </a:lnTo>
                      <a:lnTo>
                        <a:pt x="226" y="19"/>
                      </a:lnTo>
                      <a:lnTo>
                        <a:pt x="227" y="19"/>
                      </a:lnTo>
                      <a:lnTo>
                        <a:pt x="227" y="19"/>
                      </a:lnTo>
                      <a:lnTo>
                        <a:pt x="228" y="19"/>
                      </a:lnTo>
                      <a:lnTo>
                        <a:pt x="228" y="19"/>
                      </a:lnTo>
                      <a:lnTo>
                        <a:pt x="228" y="20"/>
                      </a:lnTo>
                      <a:lnTo>
                        <a:pt x="229" y="20"/>
                      </a:lnTo>
                      <a:lnTo>
                        <a:pt x="229" y="19"/>
                      </a:lnTo>
                      <a:lnTo>
                        <a:pt x="228" y="19"/>
                      </a:lnTo>
                      <a:lnTo>
                        <a:pt x="228" y="19"/>
                      </a:lnTo>
                      <a:lnTo>
                        <a:pt x="228" y="18"/>
                      </a:lnTo>
                      <a:lnTo>
                        <a:pt x="229" y="17"/>
                      </a:lnTo>
                      <a:lnTo>
                        <a:pt x="229" y="17"/>
                      </a:lnTo>
                      <a:lnTo>
                        <a:pt x="230" y="17"/>
                      </a:lnTo>
                      <a:lnTo>
                        <a:pt x="230" y="17"/>
                      </a:lnTo>
                      <a:lnTo>
                        <a:pt x="231" y="17"/>
                      </a:lnTo>
                      <a:lnTo>
                        <a:pt x="232" y="17"/>
                      </a:lnTo>
                      <a:lnTo>
                        <a:pt x="232" y="17"/>
                      </a:lnTo>
                      <a:lnTo>
                        <a:pt x="233" y="17"/>
                      </a:lnTo>
                      <a:lnTo>
                        <a:pt x="234" y="17"/>
                      </a:lnTo>
                      <a:lnTo>
                        <a:pt x="234" y="17"/>
                      </a:lnTo>
                      <a:lnTo>
                        <a:pt x="234" y="18"/>
                      </a:lnTo>
                      <a:lnTo>
                        <a:pt x="235" y="18"/>
                      </a:lnTo>
                      <a:lnTo>
                        <a:pt x="236" y="18"/>
                      </a:lnTo>
                      <a:lnTo>
                        <a:pt x="236" y="17"/>
                      </a:lnTo>
                      <a:lnTo>
                        <a:pt x="235" y="17"/>
                      </a:lnTo>
                      <a:lnTo>
                        <a:pt x="235" y="17"/>
                      </a:lnTo>
                      <a:lnTo>
                        <a:pt x="236" y="17"/>
                      </a:lnTo>
                      <a:lnTo>
                        <a:pt x="236" y="16"/>
                      </a:lnTo>
                      <a:lnTo>
                        <a:pt x="236" y="15"/>
                      </a:lnTo>
                      <a:lnTo>
                        <a:pt x="235" y="15"/>
                      </a:lnTo>
                      <a:lnTo>
                        <a:pt x="235" y="14"/>
                      </a:lnTo>
                      <a:lnTo>
                        <a:pt x="234" y="14"/>
                      </a:lnTo>
                      <a:lnTo>
                        <a:pt x="234" y="14"/>
                      </a:lnTo>
                      <a:lnTo>
                        <a:pt x="234" y="14"/>
                      </a:lnTo>
                      <a:lnTo>
                        <a:pt x="234" y="13"/>
                      </a:lnTo>
                      <a:lnTo>
                        <a:pt x="234" y="12"/>
                      </a:lnTo>
                      <a:lnTo>
                        <a:pt x="234" y="12"/>
                      </a:lnTo>
                      <a:lnTo>
                        <a:pt x="235" y="12"/>
                      </a:lnTo>
                      <a:lnTo>
                        <a:pt x="236" y="13"/>
                      </a:lnTo>
                      <a:lnTo>
                        <a:pt x="236" y="13"/>
                      </a:lnTo>
                      <a:lnTo>
                        <a:pt x="237" y="13"/>
                      </a:lnTo>
                      <a:lnTo>
                        <a:pt x="238" y="13"/>
                      </a:lnTo>
                      <a:lnTo>
                        <a:pt x="238" y="13"/>
                      </a:lnTo>
                      <a:lnTo>
                        <a:pt x="238" y="14"/>
                      </a:lnTo>
                      <a:lnTo>
                        <a:pt x="239" y="14"/>
                      </a:lnTo>
                      <a:lnTo>
                        <a:pt x="240" y="14"/>
                      </a:lnTo>
                      <a:lnTo>
                        <a:pt x="241" y="15"/>
                      </a:lnTo>
                      <a:lnTo>
                        <a:pt x="241" y="15"/>
                      </a:lnTo>
                      <a:lnTo>
                        <a:pt x="241" y="16"/>
                      </a:lnTo>
                      <a:lnTo>
                        <a:pt x="242" y="16"/>
                      </a:lnTo>
                      <a:lnTo>
                        <a:pt x="243" y="16"/>
                      </a:lnTo>
                      <a:lnTo>
                        <a:pt x="243" y="16"/>
                      </a:lnTo>
                      <a:lnTo>
                        <a:pt x="244" y="16"/>
                      </a:lnTo>
                      <a:lnTo>
                        <a:pt x="245" y="16"/>
                      </a:lnTo>
                      <a:lnTo>
                        <a:pt x="245" y="15"/>
                      </a:lnTo>
                      <a:lnTo>
                        <a:pt x="245" y="16"/>
                      </a:lnTo>
                      <a:lnTo>
                        <a:pt x="245" y="16"/>
                      </a:lnTo>
                      <a:lnTo>
                        <a:pt x="245" y="17"/>
                      </a:lnTo>
                      <a:lnTo>
                        <a:pt x="246" y="17"/>
                      </a:lnTo>
                      <a:lnTo>
                        <a:pt x="247" y="17"/>
                      </a:lnTo>
                      <a:lnTo>
                        <a:pt x="247" y="17"/>
                      </a:lnTo>
                      <a:lnTo>
                        <a:pt x="247" y="17"/>
                      </a:lnTo>
                      <a:lnTo>
                        <a:pt x="247" y="18"/>
                      </a:lnTo>
                      <a:lnTo>
                        <a:pt x="248" y="18"/>
                      </a:lnTo>
                      <a:lnTo>
                        <a:pt x="249" y="18"/>
                      </a:lnTo>
                      <a:lnTo>
                        <a:pt x="249" y="19"/>
                      </a:lnTo>
                      <a:lnTo>
                        <a:pt x="249" y="19"/>
                      </a:lnTo>
                      <a:lnTo>
                        <a:pt x="249" y="19"/>
                      </a:lnTo>
                      <a:lnTo>
                        <a:pt x="249" y="20"/>
                      </a:lnTo>
                      <a:lnTo>
                        <a:pt x="250" y="20"/>
                      </a:lnTo>
                      <a:lnTo>
                        <a:pt x="251" y="20"/>
                      </a:lnTo>
                      <a:lnTo>
                        <a:pt x="251" y="19"/>
                      </a:lnTo>
                      <a:lnTo>
                        <a:pt x="251" y="19"/>
                      </a:lnTo>
                      <a:lnTo>
                        <a:pt x="251" y="20"/>
                      </a:lnTo>
                      <a:lnTo>
                        <a:pt x="252" y="20"/>
                      </a:lnTo>
                      <a:lnTo>
                        <a:pt x="252" y="19"/>
                      </a:lnTo>
                      <a:lnTo>
                        <a:pt x="251" y="19"/>
                      </a:lnTo>
                      <a:lnTo>
                        <a:pt x="251" y="19"/>
                      </a:lnTo>
                      <a:lnTo>
                        <a:pt x="251" y="19"/>
                      </a:lnTo>
                      <a:lnTo>
                        <a:pt x="251" y="18"/>
                      </a:lnTo>
                      <a:lnTo>
                        <a:pt x="251" y="18"/>
                      </a:lnTo>
                      <a:lnTo>
                        <a:pt x="252" y="18"/>
                      </a:lnTo>
                      <a:lnTo>
                        <a:pt x="253" y="19"/>
                      </a:lnTo>
                      <a:lnTo>
                        <a:pt x="253" y="19"/>
                      </a:lnTo>
                      <a:lnTo>
                        <a:pt x="253" y="19"/>
                      </a:lnTo>
                      <a:lnTo>
                        <a:pt x="254" y="19"/>
                      </a:lnTo>
                      <a:lnTo>
                        <a:pt x="254" y="20"/>
                      </a:lnTo>
                      <a:lnTo>
                        <a:pt x="255" y="20"/>
                      </a:lnTo>
                      <a:lnTo>
                        <a:pt x="255" y="20"/>
                      </a:lnTo>
                      <a:lnTo>
                        <a:pt x="256" y="20"/>
                      </a:lnTo>
                      <a:lnTo>
                        <a:pt x="257" y="20"/>
                      </a:lnTo>
                      <a:lnTo>
                        <a:pt x="257" y="20"/>
                      </a:lnTo>
                      <a:lnTo>
                        <a:pt x="257" y="19"/>
                      </a:lnTo>
                      <a:lnTo>
                        <a:pt x="258" y="19"/>
                      </a:lnTo>
                      <a:lnTo>
                        <a:pt x="258" y="19"/>
                      </a:lnTo>
                      <a:lnTo>
                        <a:pt x="259" y="19"/>
                      </a:lnTo>
                      <a:lnTo>
                        <a:pt x="260" y="18"/>
                      </a:lnTo>
                      <a:lnTo>
                        <a:pt x="260" y="18"/>
                      </a:lnTo>
                      <a:lnTo>
                        <a:pt x="260" y="17"/>
                      </a:lnTo>
                      <a:lnTo>
                        <a:pt x="260" y="17"/>
                      </a:lnTo>
                      <a:lnTo>
                        <a:pt x="260" y="17"/>
                      </a:lnTo>
                      <a:lnTo>
                        <a:pt x="261" y="17"/>
                      </a:lnTo>
                      <a:lnTo>
                        <a:pt x="261" y="17"/>
                      </a:lnTo>
                      <a:lnTo>
                        <a:pt x="262" y="17"/>
                      </a:lnTo>
                      <a:lnTo>
                        <a:pt x="262" y="16"/>
                      </a:lnTo>
                      <a:lnTo>
                        <a:pt x="262" y="17"/>
                      </a:lnTo>
                      <a:lnTo>
                        <a:pt x="262" y="17"/>
                      </a:lnTo>
                      <a:lnTo>
                        <a:pt x="262" y="16"/>
                      </a:lnTo>
                      <a:lnTo>
                        <a:pt x="263" y="16"/>
                      </a:lnTo>
                      <a:lnTo>
                        <a:pt x="262" y="16"/>
                      </a:lnTo>
                      <a:lnTo>
                        <a:pt x="262" y="15"/>
                      </a:lnTo>
                      <a:lnTo>
                        <a:pt x="262" y="14"/>
                      </a:lnTo>
                      <a:lnTo>
                        <a:pt x="262" y="14"/>
                      </a:lnTo>
                      <a:lnTo>
                        <a:pt x="262" y="14"/>
                      </a:lnTo>
                      <a:lnTo>
                        <a:pt x="262" y="13"/>
                      </a:lnTo>
                      <a:lnTo>
                        <a:pt x="261" y="13"/>
                      </a:lnTo>
                      <a:lnTo>
                        <a:pt x="261" y="12"/>
                      </a:lnTo>
                      <a:lnTo>
                        <a:pt x="261" y="12"/>
                      </a:lnTo>
                      <a:lnTo>
                        <a:pt x="260" y="12"/>
                      </a:lnTo>
                      <a:lnTo>
                        <a:pt x="260" y="11"/>
                      </a:lnTo>
                      <a:lnTo>
                        <a:pt x="260" y="11"/>
                      </a:lnTo>
                      <a:lnTo>
                        <a:pt x="260" y="12"/>
                      </a:lnTo>
                      <a:lnTo>
                        <a:pt x="260" y="12"/>
                      </a:lnTo>
                      <a:lnTo>
                        <a:pt x="260" y="12"/>
                      </a:lnTo>
                      <a:lnTo>
                        <a:pt x="260" y="12"/>
                      </a:lnTo>
                      <a:lnTo>
                        <a:pt x="260" y="11"/>
                      </a:lnTo>
                      <a:lnTo>
                        <a:pt x="260" y="10"/>
                      </a:lnTo>
                      <a:lnTo>
                        <a:pt x="259" y="10"/>
                      </a:lnTo>
                      <a:lnTo>
                        <a:pt x="259" y="10"/>
                      </a:lnTo>
                      <a:lnTo>
                        <a:pt x="258" y="10"/>
                      </a:lnTo>
                      <a:lnTo>
                        <a:pt x="258" y="9"/>
                      </a:lnTo>
                      <a:lnTo>
                        <a:pt x="258" y="8"/>
                      </a:lnTo>
                      <a:lnTo>
                        <a:pt x="257" y="8"/>
                      </a:lnTo>
                      <a:lnTo>
                        <a:pt x="257" y="8"/>
                      </a:lnTo>
                      <a:lnTo>
                        <a:pt x="257" y="7"/>
                      </a:lnTo>
                      <a:lnTo>
                        <a:pt x="258" y="7"/>
                      </a:lnTo>
                      <a:lnTo>
                        <a:pt x="258" y="6"/>
                      </a:lnTo>
                      <a:lnTo>
                        <a:pt x="258" y="6"/>
                      </a:lnTo>
                      <a:lnTo>
                        <a:pt x="259" y="6"/>
                      </a:lnTo>
                      <a:lnTo>
                        <a:pt x="260" y="6"/>
                      </a:lnTo>
                      <a:lnTo>
                        <a:pt x="260" y="5"/>
                      </a:lnTo>
                      <a:lnTo>
                        <a:pt x="260" y="5"/>
                      </a:lnTo>
                      <a:lnTo>
                        <a:pt x="261" y="5"/>
                      </a:lnTo>
                      <a:lnTo>
                        <a:pt x="261" y="6"/>
                      </a:lnTo>
                      <a:lnTo>
                        <a:pt x="260" y="6"/>
                      </a:lnTo>
                      <a:lnTo>
                        <a:pt x="260" y="6"/>
                      </a:lnTo>
                      <a:lnTo>
                        <a:pt x="261" y="6"/>
                      </a:lnTo>
                      <a:lnTo>
                        <a:pt x="261" y="6"/>
                      </a:lnTo>
                      <a:lnTo>
                        <a:pt x="262" y="6"/>
                      </a:lnTo>
                      <a:lnTo>
                        <a:pt x="261" y="6"/>
                      </a:lnTo>
                      <a:lnTo>
                        <a:pt x="261" y="5"/>
                      </a:lnTo>
                      <a:lnTo>
                        <a:pt x="261" y="4"/>
                      </a:lnTo>
                      <a:lnTo>
                        <a:pt x="262" y="4"/>
                      </a:lnTo>
                      <a:lnTo>
                        <a:pt x="262" y="4"/>
                      </a:lnTo>
                      <a:lnTo>
                        <a:pt x="263" y="4"/>
                      </a:lnTo>
                      <a:lnTo>
                        <a:pt x="263" y="3"/>
                      </a:lnTo>
                      <a:lnTo>
                        <a:pt x="264" y="3"/>
                      </a:lnTo>
                      <a:lnTo>
                        <a:pt x="264" y="4"/>
                      </a:lnTo>
                      <a:lnTo>
                        <a:pt x="264" y="4"/>
                      </a:lnTo>
                      <a:lnTo>
                        <a:pt x="264" y="5"/>
                      </a:lnTo>
                      <a:lnTo>
                        <a:pt x="263" y="5"/>
                      </a:lnTo>
                      <a:lnTo>
                        <a:pt x="263" y="6"/>
                      </a:lnTo>
                      <a:lnTo>
                        <a:pt x="264" y="6"/>
                      </a:lnTo>
                      <a:lnTo>
                        <a:pt x="264" y="6"/>
                      </a:lnTo>
                      <a:lnTo>
                        <a:pt x="264" y="6"/>
                      </a:lnTo>
                      <a:lnTo>
                        <a:pt x="264" y="6"/>
                      </a:lnTo>
                      <a:lnTo>
                        <a:pt x="264" y="5"/>
                      </a:lnTo>
                      <a:lnTo>
                        <a:pt x="264" y="5"/>
                      </a:lnTo>
                      <a:lnTo>
                        <a:pt x="264" y="4"/>
                      </a:lnTo>
                      <a:lnTo>
                        <a:pt x="264" y="4"/>
                      </a:lnTo>
                      <a:lnTo>
                        <a:pt x="264" y="3"/>
                      </a:lnTo>
                      <a:lnTo>
                        <a:pt x="264" y="3"/>
                      </a:lnTo>
                      <a:lnTo>
                        <a:pt x="264" y="2"/>
                      </a:lnTo>
                      <a:lnTo>
                        <a:pt x="265" y="2"/>
                      </a:lnTo>
                      <a:lnTo>
                        <a:pt x="265" y="2"/>
                      </a:lnTo>
                      <a:lnTo>
                        <a:pt x="266" y="2"/>
                      </a:lnTo>
                      <a:lnTo>
                        <a:pt x="266" y="2"/>
                      </a:lnTo>
                      <a:lnTo>
                        <a:pt x="267" y="2"/>
                      </a:lnTo>
                      <a:lnTo>
                        <a:pt x="267" y="1"/>
                      </a:lnTo>
                      <a:lnTo>
                        <a:pt x="266" y="1"/>
                      </a:lnTo>
                      <a:lnTo>
                        <a:pt x="266" y="0"/>
                      </a:lnTo>
                      <a:lnTo>
                        <a:pt x="266"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2" name="Freeform 52">
                  <a:extLst>
                    <a:ext uri="{FF2B5EF4-FFF2-40B4-BE49-F238E27FC236}">
                      <a16:creationId xmlns:a16="http://schemas.microsoft.com/office/drawing/2014/main" xmlns="" id="{76FB7418-5954-151E-A180-4AEBB71FB96F}"/>
                    </a:ext>
                  </a:extLst>
                </p:cNvPr>
                <p:cNvSpPr>
                  <a:spLocks/>
                </p:cNvSpPr>
                <p:nvPr/>
              </p:nvSpPr>
              <p:spPr bwMode="auto">
                <a:xfrm>
                  <a:off x="2069" y="2327"/>
                  <a:ext cx="171" cy="156"/>
                </a:xfrm>
                <a:custGeom>
                  <a:avLst/>
                  <a:gdLst>
                    <a:gd name="T0" fmla="*/ 169 w 171"/>
                    <a:gd name="T1" fmla="*/ 150 h 156"/>
                    <a:gd name="T2" fmla="*/ 165 w 171"/>
                    <a:gd name="T3" fmla="*/ 145 h 156"/>
                    <a:gd name="T4" fmla="*/ 160 w 171"/>
                    <a:gd name="T5" fmla="*/ 141 h 156"/>
                    <a:gd name="T6" fmla="*/ 154 w 171"/>
                    <a:gd name="T7" fmla="*/ 143 h 156"/>
                    <a:gd name="T8" fmla="*/ 147 w 171"/>
                    <a:gd name="T9" fmla="*/ 145 h 156"/>
                    <a:gd name="T10" fmla="*/ 137 w 171"/>
                    <a:gd name="T11" fmla="*/ 144 h 156"/>
                    <a:gd name="T12" fmla="*/ 129 w 171"/>
                    <a:gd name="T13" fmla="*/ 141 h 156"/>
                    <a:gd name="T14" fmla="*/ 122 w 171"/>
                    <a:gd name="T15" fmla="*/ 138 h 156"/>
                    <a:gd name="T16" fmla="*/ 113 w 171"/>
                    <a:gd name="T17" fmla="*/ 137 h 156"/>
                    <a:gd name="T18" fmla="*/ 108 w 171"/>
                    <a:gd name="T19" fmla="*/ 139 h 156"/>
                    <a:gd name="T20" fmla="*/ 105 w 171"/>
                    <a:gd name="T21" fmla="*/ 147 h 156"/>
                    <a:gd name="T22" fmla="*/ 99 w 171"/>
                    <a:gd name="T23" fmla="*/ 145 h 156"/>
                    <a:gd name="T24" fmla="*/ 101 w 171"/>
                    <a:gd name="T25" fmla="*/ 140 h 156"/>
                    <a:gd name="T26" fmla="*/ 99 w 171"/>
                    <a:gd name="T27" fmla="*/ 133 h 156"/>
                    <a:gd name="T28" fmla="*/ 95 w 171"/>
                    <a:gd name="T29" fmla="*/ 133 h 156"/>
                    <a:gd name="T30" fmla="*/ 93 w 171"/>
                    <a:gd name="T31" fmla="*/ 124 h 156"/>
                    <a:gd name="T32" fmla="*/ 87 w 171"/>
                    <a:gd name="T33" fmla="*/ 117 h 156"/>
                    <a:gd name="T34" fmla="*/ 85 w 171"/>
                    <a:gd name="T35" fmla="*/ 111 h 156"/>
                    <a:gd name="T36" fmla="*/ 86 w 171"/>
                    <a:gd name="T37" fmla="*/ 109 h 156"/>
                    <a:gd name="T38" fmla="*/ 91 w 171"/>
                    <a:gd name="T39" fmla="*/ 105 h 156"/>
                    <a:gd name="T40" fmla="*/ 93 w 171"/>
                    <a:gd name="T41" fmla="*/ 105 h 156"/>
                    <a:gd name="T42" fmla="*/ 96 w 171"/>
                    <a:gd name="T43" fmla="*/ 108 h 156"/>
                    <a:gd name="T44" fmla="*/ 101 w 171"/>
                    <a:gd name="T45" fmla="*/ 103 h 156"/>
                    <a:gd name="T46" fmla="*/ 105 w 171"/>
                    <a:gd name="T47" fmla="*/ 93 h 156"/>
                    <a:gd name="T48" fmla="*/ 112 w 171"/>
                    <a:gd name="T49" fmla="*/ 93 h 156"/>
                    <a:gd name="T50" fmla="*/ 119 w 171"/>
                    <a:gd name="T51" fmla="*/ 95 h 156"/>
                    <a:gd name="T52" fmla="*/ 124 w 171"/>
                    <a:gd name="T53" fmla="*/ 92 h 156"/>
                    <a:gd name="T54" fmla="*/ 123 w 171"/>
                    <a:gd name="T55" fmla="*/ 89 h 156"/>
                    <a:gd name="T56" fmla="*/ 125 w 171"/>
                    <a:gd name="T57" fmla="*/ 88 h 156"/>
                    <a:gd name="T58" fmla="*/ 122 w 171"/>
                    <a:gd name="T59" fmla="*/ 84 h 156"/>
                    <a:gd name="T60" fmla="*/ 129 w 171"/>
                    <a:gd name="T61" fmla="*/ 80 h 156"/>
                    <a:gd name="T62" fmla="*/ 128 w 171"/>
                    <a:gd name="T63" fmla="*/ 80 h 156"/>
                    <a:gd name="T64" fmla="*/ 131 w 171"/>
                    <a:gd name="T65" fmla="*/ 77 h 156"/>
                    <a:gd name="T66" fmla="*/ 129 w 171"/>
                    <a:gd name="T67" fmla="*/ 73 h 156"/>
                    <a:gd name="T68" fmla="*/ 122 w 171"/>
                    <a:gd name="T69" fmla="*/ 71 h 156"/>
                    <a:gd name="T70" fmla="*/ 116 w 171"/>
                    <a:gd name="T71" fmla="*/ 74 h 156"/>
                    <a:gd name="T72" fmla="*/ 111 w 171"/>
                    <a:gd name="T73" fmla="*/ 74 h 156"/>
                    <a:gd name="T74" fmla="*/ 104 w 171"/>
                    <a:gd name="T75" fmla="*/ 71 h 156"/>
                    <a:gd name="T76" fmla="*/ 101 w 171"/>
                    <a:gd name="T77" fmla="*/ 69 h 156"/>
                    <a:gd name="T78" fmla="*/ 95 w 171"/>
                    <a:gd name="T79" fmla="*/ 69 h 156"/>
                    <a:gd name="T80" fmla="*/ 91 w 171"/>
                    <a:gd name="T81" fmla="*/ 71 h 156"/>
                    <a:gd name="T82" fmla="*/ 84 w 171"/>
                    <a:gd name="T83" fmla="*/ 71 h 156"/>
                    <a:gd name="T84" fmla="*/ 77 w 171"/>
                    <a:gd name="T85" fmla="*/ 65 h 156"/>
                    <a:gd name="T86" fmla="*/ 70 w 171"/>
                    <a:gd name="T87" fmla="*/ 62 h 156"/>
                    <a:gd name="T88" fmla="*/ 63 w 171"/>
                    <a:gd name="T89" fmla="*/ 60 h 156"/>
                    <a:gd name="T90" fmla="*/ 57 w 171"/>
                    <a:gd name="T91" fmla="*/ 54 h 156"/>
                    <a:gd name="T92" fmla="*/ 53 w 171"/>
                    <a:gd name="T93" fmla="*/ 46 h 156"/>
                    <a:gd name="T94" fmla="*/ 48 w 171"/>
                    <a:gd name="T95" fmla="*/ 38 h 156"/>
                    <a:gd name="T96" fmla="*/ 41 w 171"/>
                    <a:gd name="T97" fmla="*/ 32 h 156"/>
                    <a:gd name="T98" fmla="*/ 37 w 171"/>
                    <a:gd name="T99" fmla="*/ 25 h 156"/>
                    <a:gd name="T100" fmla="*/ 32 w 171"/>
                    <a:gd name="T101" fmla="*/ 17 h 156"/>
                    <a:gd name="T102" fmla="*/ 29 w 171"/>
                    <a:gd name="T103" fmla="*/ 15 h 156"/>
                    <a:gd name="T104" fmla="*/ 27 w 171"/>
                    <a:gd name="T105" fmla="*/ 18 h 156"/>
                    <a:gd name="T106" fmla="*/ 16 w 171"/>
                    <a:gd name="T107" fmla="*/ 16 h 156"/>
                    <a:gd name="T108" fmla="*/ 8 w 171"/>
                    <a:gd name="T109" fmla="*/ 10 h 156"/>
                    <a:gd name="T110" fmla="*/ 17 w 171"/>
                    <a:gd name="T111" fmla="*/ 10 h 156"/>
                    <a:gd name="T112" fmla="*/ 19 w 171"/>
                    <a:gd name="T113" fmla="*/ 8 h 156"/>
                    <a:gd name="T114" fmla="*/ 14 w 171"/>
                    <a:gd name="T115" fmla="*/ 4 h 156"/>
                    <a:gd name="T116" fmla="*/ 9 w 171"/>
                    <a:gd name="T117" fmla="*/ 1 h 156"/>
                    <a:gd name="T118" fmla="*/ 3 w 171"/>
                    <a:gd name="T119"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 h="156">
                      <a:moveTo>
                        <a:pt x="171" y="156"/>
                      </a:moveTo>
                      <a:lnTo>
                        <a:pt x="170" y="156"/>
                      </a:lnTo>
                      <a:lnTo>
                        <a:pt x="170" y="156"/>
                      </a:lnTo>
                      <a:lnTo>
                        <a:pt x="171" y="156"/>
                      </a:lnTo>
                      <a:lnTo>
                        <a:pt x="171" y="155"/>
                      </a:lnTo>
                      <a:lnTo>
                        <a:pt x="170" y="155"/>
                      </a:lnTo>
                      <a:lnTo>
                        <a:pt x="170" y="154"/>
                      </a:lnTo>
                      <a:lnTo>
                        <a:pt x="170" y="154"/>
                      </a:lnTo>
                      <a:lnTo>
                        <a:pt x="171" y="154"/>
                      </a:lnTo>
                      <a:lnTo>
                        <a:pt x="170" y="153"/>
                      </a:lnTo>
                      <a:lnTo>
                        <a:pt x="171" y="153"/>
                      </a:lnTo>
                      <a:lnTo>
                        <a:pt x="170" y="152"/>
                      </a:lnTo>
                      <a:lnTo>
                        <a:pt x="169" y="152"/>
                      </a:lnTo>
                      <a:lnTo>
                        <a:pt x="169" y="151"/>
                      </a:lnTo>
                      <a:lnTo>
                        <a:pt x="169" y="151"/>
                      </a:lnTo>
                      <a:lnTo>
                        <a:pt x="169" y="151"/>
                      </a:lnTo>
                      <a:lnTo>
                        <a:pt x="169" y="150"/>
                      </a:lnTo>
                      <a:lnTo>
                        <a:pt x="169" y="150"/>
                      </a:lnTo>
                      <a:lnTo>
                        <a:pt x="169" y="149"/>
                      </a:lnTo>
                      <a:lnTo>
                        <a:pt x="168" y="149"/>
                      </a:lnTo>
                      <a:lnTo>
                        <a:pt x="168" y="149"/>
                      </a:lnTo>
                      <a:lnTo>
                        <a:pt x="168" y="148"/>
                      </a:lnTo>
                      <a:lnTo>
                        <a:pt x="168" y="149"/>
                      </a:lnTo>
                      <a:lnTo>
                        <a:pt x="167" y="149"/>
                      </a:lnTo>
                      <a:lnTo>
                        <a:pt x="167" y="148"/>
                      </a:lnTo>
                      <a:lnTo>
                        <a:pt x="167" y="148"/>
                      </a:lnTo>
                      <a:lnTo>
                        <a:pt x="167" y="147"/>
                      </a:lnTo>
                      <a:lnTo>
                        <a:pt x="166" y="147"/>
                      </a:lnTo>
                      <a:lnTo>
                        <a:pt x="166" y="147"/>
                      </a:lnTo>
                      <a:lnTo>
                        <a:pt x="166" y="146"/>
                      </a:lnTo>
                      <a:lnTo>
                        <a:pt x="165" y="146"/>
                      </a:lnTo>
                      <a:lnTo>
                        <a:pt x="165" y="145"/>
                      </a:lnTo>
                      <a:lnTo>
                        <a:pt x="165" y="145"/>
                      </a:lnTo>
                      <a:lnTo>
                        <a:pt x="165" y="145"/>
                      </a:lnTo>
                      <a:lnTo>
                        <a:pt x="165" y="144"/>
                      </a:lnTo>
                      <a:lnTo>
                        <a:pt x="165" y="143"/>
                      </a:lnTo>
                      <a:lnTo>
                        <a:pt x="164" y="143"/>
                      </a:lnTo>
                      <a:lnTo>
                        <a:pt x="164" y="143"/>
                      </a:lnTo>
                      <a:lnTo>
                        <a:pt x="163" y="143"/>
                      </a:lnTo>
                      <a:lnTo>
                        <a:pt x="162" y="143"/>
                      </a:lnTo>
                      <a:lnTo>
                        <a:pt x="162" y="142"/>
                      </a:lnTo>
                      <a:lnTo>
                        <a:pt x="163" y="142"/>
                      </a:lnTo>
                      <a:lnTo>
                        <a:pt x="162" y="142"/>
                      </a:lnTo>
                      <a:lnTo>
                        <a:pt x="162" y="141"/>
                      </a:lnTo>
                      <a:lnTo>
                        <a:pt x="162" y="141"/>
                      </a:lnTo>
                      <a:lnTo>
                        <a:pt x="162" y="140"/>
                      </a:lnTo>
                      <a:lnTo>
                        <a:pt x="162" y="140"/>
                      </a:lnTo>
                      <a:lnTo>
                        <a:pt x="161" y="140"/>
                      </a:lnTo>
                      <a:lnTo>
                        <a:pt x="160" y="140"/>
                      </a:lnTo>
                      <a:lnTo>
                        <a:pt x="160" y="140"/>
                      </a:lnTo>
                      <a:lnTo>
                        <a:pt x="160" y="141"/>
                      </a:lnTo>
                      <a:lnTo>
                        <a:pt x="159" y="141"/>
                      </a:lnTo>
                      <a:lnTo>
                        <a:pt x="158" y="141"/>
                      </a:lnTo>
                      <a:lnTo>
                        <a:pt x="158" y="140"/>
                      </a:lnTo>
                      <a:lnTo>
                        <a:pt x="158" y="140"/>
                      </a:lnTo>
                      <a:lnTo>
                        <a:pt x="157" y="140"/>
                      </a:lnTo>
                      <a:lnTo>
                        <a:pt x="156" y="140"/>
                      </a:lnTo>
                      <a:lnTo>
                        <a:pt x="156" y="139"/>
                      </a:lnTo>
                      <a:lnTo>
                        <a:pt x="156" y="139"/>
                      </a:lnTo>
                      <a:lnTo>
                        <a:pt x="156" y="140"/>
                      </a:lnTo>
                      <a:lnTo>
                        <a:pt x="155" y="140"/>
                      </a:lnTo>
                      <a:lnTo>
                        <a:pt x="156" y="140"/>
                      </a:lnTo>
                      <a:lnTo>
                        <a:pt x="156" y="141"/>
                      </a:lnTo>
                      <a:lnTo>
                        <a:pt x="155" y="141"/>
                      </a:lnTo>
                      <a:lnTo>
                        <a:pt x="155" y="141"/>
                      </a:lnTo>
                      <a:lnTo>
                        <a:pt x="155" y="142"/>
                      </a:lnTo>
                      <a:lnTo>
                        <a:pt x="154" y="142"/>
                      </a:lnTo>
                      <a:lnTo>
                        <a:pt x="154" y="143"/>
                      </a:lnTo>
                      <a:lnTo>
                        <a:pt x="154" y="143"/>
                      </a:lnTo>
                      <a:lnTo>
                        <a:pt x="153" y="143"/>
                      </a:lnTo>
                      <a:lnTo>
                        <a:pt x="153" y="143"/>
                      </a:lnTo>
                      <a:lnTo>
                        <a:pt x="152" y="143"/>
                      </a:lnTo>
                      <a:lnTo>
                        <a:pt x="152" y="144"/>
                      </a:lnTo>
                      <a:lnTo>
                        <a:pt x="152" y="145"/>
                      </a:lnTo>
                      <a:lnTo>
                        <a:pt x="152" y="145"/>
                      </a:lnTo>
                      <a:lnTo>
                        <a:pt x="151" y="145"/>
                      </a:lnTo>
                      <a:lnTo>
                        <a:pt x="150" y="145"/>
                      </a:lnTo>
                      <a:lnTo>
                        <a:pt x="150" y="145"/>
                      </a:lnTo>
                      <a:lnTo>
                        <a:pt x="149" y="145"/>
                      </a:lnTo>
                      <a:lnTo>
                        <a:pt x="149" y="145"/>
                      </a:lnTo>
                      <a:lnTo>
                        <a:pt x="148" y="145"/>
                      </a:lnTo>
                      <a:lnTo>
                        <a:pt x="148" y="145"/>
                      </a:lnTo>
                      <a:lnTo>
                        <a:pt x="148" y="145"/>
                      </a:lnTo>
                      <a:lnTo>
                        <a:pt x="147" y="145"/>
                      </a:lnTo>
                      <a:lnTo>
                        <a:pt x="147" y="145"/>
                      </a:lnTo>
                      <a:lnTo>
                        <a:pt x="146" y="145"/>
                      </a:lnTo>
                      <a:lnTo>
                        <a:pt x="146" y="145"/>
                      </a:lnTo>
                      <a:lnTo>
                        <a:pt x="146" y="145"/>
                      </a:lnTo>
                      <a:lnTo>
                        <a:pt x="145" y="145"/>
                      </a:lnTo>
                      <a:lnTo>
                        <a:pt x="145" y="145"/>
                      </a:lnTo>
                      <a:lnTo>
                        <a:pt x="144" y="145"/>
                      </a:lnTo>
                      <a:lnTo>
                        <a:pt x="144" y="145"/>
                      </a:lnTo>
                      <a:lnTo>
                        <a:pt x="143" y="145"/>
                      </a:lnTo>
                      <a:lnTo>
                        <a:pt x="143" y="145"/>
                      </a:lnTo>
                      <a:lnTo>
                        <a:pt x="142" y="145"/>
                      </a:lnTo>
                      <a:lnTo>
                        <a:pt x="141" y="144"/>
                      </a:lnTo>
                      <a:lnTo>
                        <a:pt x="141" y="144"/>
                      </a:lnTo>
                      <a:lnTo>
                        <a:pt x="140" y="144"/>
                      </a:lnTo>
                      <a:lnTo>
                        <a:pt x="139" y="144"/>
                      </a:lnTo>
                      <a:lnTo>
                        <a:pt x="139" y="144"/>
                      </a:lnTo>
                      <a:lnTo>
                        <a:pt x="138" y="144"/>
                      </a:lnTo>
                      <a:lnTo>
                        <a:pt x="137" y="144"/>
                      </a:lnTo>
                      <a:lnTo>
                        <a:pt x="137" y="144"/>
                      </a:lnTo>
                      <a:lnTo>
                        <a:pt x="136" y="144"/>
                      </a:lnTo>
                      <a:lnTo>
                        <a:pt x="135" y="144"/>
                      </a:lnTo>
                      <a:lnTo>
                        <a:pt x="135" y="143"/>
                      </a:lnTo>
                      <a:lnTo>
                        <a:pt x="135" y="143"/>
                      </a:lnTo>
                      <a:lnTo>
                        <a:pt x="135" y="143"/>
                      </a:lnTo>
                      <a:lnTo>
                        <a:pt x="134" y="143"/>
                      </a:lnTo>
                      <a:lnTo>
                        <a:pt x="133" y="143"/>
                      </a:lnTo>
                      <a:lnTo>
                        <a:pt x="133" y="142"/>
                      </a:lnTo>
                      <a:lnTo>
                        <a:pt x="133" y="142"/>
                      </a:lnTo>
                      <a:lnTo>
                        <a:pt x="132" y="142"/>
                      </a:lnTo>
                      <a:lnTo>
                        <a:pt x="132" y="141"/>
                      </a:lnTo>
                      <a:lnTo>
                        <a:pt x="131" y="141"/>
                      </a:lnTo>
                      <a:lnTo>
                        <a:pt x="131" y="141"/>
                      </a:lnTo>
                      <a:lnTo>
                        <a:pt x="130" y="141"/>
                      </a:lnTo>
                      <a:lnTo>
                        <a:pt x="129" y="141"/>
                      </a:lnTo>
                      <a:lnTo>
                        <a:pt x="129" y="141"/>
                      </a:lnTo>
                      <a:lnTo>
                        <a:pt x="128" y="141"/>
                      </a:lnTo>
                      <a:lnTo>
                        <a:pt x="127" y="141"/>
                      </a:lnTo>
                      <a:lnTo>
                        <a:pt x="127" y="141"/>
                      </a:lnTo>
                      <a:lnTo>
                        <a:pt x="127" y="141"/>
                      </a:lnTo>
                      <a:lnTo>
                        <a:pt x="127" y="141"/>
                      </a:lnTo>
                      <a:lnTo>
                        <a:pt x="126" y="141"/>
                      </a:lnTo>
                      <a:lnTo>
                        <a:pt x="126" y="141"/>
                      </a:lnTo>
                      <a:lnTo>
                        <a:pt x="125" y="141"/>
                      </a:lnTo>
                      <a:lnTo>
                        <a:pt x="124" y="141"/>
                      </a:lnTo>
                      <a:lnTo>
                        <a:pt x="124" y="140"/>
                      </a:lnTo>
                      <a:lnTo>
                        <a:pt x="124" y="140"/>
                      </a:lnTo>
                      <a:lnTo>
                        <a:pt x="124" y="139"/>
                      </a:lnTo>
                      <a:lnTo>
                        <a:pt x="123" y="139"/>
                      </a:lnTo>
                      <a:lnTo>
                        <a:pt x="123" y="139"/>
                      </a:lnTo>
                      <a:lnTo>
                        <a:pt x="122" y="139"/>
                      </a:lnTo>
                      <a:lnTo>
                        <a:pt x="122" y="139"/>
                      </a:lnTo>
                      <a:lnTo>
                        <a:pt x="122" y="138"/>
                      </a:lnTo>
                      <a:lnTo>
                        <a:pt x="121" y="138"/>
                      </a:lnTo>
                      <a:lnTo>
                        <a:pt x="120" y="138"/>
                      </a:lnTo>
                      <a:lnTo>
                        <a:pt x="120" y="137"/>
                      </a:lnTo>
                      <a:lnTo>
                        <a:pt x="120" y="137"/>
                      </a:lnTo>
                      <a:lnTo>
                        <a:pt x="119" y="137"/>
                      </a:lnTo>
                      <a:lnTo>
                        <a:pt x="118" y="137"/>
                      </a:lnTo>
                      <a:lnTo>
                        <a:pt x="118" y="137"/>
                      </a:lnTo>
                      <a:lnTo>
                        <a:pt x="118" y="137"/>
                      </a:lnTo>
                      <a:lnTo>
                        <a:pt x="117" y="137"/>
                      </a:lnTo>
                      <a:lnTo>
                        <a:pt x="116" y="137"/>
                      </a:lnTo>
                      <a:lnTo>
                        <a:pt x="116" y="136"/>
                      </a:lnTo>
                      <a:lnTo>
                        <a:pt x="116" y="137"/>
                      </a:lnTo>
                      <a:lnTo>
                        <a:pt x="116" y="137"/>
                      </a:lnTo>
                      <a:lnTo>
                        <a:pt x="115" y="137"/>
                      </a:lnTo>
                      <a:lnTo>
                        <a:pt x="114" y="137"/>
                      </a:lnTo>
                      <a:lnTo>
                        <a:pt x="114" y="137"/>
                      </a:lnTo>
                      <a:lnTo>
                        <a:pt x="113" y="137"/>
                      </a:lnTo>
                      <a:lnTo>
                        <a:pt x="113" y="136"/>
                      </a:lnTo>
                      <a:lnTo>
                        <a:pt x="112" y="136"/>
                      </a:lnTo>
                      <a:lnTo>
                        <a:pt x="112" y="137"/>
                      </a:lnTo>
                      <a:lnTo>
                        <a:pt x="112" y="137"/>
                      </a:lnTo>
                      <a:lnTo>
                        <a:pt x="111" y="137"/>
                      </a:lnTo>
                      <a:lnTo>
                        <a:pt x="111" y="136"/>
                      </a:lnTo>
                      <a:lnTo>
                        <a:pt x="110" y="136"/>
                      </a:lnTo>
                      <a:lnTo>
                        <a:pt x="110" y="136"/>
                      </a:lnTo>
                      <a:lnTo>
                        <a:pt x="110" y="137"/>
                      </a:lnTo>
                      <a:lnTo>
                        <a:pt x="109" y="137"/>
                      </a:lnTo>
                      <a:lnTo>
                        <a:pt x="109" y="137"/>
                      </a:lnTo>
                      <a:lnTo>
                        <a:pt x="108" y="137"/>
                      </a:lnTo>
                      <a:lnTo>
                        <a:pt x="108" y="137"/>
                      </a:lnTo>
                      <a:lnTo>
                        <a:pt x="108" y="138"/>
                      </a:lnTo>
                      <a:lnTo>
                        <a:pt x="108" y="138"/>
                      </a:lnTo>
                      <a:lnTo>
                        <a:pt x="108" y="139"/>
                      </a:lnTo>
                      <a:lnTo>
                        <a:pt x="108" y="139"/>
                      </a:lnTo>
                      <a:lnTo>
                        <a:pt x="108" y="139"/>
                      </a:lnTo>
                      <a:lnTo>
                        <a:pt x="108" y="140"/>
                      </a:lnTo>
                      <a:lnTo>
                        <a:pt x="108" y="141"/>
                      </a:lnTo>
                      <a:lnTo>
                        <a:pt x="108" y="141"/>
                      </a:lnTo>
                      <a:lnTo>
                        <a:pt x="108" y="142"/>
                      </a:lnTo>
                      <a:lnTo>
                        <a:pt x="108" y="143"/>
                      </a:lnTo>
                      <a:lnTo>
                        <a:pt x="108" y="143"/>
                      </a:lnTo>
                      <a:lnTo>
                        <a:pt x="107" y="143"/>
                      </a:lnTo>
                      <a:lnTo>
                        <a:pt x="106" y="143"/>
                      </a:lnTo>
                      <a:lnTo>
                        <a:pt x="105" y="143"/>
                      </a:lnTo>
                      <a:lnTo>
                        <a:pt x="105" y="144"/>
                      </a:lnTo>
                      <a:lnTo>
                        <a:pt x="105" y="145"/>
                      </a:lnTo>
                      <a:lnTo>
                        <a:pt x="105" y="145"/>
                      </a:lnTo>
                      <a:lnTo>
                        <a:pt x="104" y="145"/>
                      </a:lnTo>
                      <a:lnTo>
                        <a:pt x="104" y="146"/>
                      </a:lnTo>
                      <a:lnTo>
                        <a:pt x="105" y="146"/>
                      </a:lnTo>
                      <a:lnTo>
                        <a:pt x="105" y="147"/>
                      </a:lnTo>
                      <a:lnTo>
                        <a:pt x="105" y="147"/>
                      </a:lnTo>
                      <a:lnTo>
                        <a:pt x="104" y="147"/>
                      </a:lnTo>
                      <a:lnTo>
                        <a:pt x="103" y="147"/>
                      </a:lnTo>
                      <a:lnTo>
                        <a:pt x="103" y="148"/>
                      </a:lnTo>
                      <a:lnTo>
                        <a:pt x="103" y="147"/>
                      </a:lnTo>
                      <a:lnTo>
                        <a:pt x="103" y="147"/>
                      </a:lnTo>
                      <a:lnTo>
                        <a:pt x="103" y="148"/>
                      </a:lnTo>
                      <a:lnTo>
                        <a:pt x="103" y="147"/>
                      </a:lnTo>
                      <a:lnTo>
                        <a:pt x="102" y="147"/>
                      </a:lnTo>
                      <a:lnTo>
                        <a:pt x="101" y="147"/>
                      </a:lnTo>
                      <a:lnTo>
                        <a:pt x="101" y="147"/>
                      </a:lnTo>
                      <a:lnTo>
                        <a:pt x="101" y="147"/>
                      </a:lnTo>
                      <a:lnTo>
                        <a:pt x="100" y="147"/>
                      </a:lnTo>
                      <a:lnTo>
                        <a:pt x="100" y="146"/>
                      </a:lnTo>
                      <a:lnTo>
                        <a:pt x="99" y="146"/>
                      </a:lnTo>
                      <a:lnTo>
                        <a:pt x="99" y="145"/>
                      </a:lnTo>
                      <a:lnTo>
                        <a:pt x="99" y="145"/>
                      </a:lnTo>
                      <a:lnTo>
                        <a:pt x="98" y="145"/>
                      </a:lnTo>
                      <a:lnTo>
                        <a:pt x="98" y="144"/>
                      </a:lnTo>
                      <a:lnTo>
                        <a:pt x="97" y="144"/>
                      </a:lnTo>
                      <a:lnTo>
                        <a:pt x="98" y="144"/>
                      </a:lnTo>
                      <a:lnTo>
                        <a:pt x="98" y="143"/>
                      </a:lnTo>
                      <a:lnTo>
                        <a:pt x="97" y="143"/>
                      </a:lnTo>
                      <a:lnTo>
                        <a:pt x="97" y="143"/>
                      </a:lnTo>
                      <a:lnTo>
                        <a:pt x="98" y="143"/>
                      </a:lnTo>
                      <a:lnTo>
                        <a:pt x="99" y="143"/>
                      </a:lnTo>
                      <a:lnTo>
                        <a:pt x="99" y="142"/>
                      </a:lnTo>
                      <a:lnTo>
                        <a:pt x="99" y="142"/>
                      </a:lnTo>
                      <a:lnTo>
                        <a:pt x="99" y="141"/>
                      </a:lnTo>
                      <a:lnTo>
                        <a:pt x="99" y="141"/>
                      </a:lnTo>
                      <a:lnTo>
                        <a:pt x="99" y="141"/>
                      </a:lnTo>
                      <a:lnTo>
                        <a:pt x="100" y="141"/>
                      </a:lnTo>
                      <a:lnTo>
                        <a:pt x="100" y="140"/>
                      </a:lnTo>
                      <a:lnTo>
                        <a:pt x="101" y="140"/>
                      </a:lnTo>
                      <a:lnTo>
                        <a:pt x="101" y="139"/>
                      </a:lnTo>
                      <a:lnTo>
                        <a:pt x="100" y="139"/>
                      </a:lnTo>
                      <a:lnTo>
                        <a:pt x="100" y="138"/>
                      </a:lnTo>
                      <a:lnTo>
                        <a:pt x="99" y="138"/>
                      </a:lnTo>
                      <a:lnTo>
                        <a:pt x="99" y="137"/>
                      </a:lnTo>
                      <a:lnTo>
                        <a:pt x="99" y="137"/>
                      </a:lnTo>
                      <a:lnTo>
                        <a:pt x="99" y="137"/>
                      </a:lnTo>
                      <a:lnTo>
                        <a:pt x="99" y="136"/>
                      </a:lnTo>
                      <a:lnTo>
                        <a:pt x="98" y="136"/>
                      </a:lnTo>
                      <a:lnTo>
                        <a:pt x="99" y="135"/>
                      </a:lnTo>
                      <a:lnTo>
                        <a:pt x="99" y="135"/>
                      </a:lnTo>
                      <a:lnTo>
                        <a:pt x="99" y="135"/>
                      </a:lnTo>
                      <a:lnTo>
                        <a:pt x="100" y="134"/>
                      </a:lnTo>
                      <a:lnTo>
                        <a:pt x="100" y="133"/>
                      </a:lnTo>
                      <a:lnTo>
                        <a:pt x="99" y="133"/>
                      </a:lnTo>
                      <a:lnTo>
                        <a:pt x="100" y="133"/>
                      </a:lnTo>
                      <a:lnTo>
                        <a:pt x="99" y="133"/>
                      </a:lnTo>
                      <a:lnTo>
                        <a:pt x="99" y="132"/>
                      </a:lnTo>
                      <a:lnTo>
                        <a:pt x="99" y="131"/>
                      </a:lnTo>
                      <a:lnTo>
                        <a:pt x="99" y="131"/>
                      </a:lnTo>
                      <a:lnTo>
                        <a:pt x="98" y="131"/>
                      </a:lnTo>
                      <a:lnTo>
                        <a:pt x="97" y="131"/>
                      </a:lnTo>
                      <a:lnTo>
                        <a:pt x="97" y="130"/>
                      </a:lnTo>
                      <a:lnTo>
                        <a:pt x="97" y="130"/>
                      </a:lnTo>
                      <a:lnTo>
                        <a:pt x="97" y="131"/>
                      </a:lnTo>
                      <a:lnTo>
                        <a:pt x="97" y="132"/>
                      </a:lnTo>
                      <a:lnTo>
                        <a:pt x="96" y="132"/>
                      </a:lnTo>
                      <a:lnTo>
                        <a:pt x="95" y="132"/>
                      </a:lnTo>
                      <a:lnTo>
                        <a:pt x="95" y="133"/>
                      </a:lnTo>
                      <a:lnTo>
                        <a:pt x="95" y="133"/>
                      </a:lnTo>
                      <a:lnTo>
                        <a:pt x="95" y="134"/>
                      </a:lnTo>
                      <a:lnTo>
                        <a:pt x="95" y="134"/>
                      </a:lnTo>
                      <a:lnTo>
                        <a:pt x="95" y="133"/>
                      </a:lnTo>
                      <a:lnTo>
                        <a:pt x="95" y="133"/>
                      </a:lnTo>
                      <a:lnTo>
                        <a:pt x="94" y="133"/>
                      </a:lnTo>
                      <a:lnTo>
                        <a:pt x="94" y="132"/>
                      </a:lnTo>
                      <a:lnTo>
                        <a:pt x="94" y="131"/>
                      </a:lnTo>
                      <a:lnTo>
                        <a:pt x="94" y="130"/>
                      </a:lnTo>
                      <a:lnTo>
                        <a:pt x="94" y="130"/>
                      </a:lnTo>
                      <a:lnTo>
                        <a:pt x="94" y="129"/>
                      </a:lnTo>
                      <a:lnTo>
                        <a:pt x="95" y="128"/>
                      </a:lnTo>
                      <a:lnTo>
                        <a:pt x="95" y="128"/>
                      </a:lnTo>
                      <a:lnTo>
                        <a:pt x="95" y="127"/>
                      </a:lnTo>
                      <a:lnTo>
                        <a:pt x="95" y="126"/>
                      </a:lnTo>
                      <a:lnTo>
                        <a:pt x="94" y="126"/>
                      </a:lnTo>
                      <a:lnTo>
                        <a:pt x="94" y="126"/>
                      </a:lnTo>
                      <a:lnTo>
                        <a:pt x="93" y="126"/>
                      </a:lnTo>
                      <a:lnTo>
                        <a:pt x="93" y="125"/>
                      </a:lnTo>
                      <a:lnTo>
                        <a:pt x="93" y="125"/>
                      </a:lnTo>
                      <a:lnTo>
                        <a:pt x="93" y="124"/>
                      </a:lnTo>
                      <a:lnTo>
                        <a:pt x="93" y="124"/>
                      </a:lnTo>
                      <a:lnTo>
                        <a:pt x="92" y="124"/>
                      </a:lnTo>
                      <a:lnTo>
                        <a:pt x="92" y="123"/>
                      </a:lnTo>
                      <a:lnTo>
                        <a:pt x="92" y="122"/>
                      </a:lnTo>
                      <a:lnTo>
                        <a:pt x="91" y="122"/>
                      </a:lnTo>
                      <a:lnTo>
                        <a:pt x="91" y="122"/>
                      </a:lnTo>
                      <a:lnTo>
                        <a:pt x="91" y="122"/>
                      </a:lnTo>
                      <a:lnTo>
                        <a:pt x="90" y="121"/>
                      </a:lnTo>
                      <a:lnTo>
                        <a:pt x="90" y="120"/>
                      </a:lnTo>
                      <a:lnTo>
                        <a:pt x="90" y="120"/>
                      </a:lnTo>
                      <a:lnTo>
                        <a:pt x="89" y="120"/>
                      </a:lnTo>
                      <a:lnTo>
                        <a:pt x="89" y="119"/>
                      </a:lnTo>
                      <a:lnTo>
                        <a:pt x="89" y="119"/>
                      </a:lnTo>
                      <a:lnTo>
                        <a:pt x="88" y="119"/>
                      </a:lnTo>
                      <a:lnTo>
                        <a:pt x="88" y="118"/>
                      </a:lnTo>
                      <a:lnTo>
                        <a:pt x="87" y="118"/>
                      </a:lnTo>
                      <a:lnTo>
                        <a:pt x="87" y="118"/>
                      </a:lnTo>
                      <a:lnTo>
                        <a:pt x="87" y="117"/>
                      </a:lnTo>
                      <a:lnTo>
                        <a:pt x="87" y="116"/>
                      </a:lnTo>
                      <a:lnTo>
                        <a:pt x="87" y="117"/>
                      </a:lnTo>
                      <a:lnTo>
                        <a:pt x="88" y="117"/>
                      </a:lnTo>
                      <a:lnTo>
                        <a:pt x="88" y="116"/>
                      </a:lnTo>
                      <a:lnTo>
                        <a:pt x="89" y="116"/>
                      </a:lnTo>
                      <a:lnTo>
                        <a:pt x="88" y="116"/>
                      </a:lnTo>
                      <a:lnTo>
                        <a:pt x="88" y="116"/>
                      </a:lnTo>
                      <a:lnTo>
                        <a:pt x="88" y="115"/>
                      </a:lnTo>
                      <a:lnTo>
                        <a:pt x="88" y="114"/>
                      </a:lnTo>
                      <a:lnTo>
                        <a:pt x="88" y="114"/>
                      </a:lnTo>
                      <a:lnTo>
                        <a:pt x="87" y="114"/>
                      </a:lnTo>
                      <a:lnTo>
                        <a:pt x="87" y="113"/>
                      </a:lnTo>
                      <a:lnTo>
                        <a:pt x="86" y="113"/>
                      </a:lnTo>
                      <a:lnTo>
                        <a:pt x="86" y="112"/>
                      </a:lnTo>
                      <a:lnTo>
                        <a:pt x="86" y="112"/>
                      </a:lnTo>
                      <a:lnTo>
                        <a:pt x="86" y="111"/>
                      </a:lnTo>
                      <a:lnTo>
                        <a:pt x="85" y="111"/>
                      </a:lnTo>
                      <a:lnTo>
                        <a:pt x="84" y="111"/>
                      </a:lnTo>
                      <a:lnTo>
                        <a:pt x="84" y="111"/>
                      </a:lnTo>
                      <a:lnTo>
                        <a:pt x="84" y="111"/>
                      </a:lnTo>
                      <a:lnTo>
                        <a:pt x="84" y="110"/>
                      </a:lnTo>
                      <a:lnTo>
                        <a:pt x="84" y="109"/>
                      </a:lnTo>
                      <a:lnTo>
                        <a:pt x="84" y="109"/>
                      </a:lnTo>
                      <a:lnTo>
                        <a:pt x="83" y="109"/>
                      </a:lnTo>
                      <a:lnTo>
                        <a:pt x="82" y="108"/>
                      </a:lnTo>
                      <a:lnTo>
                        <a:pt x="83" y="108"/>
                      </a:lnTo>
                      <a:lnTo>
                        <a:pt x="83" y="109"/>
                      </a:lnTo>
                      <a:lnTo>
                        <a:pt x="84" y="108"/>
                      </a:lnTo>
                      <a:lnTo>
                        <a:pt x="84" y="108"/>
                      </a:lnTo>
                      <a:lnTo>
                        <a:pt x="84" y="109"/>
                      </a:lnTo>
                      <a:lnTo>
                        <a:pt x="85" y="109"/>
                      </a:lnTo>
                      <a:lnTo>
                        <a:pt x="85" y="108"/>
                      </a:lnTo>
                      <a:lnTo>
                        <a:pt x="85" y="109"/>
                      </a:lnTo>
                      <a:lnTo>
                        <a:pt x="86" y="109"/>
                      </a:lnTo>
                      <a:lnTo>
                        <a:pt x="86" y="109"/>
                      </a:lnTo>
                      <a:lnTo>
                        <a:pt x="86" y="109"/>
                      </a:lnTo>
                      <a:lnTo>
                        <a:pt x="86" y="109"/>
                      </a:lnTo>
                      <a:lnTo>
                        <a:pt x="86" y="109"/>
                      </a:lnTo>
                      <a:lnTo>
                        <a:pt x="86" y="108"/>
                      </a:lnTo>
                      <a:lnTo>
                        <a:pt x="87" y="108"/>
                      </a:lnTo>
                      <a:lnTo>
                        <a:pt x="87" y="107"/>
                      </a:lnTo>
                      <a:lnTo>
                        <a:pt x="87" y="107"/>
                      </a:lnTo>
                      <a:lnTo>
                        <a:pt x="88" y="107"/>
                      </a:lnTo>
                      <a:lnTo>
                        <a:pt x="88" y="106"/>
                      </a:lnTo>
                      <a:lnTo>
                        <a:pt x="89" y="107"/>
                      </a:lnTo>
                      <a:lnTo>
                        <a:pt x="89" y="106"/>
                      </a:lnTo>
                      <a:lnTo>
                        <a:pt x="89" y="105"/>
                      </a:lnTo>
                      <a:lnTo>
                        <a:pt x="90" y="105"/>
                      </a:lnTo>
                      <a:lnTo>
                        <a:pt x="91" y="105"/>
                      </a:lnTo>
                      <a:lnTo>
                        <a:pt x="91" y="105"/>
                      </a:lnTo>
                      <a:lnTo>
                        <a:pt x="91" y="105"/>
                      </a:lnTo>
                      <a:lnTo>
                        <a:pt x="92" y="105"/>
                      </a:lnTo>
                      <a:lnTo>
                        <a:pt x="92" y="104"/>
                      </a:lnTo>
                      <a:lnTo>
                        <a:pt x="93" y="104"/>
                      </a:lnTo>
                      <a:lnTo>
                        <a:pt x="93" y="103"/>
                      </a:lnTo>
                      <a:lnTo>
                        <a:pt x="93" y="103"/>
                      </a:lnTo>
                      <a:lnTo>
                        <a:pt x="93" y="103"/>
                      </a:lnTo>
                      <a:lnTo>
                        <a:pt x="93" y="102"/>
                      </a:lnTo>
                      <a:lnTo>
                        <a:pt x="93" y="101"/>
                      </a:lnTo>
                      <a:lnTo>
                        <a:pt x="94" y="101"/>
                      </a:lnTo>
                      <a:lnTo>
                        <a:pt x="95" y="101"/>
                      </a:lnTo>
                      <a:lnTo>
                        <a:pt x="95" y="102"/>
                      </a:lnTo>
                      <a:lnTo>
                        <a:pt x="95" y="103"/>
                      </a:lnTo>
                      <a:lnTo>
                        <a:pt x="95" y="103"/>
                      </a:lnTo>
                      <a:lnTo>
                        <a:pt x="94" y="103"/>
                      </a:lnTo>
                      <a:lnTo>
                        <a:pt x="94" y="104"/>
                      </a:lnTo>
                      <a:lnTo>
                        <a:pt x="93" y="104"/>
                      </a:lnTo>
                      <a:lnTo>
                        <a:pt x="93" y="105"/>
                      </a:lnTo>
                      <a:lnTo>
                        <a:pt x="93" y="105"/>
                      </a:lnTo>
                      <a:lnTo>
                        <a:pt x="93" y="106"/>
                      </a:lnTo>
                      <a:lnTo>
                        <a:pt x="93" y="107"/>
                      </a:lnTo>
                      <a:lnTo>
                        <a:pt x="92" y="107"/>
                      </a:lnTo>
                      <a:lnTo>
                        <a:pt x="92" y="107"/>
                      </a:lnTo>
                      <a:lnTo>
                        <a:pt x="92" y="108"/>
                      </a:lnTo>
                      <a:lnTo>
                        <a:pt x="92" y="109"/>
                      </a:lnTo>
                      <a:lnTo>
                        <a:pt x="92" y="108"/>
                      </a:lnTo>
                      <a:lnTo>
                        <a:pt x="93" y="108"/>
                      </a:lnTo>
                      <a:lnTo>
                        <a:pt x="93" y="108"/>
                      </a:lnTo>
                      <a:lnTo>
                        <a:pt x="94" y="108"/>
                      </a:lnTo>
                      <a:lnTo>
                        <a:pt x="94" y="109"/>
                      </a:lnTo>
                      <a:lnTo>
                        <a:pt x="95" y="108"/>
                      </a:lnTo>
                      <a:lnTo>
                        <a:pt x="95" y="108"/>
                      </a:lnTo>
                      <a:lnTo>
                        <a:pt x="95" y="109"/>
                      </a:lnTo>
                      <a:lnTo>
                        <a:pt x="96" y="109"/>
                      </a:lnTo>
                      <a:lnTo>
                        <a:pt x="96" y="108"/>
                      </a:lnTo>
                      <a:lnTo>
                        <a:pt x="96" y="107"/>
                      </a:lnTo>
                      <a:lnTo>
                        <a:pt x="96" y="107"/>
                      </a:lnTo>
                      <a:lnTo>
                        <a:pt x="96" y="106"/>
                      </a:lnTo>
                      <a:lnTo>
                        <a:pt x="97" y="106"/>
                      </a:lnTo>
                      <a:lnTo>
                        <a:pt x="97" y="105"/>
                      </a:lnTo>
                      <a:lnTo>
                        <a:pt x="97" y="105"/>
                      </a:lnTo>
                      <a:lnTo>
                        <a:pt x="98" y="105"/>
                      </a:lnTo>
                      <a:lnTo>
                        <a:pt x="98" y="105"/>
                      </a:lnTo>
                      <a:lnTo>
                        <a:pt x="99" y="105"/>
                      </a:lnTo>
                      <a:lnTo>
                        <a:pt x="99" y="105"/>
                      </a:lnTo>
                      <a:lnTo>
                        <a:pt x="99" y="105"/>
                      </a:lnTo>
                      <a:lnTo>
                        <a:pt x="99" y="105"/>
                      </a:lnTo>
                      <a:lnTo>
                        <a:pt x="100" y="104"/>
                      </a:lnTo>
                      <a:lnTo>
                        <a:pt x="100" y="103"/>
                      </a:lnTo>
                      <a:lnTo>
                        <a:pt x="101" y="103"/>
                      </a:lnTo>
                      <a:lnTo>
                        <a:pt x="101" y="103"/>
                      </a:lnTo>
                      <a:lnTo>
                        <a:pt x="101" y="103"/>
                      </a:lnTo>
                      <a:lnTo>
                        <a:pt x="101" y="102"/>
                      </a:lnTo>
                      <a:lnTo>
                        <a:pt x="101" y="101"/>
                      </a:lnTo>
                      <a:lnTo>
                        <a:pt x="101" y="101"/>
                      </a:lnTo>
                      <a:lnTo>
                        <a:pt x="101" y="100"/>
                      </a:lnTo>
                      <a:lnTo>
                        <a:pt x="101" y="99"/>
                      </a:lnTo>
                      <a:lnTo>
                        <a:pt x="101" y="99"/>
                      </a:lnTo>
                      <a:lnTo>
                        <a:pt x="101" y="98"/>
                      </a:lnTo>
                      <a:lnTo>
                        <a:pt x="101" y="97"/>
                      </a:lnTo>
                      <a:lnTo>
                        <a:pt x="101" y="97"/>
                      </a:lnTo>
                      <a:lnTo>
                        <a:pt x="102" y="96"/>
                      </a:lnTo>
                      <a:lnTo>
                        <a:pt x="103" y="96"/>
                      </a:lnTo>
                      <a:lnTo>
                        <a:pt x="103" y="95"/>
                      </a:lnTo>
                      <a:lnTo>
                        <a:pt x="103" y="95"/>
                      </a:lnTo>
                      <a:lnTo>
                        <a:pt x="104" y="95"/>
                      </a:lnTo>
                      <a:lnTo>
                        <a:pt x="104" y="94"/>
                      </a:lnTo>
                      <a:lnTo>
                        <a:pt x="105" y="94"/>
                      </a:lnTo>
                      <a:lnTo>
                        <a:pt x="105" y="93"/>
                      </a:lnTo>
                      <a:lnTo>
                        <a:pt x="105" y="92"/>
                      </a:lnTo>
                      <a:lnTo>
                        <a:pt x="105" y="92"/>
                      </a:lnTo>
                      <a:lnTo>
                        <a:pt x="105" y="91"/>
                      </a:lnTo>
                      <a:lnTo>
                        <a:pt x="105" y="91"/>
                      </a:lnTo>
                      <a:lnTo>
                        <a:pt x="106" y="91"/>
                      </a:lnTo>
                      <a:lnTo>
                        <a:pt x="107" y="92"/>
                      </a:lnTo>
                      <a:lnTo>
                        <a:pt x="108" y="92"/>
                      </a:lnTo>
                      <a:lnTo>
                        <a:pt x="108" y="92"/>
                      </a:lnTo>
                      <a:lnTo>
                        <a:pt x="109" y="92"/>
                      </a:lnTo>
                      <a:lnTo>
                        <a:pt x="110" y="92"/>
                      </a:lnTo>
                      <a:lnTo>
                        <a:pt x="110" y="91"/>
                      </a:lnTo>
                      <a:lnTo>
                        <a:pt x="110" y="92"/>
                      </a:lnTo>
                      <a:lnTo>
                        <a:pt x="111" y="92"/>
                      </a:lnTo>
                      <a:lnTo>
                        <a:pt x="112" y="92"/>
                      </a:lnTo>
                      <a:lnTo>
                        <a:pt x="112" y="92"/>
                      </a:lnTo>
                      <a:lnTo>
                        <a:pt x="112" y="92"/>
                      </a:lnTo>
                      <a:lnTo>
                        <a:pt x="112" y="93"/>
                      </a:lnTo>
                      <a:lnTo>
                        <a:pt x="113" y="93"/>
                      </a:lnTo>
                      <a:lnTo>
                        <a:pt x="114" y="93"/>
                      </a:lnTo>
                      <a:lnTo>
                        <a:pt x="114" y="94"/>
                      </a:lnTo>
                      <a:lnTo>
                        <a:pt x="114" y="94"/>
                      </a:lnTo>
                      <a:lnTo>
                        <a:pt x="115" y="94"/>
                      </a:lnTo>
                      <a:lnTo>
                        <a:pt x="115" y="93"/>
                      </a:lnTo>
                      <a:lnTo>
                        <a:pt x="115" y="94"/>
                      </a:lnTo>
                      <a:lnTo>
                        <a:pt x="116" y="94"/>
                      </a:lnTo>
                      <a:lnTo>
                        <a:pt x="116" y="95"/>
                      </a:lnTo>
                      <a:lnTo>
                        <a:pt x="116" y="95"/>
                      </a:lnTo>
                      <a:lnTo>
                        <a:pt x="116" y="95"/>
                      </a:lnTo>
                      <a:lnTo>
                        <a:pt x="117" y="95"/>
                      </a:lnTo>
                      <a:lnTo>
                        <a:pt x="118" y="95"/>
                      </a:lnTo>
                      <a:lnTo>
                        <a:pt x="118" y="95"/>
                      </a:lnTo>
                      <a:lnTo>
                        <a:pt x="118" y="96"/>
                      </a:lnTo>
                      <a:lnTo>
                        <a:pt x="118" y="95"/>
                      </a:lnTo>
                      <a:lnTo>
                        <a:pt x="119" y="95"/>
                      </a:lnTo>
                      <a:lnTo>
                        <a:pt x="119" y="96"/>
                      </a:lnTo>
                      <a:lnTo>
                        <a:pt x="119" y="95"/>
                      </a:lnTo>
                      <a:lnTo>
                        <a:pt x="120" y="95"/>
                      </a:lnTo>
                      <a:lnTo>
                        <a:pt x="120" y="95"/>
                      </a:lnTo>
                      <a:lnTo>
                        <a:pt x="120" y="95"/>
                      </a:lnTo>
                      <a:lnTo>
                        <a:pt x="121" y="95"/>
                      </a:lnTo>
                      <a:lnTo>
                        <a:pt x="121" y="94"/>
                      </a:lnTo>
                      <a:lnTo>
                        <a:pt x="121" y="93"/>
                      </a:lnTo>
                      <a:lnTo>
                        <a:pt x="122" y="93"/>
                      </a:lnTo>
                      <a:lnTo>
                        <a:pt x="122" y="93"/>
                      </a:lnTo>
                      <a:lnTo>
                        <a:pt x="122" y="92"/>
                      </a:lnTo>
                      <a:lnTo>
                        <a:pt x="123" y="92"/>
                      </a:lnTo>
                      <a:lnTo>
                        <a:pt x="123" y="92"/>
                      </a:lnTo>
                      <a:lnTo>
                        <a:pt x="123" y="92"/>
                      </a:lnTo>
                      <a:lnTo>
                        <a:pt x="124" y="92"/>
                      </a:lnTo>
                      <a:lnTo>
                        <a:pt x="124" y="92"/>
                      </a:lnTo>
                      <a:lnTo>
                        <a:pt x="124" y="92"/>
                      </a:lnTo>
                      <a:lnTo>
                        <a:pt x="124" y="91"/>
                      </a:lnTo>
                      <a:lnTo>
                        <a:pt x="124" y="92"/>
                      </a:lnTo>
                      <a:lnTo>
                        <a:pt x="125" y="92"/>
                      </a:lnTo>
                      <a:lnTo>
                        <a:pt x="125" y="91"/>
                      </a:lnTo>
                      <a:lnTo>
                        <a:pt x="125" y="92"/>
                      </a:lnTo>
                      <a:lnTo>
                        <a:pt x="125" y="92"/>
                      </a:lnTo>
                      <a:lnTo>
                        <a:pt x="126" y="92"/>
                      </a:lnTo>
                      <a:lnTo>
                        <a:pt x="126" y="92"/>
                      </a:lnTo>
                      <a:lnTo>
                        <a:pt x="125" y="91"/>
                      </a:lnTo>
                      <a:lnTo>
                        <a:pt x="124" y="91"/>
                      </a:lnTo>
                      <a:lnTo>
                        <a:pt x="124" y="90"/>
                      </a:lnTo>
                      <a:lnTo>
                        <a:pt x="124" y="90"/>
                      </a:lnTo>
                      <a:lnTo>
                        <a:pt x="124" y="90"/>
                      </a:lnTo>
                      <a:lnTo>
                        <a:pt x="123" y="90"/>
                      </a:lnTo>
                      <a:lnTo>
                        <a:pt x="122" y="90"/>
                      </a:lnTo>
                      <a:lnTo>
                        <a:pt x="123" y="90"/>
                      </a:lnTo>
                      <a:lnTo>
                        <a:pt x="123" y="89"/>
                      </a:lnTo>
                      <a:lnTo>
                        <a:pt x="122" y="88"/>
                      </a:lnTo>
                      <a:lnTo>
                        <a:pt x="122" y="88"/>
                      </a:lnTo>
                      <a:lnTo>
                        <a:pt x="121" y="88"/>
                      </a:lnTo>
                      <a:lnTo>
                        <a:pt x="121" y="88"/>
                      </a:lnTo>
                      <a:lnTo>
                        <a:pt x="122" y="88"/>
                      </a:lnTo>
                      <a:lnTo>
                        <a:pt x="121" y="88"/>
                      </a:lnTo>
                      <a:lnTo>
                        <a:pt x="122" y="88"/>
                      </a:lnTo>
                      <a:lnTo>
                        <a:pt x="122" y="87"/>
                      </a:lnTo>
                      <a:lnTo>
                        <a:pt x="122" y="88"/>
                      </a:lnTo>
                      <a:lnTo>
                        <a:pt x="122" y="88"/>
                      </a:lnTo>
                      <a:lnTo>
                        <a:pt x="122" y="88"/>
                      </a:lnTo>
                      <a:lnTo>
                        <a:pt x="123" y="88"/>
                      </a:lnTo>
                      <a:lnTo>
                        <a:pt x="124" y="88"/>
                      </a:lnTo>
                      <a:lnTo>
                        <a:pt x="124" y="88"/>
                      </a:lnTo>
                      <a:lnTo>
                        <a:pt x="125" y="88"/>
                      </a:lnTo>
                      <a:lnTo>
                        <a:pt x="126" y="88"/>
                      </a:lnTo>
                      <a:lnTo>
                        <a:pt x="125" y="88"/>
                      </a:lnTo>
                      <a:lnTo>
                        <a:pt x="124" y="88"/>
                      </a:lnTo>
                      <a:lnTo>
                        <a:pt x="124" y="88"/>
                      </a:lnTo>
                      <a:lnTo>
                        <a:pt x="124" y="88"/>
                      </a:lnTo>
                      <a:lnTo>
                        <a:pt x="124" y="87"/>
                      </a:lnTo>
                      <a:lnTo>
                        <a:pt x="123" y="87"/>
                      </a:lnTo>
                      <a:lnTo>
                        <a:pt x="124" y="86"/>
                      </a:lnTo>
                      <a:lnTo>
                        <a:pt x="124" y="86"/>
                      </a:lnTo>
                      <a:lnTo>
                        <a:pt x="124" y="86"/>
                      </a:lnTo>
                      <a:lnTo>
                        <a:pt x="124" y="86"/>
                      </a:lnTo>
                      <a:lnTo>
                        <a:pt x="123" y="86"/>
                      </a:lnTo>
                      <a:lnTo>
                        <a:pt x="123" y="85"/>
                      </a:lnTo>
                      <a:lnTo>
                        <a:pt x="122" y="85"/>
                      </a:lnTo>
                      <a:lnTo>
                        <a:pt x="122" y="85"/>
                      </a:lnTo>
                      <a:lnTo>
                        <a:pt x="122" y="84"/>
                      </a:lnTo>
                      <a:lnTo>
                        <a:pt x="122" y="84"/>
                      </a:lnTo>
                      <a:lnTo>
                        <a:pt x="122" y="84"/>
                      </a:lnTo>
                      <a:lnTo>
                        <a:pt x="122" y="84"/>
                      </a:lnTo>
                      <a:lnTo>
                        <a:pt x="122" y="83"/>
                      </a:lnTo>
                      <a:lnTo>
                        <a:pt x="122" y="82"/>
                      </a:lnTo>
                      <a:lnTo>
                        <a:pt x="122" y="82"/>
                      </a:lnTo>
                      <a:lnTo>
                        <a:pt x="122" y="82"/>
                      </a:lnTo>
                      <a:lnTo>
                        <a:pt x="122" y="82"/>
                      </a:lnTo>
                      <a:lnTo>
                        <a:pt x="123" y="82"/>
                      </a:lnTo>
                      <a:lnTo>
                        <a:pt x="123" y="81"/>
                      </a:lnTo>
                      <a:lnTo>
                        <a:pt x="124" y="81"/>
                      </a:lnTo>
                      <a:lnTo>
                        <a:pt x="124" y="81"/>
                      </a:lnTo>
                      <a:lnTo>
                        <a:pt x="125" y="81"/>
                      </a:lnTo>
                      <a:lnTo>
                        <a:pt x="126" y="81"/>
                      </a:lnTo>
                      <a:lnTo>
                        <a:pt x="127" y="81"/>
                      </a:lnTo>
                      <a:lnTo>
                        <a:pt x="127" y="80"/>
                      </a:lnTo>
                      <a:lnTo>
                        <a:pt x="127" y="80"/>
                      </a:lnTo>
                      <a:lnTo>
                        <a:pt x="128" y="80"/>
                      </a:lnTo>
                      <a:lnTo>
                        <a:pt x="129" y="80"/>
                      </a:lnTo>
                      <a:lnTo>
                        <a:pt x="129" y="80"/>
                      </a:lnTo>
                      <a:lnTo>
                        <a:pt x="129" y="80"/>
                      </a:lnTo>
                      <a:lnTo>
                        <a:pt x="130" y="80"/>
                      </a:lnTo>
                      <a:lnTo>
                        <a:pt x="131" y="80"/>
                      </a:lnTo>
                      <a:lnTo>
                        <a:pt x="131" y="80"/>
                      </a:lnTo>
                      <a:lnTo>
                        <a:pt x="131" y="80"/>
                      </a:lnTo>
                      <a:lnTo>
                        <a:pt x="132" y="80"/>
                      </a:lnTo>
                      <a:lnTo>
                        <a:pt x="131" y="80"/>
                      </a:lnTo>
                      <a:lnTo>
                        <a:pt x="131" y="80"/>
                      </a:lnTo>
                      <a:lnTo>
                        <a:pt x="131" y="80"/>
                      </a:lnTo>
                      <a:lnTo>
                        <a:pt x="130" y="80"/>
                      </a:lnTo>
                      <a:lnTo>
                        <a:pt x="129" y="80"/>
                      </a:lnTo>
                      <a:lnTo>
                        <a:pt x="129" y="79"/>
                      </a:lnTo>
                      <a:lnTo>
                        <a:pt x="129" y="80"/>
                      </a:lnTo>
                      <a:lnTo>
                        <a:pt x="129" y="80"/>
                      </a:lnTo>
                      <a:lnTo>
                        <a:pt x="129" y="79"/>
                      </a:lnTo>
                      <a:lnTo>
                        <a:pt x="129" y="80"/>
                      </a:lnTo>
                      <a:lnTo>
                        <a:pt x="128" y="80"/>
                      </a:lnTo>
                      <a:lnTo>
                        <a:pt x="128" y="79"/>
                      </a:lnTo>
                      <a:lnTo>
                        <a:pt x="128" y="78"/>
                      </a:lnTo>
                      <a:lnTo>
                        <a:pt x="129" y="78"/>
                      </a:lnTo>
                      <a:lnTo>
                        <a:pt x="129" y="78"/>
                      </a:lnTo>
                      <a:lnTo>
                        <a:pt x="128" y="78"/>
                      </a:lnTo>
                      <a:lnTo>
                        <a:pt x="128" y="77"/>
                      </a:lnTo>
                      <a:lnTo>
                        <a:pt x="129" y="77"/>
                      </a:lnTo>
                      <a:lnTo>
                        <a:pt x="129" y="77"/>
                      </a:lnTo>
                      <a:lnTo>
                        <a:pt x="129" y="77"/>
                      </a:lnTo>
                      <a:lnTo>
                        <a:pt x="129" y="76"/>
                      </a:lnTo>
                      <a:lnTo>
                        <a:pt x="129" y="76"/>
                      </a:lnTo>
                      <a:lnTo>
                        <a:pt x="129" y="76"/>
                      </a:lnTo>
                      <a:lnTo>
                        <a:pt x="129" y="76"/>
                      </a:lnTo>
                      <a:lnTo>
                        <a:pt x="129" y="76"/>
                      </a:lnTo>
                      <a:lnTo>
                        <a:pt x="130" y="76"/>
                      </a:lnTo>
                      <a:lnTo>
                        <a:pt x="130" y="77"/>
                      </a:lnTo>
                      <a:lnTo>
                        <a:pt x="131" y="77"/>
                      </a:lnTo>
                      <a:lnTo>
                        <a:pt x="131" y="77"/>
                      </a:lnTo>
                      <a:lnTo>
                        <a:pt x="131" y="76"/>
                      </a:lnTo>
                      <a:lnTo>
                        <a:pt x="131" y="76"/>
                      </a:lnTo>
                      <a:lnTo>
                        <a:pt x="130" y="76"/>
                      </a:lnTo>
                      <a:lnTo>
                        <a:pt x="130" y="76"/>
                      </a:lnTo>
                      <a:lnTo>
                        <a:pt x="129" y="76"/>
                      </a:lnTo>
                      <a:lnTo>
                        <a:pt x="129" y="75"/>
                      </a:lnTo>
                      <a:lnTo>
                        <a:pt x="130" y="75"/>
                      </a:lnTo>
                      <a:lnTo>
                        <a:pt x="130" y="76"/>
                      </a:lnTo>
                      <a:lnTo>
                        <a:pt x="130" y="75"/>
                      </a:lnTo>
                      <a:lnTo>
                        <a:pt x="129" y="74"/>
                      </a:lnTo>
                      <a:lnTo>
                        <a:pt x="129" y="74"/>
                      </a:lnTo>
                      <a:lnTo>
                        <a:pt x="129" y="73"/>
                      </a:lnTo>
                      <a:lnTo>
                        <a:pt x="130" y="73"/>
                      </a:lnTo>
                      <a:lnTo>
                        <a:pt x="129" y="72"/>
                      </a:lnTo>
                      <a:lnTo>
                        <a:pt x="129" y="72"/>
                      </a:lnTo>
                      <a:lnTo>
                        <a:pt x="129" y="73"/>
                      </a:lnTo>
                      <a:lnTo>
                        <a:pt x="128" y="73"/>
                      </a:lnTo>
                      <a:lnTo>
                        <a:pt x="128" y="74"/>
                      </a:lnTo>
                      <a:lnTo>
                        <a:pt x="127" y="73"/>
                      </a:lnTo>
                      <a:lnTo>
                        <a:pt x="127" y="74"/>
                      </a:lnTo>
                      <a:lnTo>
                        <a:pt x="127" y="74"/>
                      </a:lnTo>
                      <a:lnTo>
                        <a:pt x="127" y="74"/>
                      </a:lnTo>
                      <a:lnTo>
                        <a:pt x="127" y="73"/>
                      </a:lnTo>
                      <a:lnTo>
                        <a:pt x="127" y="73"/>
                      </a:lnTo>
                      <a:lnTo>
                        <a:pt x="127" y="74"/>
                      </a:lnTo>
                      <a:lnTo>
                        <a:pt x="126" y="74"/>
                      </a:lnTo>
                      <a:lnTo>
                        <a:pt x="125" y="74"/>
                      </a:lnTo>
                      <a:lnTo>
                        <a:pt x="124" y="73"/>
                      </a:lnTo>
                      <a:lnTo>
                        <a:pt x="124" y="73"/>
                      </a:lnTo>
                      <a:lnTo>
                        <a:pt x="123" y="73"/>
                      </a:lnTo>
                      <a:lnTo>
                        <a:pt x="123" y="72"/>
                      </a:lnTo>
                      <a:lnTo>
                        <a:pt x="123" y="71"/>
                      </a:lnTo>
                      <a:lnTo>
                        <a:pt x="122" y="71"/>
                      </a:lnTo>
                      <a:lnTo>
                        <a:pt x="122" y="70"/>
                      </a:lnTo>
                      <a:lnTo>
                        <a:pt x="122" y="69"/>
                      </a:lnTo>
                      <a:lnTo>
                        <a:pt x="121" y="69"/>
                      </a:lnTo>
                      <a:lnTo>
                        <a:pt x="121" y="70"/>
                      </a:lnTo>
                      <a:lnTo>
                        <a:pt x="120" y="71"/>
                      </a:lnTo>
                      <a:lnTo>
                        <a:pt x="120" y="71"/>
                      </a:lnTo>
                      <a:lnTo>
                        <a:pt x="120" y="71"/>
                      </a:lnTo>
                      <a:lnTo>
                        <a:pt x="119" y="72"/>
                      </a:lnTo>
                      <a:lnTo>
                        <a:pt x="119" y="71"/>
                      </a:lnTo>
                      <a:lnTo>
                        <a:pt x="118" y="71"/>
                      </a:lnTo>
                      <a:lnTo>
                        <a:pt x="118" y="71"/>
                      </a:lnTo>
                      <a:lnTo>
                        <a:pt x="118" y="72"/>
                      </a:lnTo>
                      <a:lnTo>
                        <a:pt x="118" y="73"/>
                      </a:lnTo>
                      <a:lnTo>
                        <a:pt x="118" y="74"/>
                      </a:lnTo>
                      <a:lnTo>
                        <a:pt x="117" y="74"/>
                      </a:lnTo>
                      <a:lnTo>
                        <a:pt x="117" y="74"/>
                      </a:lnTo>
                      <a:lnTo>
                        <a:pt x="116" y="74"/>
                      </a:lnTo>
                      <a:lnTo>
                        <a:pt x="116" y="74"/>
                      </a:lnTo>
                      <a:lnTo>
                        <a:pt x="116" y="74"/>
                      </a:lnTo>
                      <a:lnTo>
                        <a:pt x="116" y="74"/>
                      </a:lnTo>
                      <a:lnTo>
                        <a:pt x="115" y="75"/>
                      </a:lnTo>
                      <a:lnTo>
                        <a:pt x="115" y="76"/>
                      </a:lnTo>
                      <a:lnTo>
                        <a:pt x="114" y="76"/>
                      </a:lnTo>
                      <a:lnTo>
                        <a:pt x="114" y="76"/>
                      </a:lnTo>
                      <a:lnTo>
                        <a:pt x="114" y="76"/>
                      </a:lnTo>
                      <a:lnTo>
                        <a:pt x="113" y="76"/>
                      </a:lnTo>
                      <a:lnTo>
                        <a:pt x="113" y="76"/>
                      </a:lnTo>
                      <a:lnTo>
                        <a:pt x="112" y="76"/>
                      </a:lnTo>
                      <a:lnTo>
                        <a:pt x="112" y="75"/>
                      </a:lnTo>
                      <a:lnTo>
                        <a:pt x="112" y="75"/>
                      </a:lnTo>
                      <a:lnTo>
                        <a:pt x="111" y="75"/>
                      </a:lnTo>
                      <a:lnTo>
                        <a:pt x="111" y="76"/>
                      </a:lnTo>
                      <a:lnTo>
                        <a:pt x="111" y="75"/>
                      </a:lnTo>
                      <a:lnTo>
                        <a:pt x="111" y="74"/>
                      </a:lnTo>
                      <a:lnTo>
                        <a:pt x="110" y="74"/>
                      </a:lnTo>
                      <a:lnTo>
                        <a:pt x="110" y="74"/>
                      </a:lnTo>
                      <a:lnTo>
                        <a:pt x="110" y="75"/>
                      </a:lnTo>
                      <a:lnTo>
                        <a:pt x="109" y="75"/>
                      </a:lnTo>
                      <a:lnTo>
                        <a:pt x="108" y="75"/>
                      </a:lnTo>
                      <a:lnTo>
                        <a:pt x="108" y="74"/>
                      </a:lnTo>
                      <a:lnTo>
                        <a:pt x="108" y="74"/>
                      </a:lnTo>
                      <a:lnTo>
                        <a:pt x="108" y="74"/>
                      </a:lnTo>
                      <a:lnTo>
                        <a:pt x="107" y="74"/>
                      </a:lnTo>
                      <a:lnTo>
                        <a:pt x="107" y="73"/>
                      </a:lnTo>
                      <a:lnTo>
                        <a:pt x="107" y="72"/>
                      </a:lnTo>
                      <a:lnTo>
                        <a:pt x="106" y="72"/>
                      </a:lnTo>
                      <a:lnTo>
                        <a:pt x="105" y="72"/>
                      </a:lnTo>
                      <a:lnTo>
                        <a:pt x="105" y="71"/>
                      </a:lnTo>
                      <a:lnTo>
                        <a:pt x="105" y="71"/>
                      </a:lnTo>
                      <a:lnTo>
                        <a:pt x="105" y="71"/>
                      </a:lnTo>
                      <a:lnTo>
                        <a:pt x="104" y="71"/>
                      </a:lnTo>
                      <a:lnTo>
                        <a:pt x="103" y="71"/>
                      </a:lnTo>
                      <a:lnTo>
                        <a:pt x="103" y="71"/>
                      </a:lnTo>
                      <a:lnTo>
                        <a:pt x="103" y="71"/>
                      </a:lnTo>
                      <a:lnTo>
                        <a:pt x="103" y="71"/>
                      </a:lnTo>
                      <a:lnTo>
                        <a:pt x="102" y="71"/>
                      </a:lnTo>
                      <a:lnTo>
                        <a:pt x="102" y="71"/>
                      </a:lnTo>
                      <a:lnTo>
                        <a:pt x="101" y="71"/>
                      </a:lnTo>
                      <a:lnTo>
                        <a:pt x="101" y="71"/>
                      </a:lnTo>
                      <a:lnTo>
                        <a:pt x="102" y="71"/>
                      </a:lnTo>
                      <a:lnTo>
                        <a:pt x="103" y="71"/>
                      </a:lnTo>
                      <a:lnTo>
                        <a:pt x="103" y="70"/>
                      </a:lnTo>
                      <a:lnTo>
                        <a:pt x="102" y="70"/>
                      </a:lnTo>
                      <a:lnTo>
                        <a:pt x="102" y="71"/>
                      </a:lnTo>
                      <a:lnTo>
                        <a:pt x="102" y="70"/>
                      </a:lnTo>
                      <a:lnTo>
                        <a:pt x="101" y="70"/>
                      </a:lnTo>
                      <a:lnTo>
                        <a:pt x="101" y="69"/>
                      </a:lnTo>
                      <a:lnTo>
                        <a:pt x="101" y="69"/>
                      </a:lnTo>
                      <a:lnTo>
                        <a:pt x="101" y="70"/>
                      </a:lnTo>
                      <a:lnTo>
                        <a:pt x="100" y="70"/>
                      </a:lnTo>
                      <a:lnTo>
                        <a:pt x="100" y="69"/>
                      </a:lnTo>
                      <a:lnTo>
                        <a:pt x="99" y="69"/>
                      </a:lnTo>
                      <a:lnTo>
                        <a:pt x="99" y="69"/>
                      </a:lnTo>
                      <a:lnTo>
                        <a:pt x="99" y="69"/>
                      </a:lnTo>
                      <a:lnTo>
                        <a:pt x="98" y="69"/>
                      </a:lnTo>
                      <a:lnTo>
                        <a:pt x="98" y="68"/>
                      </a:lnTo>
                      <a:lnTo>
                        <a:pt x="97" y="68"/>
                      </a:lnTo>
                      <a:lnTo>
                        <a:pt x="97" y="68"/>
                      </a:lnTo>
                      <a:lnTo>
                        <a:pt x="97" y="69"/>
                      </a:lnTo>
                      <a:lnTo>
                        <a:pt x="96" y="69"/>
                      </a:lnTo>
                      <a:lnTo>
                        <a:pt x="96" y="69"/>
                      </a:lnTo>
                      <a:lnTo>
                        <a:pt x="96" y="69"/>
                      </a:lnTo>
                      <a:lnTo>
                        <a:pt x="95" y="69"/>
                      </a:lnTo>
                      <a:lnTo>
                        <a:pt x="95" y="69"/>
                      </a:lnTo>
                      <a:lnTo>
                        <a:pt x="95" y="69"/>
                      </a:lnTo>
                      <a:lnTo>
                        <a:pt x="95" y="70"/>
                      </a:lnTo>
                      <a:lnTo>
                        <a:pt x="94" y="70"/>
                      </a:lnTo>
                      <a:lnTo>
                        <a:pt x="93" y="71"/>
                      </a:lnTo>
                      <a:lnTo>
                        <a:pt x="93" y="71"/>
                      </a:lnTo>
                      <a:lnTo>
                        <a:pt x="93" y="71"/>
                      </a:lnTo>
                      <a:lnTo>
                        <a:pt x="92" y="71"/>
                      </a:lnTo>
                      <a:lnTo>
                        <a:pt x="91" y="71"/>
                      </a:lnTo>
                      <a:lnTo>
                        <a:pt x="91" y="71"/>
                      </a:lnTo>
                      <a:lnTo>
                        <a:pt x="91" y="71"/>
                      </a:lnTo>
                      <a:lnTo>
                        <a:pt x="91" y="71"/>
                      </a:lnTo>
                      <a:lnTo>
                        <a:pt x="90" y="71"/>
                      </a:lnTo>
                      <a:lnTo>
                        <a:pt x="90" y="72"/>
                      </a:lnTo>
                      <a:lnTo>
                        <a:pt x="91" y="72"/>
                      </a:lnTo>
                      <a:lnTo>
                        <a:pt x="91" y="71"/>
                      </a:lnTo>
                      <a:lnTo>
                        <a:pt x="91" y="72"/>
                      </a:lnTo>
                      <a:lnTo>
                        <a:pt x="91" y="72"/>
                      </a:lnTo>
                      <a:lnTo>
                        <a:pt x="91" y="71"/>
                      </a:lnTo>
                      <a:lnTo>
                        <a:pt x="91" y="72"/>
                      </a:lnTo>
                      <a:lnTo>
                        <a:pt x="91" y="72"/>
                      </a:lnTo>
                      <a:lnTo>
                        <a:pt x="90" y="72"/>
                      </a:lnTo>
                      <a:lnTo>
                        <a:pt x="89" y="72"/>
                      </a:lnTo>
                      <a:lnTo>
                        <a:pt x="89" y="73"/>
                      </a:lnTo>
                      <a:lnTo>
                        <a:pt x="89" y="73"/>
                      </a:lnTo>
                      <a:lnTo>
                        <a:pt x="89" y="74"/>
                      </a:lnTo>
                      <a:lnTo>
                        <a:pt x="88" y="74"/>
                      </a:lnTo>
                      <a:lnTo>
                        <a:pt x="87" y="74"/>
                      </a:lnTo>
                      <a:lnTo>
                        <a:pt x="86" y="74"/>
                      </a:lnTo>
                      <a:lnTo>
                        <a:pt x="86" y="73"/>
                      </a:lnTo>
                      <a:lnTo>
                        <a:pt x="86" y="73"/>
                      </a:lnTo>
                      <a:lnTo>
                        <a:pt x="85" y="73"/>
                      </a:lnTo>
                      <a:lnTo>
                        <a:pt x="85" y="72"/>
                      </a:lnTo>
                      <a:lnTo>
                        <a:pt x="84" y="72"/>
                      </a:lnTo>
                      <a:lnTo>
                        <a:pt x="84" y="72"/>
                      </a:lnTo>
                      <a:lnTo>
                        <a:pt x="84" y="71"/>
                      </a:lnTo>
                      <a:lnTo>
                        <a:pt x="83" y="71"/>
                      </a:lnTo>
                      <a:lnTo>
                        <a:pt x="83" y="71"/>
                      </a:lnTo>
                      <a:lnTo>
                        <a:pt x="83" y="70"/>
                      </a:lnTo>
                      <a:lnTo>
                        <a:pt x="82" y="70"/>
                      </a:lnTo>
                      <a:lnTo>
                        <a:pt x="82" y="69"/>
                      </a:lnTo>
                      <a:lnTo>
                        <a:pt x="82" y="69"/>
                      </a:lnTo>
                      <a:lnTo>
                        <a:pt x="82" y="69"/>
                      </a:lnTo>
                      <a:lnTo>
                        <a:pt x="82" y="68"/>
                      </a:lnTo>
                      <a:lnTo>
                        <a:pt x="81" y="67"/>
                      </a:lnTo>
                      <a:lnTo>
                        <a:pt x="80" y="67"/>
                      </a:lnTo>
                      <a:lnTo>
                        <a:pt x="80" y="67"/>
                      </a:lnTo>
                      <a:lnTo>
                        <a:pt x="80" y="67"/>
                      </a:lnTo>
                      <a:lnTo>
                        <a:pt x="79" y="67"/>
                      </a:lnTo>
                      <a:lnTo>
                        <a:pt x="78" y="67"/>
                      </a:lnTo>
                      <a:lnTo>
                        <a:pt x="78" y="66"/>
                      </a:lnTo>
                      <a:lnTo>
                        <a:pt x="78" y="66"/>
                      </a:lnTo>
                      <a:lnTo>
                        <a:pt x="77" y="65"/>
                      </a:lnTo>
                      <a:lnTo>
                        <a:pt x="77" y="65"/>
                      </a:lnTo>
                      <a:lnTo>
                        <a:pt x="76" y="65"/>
                      </a:lnTo>
                      <a:lnTo>
                        <a:pt x="76" y="64"/>
                      </a:lnTo>
                      <a:lnTo>
                        <a:pt x="76" y="64"/>
                      </a:lnTo>
                      <a:lnTo>
                        <a:pt x="75" y="64"/>
                      </a:lnTo>
                      <a:lnTo>
                        <a:pt x="75" y="63"/>
                      </a:lnTo>
                      <a:lnTo>
                        <a:pt x="74" y="63"/>
                      </a:lnTo>
                      <a:lnTo>
                        <a:pt x="74" y="63"/>
                      </a:lnTo>
                      <a:lnTo>
                        <a:pt x="74" y="63"/>
                      </a:lnTo>
                      <a:lnTo>
                        <a:pt x="74" y="62"/>
                      </a:lnTo>
                      <a:lnTo>
                        <a:pt x="73" y="62"/>
                      </a:lnTo>
                      <a:lnTo>
                        <a:pt x="72" y="62"/>
                      </a:lnTo>
                      <a:lnTo>
                        <a:pt x="72" y="62"/>
                      </a:lnTo>
                      <a:lnTo>
                        <a:pt x="72" y="63"/>
                      </a:lnTo>
                      <a:lnTo>
                        <a:pt x="72" y="62"/>
                      </a:lnTo>
                      <a:lnTo>
                        <a:pt x="71" y="62"/>
                      </a:lnTo>
                      <a:lnTo>
                        <a:pt x="70" y="62"/>
                      </a:lnTo>
                      <a:lnTo>
                        <a:pt x="70" y="62"/>
                      </a:lnTo>
                      <a:lnTo>
                        <a:pt x="69" y="62"/>
                      </a:lnTo>
                      <a:lnTo>
                        <a:pt x="68" y="62"/>
                      </a:lnTo>
                      <a:lnTo>
                        <a:pt x="67" y="62"/>
                      </a:lnTo>
                      <a:lnTo>
                        <a:pt x="67" y="61"/>
                      </a:lnTo>
                      <a:lnTo>
                        <a:pt x="67" y="61"/>
                      </a:lnTo>
                      <a:lnTo>
                        <a:pt x="67" y="61"/>
                      </a:lnTo>
                      <a:lnTo>
                        <a:pt x="66" y="61"/>
                      </a:lnTo>
                      <a:lnTo>
                        <a:pt x="65" y="61"/>
                      </a:lnTo>
                      <a:lnTo>
                        <a:pt x="65" y="61"/>
                      </a:lnTo>
                      <a:lnTo>
                        <a:pt x="65" y="60"/>
                      </a:lnTo>
                      <a:lnTo>
                        <a:pt x="64" y="61"/>
                      </a:lnTo>
                      <a:lnTo>
                        <a:pt x="64" y="60"/>
                      </a:lnTo>
                      <a:lnTo>
                        <a:pt x="63" y="60"/>
                      </a:lnTo>
                      <a:lnTo>
                        <a:pt x="63" y="60"/>
                      </a:lnTo>
                      <a:lnTo>
                        <a:pt x="63" y="59"/>
                      </a:lnTo>
                      <a:lnTo>
                        <a:pt x="63" y="60"/>
                      </a:lnTo>
                      <a:lnTo>
                        <a:pt x="62" y="60"/>
                      </a:lnTo>
                      <a:lnTo>
                        <a:pt x="62" y="59"/>
                      </a:lnTo>
                      <a:lnTo>
                        <a:pt x="61" y="59"/>
                      </a:lnTo>
                      <a:lnTo>
                        <a:pt x="61" y="58"/>
                      </a:lnTo>
                      <a:lnTo>
                        <a:pt x="61" y="58"/>
                      </a:lnTo>
                      <a:lnTo>
                        <a:pt x="61" y="58"/>
                      </a:lnTo>
                      <a:lnTo>
                        <a:pt x="61" y="57"/>
                      </a:lnTo>
                      <a:lnTo>
                        <a:pt x="61" y="57"/>
                      </a:lnTo>
                      <a:lnTo>
                        <a:pt x="61" y="56"/>
                      </a:lnTo>
                      <a:lnTo>
                        <a:pt x="61" y="56"/>
                      </a:lnTo>
                      <a:lnTo>
                        <a:pt x="61" y="55"/>
                      </a:lnTo>
                      <a:lnTo>
                        <a:pt x="61" y="55"/>
                      </a:lnTo>
                      <a:lnTo>
                        <a:pt x="60" y="54"/>
                      </a:lnTo>
                      <a:lnTo>
                        <a:pt x="59" y="54"/>
                      </a:lnTo>
                      <a:lnTo>
                        <a:pt x="59" y="54"/>
                      </a:lnTo>
                      <a:lnTo>
                        <a:pt x="58" y="54"/>
                      </a:lnTo>
                      <a:lnTo>
                        <a:pt x="57" y="54"/>
                      </a:lnTo>
                      <a:lnTo>
                        <a:pt x="57" y="54"/>
                      </a:lnTo>
                      <a:lnTo>
                        <a:pt x="56" y="54"/>
                      </a:lnTo>
                      <a:lnTo>
                        <a:pt x="55" y="54"/>
                      </a:lnTo>
                      <a:lnTo>
                        <a:pt x="55" y="53"/>
                      </a:lnTo>
                      <a:lnTo>
                        <a:pt x="55" y="53"/>
                      </a:lnTo>
                      <a:lnTo>
                        <a:pt x="55" y="52"/>
                      </a:lnTo>
                      <a:lnTo>
                        <a:pt x="55" y="52"/>
                      </a:lnTo>
                      <a:lnTo>
                        <a:pt x="55" y="51"/>
                      </a:lnTo>
                      <a:lnTo>
                        <a:pt x="54" y="50"/>
                      </a:lnTo>
                      <a:lnTo>
                        <a:pt x="54" y="50"/>
                      </a:lnTo>
                      <a:lnTo>
                        <a:pt x="54" y="49"/>
                      </a:lnTo>
                      <a:lnTo>
                        <a:pt x="53" y="48"/>
                      </a:lnTo>
                      <a:lnTo>
                        <a:pt x="53" y="48"/>
                      </a:lnTo>
                      <a:lnTo>
                        <a:pt x="53" y="48"/>
                      </a:lnTo>
                      <a:lnTo>
                        <a:pt x="53" y="47"/>
                      </a:lnTo>
                      <a:lnTo>
                        <a:pt x="53" y="46"/>
                      </a:lnTo>
                      <a:lnTo>
                        <a:pt x="53" y="46"/>
                      </a:lnTo>
                      <a:lnTo>
                        <a:pt x="52" y="46"/>
                      </a:lnTo>
                      <a:lnTo>
                        <a:pt x="52" y="45"/>
                      </a:lnTo>
                      <a:lnTo>
                        <a:pt x="52" y="44"/>
                      </a:lnTo>
                      <a:lnTo>
                        <a:pt x="52" y="44"/>
                      </a:lnTo>
                      <a:lnTo>
                        <a:pt x="51" y="44"/>
                      </a:lnTo>
                      <a:lnTo>
                        <a:pt x="51" y="43"/>
                      </a:lnTo>
                      <a:lnTo>
                        <a:pt x="51" y="42"/>
                      </a:lnTo>
                      <a:lnTo>
                        <a:pt x="51" y="42"/>
                      </a:lnTo>
                      <a:lnTo>
                        <a:pt x="51" y="42"/>
                      </a:lnTo>
                      <a:lnTo>
                        <a:pt x="50" y="42"/>
                      </a:lnTo>
                      <a:lnTo>
                        <a:pt x="50" y="41"/>
                      </a:lnTo>
                      <a:lnTo>
                        <a:pt x="50" y="40"/>
                      </a:lnTo>
                      <a:lnTo>
                        <a:pt x="50" y="40"/>
                      </a:lnTo>
                      <a:lnTo>
                        <a:pt x="49" y="40"/>
                      </a:lnTo>
                      <a:lnTo>
                        <a:pt x="49" y="39"/>
                      </a:lnTo>
                      <a:lnTo>
                        <a:pt x="48" y="39"/>
                      </a:lnTo>
                      <a:lnTo>
                        <a:pt x="48" y="38"/>
                      </a:lnTo>
                      <a:lnTo>
                        <a:pt x="48" y="38"/>
                      </a:lnTo>
                      <a:lnTo>
                        <a:pt x="48" y="38"/>
                      </a:lnTo>
                      <a:lnTo>
                        <a:pt x="47" y="38"/>
                      </a:lnTo>
                      <a:lnTo>
                        <a:pt x="46" y="37"/>
                      </a:lnTo>
                      <a:lnTo>
                        <a:pt x="46" y="37"/>
                      </a:lnTo>
                      <a:lnTo>
                        <a:pt x="45" y="37"/>
                      </a:lnTo>
                      <a:lnTo>
                        <a:pt x="45" y="36"/>
                      </a:lnTo>
                      <a:lnTo>
                        <a:pt x="44" y="36"/>
                      </a:lnTo>
                      <a:lnTo>
                        <a:pt x="44" y="36"/>
                      </a:lnTo>
                      <a:lnTo>
                        <a:pt x="44" y="36"/>
                      </a:lnTo>
                      <a:lnTo>
                        <a:pt x="43" y="36"/>
                      </a:lnTo>
                      <a:lnTo>
                        <a:pt x="43" y="35"/>
                      </a:lnTo>
                      <a:lnTo>
                        <a:pt x="42" y="35"/>
                      </a:lnTo>
                      <a:lnTo>
                        <a:pt x="42" y="34"/>
                      </a:lnTo>
                      <a:lnTo>
                        <a:pt x="42" y="34"/>
                      </a:lnTo>
                      <a:lnTo>
                        <a:pt x="42" y="33"/>
                      </a:lnTo>
                      <a:lnTo>
                        <a:pt x="41" y="32"/>
                      </a:lnTo>
                      <a:lnTo>
                        <a:pt x="41" y="31"/>
                      </a:lnTo>
                      <a:lnTo>
                        <a:pt x="40" y="31"/>
                      </a:lnTo>
                      <a:lnTo>
                        <a:pt x="40" y="31"/>
                      </a:lnTo>
                      <a:lnTo>
                        <a:pt x="40" y="30"/>
                      </a:lnTo>
                      <a:lnTo>
                        <a:pt x="40" y="29"/>
                      </a:lnTo>
                      <a:lnTo>
                        <a:pt x="40" y="29"/>
                      </a:lnTo>
                      <a:lnTo>
                        <a:pt x="40" y="28"/>
                      </a:lnTo>
                      <a:lnTo>
                        <a:pt x="40" y="27"/>
                      </a:lnTo>
                      <a:lnTo>
                        <a:pt x="39" y="27"/>
                      </a:lnTo>
                      <a:lnTo>
                        <a:pt x="39" y="27"/>
                      </a:lnTo>
                      <a:lnTo>
                        <a:pt x="38" y="27"/>
                      </a:lnTo>
                      <a:lnTo>
                        <a:pt x="39" y="27"/>
                      </a:lnTo>
                      <a:lnTo>
                        <a:pt x="39" y="26"/>
                      </a:lnTo>
                      <a:lnTo>
                        <a:pt x="38" y="26"/>
                      </a:lnTo>
                      <a:lnTo>
                        <a:pt x="38" y="25"/>
                      </a:lnTo>
                      <a:lnTo>
                        <a:pt x="38" y="25"/>
                      </a:lnTo>
                      <a:lnTo>
                        <a:pt x="37" y="25"/>
                      </a:lnTo>
                      <a:lnTo>
                        <a:pt x="37" y="24"/>
                      </a:lnTo>
                      <a:lnTo>
                        <a:pt x="36" y="24"/>
                      </a:lnTo>
                      <a:lnTo>
                        <a:pt x="36" y="23"/>
                      </a:lnTo>
                      <a:lnTo>
                        <a:pt x="36" y="23"/>
                      </a:lnTo>
                      <a:lnTo>
                        <a:pt x="35" y="23"/>
                      </a:lnTo>
                      <a:lnTo>
                        <a:pt x="35" y="23"/>
                      </a:lnTo>
                      <a:lnTo>
                        <a:pt x="34" y="23"/>
                      </a:lnTo>
                      <a:lnTo>
                        <a:pt x="34" y="22"/>
                      </a:lnTo>
                      <a:lnTo>
                        <a:pt x="34" y="21"/>
                      </a:lnTo>
                      <a:lnTo>
                        <a:pt x="34" y="21"/>
                      </a:lnTo>
                      <a:lnTo>
                        <a:pt x="34" y="20"/>
                      </a:lnTo>
                      <a:lnTo>
                        <a:pt x="34" y="19"/>
                      </a:lnTo>
                      <a:lnTo>
                        <a:pt x="34" y="19"/>
                      </a:lnTo>
                      <a:lnTo>
                        <a:pt x="33" y="19"/>
                      </a:lnTo>
                      <a:lnTo>
                        <a:pt x="33" y="18"/>
                      </a:lnTo>
                      <a:lnTo>
                        <a:pt x="32" y="18"/>
                      </a:lnTo>
                      <a:lnTo>
                        <a:pt x="32" y="17"/>
                      </a:lnTo>
                      <a:lnTo>
                        <a:pt x="31" y="17"/>
                      </a:lnTo>
                      <a:lnTo>
                        <a:pt x="31" y="17"/>
                      </a:lnTo>
                      <a:lnTo>
                        <a:pt x="31" y="17"/>
                      </a:lnTo>
                      <a:lnTo>
                        <a:pt x="31" y="16"/>
                      </a:lnTo>
                      <a:lnTo>
                        <a:pt x="30" y="16"/>
                      </a:lnTo>
                      <a:lnTo>
                        <a:pt x="30" y="17"/>
                      </a:lnTo>
                      <a:lnTo>
                        <a:pt x="29" y="17"/>
                      </a:lnTo>
                      <a:lnTo>
                        <a:pt x="29" y="17"/>
                      </a:lnTo>
                      <a:lnTo>
                        <a:pt x="29" y="17"/>
                      </a:lnTo>
                      <a:lnTo>
                        <a:pt x="29" y="17"/>
                      </a:lnTo>
                      <a:lnTo>
                        <a:pt x="29" y="16"/>
                      </a:lnTo>
                      <a:lnTo>
                        <a:pt x="29" y="16"/>
                      </a:lnTo>
                      <a:lnTo>
                        <a:pt x="29" y="17"/>
                      </a:lnTo>
                      <a:lnTo>
                        <a:pt x="29" y="16"/>
                      </a:lnTo>
                      <a:lnTo>
                        <a:pt x="29" y="15"/>
                      </a:lnTo>
                      <a:lnTo>
                        <a:pt x="29" y="15"/>
                      </a:lnTo>
                      <a:lnTo>
                        <a:pt x="29" y="15"/>
                      </a:lnTo>
                      <a:lnTo>
                        <a:pt x="28" y="15"/>
                      </a:lnTo>
                      <a:lnTo>
                        <a:pt x="27" y="15"/>
                      </a:lnTo>
                      <a:lnTo>
                        <a:pt x="27" y="15"/>
                      </a:lnTo>
                      <a:lnTo>
                        <a:pt x="27" y="15"/>
                      </a:lnTo>
                      <a:lnTo>
                        <a:pt x="27" y="16"/>
                      </a:lnTo>
                      <a:lnTo>
                        <a:pt x="28" y="16"/>
                      </a:lnTo>
                      <a:lnTo>
                        <a:pt x="28" y="17"/>
                      </a:lnTo>
                      <a:lnTo>
                        <a:pt x="28" y="17"/>
                      </a:lnTo>
                      <a:lnTo>
                        <a:pt x="28" y="18"/>
                      </a:lnTo>
                      <a:lnTo>
                        <a:pt x="29" y="18"/>
                      </a:lnTo>
                      <a:lnTo>
                        <a:pt x="29" y="17"/>
                      </a:lnTo>
                      <a:lnTo>
                        <a:pt x="29" y="17"/>
                      </a:lnTo>
                      <a:lnTo>
                        <a:pt x="29" y="18"/>
                      </a:lnTo>
                      <a:lnTo>
                        <a:pt x="29" y="18"/>
                      </a:lnTo>
                      <a:lnTo>
                        <a:pt x="28" y="18"/>
                      </a:lnTo>
                      <a:lnTo>
                        <a:pt x="27" y="18"/>
                      </a:lnTo>
                      <a:lnTo>
                        <a:pt x="27" y="18"/>
                      </a:lnTo>
                      <a:lnTo>
                        <a:pt x="26" y="17"/>
                      </a:lnTo>
                      <a:lnTo>
                        <a:pt x="25" y="17"/>
                      </a:lnTo>
                      <a:lnTo>
                        <a:pt x="25" y="17"/>
                      </a:lnTo>
                      <a:lnTo>
                        <a:pt x="24" y="17"/>
                      </a:lnTo>
                      <a:lnTo>
                        <a:pt x="24" y="17"/>
                      </a:lnTo>
                      <a:lnTo>
                        <a:pt x="23" y="17"/>
                      </a:lnTo>
                      <a:lnTo>
                        <a:pt x="23" y="17"/>
                      </a:lnTo>
                      <a:lnTo>
                        <a:pt x="22" y="17"/>
                      </a:lnTo>
                      <a:lnTo>
                        <a:pt x="21" y="17"/>
                      </a:lnTo>
                      <a:lnTo>
                        <a:pt x="21" y="17"/>
                      </a:lnTo>
                      <a:lnTo>
                        <a:pt x="20" y="17"/>
                      </a:lnTo>
                      <a:lnTo>
                        <a:pt x="19" y="17"/>
                      </a:lnTo>
                      <a:lnTo>
                        <a:pt x="19" y="17"/>
                      </a:lnTo>
                      <a:lnTo>
                        <a:pt x="18" y="17"/>
                      </a:lnTo>
                      <a:lnTo>
                        <a:pt x="17" y="16"/>
                      </a:lnTo>
                      <a:lnTo>
                        <a:pt x="17" y="16"/>
                      </a:lnTo>
                      <a:lnTo>
                        <a:pt x="16" y="16"/>
                      </a:lnTo>
                      <a:lnTo>
                        <a:pt x="15" y="16"/>
                      </a:lnTo>
                      <a:lnTo>
                        <a:pt x="15" y="16"/>
                      </a:lnTo>
                      <a:lnTo>
                        <a:pt x="15" y="15"/>
                      </a:lnTo>
                      <a:lnTo>
                        <a:pt x="14" y="15"/>
                      </a:lnTo>
                      <a:lnTo>
                        <a:pt x="13" y="15"/>
                      </a:lnTo>
                      <a:lnTo>
                        <a:pt x="12" y="15"/>
                      </a:lnTo>
                      <a:lnTo>
                        <a:pt x="12" y="15"/>
                      </a:lnTo>
                      <a:lnTo>
                        <a:pt x="11" y="15"/>
                      </a:lnTo>
                      <a:lnTo>
                        <a:pt x="10" y="15"/>
                      </a:lnTo>
                      <a:lnTo>
                        <a:pt x="10" y="14"/>
                      </a:lnTo>
                      <a:lnTo>
                        <a:pt x="9" y="14"/>
                      </a:lnTo>
                      <a:lnTo>
                        <a:pt x="9" y="13"/>
                      </a:lnTo>
                      <a:lnTo>
                        <a:pt x="8" y="12"/>
                      </a:lnTo>
                      <a:lnTo>
                        <a:pt x="8" y="12"/>
                      </a:lnTo>
                      <a:lnTo>
                        <a:pt x="8" y="12"/>
                      </a:lnTo>
                      <a:lnTo>
                        <a:pt x="8" y="11"/>
                      </a:lnTo>
                      <a:lnTo>
                        <a:pt x="8" y="10"/>
                      </a:lnTo>
                      <a:lnTo>
                        <a:pt x="7" y="10"/>
                      </a:lnTo>
                      <a:lnTo>
                        <a:pt x="8" y="10"/>
                      </a:lnTo>
                      <a:lnTo>
                        <a:pt x="8" y="10"/>
                      </a:lnTo>
                      <a:lnTo>
                        <a:pt x="9" y="10"/>
                      </a:lnTo>
                      <a:lnTo>
                        <a:pt x="10" y="10"/>
                      </a:lnTo>
                      <a:lnTo>
                        <a:pt x="10" y="10"/>
                      </a:lnTo>
                      <a:lnTo>
                        <a:pt x="11" y="10"/>
                      </a:lnTo>
                      <a:lnTo>
                        <a:pt x="12" y="10"/>
                      </a:lnTo>
                      <a:lnTo>
                        <a:pt x="12" y="10"/>
                      </a:lnTo>
                      <a:lnTo>
                        <a:pt x="13" y="10"/>
                      </a:lnTo>
                      <a:lnTo>
                        <a:pt x="14" y="10"/>
                      </a:lnTo>
                      <a:lnTo>
                        <a:pt x="14" y="10"/>
                      </a:lnTo>
                      <a:lnTo>
                        <a:pt x="15" y="10"/>
                      </a:lnTo>
                      <a:lnTo>
                        <a:pt x="15" y="10"/>
                      </a:lnTo>
                      <a:lnTo>
                        <a:pt x="15" y="10"/>
                      </a:lnTo>
                      <a:lnTo>
                        <a:pt x="16" y="10"/>
                      </a:lnTo>
                      <a:lnTo>
                        <a:pt x="17" y="10"/>
                      </a:lnTo>
                      <a:lnTo>
                        <a:pt x="17" y="10"/>
                      </a:lnTo>
                      <a:lnTo>
                        <a:pt x="17" y="10"/>
                      </a:lnTo>
                      <a:lnTo>
                        <a:pt x="17" y="10"/>
                      </a:lnTo>
                      <a:lnTo>
                        <a:pt x="16" y="10"/>
                      </a:lnTo>
                      <a:lnTo>
                        <a:pt x="16" y="9"/>
                      </a:lnTo>
                      <a:lnTo>
                        <a:pt x="17" y="9"/>
                      </a:lnTo>
                      <a:lnTo>
                        <a:pt x="17" y="9"/>
                      </a:lnTo>
                      <a:lnTo>
                        <a:pt x="17" y="10"/>
                      </a:lnTo>
                      <a:lnTo>
                        <a:pt x="18" y="10"/>
                      </a:lnTo>
                      <a:lnTo>
                        <a:pt x="18" y="9"/>
                      </a:lnTo>
                      <a:lnTo>
                        <a:pt x="19" y="9"/>
                      </a:lnTo>
                      <a:lnTo>
                        <a:pt x="19" y="8"/>
                      </a:lnTo>
                      <a:lnTo>
                        <a:pt x="19" y="9"/>
                      </a:lnTo>
                      <a:lnTo>
                        <a:pt x="19" y="8"/>
                      </a:lnTo>
                      <a:lnTo>
                        <a:pt x="18" y="8"/>
                      </a:lnTo>
                      <a:lnTo>
                        <a:pt x="19" y="8"/>
                      </a:lnTo>
                      <a:lnTo>
                        <a:pt x="19" y="8"/>
                      </a:lnTo>
                      <a:lnTo>
                        <a:pt x="18" y="8"/>
                      </a:lnTo>
                      <a:lnTo>
                        <a:pt x="18" y="7"/>
                      </a:lnTo>
                      <a:lnTo>
                        <a:pt x="17" y="7"/>
                      </a:lnTo>
                      <a:lnTo>
                        <a:pt x="17" y="8"/>
                      </a:lnTo>
                      <a:lnTo>
                        <a:pt x="17" y="8"/>
                      </a:lnTo>
                      <a:lnTo>
                        <a:pt x="16" y="8"/>
                      </a:lnTo>
                      <a:lnTo>
                        <a:pt x="16" y="7"/>
                      </a:lnTo>
                      <a:lnTo>
                        <a:pt x="16" y="6"/>
                      </a:lnTo>
                      <a:lnTo>
                        <a:pt x="17" y="6"/>
                      </a:lnTo>
                      <a:lnTo>
                        <a:pt x="17" y="6"/>
                      </a:lnTo>
                      <a:lnTo>
                        <a:pt x="16" y="6"/>
                      </a:lnTo>
                      <a:lnTo>
                        <a:pt x="16" y="5"/>
                      </a:lnTo>
                      <a:lnTo>
                        <a:pt x="15" y="5"/>
                      </a:lnTo>
                      <a:lnTo>
                        <a:pt x="15" y="4"/>
                      </a:lnTo>
                      <a:lnTo>
                        <a:pt x="15" y="4"/>
                      </a:lnTo>
                      <a:lnTo>
                        <a:pt x="15" y="4"/>
                      </a:lnTo>
                      <a:lnTo>
                        <a:pt x="14" y="4"/>
                      </a:lnTo>
                      <a:lnTo>
                        <a:pt x="13" y="4"/>
                      </a:lnTo>
                      <a:lnTo>
                        <a:pt x="13" y="4"/>
                      </a:lnTo>
                      <a:lnTo>
                        <a:pt x="12" y="4"/>
                      </a:lnTo>
                      <a:lnTo>
                        <a:pt x="12" y="4"/>
                      </a:lnTo>
                      <a:lnTo>
                        <a:pt x="11" y="4"/>
                      </a:lnTo>
                      <a:lnTo>
                        <a:pt x="11" y="4"/>
                      </a:lnTo>
                      <a:lnTo>
                        <a:pt x="11" y="3"/>
                      </a:lnTo>
                      <a:lnTo>
                        <a:pt x="10" y="3"/>
                      </a:lnTo>
                      <a:lnTo>
                        <a:pt x="11" y="3"/>
                      </a:lnTo>
                      <a:lnTo>
                        <a:pt x="11" y="2"/>
                      </a:lnTo>
                      <a:lnTo>
                        <a:pt x="10" y="2"/>
                      </a:lnTo>
                      <a:lnTo>
                        <a:pt x="10" y="2"/>
                      </a:lnTo>
                      <a:lnTo>
                        <a:pt x="10" y="2"/>
                      </a:lnTo>
                      <a:lnTo>
                        <a:pt x="10" y="1"/>
                      </a:lnTo>
                      <a:lnTo>
                        <a:pt x="9" y="1"/>
                      </a:lnTo>
                      <a:lnTo>
                        <a:pt x="9" y="0"/>
                      </a:lnTo>
                      <a:lnTo>
                        <a:pt x="9" y="1"/>
                      </a:lnTo>
                      <a:lnTo>
                        <a:pt x="9" y="0"/>
                      </a:lnTo>
                      <a:lnTo>
                        <a:pt x="8" y="0"/>
                      </a:lnTo>
                      <a:lnTo>
                        <a:pt x="8" y="0"/>
                      </a:lnTo>
                      <a:lnTo>
                        <a:pt x="8" y="0"/>
                      </a:lnTo>
                      <a:lnTo>
                        <a:pt x="7" y="0"/>
                      </a:lnTo>
                      <a:lnTo>
                        <a:pt x="7" y="0"/>
                      </a:lnTo>
                      <a:lnTo>
                        <a:pt x="7" y="1"/>
                      </a:lnTo>
                      <a:lnTo>
                        <a:pt x="7" y="2"/>
                      </a:lnTo>
                      <a:lnTo>
                        <a:pt x="6" y="2"/>
                      </a:lnTo>
                      <a:lnTo>
                        <a:pt x="6" y="2"/>
                      </a:lnTo>
                      <a:lnTo>
                        <a:pt x="6" y="2"/>
                      </a:lnTo>
                      <a:lnTo>
                        <a:pt x="5" y="2"/>
                      </a:lnTo>
                      <a:lnTo>
                        <a:pt x="4" y="3"/>
                      </a:lnTo>
                      <a:lnTo>
                        <a:pt x="4" y="3"/>
                      </a:lnTo>
                      <a:lnTo>
                        <a:pt x="4" y="4"/>
                      </a:lnTo>
                      <a:lnTo>
                        <a:pt x="3" y="4"/>
                      </a:lnTo>
                      <a:lnTo>
                        <a:pt x="3" y="4"/>
                      </a:lnTo>
                      <a:lnTo>
                        <a:pt x="2" y="5"/>
                      </a:lnTo>
                      <a:lnTo>
                        <a:pt x="2" y="5"/>
                      </a:lnTo>
                      <a:lnTo>
                        <a:pt x="1" y="5"/>
                      </a:lnTo>
                      <a:lnTo>
                        <a:pt x="0" y="6"/>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3" name="Freeform 53">
                  <a:extLst>
                    <a:ext uri="{FF2B5EF4-FFF2-40B4-BE49-F238E27FC236}">
                      <a16:creationId xmlns:a16="http://schemas.microsoft.com/office/drawing/2014/main" xmlns="" id="{649AB279-367B-C55F-7446-E0F6A1CF5B13}"/>
                    </a:ext>
                  </a:extLst>
                </p:cNvPr>
                <p:cNvSpPr>
                  <a:spLocks/>
                </p:cNvSpPr>
                <p:nvPr/>
              </p:nvSpPr>
              <p:spPr bwMode="auto">
                <a:xfrm>
                  <a:off x="2025" y="1783"/>
                  <a:ext cx="135" cy="550"/>
                </a:xfrm>
                <a:custGeom>
                  <a:avLst/>
                  <a:gdLst>
                    <a:gd name="T0" fmla="*/ 39 w 135"/>
                    <a:gd name="T1" fmla="*/ 550 h 550"/>
                    <a:gd name="T2" fmla="*/ 33 w 135"/>
                    <a:gd name="T3" fmla="*/ 546 h 550"/>
                    <a:gd name="T4" fmla="*/ 31 w 135"/>
                    <a:gd name="T5" fmla="*/ 540 h 550"/>
                    <a:gd name="T6" fmla="*/ 29 w 135"/>
                    <a:gd name="T7" fmla="*/ 536 h 550"/>
                    <a:gd name="T8" fmla="*/ 24 w 135"/>
                    <a:gd name="T9" fmla="*/ 534 h 550"/>
                    <a:gd name="T10" fmla="*/ 25 w 135"/>
                    <a:gd name="T11" fmla="*/ 531 h 550"/>
                    <a:gd name="T12" fmla="*/ 25 w 135"/>
                    <a:gd name="T13" fmla="*/ 523 h 550"/>
                    <a:gd name="T14" fmla="*/ 24 w 135"/>
                    <a:gd name="T15" fmla="*/ 518 h 550"/>
                    <a:gd name="T16" fmla="*/ 17 w 135"/>
                    <a:gd name="T17" fmla="*/ 516 h 550"/>
                    <a:gd name="T18" fmla="*/ 16 w 135"/>
                    <a:gd name="T19" fmla="*/ 510 h 550"/>
                    <a:gd name="T20" fmla="*/ 19 w 135"/>
                    <a:gd name="T21" fmla="*/ 500 h 550"/>
                    <a:gd name="T22" fmla="*/ 34 w 135"/>
                    <a:gd name="T23" fmla="*/ 468 h 550"/>
                    <a:gd name="T24" fmla="*/ 59 w 135"/>
                    <a:gd name="T25" fmla="*/ 439 h 550"/>
                    <a:gd name="T26" fmla="*/ 66 w 135"/>
                    <a:gd name="T27" fmla="*/ 437 h 550"/>
                    <a:gd name="T28" fmla="*/ 63 w 135"/>
                    <a:gd name="T29" fmla="*/ 429 h 550"/>
                    <a:gd name="T30" fmla="*/ 57 w 135"/>
                    <a:gd name="T31" fmla="*/ 422 h 550"/>
                    <a:gd name="T32" fmla="*/ 51 w 135"/>
                    <a:gd name="T33" fmla="*/ 417 h 550"/>
                    <a:gd name="T34" fmla="*/ 46 w 135"/>
                    <a:gd name="T35" fmla="*/ 411 h 550"/>
                    <a:gd name="T36" fmla="*/ 40 w 135"/>
                    <a:gd name="T37" fmla="*/ 405 h 550"/>
                    <a:gd name="T38" fmla="*/ 34 w 135"/>
                    <a:gd name="T39" fmla="*/ 402 h 550"/>
                    <a:gd name="T40" fmla="*/ 31 w 135"/>
                    <a:gd name="T41" fmla="*/ 399 h 550"/>
                    <a:gd name="T42" fmla="*/ 26 w 135"/>
                    <a:gd name="T43" fmla="*/ 398 h 550"/>
                    <a:gd name="T44" fmla="*/ 23 w 135"/>
                    <a:gd name="T45" fmla="*/ 396 h 550"/>
                    <a:gd name="T46" fmla="*/ 21 w 135"/>
                    <a:gd name="T47" fmla="*/ 390 h 550"/>
                    <a:gd name="T48" fmla="*/ 17 w 135"/>
                    <a:gd name="T49" fmla="*/ 382 h 550"/>
                    <a:gd name="T50" fmla="*/ 12 w 135"/>
                    <a:gd name="T51" fmla="*/ 377 h 550"/>
                    <a:gd name="T52" fmla="*/ 10 w 135"/>
                    <a:gd name="T53" fmla="*/ 369 h 550"/>
                    <a:gd name="T54" fmla="*/ 12 w 135"/>
                    <a:gd name="T55" fmla="*/ 310 h 550"/>
                    <a:gd name="T56" fmla="*/ 29 w 135"/>
                    <a:gd name="T57" fmla="*/ 292 h 550"/>
                    <a:gd name="T58" fmla="*/ 33 w 135"/>
                    <a:gd name="T59" fmla="*/ 264 h 550"/>
                    <a:gd name="T60" fmla="*/ 54 w 135"/>
                    <a:gd name="T61" fmla="*/ 256 h 550"/>
                    <a:gd name="T62" fmla="*/ 68 w 135"/>
                    <a:gd name="T63" fmla="*/ 230 h 550"/>
                    <a:gd name="T64" fmla="*/ 81 w 135"/>
                    <a:gd name="T65" fmla="*/ 215 h 550"/>
                    <a:gd name="T66" fmla="*/ 94 w 135"/>
                    <a:gd name="T67" fmla="*/ 192 h 550"/>
                    <a:gd name="T68" fmla="*/ 135 w 135"/>
                    <a:gd name="T69" fmla="*/ 160 h 550"/>
                    <a:gd name="T70" fmla="*/ 131 w 135"/>
                    <a:gd name="T71" fmla="*/ 154 h 550"/>
                    <a:gd name="T72" fmla="*/ 128 w 135"/>
                    <a:gd name="T73" fmla="*/ 148 h 550"/>
                    <a:gd name="T74" fmla="*/ 128 w 135"/>
                    <a:gd name="T75" fmla="*/ 142 h 550"/>
                    <a:gd name="T76" fmla="*/ 131 w 135"/>
                    <a:gd name="T77" fmla="*/ 139 h 550"/>
                    <a:gd name="T78" fmla="*/ 126 w 135"/>
                    <a:gd name="T79" fmla="*/ 135 h 550"/>
                    <a:gd name="T80" fmla="*/ 122 w 135"/>
                    <a:gd name="T81" fmla="*/ 127 h 550"/>
                    <a:gd name="T82" fmla="*/ 120 w 135"/>
                    <a:gd name="T83" fmla="*/ 121 h 550"/>
                    <a:gd name="T84" fmla="*/ 117 w 135"/>
                    <a:gd name="T85" fmla="*/ 114 h 550"/>
                    <a:gd name="T86" fmla="*/ 110 w 135"/>
                    <a:gd name="T87" fmla="*/ 110 h 550"/>
                    <a:gd name="T88" fmla="*/ 105 w 135"/>
                    <a:gd name="T89" fmla="*/ 108 h 550"/>
                    <a:gd name="T90" fmla="*/ 99 w 135"/>
                    <a:gd name="T91" fmla="*/ 103 h 550"/>
                    <a:gd name="T92" fmla="*/ 94 w 135"/>
                    <a:gd name="T93" fmla="*/ 94 h 550"/>
                    <a:gd name="T94" fmla="*/ 94 w 135"/>
                    <a:gd name="T95" fmla="*/ 87 h 550"/>
                    <a:gd name="T96" fmla="*/ 92 w 135"/>
                    <a:gd name="T97" fmla="*/ 76 h 550"/>
                    <a:gd name="T98" fmla="*/ 90 w 135"/>
                    <a:gd name="T99" fmla="*/ 53 h 550"/>
                    <a:gd name="T100" fmla="*/ 86 w 135"/>
                    <a:gd name="T101" fmla="*/ 34 h 550"/>
                    <a:gd name="T102" fmla="*/ 80 w 135"/>
                    <a:gd name="T103" fmla="*/ 33 h 550"/>
                    <a:gd name="T104" fmla="*/ 78 w 135"/>
                    <a:gd name="T105" fmla="*/ 28 h 550"/>
                    <a:gd name="T106" fmla="*/ 72 w 135"/>
                    <a:gd name="T107" fmla="*/ 23 h 550"/>
                    <a:gd name="T108" fmla="*/ 69 w 135"/>
                    <a:gd name="T109" fmla="*/ 15 h 550"/>
                    <a:gd name="T110" fmla="*/ 73 w 135"/>
                    <a:gd name="T111" fmla="*/ 9 h 550"/>
                    <a:gd name="T112" fmla="*/ 77 w 135"/>
                    <a:gd name="T113" fmla="*/ 9 h 550"/>
                    <a:gd name="T114" fmla="*/ 82 w 135"/>
                    <a:gd name="T115" fmla="*/ 11 h 550"/>
                    <a:gd name="T116" fmla="*/ 87 w 135"/>
                    <a:gd name="T117" fmla="*/ 7 h 550"/>
                    <a:gd name="T118" fmla="*/ 86 w 135"/>
                    <a:gd name="T119" fmla="*/ 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 h="550">
                      <a:moveTo>
                        <a:pt x="44" y="550"/>
                      </a:moveTo>
                      <a:lnTo>
                        <a:pt x="44" y="549"/>
                      </a:lnTo>
                      <a:lnTo>
                        <a:pt x="43" y="549"/>
                      </a:lnTo>
                      <a:lnTo>
                        <a:pt x="42" y="549"/>
                      </a:lnTo>
                      <a:lnTo>
                        <a:pt x="42" y="548"/>
                      </a:lnTo>
                      <a:lnTo>
                        <a:pt x="42" y="548"/>
                      </a:lnTo>
                      <a:lnTo>
                        <a:pt x="42" y="548"/>
                      </a:lnTo>
                      <a:lnTo>
                        <a:pt x="41" y="548"/>
                      </a:lnTo>
                      <a:lnTo>
                        <a:pt x="41" y="548"/>
                      </a:lnTo>
                      <a:lnTo>
                        <a:pt x="41" y="548"/>
                      </a:lnTo>
                      <a:lnTo>
                        <a:pt x="41" y="548"/>
                      </a:lnTo>
                      <a:lnTo>
                        <a:pt x="40" y="548"/>
                      </a:lnTo>
                      <a:lnTo>
                        <a:pt x="40" y="549"/>
                      </a:lnTo>
                      <a:lnTo>
                        <a:pt x="40" y="550"/>
                      </a:lnTo>
                      <a:lnTo>
                        <a:pt x="40" y="550"/>
                      </a:lnTo>
                      <a:lnTo>
                        <a:pt x="39" y="550"/>
                      </a:lnTo>
                      <a:lnTo>
                        <a:pt x="39" y="550"/>
                      </a:lnTo>
                      <a:lnTo>
                        <a:pt x="39" y="550"/>
                      </a:lnTo>
                      <a:lnTo>
                        <a:pt x="38" y="550"/>
                      </a:lnTo>
                      <a:lnTo>
                        <a:pt x="38" y="550"/>
                      </a:lnTo>
                      <a:lnTo>
                        <a:pt x="37" y="550"/>
                      </a:lnTo>
                      <a:lnTo>
                        <a:pt x="37" y="550"/>
                      </a:lnTo>
                      <a:lnTo>
                        <a:pt x="36" y="550"/>
                      </a:lnTo>
                      <a:lnTo>
                        <a:pt x="35" y="550"/>
                      </a:lnTo>
                      <a:lnTo>
                        <a:pt x="35" y="550"/>
                      </a:lnTo>
                      <a:lnTo>
                        <a:pt x="34" y="550"/>
                      </a:lnTo>
                      <a:lnTo>
                        <a:pt x="34" y="549"/>
                      </a:lnTo>
                      <a:lnTo>
                        <a:pt x="33" y="549"/>
                      </a:lnTo>
                      <a:lnTo>
                        <a:pt x="33" y="548"/>
                      </a:lnTo>
                      <a:lnTo>
                        <a:pt x="33" y="548"/>
                      </a:lnTo>
                      <a:lnTo>
                        <a:pt x="33" y="548"/>
                      </a:lnTo>
                      <a:lnTo>
                        <a:pt x="33" y="547"/>
                      </a:lnTo>
                      <a:lnTo>
                        <a:pt x="33" y="546"/>
                      </a:lnTo>
                      <a:lnTo>
                        <a:pt x="33" y="546"/>
                      </a:lnTo>
                      <a:lnTo>
                        <a:pt x="32" y="545"/>
                      </a:lnTo>
                      <a:lnTo>
                        <a:pt x="32" y="544"/>
                      </a:lnTo>
                      <a:lnTo>
                        <a:pt x="32" y="544"/>
                      </a:lnTo>
                      <a:lnTo>
                        <a:pt x="32" y="543"/>
                      </a:lnTo>
                      <a:lnTo>
                        <a:pt x="33" y="543"/>
                      </a:lnTo>
                      <a:lnTo>
                        <a:pt x="33" y="542"/>
                      </a:lnTo>
                      <a:lnTo>
                        <a:pt x="33" y="542"/>
                      </a:lnTo>
                      <a:lnTo>
                        <a:pt x="33" y="542"/>
                      </a:lnTo>
                      <a:lnTo>
                        <a:pt x="33" y="541"/>
                      </a:lnTo>
                      <a:lnTo>
                        <a:pt x="33" y="542"/>
                      </a:lnTo>
                      <a:lnTo>
                        <a:pt x="33" y="541"/>
                      </a:lnTo>
                      <a:lnTo>
                        <a:pt x="33" y="540"/>
                      </a:lnTo>
                      <a:lnTo>
                        <a:pt x="33" y="540"/>
                      </a:lnTo>
                      <a:lnTo>
                        <a:pt x="32" y="540"/>
                      </a:lnTo>
                      <a:lnTo>
                        <a:pt x="32" y="539"/>
                      </a:lnTo>
                      <a:lnTo>
                        <a:pt x="31" y="539"/>
                      </a:lnTo>
                      <a:lnTo>
                        <a:pt x="31" y="540"/>
                      </a:lnTo>
                      <a:lnTo>
                        <a:pt x="31" y="540"/>
                      </a:lnTo>
                      <a:lnTo>
                        <a:pt x="31" y="540"/>
                      </a:lnTo>
                      <a:lnTo>
                        <a:pt x="31" y="540"/>
                      </a:lnTo>
                      <a:lnTo>
                        <a:pt x="30" y="540"/>
                      </a:lnTo>
                      <a:lnTo>
                        <a:pt x="30" y="539"/>
                      </a:lnTo>
                      <a:lnTo>
                        <a:pt x="31" y="539"/>
                      </a:lnTo>
                      <a:lnTo>
                        <a:pt x="31" y="540"/>
                      </a:lnTo>
                      <a:lnTo>
                        <a:pt x="31" y="539"/>
                      </a:lnTo>
                      <a:lnTo>
                        <a:pt x="31" y="539"/>
                      </a:lnTo>
                      <a:lnTo>
                        <a:pt x="31" y="538"/>
                      </a:lnTo>
                      <a:lnTo>
                        <a:pt x="31" y="538"/>
                      </a:lnTo>
                      <a:lnTo>
                        <a:pt x="30" y="538"/>
                      </a:lnTo>
                      <a:lnTo>
                        <a:pt x="30" y="537"/>
                      </a:lnTo>
                      <a:lnTo>
                        <a:pt x="31" y="537"/>
                      </a:lnTo>
                      <a:lnTo>
                        <a:pt x="30" y="537"/>
                      </a:lnTo>
                      <a:lnTo>
                        <a:pt x="29" y="537"/>
                      </a:lnTo>
                      <a:lnTo>
                        <a:pt x="29" y="536"/>
                      </a:lnTo>
                      <a:lnTo>
                        <a:pt x="29" y="537"/>
                      </a:lnTo>
                      <a:lnTo>
                        <a:pt x="28" y="537"/>
                      </a:lnTo>
                      <a:lnTo>
                        <a:pt x="28" y="537"/>
                      </a:lnTo>
                      <a:lnTo>
                        <a:pt x="27" y="538"/>
                      </a:lnTo>
                      <a:lnTo>
                        <a:pt x="27" y="538"/>
                      </a:lnTo>
                      <a:lnTo>
                        <a:pt x="27" y="537"/>
                      </a:lnTo>
                      <a:lnTo>
                        <a:pt x="27" y="538"/>
                      </a:lnTo>
                      <a:lnTo>
                        <a:pt x="27" y="537"/>
                      </a:lnTo>
                      <a:lnTo>
                        <a:pt x="26" y="537"/>
                      </a:lnTo>
                      <a:lnTo>
                        <a:pt x="26" y="537"/>
                      </a:lnTo>
                      <a:lnTo>
                        <a:pt x="25" y="537"/>
                      </a:lnTo>
                      <a:lnTo>
                        <a:pt x="25" y="537"/>
                      </a:lnTo>
                      <a:lnTo>
                        <a:pt x="25" y="536"/>
                      </a:lnTo>
                      <a:lnTo>
                        <a:pt x="25" y="535"/>
                      </a:lnTo>
                      <a:lnTo>
                        <a:pt x="24" y="535"/>
                      </a:lnTo>
                      <a:lnTo>
                        <a:pt x="24" y="535"/>
                      </a:lnTo>
                      <a:lnTo>
                        <a:pt x="24" y="534"/>
                      </a:lnTo>
                      <a:lnTo>
                        <a:pt x="23" y="534"/>
                      </a:lnTo>
                      <a:lnTo>
                        <a:pt x="23" y="533"/>
                      </a:lnTo>
                      <a:lnTo>
                        <a:pt x="23" y="533"/>
                      </a:lnTo>
                      <a:lnTo>
                        <a:pt x="23" y="533"/>
                      </a:lnTo>
                      <a:lnTo>
                        <a:pt x="23" y="532"/>
                      </a:lnTo>
                      <a:lnTo>
                        <a:pt x="23" y="531"/>
                      </a:lnTo>
                      <a:lnTo>
                        <a:pt x="22" y="531"/>
                      </a:lnTo>
                      <a:lnTo>
                        <a:pt x="22" y="531"/>
                      </a:lnTo>
                      <a:lnTo>
                        <a:pt x="21" y="531"/>
                      </a:lnTo>
                      <a:lnTo>
                        <a:pt x="21" y="531"/>
                      </a:lnTo>
                      <a:lnTo>
                        <a:pt x="21" y="530"/>
                      </a:lnTo>
                      <a:lnTo>
                        <a:pt x="22" y="530"/>
                      </a:lnTo>
                      <a:lnTo>
                        <a:pt x="23" y="529"/>
                      </a:lnTo>
                      <a:lnTo>
                        <a:pt x="23" y="529"/>
                      </a:lnTo>
                      <a:lnTo>
                        <a:pt x="24" y="530"/>
                      </a:lnTo>
                      <a:lnTo>
                        <a:pt x="25" y="530"/>
                      </a:lnTo>
                      <a:lnTo>
                        <a:pt x="25" y="531"/>
                      </a:lnTo>
                      <a:lnTo>
                        <a:pt x="25" y="530"/>
                      </a:lnTo>
                      <a:lnTo>
                        <a:pt x="25" y="530"/>
                      </a:lnTo>
                      <a:lnTo>
                        <a:pt x="25" y="529"/>
                      </a:lnTo>
                      <a:lnTo>
                        <a:pt x="25" y="529"/>
                      </a:lnTo>
                      <a:lnTo>
                        <a:pt x="25" y="528"/>
                      </a:lnTo>
                      <a:lnTo>
                        <a:pt x="25" y="527"/>
                      </a:lnTo>
                      <a:lnTo>
                        <a:pt x="25" y="527"/>
                      </a:lnTo>
                      <a:lnTo>
                        <a:pt x="25" y="526"/>
                      </a:lnTo>
                      <a:lnTo>
                        <a:pt x="25" y="526"/>
                      </a:lnTo>
                      <a:lnTo>
                        <a:pt x="25" y="525"/>
                      </a:lnTo>
                      <a:lnTo>
                        <a:pt x="24" y="525"/>
                      </a:lnTo>
                      <a:lnTo>
                        <a:pt x="24" y="525"/>
                      </a:lnTo>
                      <a:lnTo>
                        <a:pt x="23" y="525"/>
                      </a:lnTo>
                      <a:lnTo>
                        <a:pt x="23" y="524"/>
                      </a:lnTo>
                      <a:lnTo>
                        <a:pt x="23" y="523"/>
                      </a:lnTo>
                      <a:lnTo>
                        <a:pt x="24" y="523"/>
                      </a:lnTo>
                      <a:lnTo>
                        <a:pt x="25" y="523"/>
                      </a:lnTo>
                      <a:lnTo>
                        <a:pt x="25" y="523"/>
                      </a:lnTo>
                      <a:lnTo>
                        <a:pt x="26" y="523"/>
                      </a:lnTo>
                      <a:lnTo>
                        <a:pt x="26" y="523"/>
                      </a:lnTo>
                      <a:lnTo>
                        <a:pt x="27" y="523"/>
                      </a:lnTo>
                      <a:lnTo>
                        <a:pt x="27" y="523"/>
                      </a:lnTo>
                      <a:lnTo>
                        <a:pt x="27" y="522"/>
                      </a:lnTo>
                      <a:lnTo>
                        <a:pt x="27" y="521"/>
                      </a:lnTo>
                      <a:lnTo>
                        <a:pt x="27" y="521"/>
                      </a:lnTo>
                      <a:lnTo>
                        <a:pt x="27" y="521"/>
                      </a:lnTo>
                      <a:lnTo>
                        <a:pt x="27" y="520"/>
                      </a:lnTo>
                      <a:lnTo>
                        <a:pt x="27" y="519"/>
                      </a:lnTo>
                      <a:lnTo>
                        <a:pt x="26" y="519"/>
                      </a:lnTo>
                      <a:lnTo>
                        <a:pt x="26" y="519"/>
                      </a:lnTo>
                      <a:lnTo>
                        <a:pt x="25" y="519"/>
                      </a:lnTo>
                      <a:lnTo>
                        <a:pt x="25" y="518"/>
                      </a:lnTo>
                      <a:lnTo>
                        <a:pt x="25" y="518"/>
                      </a:lnTo>
                      <a:lnTo>
                        <a:pt x="24" y="518"/>
                      </a:lnTo>
                      <a:lnTo>
                        <a:pt x="24" y="517"/>
                      </a:lnTo>
                      <a:lnTo>
                        <a:pt x="23" y="517"/>
                      </a:lnTo>
                      <a:lnTo>
                        <a:pt x="23" y="517"/>
                      </a:lnTo>
                      <a:lnTo>
                        <a:pt x="23" y="516"/>
                      </a:lnTo>
                      <a:lnTo>
                        <a:pt x="22" y="516"/>
                      </a:lnTo>
                      <a:lnTo>
                        <a:pt x="21" y="516"/>
                      </a:lnTo>
                      <a:lnTo>
                        <a:pt x="21" y="516"/>
                      </a:lnTo>
                      <a:lnTo>
                        <a:pt x="20" y="516"/>
                      </a:lnTo>
                      <a:lnTo>
                        <a:pt x="19" y="516"/>
                      </a:lnTo>
                      <a:lnTo>
                        <a:pt x="18" y="516"/>
                      </a:lnTo>
                      <a:lnTo>
                        <a:pt x="18" y="516"/>
                      </a:lnTo>
                      <a:lnTo>
                        <a:pt x="18" y="516"/>
                      </a:lnTo>
                      <a:lnTo>
                        <a:pt x="18" y="516"/>
                      </a:lnTo>
                      <a:lnTo>
                        <a:pt x="18" y="515"/>
                      </a:lnTo>
                      <a:lnTo>
                        <a:pt x="18" y="515"/>
                      </a:lnTo>
                      <a:lnTo>
                        <a:pt x="18" y="516"/>
                      </a:lnTo>
                      <a:lnTo>
                        <a:pt x="17" y="516"/>
                      </a:lnTo>
                      <a:lnTo>
                        <a:pt x="17" y="515"/>
                      </a:lnTo>
                      <a:lnTo>
                        <a:pt x="17" y="516"/>
                      </a:lnTo>
                      <a:lnTo>
                        <a:pt x="16" y="516"/>
                      </a:lnTo>
                      <a:lnTo>
                        <a:pt x="16" y="515"/>
                      </a:lnTo>
                      <a:lnTo>
                        <a:pt x="16" y="514"/>
                      </a:lnTo>
                      <a:lnTo>
                        <a:pt x="16" y="514"/>
                      </a:lnTo>
                      <a:lnTo>
                        <a:pt x="15" y="514"/>
                      </a:lnTo>
                      <a:lnTo>
                        <a:pt x="15" y="514"/>
                      </a:lnTo>
                      <a:lnTo>
                        <a:pt x="15" y="513"/>
                      </a:lnTo>
                      <a:lnTo>
                        <a:pt x="14" y="513"/>
                      </a:lnTo>
                      <a:lnTo>
                        <a:pt x="14" y="513"/>
                      </a:lnTo>
                      <a:lnTo>
                        <a:pt x="14" y="512"/>
                      </a:lnTo>
                      <a:lnTo>
                        <a:pt x="14" y="512"/>
                      </a:lnTo>
                      <a:lnTo>
                        <a:pt x="15" y="512"/>
                      </a:lnTo>
                      <a:lnTo>
                        <a:pt x="16" y="511"/>
                      </a:lnTo>
                      <a:lnTo>
                        <a:pt x="16" y="510"/>
                      </a:lnTo>
                      <a:lnTo>
                        <a:pt x="16" y="510"/>
                      </a:lnTo>
                      <a:lnTo>
                        <a:pt x="17" y="509"/>
                      </a:lnTo>
                      <a:lnTo>
                        <a:pt x="17" y="508"/>
                      </a:lnTo>
                      <a:lnTo>
                        <a:pt x="18" y="508"/>
                      </a:lnTo>
                      <a:lnTo>
                        <a:pt x="18" y="506"/>
                      </a:lnTo>
                      <a:lnTo>
                        <a:pt x="18" y="506"/>
                      </a:lnTo>
                      <a:lnTo>
                        <a:pt x="18" y="505"/>
                      </a:lnTo>
                      <a:lnTo>
                        <a:pt x="18" y="504"/>
                      </a:lnTo>
                      <a:lnTo>
                        <a:pt x="19" y="504"/>
                      </a:lnTo>
                      <a:lnTo>
                        <a:pt x="19" y="504"/>
                      </a:lnTo>
                      <a:lnTo>
                        <a:pt x="19" y="503"/>
                      </a:lnTo>
                      <a:lnTo>
                        <a:pt x="19" y="502"/>
                      </a:lnTo>
                      <a:lnTo>
                        <a:pt x="18" y="502"/>
                      </a:lnTo>
                      <a:lnTo>
                        <a:pt x="18" y="502"/>
                      </a:lnTo>
                      <a:lnTo>
                        <a:pt x="18" y="502"/>
                      </a:lnTo>
                      <a:lnTo>
                        <a:pt x="18" y="501"/>
                      </a:lnTo>
                      <a:lnTo>
                        <a:pt x="18" y="500"/>
                      </a:lnTo>
                      <a:lnTo>
                        <a:pt x="19" y="500"/>
                      </a:lnTo>
                      <a:lnTo>
                        <a:pt x="20" y="497"/>
                      </a:lnTo>
                      <a:lnTo>
                        <a:pt x="18" y="496"/>
                      </a:lnTo>
                      <a:lnTo>
                        <a:pt x="17" y="495"/>
                      </a:lnTo>
                      <a:lnTo>
                        <a:pt x="19" y="493"/>
                      </a:lnTo>
                      <a:lnTo>
                        <a:pt x="21" y="492"/>
                      </a:lnTo>
                      <a:lnTo>
                        <a:pt x="21" y="491"/>
                      </a:lnTo>
                      <a:lnTo>
                        <a:pt x="21" y="491"/>
                      </a:lnTo>
                      <a:lnTo>
                        <a:pt x="22" y="489"/>
                      </a:lnTo>
                      <a:lnTo>
                        <a:pt x="23" y="486"/>
                      </a:lnTo>
                      <a:lnTo>
                        <a:pt x="29" y="491"/>
                      </a:lnTo>
                      <a:lnTo>
                        <a:pt x="33" y="495"/>
                      </a:lnTo>
                      <a:lnTo>
                        <a:pt x="35" y="493"/>
                      </a:lnTo>
                      <a:lnTo>
                        <a:pt x="36" y="492"/>
                      </a:lnTo>
                      <a:lnTo>
                        <a:pt x="38" y="487"/>
                      </a:lnTo>
                      <a:lnTo>
                        <a:pt x="33" y="483"/>
                      </a:lnTo>
                      <a:lnTo>
                        <a:pt x="34" y="476"/>
                      </a:lnTo>
                      <a:lnTo>
                        <a:pt x="34" y="468"/>
                      </a:lnTo>
                      <a:lnTo>
                        <a:pt x="35" y="464"/>
                      </a:lnTo>
                      <a:lnTo>
                        <a:pt x="38" y="459"/>
                      </a:lnTo>
                      <a:lnTo>
                        <a:pt x="42" y="454"/>
                      </a:lnTo>
                      <a:lnTo>
                        <a:pt x="44" y="455"/>
                      </a:lnTo>
                      <a:lnTo>
                        <a:pt x="47" y="453"/>
                      </a:lnTo>
                      <a:lnTo>
                        <a:pt x="48" y="448"/>
                      </a:lnTo>
                      <a:lnTo>
                        <a:pt x="49" y="445"/>
                      </a:lnTo>
                      <a:lnTo>
                        <a:pt x="50" y="443"/>
                      </a:lnTo>
                      <a:lnTo>
                        <a:pt x="52" y="438"/>
                      </a:lnTo>
                      <a:lnTo>
                        <a:pt x="54" y="436"/>
                      </a:lnTo>
                      <a:lnTo>
                        <a:pt x="56" y="439"/>
                      </a:lnTo>
                      <a:lnTo>
                        <a:pt x="56" y="441"/>
                      </a:lnTo>
                      <a:lnTo>
                        <a:pt x="58" y="441"/>
                      </a:lnTo>
                      <a:lnTo>
                        <a:pt x="58" y="440"/>
                      </a:lnTo>
                      <a:lnTo>
                        <a:pt x="59" y="440"/>
                      </a:lnTo>
                      <a:lnTo>
                        <a:pt x="59" y="439"/>
                      </a:lnTo>
                      <a:lnTo>
                        <a:pt x="59" y="439"/>
                      </a:lnTo>
                      <a:lnTo>
                        <a:pt x="59" y="438"/>
                      </a:lnTo>
                      <a:lnTo>
                        <a:pt x="60" y="438"/>
                      </a:lnTo>
                      <a:lnTo>
                        <a:pt x="60" y="438"/>
                      </a:lnTo>
                      <a:lnTo>
                        <a:pt x="61" y="438"/>
                      </a:lnTo>
                      <a:lnTo>
                        <a:pt x="61" y="437"/>
                      </a:lnTo>
                      <a:lnTo>
                        <a:pt x="61" y="437"/>
                      </a:lnTo>
                      <a:lnTo>
                        <a:pt x="61" y="436"/>
                      </a:lnTo>
                      <a:lnTo>
                        <a:pt x="62" y="436"/>
                      </a:lnTo>
                      <a:lnTo>
                        <a:pt x="62" y="437"/>
                      </a:lnTo>
                      <a:lnTo>
                        <a:pt x="63" y="437"/>
                      </a:lnTo>
                      <a:lnTo>
                        <a:pt x="63" y="437"/>
                      </a:lnTo>
                      <a:lnTo>
                        <a:pt x="63" y="438"/>
                      </a:lnTo>
                      <a:lnTo>
                        <a:pt x="64" y="438"/>
                      </a:lnTo>
                      <a:lnTo>
                        <a:pt x="65" y="438"/>
                      </a:lnTo>
                      <a:lnTo>
                        <a:pt x="65" y="438"/>
                      </a:lnTo>
                      <a:lnTo>
                        <a:pt x="66" y="438"/>
                      </a:lnTo>
                      <a:lnTo>
                        <a:pt x="66" y="437"/>
                      </a:lnTo>
                      <a:lnTo>
                        <a:pt x="66" y="436"/>
                      </a:lnTo>
                      <a:lnTo>
                        <a:pt x="65" y="436"/>
                      </a:lnTo>
                      <a:lnTo>
                        <a:pt x="65" y="436"/>
                      </a:lnTo>
                      <a:lnTo>
                        <a:pt x="65" y="435"/>
                      </a:lnTo>
                      <a:lnTo>
                        <a:pt x="65" y="434"/>
                      </a:lnTo>
                      <a:lnTo>
                        <a:pt x="64" y="434"/>
                      </a:lnTo>
                      <a:lnTo>
                        <a:pt x="63" y="434"/>
                      </a:lnTo>
                      <a:lnTo>
                        <a:pt x="63" y="434"/>
                      </a:lnTo>
                      <a:lnTo>
                        <a:pt x="63" y="434"/>
                      </a:lnTo>
                      <a:lnTo>
                        <a:pt x="63" y="434"/>
                      </a:lnTo>
                      <a:lnTo>
                        <a:pt x="63" y="433"/>
                      </a:lnTo>
                      <a:lnTo>
                        <a:pt x="63" y="432"/>
                      </a:lnTo>
                      <a:lnTo>
                        <a:pt x="63" y="432"/>
                      </a:lnTo>
                      <a:lnTo>
                        <a:pt x="63" y="431"/>
                      </a:lnTo>
                      <a:lnTo>
                        <a:pt x="63" y="430"/>
                      </a:lnTo>
                      <a:lnTo>
                        <a:pt x="63" y="430"/>
                      </a:lnTo>
                      <a:lnTo>
                        <a:pt x="63" y="429"/>
                      </a:lnTo>
                      <a:lnTo>
                        <a:pt x="63" y="428"/>
                      </a:lnTo>
                      <a:lnTo>
                        <a:pt x="63" y="428"/>
                      </a:lnTo>
                      <a:lnTo>
                        <a:pt x="62" y="428"/>
                      </a:lnTo>
                      <a:lnTo>
                        <a:pt x="62" y="427"/>
                      </a:lnTo>
                      <a:lnTo>
                        <a:pt x="61" y="427"/>
                      </a:lnTo>
                      <a:lnTo>
                        <a:pt x="61" y="427"/>
                      </a:lnTo>
                      <a:lnTo>
                        <a:pt x="61" y="426"/>
                      </a:lnTo>
                      <a:lnTo>
                        <a:pt x="60" y="426"/>
                      </a:lnTo>
                      <a:lnTo>
                        <a:pt x="59" y="426"/>
                      </a:lnTo>
                      <a:lnTo>
                        <a:pt x="59" y="426"/>
                      </a:lnTo>
                      <a:lnTo>
                        <a:pt x="58" y="426"/>
                      </a:lnTo>
                      <a:lnTo>
                        <a:pt x="58" y="425"/>
                      </a:lnTo>
                      <a:lnTo>
                        <a:pt x="58" y="424"/>
                      </a:lnTo>
                      <a:lnTo>
                        <a:pt x="58" y="424"/>
                      </a:lnTo>
                      <a:lnTo>
                        <a:pt x="58" y="423"/>
                      </a:lnTo>
                      <a:lnTo>
                        <a:pt x="57" y="423"/>
                      </a:lnTo>
                      <a:lnTo>
                        <a:pt x="57" y="422"/>
                      </a:lnTo>
                      <a:lnTo>
                        <a:pt x="57" y="422"/>
                      </a:lnTo>
                      <a:lnTo>
                        <a:pt x="56" y="422"/>
                      </a:lnTo>
                      <a:lnTo>
                        <a:pt x="56" y="422"/>
                      </a:lnTo>
                      <a:lnTo>
                        <a:pt x="55" y="422"/>
                      </a:lnTo>
                      <a:lnTo>
                        <a:pt x="55" y="421"/>
                      </a:lnTo>
                      <a:lnTo>
                        <a:pt x="54" y="421"/>
                      </a:lnTo>
                      <a:lnTo>
                        <a:pt x="54" y="421"/>
                      </a:lnTo>
                      <a:lnTo>
                        <a:pt x="54" y="420"/>
                      </a:lnTo>
                      <a:lnTo>
                        <a:pt x="54" y="420"/>
                      </a:lnTo>
                      <a:lnTo>
                        <a:pt x="53" y="420"/>
                      </a:lnTo>
                      <a:lnTo>
                        <a:pt x="52" y="420"/>
                      </a:lnTo>
                      <a:lnTo>
                        <a:pt x="52" y="419"/>
                      </a:lnTo>
                      <a:lnTo>
                        <a:pt x="52" y="418"/>
                      </a:lnTo>
                      <a:lnTo>
                        <a:pt x="52" y="418"/>
                      </a:lnTo>
                      <a:lnTo>
                        <a:pt x="52" y="417"/>
                      </a:lnTo>
                      <a:lnTo>
                        <a:pt x="51" y="417"/>
                      </a:lnTo>
                      <a:lnTo>
                        <a:pt x="51" y="417"/>
                      </a:lnTo>
                      <a:lnTo>
                        <a:pt x="50" y="417"/>
                      </a:lnTo>
                      <a:lnTo>
                        <a:pt x="50" y="416"/>
                      </a:lnTo>
                      <a:lnTo>
                        <a:pt x="50" y="416"/>
                      </a:lnTo>
                      <a:lnTo>
                        <a:pt x="50" y="415"/>
                      </a:lnTo>
                      <a:lnTo>
                        <a:pt x="49" y="415"/>
                      </a:lnTo>
                      <a:lnTo>
                        <a:pt x="49" y="415"/>
                      </a:lnTo>
                      <a:lnTo>
                        <a:pt x="48" y="415"/>
                      </a:lnTo>
                      <a:lnTo>
                        <a:pt x="48" y="414"/>
                      </a:lnTo>
                      <a:lnTo>
                        <a:pt x="48" y="414"/>
                      </a:lnTo>
                      <a:lnTo>
                        <a:pt x="48" y="413"/>
                      </a:lnTo>
                      <a:lnTo>
                        <a:pt x="47" y="413"/>
                      </a:lnTo>
                      <a:lnTo>
                        <a:pt x="47" y="413"/>
                      </a:lnTo>
                      <a:lnTo>
                        <a:pt x="47" y="412"/>
                      </a:lnTo>
                      <a:lnTo>
                        <a:pt x="47" y="411"/>
                      </a:lnTo>
                      <a:lnTo>
                        <a:pt x="46" y="411"/>
                      </a:lnTo>
                      <a:lnTo>
                        <a:pt x="46" y="411"/>
                      </a:lnTo>
                      <a:lnTo>
                        <a:pt x="46" y="411"/>
                      </a:lnTo>
                      <a:lnTo>
                        <a:pt x="45" y="411"/>
                      </a:lnTo>
                      <a:lnTo>
                        <a:pt x="45" y="410"/>
                      </a:lnTo>
                      <a:lnTo>
                        <a:pt x="44" y="410"/>
                      </a:lnTo>
                      <a:lnTo>
                        <a:pt x="44" y="409"/>
                      </a:lnTo>
                      <a:lnTo>
                        <a:pt x="44" y="409"/>
                      </a:lnTo>
                      <a:lnTo>
                        <a:pt x="44" y="409"/>
                      </a:lnTo>
                      <a:lnTo>
                        <a:pt x="43" y="409"/>
                      </a:lnTo>
                      <a:lnTo>
                        <a:pt x="43" y="408"/>
                      </a:lnTo>
                      <a:lnTo>
                        <a:pt x="42" y="408"/>
                      </a:lnTo>
                      <a:lnTo>
                        <a:pt x="42" y="408"/>
                      </a:lnTo>
                      <a:lnTo>
                        <a:pt x="42" y="407"/>
                      </a:lnTo>
                      <a:lnTo>
                        <a:pt x="41" y="407"/>
                      </a:lnTo>
                      <a:lnTo>
                        <a:pt x="40" y="407"/>
                      </a:lnTo>
                      <a:lnTo>
                        <a:pt x="40" y="407"/>
                      </a:lnTo>
                      <a:lnTo>
                        <a:pt x="40" y="406"/>
                      </a:lnTo>
                      <a:lnTo>
                        <a:pt x="40" y="405"/>
                      </a:lnTo>
                      <a:lnTo>
                        <a:pt x="40" y="405"/>
                      </a:lnTo>
                      <a:lnTo>
                        <a:pt x="39" y="405"/>
                      </a:lnTo>
                      <a:lnTo>
                        <a:pt x="39" y="406"/>
                      </a:lnTo>
                      <a:lnTo>
                        <a:pt x="38" y="406"/>
                      </a:lnTo>
                      <a:lnTo>
                        <a:pt x="38" y="405"/>
                      </a:lnTo>
                      <a:lnTo>
                        <a:pt x="38" y="405"/>
                      </a:lnTo>
                      <a:lnTo>
                        <a:pt x="37" y="405"/>
                      </a:lnTo>
                      <a:lnTo>
                        <a:pt x="37" y="405"/>
                      </a:lnTo>
                      <a:lnTo>
                        <a:pt x="37" y="404"/>
                      </a:lnTo>
                      <a:lnTo>
                        <a:pt x="37" y="403"/>
                      </a:lnTo>
                      <a:lnTo>
                        <a:pt x="36" y="403"/>
                      </a:lnTo>
                      <a:lnTo>
                        <a:pt x="35" y="403"/>
                      </a:lnTo>
                      <a:lnTo>
                        <a:pt x="35" y="403"/>
                      </a:lnTo>
                      <a:lnTo>
                        <a:pt x="35" y="403"/>
                      </a:lnTo>
                      <a:lnTo>
                        <a:pt x="35" y="402"/>
                      </a:lnTo>
                      <a:lnTo>
                        <a:pt x="35" y="401"/>
                      </a:lnTo>
                      <a:lnTo>
                        <a:pt x="34" y="401"/>
                      </a:lnTo>
                      <a:lnTo>
                        <a:pt x="34" y="402"/>
                      </a:lnTo>
                      <a:lnTo>
                        <a:pt x="33" y="402"/>
                      </a:lnTo>
                      <a:lnTo>
                        <a:pt x="33" y="402"/>
                      </a:lnTo>
                      <a:lnTo>
                        <a:pt x="33" y="401"/>
                      </a:lnTo>
                      <a:lnTo>
                        <a:pt x="33" y="401"/>
                      </a:lnTo>
                      <a:lnTo>
                        <a:pt x="33" y="401"/>
                      </a:lnTo>
                      <a:lnTo>
                        <a:pt x="33" y="401"/>
                      </a:lnTo>
                      <a:lnTo>
                        <a:pt x="33" y="400"/>
                      </a:lnTo>
                      <a:lnTo>
                        <a:pt x="33" y="400"/>
                      </a:lnTo>
                      <a:lnTo>
                        <a:pt x="33" y="399"/>
                      </a:lnTo>
                      <a:lnTo>
                        <a:pt x="33" y="399"/>
                      </a:lnTo>
                      <a:lnTo>
                        <a:pt x="33" y="400"/>
                      </a:lnTo>
                      <a:lnTo>
                        <a:pt x="32" y="400"/>
                      </a:lnTo>
                      <a:lnTo>
                        <a:pt x="32" y="401"/>
                      </a:lnTo>
                      <a:lnTo>
                        <a:pt x="31" y="401"/>
                      </a:lnTo>
                      <a:lnTo>
                        <a:pt x="31" y="400"/>
                      </a:lnTo>
                      <a:lnTo>
                        <a:pt x="31" y="399"/>
                      </a:lnTo>
                      <a:lnTo>
                        <a:pt x="31" y="399"/>
                      </a:lnTo>
                      <a:lnTo>
                        <a:pt x="31" y="400"/>
                      </a:lnTo>
                      <a:lnTo>
                        <a:pt x="30" y="400"/>
                      </a:lnTo>
                      <a:lnTo>
                        <a:pt x="29" y="400"/>
                      </a:lnTo>
                      <a:lnTo>
                        <a:pt x="29" y="399"/>
                      </a:lnTo>
                      <a:lnTo>
                        <a:pt x="29" y="399"/>
                      </a:lnTo>
                      <a:lnTo>
                        <a:pt x="28" y="399"/>
                      </a:lnTo>
                      <a:lnTo>
                        <a:pt x="27" y="399"/>
                      </a:lnTo>
                      <a:lnTo>
                        <a:pt x="27" y="400"/>
                      </a:lnTo>
                      <a:lnTo>
                        <a:pt x="27" y="401"/>
                      </a:lnTo>
                      <a:lnTo>
                        <a:pt x="27" y="401"/>
                      </a:lnTo>
                      <a:lnTo>
                        <a:pt x="27" y="400"/>
                      </a:lnTo>
                      <a:lnTo>
                        <a:pt x="27" y="399"/>
                      </a:lnTo>
                      <a:lnTo>
                        <a:pt x="26" y="398"/>
                      </a:lnTo>
                      <a:lnTo>
                        <a:pt x="27" y="398"/>
                      </a:lnTo>
                      <a:lnTo>
                        <a:pt x="27" y="398"/>
                      </a:lnTo>
                      <a:lnTo>
                        <a:pt x="26" y="398"/>
                      </a:lnTo>
                      <a:lnTo>
                        <a:pt x="26" y="398"/>
                      </a:lnTo>
                      <a:lnTo>
                        <a:pt x="25" y="398"/>
                      </a:lnTo>
                      <a:lnTo>
                        <a:pt x="25" y="399"/>
                      </a:lnTo>
                      <a:lnTo>
                        <a:pt x="25" y="400"/>
                      </a:lnTo>
                      <a:lnTo>
                        <a:pt x="25" y="400"/>
                      </a:lnTo>
                      <a:lnTo>
                        <a:pt x="25" y="399"/>
                      </a:lnTo>
                      <a:lnTo>
                        <a:pt x="24" y="399"/>
                      </a:lnTo>
                      <a:lnTo>
                        <a:pt x="24" y="398"/>
                      </a:lnTo>
                      <a:lnTo>
                        <a:pt x="25" y="398"/>
                      </a:lnTo>
                      <a:lnTo>
                        <a:pt x="25" y="398"/>
                      </a:lnTo>
                      <a:lnTo>
                        <a:pt x="25" y="397"/>
                      </a:lnTo>
                      <a:lnTo>
                        <a:pt x="25" y="397"/>
                      </a:lnTo>
                      <a:lnTo>
                        <a:pt x="24" y="397"/>
                      </a:lnTo>
                      <a:lnTo>
                        <a:pt x="23" y="397"/>
                      </a:lnTo>
                      <a:lnTo>
                        <a:pt x="23" y="396"/>
                      </a:lnTo>
                      <a:lnTo>
                        <a:pt x="23" y="396"/>
                      </a:lnTo>
                      <a:lnTo>
                        <a:pt x="23" y="396"/>
                      </a:lnTo>
                      <a:lnTo>
                        <a:pt x="23" y="396"/>
                      </a:lnTo>
                      <a:lnTo>
                        <a:pt x="23" y="395"/>
                      </a:lnTo>
                      <a:lnTo>
                        <a:pt x="23" y="395"/>
                      </a:lnTo>
                      <a:lnTo>
                        <a:pt x="23" y="396"/>
                      </a:lnTo>
                      <a:lnTo>
                        <a:pt x="22" y="396"/>
                      </a:lnTo>
                      <a:lnTo>
                        <a:pt x="22" y="395"/>
                      </a:lnTo>
                      <a:lnTo>
                        <a:pt x="22" y="394"/>
                      </a:lnTo>
                      <a:lnTo>
                        <a:pt x="22" y="394"/>
                      </a:lnTo>
                      <a:lnTo>
                        <a:pt x="22" y="393"/>
                      </a:lnTo>
                      <a:lnTo>
                        <a:pt x="22" y="392"/>
                      </a:lnTo>
                      <a:lnTo>
                        <a:pt x="21" y="392"/>
                      </a:lnTo>
                      <a:lnTo>
                        <a:pt x="21" y="392"/>
                      </a:lnTo>
                      <a:lnTo>
                        <a:pt x="21" y="392"/>
                      </a:lnTo>
                      <a:lnTo>
                        <a:pt x="20" y="392"/>
                      </a:lnTo>
                      <a:lnTo>
                        <a:pt x="21" y="392"/>
                      </a:lnTo>
                      <a:lnTo>
                        <a:pt x="21" y="391"/>
                      </a:lnTo>
                      <a:lnTo>
                        <a:pt x="21" y="390"/>
                      </a:lnTo>
                      <a:lnTo>
                        <a:pt x="21" y="390"/>
                      </a:lnTo>
                      <a:lnTo>
                        <a:pt x="20" y="390"/>
                      </a:lnTo>
                      <a:lnTo>
                        <a:pt x="19" y="390"/>
                      </a:lnTo>
                      <a:lnTo>
                        <a:pt x="19" y="389"/>
                      </a:lnTo>
                      <a:lnTo>
                        <a:pt x="18" y="389"/>
                      </a:lnTo>
                      <a:lnTo>
                        <a:pt x="18" y="388"/>
                      </a:lnTo>
                      <a:lnTo>
                        <a:pt x="19" y="388"/>
                      </a:lnTo>
                      <a:lnTo>
                        <a:pt x="18" y="388"/>
                      </a:lnTo>
                      <a:lnTo>
                        <a:pt x="18" y="387"/>
                      </a:lnTo>
                      <a:lnTo>
                        <a:pt x="18" y="386"/>
                      </a:lnTo>
                      <a:lnTo>
                        <a:pt x="18" y="386"/>
                      </a:lnTo>
                      <a:lnTo>
                        <a:pt x="17" y="385"/>
                      </a:lnTo>
                      <a:lnTo>
                        <a:pt x="17" y="384"/>
                      </a:lnTo>
                      <a:lnTo>
                        <a:pt x="17" y="384"/>
                      </a:lnTo>
                      <a:lnTo>
                        <a:pt x="18" y="384"/>
                      </a:lnTo>
                      <a:lnTo>
                        <a:pt x="18" y="383"/>
                      </a:lnTo>
                      <a:lnTo>
                        <a:pt x="18" y="382"/>
                      </a:lnTo>
                      <a:lnTo>
                        <a:pt x="17" y="382"/>
                      </a:lnTo>
                      <a:lnTo>
                        <a:pt x="16" y="382"/>
                      </a:lnTo>
                      <a:lnTo>
                        <a:pt x="16" y="382"/>
                      </a:lnTo>
                      <a:lnTo>
                        <a:pt x="16" y="381"/>
                      </a:lnTo>
                      <a:lnTo>
                        <a:pt x="16" y="381"/>
                      </a:lnTo>
                      <a:lnTo>
                        <a:pt x="16" y="382"/>
                      </a:lnTo>
                      <a:lnTo>
                        <a:pt x="15" y="382"/>
                      </a:lnTo>
                      <a:lnTo>
                        <a:pt x="15" y="381"/>
                      </a:lnTo>
                      <a:lnTo>
                        <a:pt x="14" y="381"/>
                      </a:lnTo>
                      <a:lnTo>
                        <a:pt x="14" y="382"/>
                      </a:lnTo>
                      <a:lnTo>
                        <a:pt x="14" y="381"/>
                      </a:lnTo>
                      <a:lnTo>
                        <a:pt x="14" y="380"/>
                      </a:lnTo>
                      <a:lnTo>
                        <a:pt x="13" y="379"/>
                      </a:lnTo>
                      <a:lnTo>
                        <a:pt x="13" y="378"/>
                      </a:lnTo>
                      <a:lnTo>
                        <a:pt x="13" y="377"/>
                      </a:lnTo>
                      <a:lnTo>
                        <a:pt x="12" y="377"/>
                      </a:lnTo>
                      <a:lnTo>
                        <a:pt x="13" y="377"/>
                      </a:lnTo>
                      <a:lnTo>
                        <a:pt x="12" y="377"/>
                      </a:lnTo>
                      <a:lnTo>
                        <a:pt x="12" y="377"/>
                      </a:lnTo>
                      <a:lnTo>
                        <a:pt x="12" y="376"/>
                      </a:lnTo>
                      <a:lnTo>
                        <a:pt x="12" y="375"/>
                      </a:lnTo>
                      <a:lnTo>
                        <a:pt x="12" y="375"/>
                      </a:lnTo>
                      <a:lnTo>
                        <a:pt x="12" y="374"/>
                      </a:lnTo>
                      <a:lnTo>
                        <a:pt x="12" y="373"/>
                      </a:lnTo>
                      <a:lnTo>
                        <a:pt x="11" y="373"/>
                      </a:lnTo>
                      <a:lnTo>
                        <a:pt x="12" y="373"/>
                      </a:lnTo>
                      <a:lnTo>
                        <a:pt x="11" y="373"/>
                      </a:lnTo>
                      <a:lnTo>
                        <a:pt x="11" y="372"/>
                      </a:lnTo>
                      <a:lnTo>
                        <a:pt x="11" y="371"/>
                      </a:lnTo>
                      <a:lnTo>
                        <a:pt x="10" y="371"/>
                      </a:lnTo>
                      <a:lnTo>
                        <a:pt x="11" y="371"/>
                      </a:lnTo>
                      <a:lnTo>
                        <a:pt x="11" y="371"/>
                      </a:lnTo>
                      <a:lnTo>
                        <a:pt x="10" y="371"/>
                      </a:lnTo>
                      <a:lnTo>
                        <a:pt x="10" y="370"/>
                      </a:lnTo>
                      <a:lnTo>
                        <a:pt x="10" y="369"/>
                      </a:lnTo>
                      <a:lnTo>
                        <a:pt x="4" y="364"/>
                      </a:lnTo>
                      <a:lnTo>
                        <a:pt x="2" y="360"/>
                      </a:lnTo>
                      <a:lnTo>
                        <a:pt x="0" y="352"/>
                      </a:lnTo>
                      <a:lnTo>
                        <a:pt x="3" y="352"/>
                      </a:lnTo>
                      <a:lnTo>
                        <a:pt x="4" y="350"/>
                      </a:lnTo>
                      <a:lnTo>
                        <a:pt x="6" y="339"/>
                      </a:lnTo>
                      <a:lnTo>
                        <a:pt x="2" y="333"/>
                      </a:lnTo>
                      <a:lnTo>
                        <a:pt x="2" y="326"/>
                      </a:lnTo>
                      <a:lnTo>
                        <a:pt x="2" y="325"/>
                      </a:lnTo>
                      <a:lnTo>
                        <a:pt x="2" y="320"/>
                      </a:lnTo>
                      <a:lnTo>
                        <a:pt x="2" y="319"/>
                      </a:lnTo>
                      <a:lnTo>
                        <a:pt x="2" y="318"/>
                      </a:lnTo>
                      <a:lnTo>
                        <a:pt x="4" y="316"/>
                      </a:lnTo>
                      <a:lnTo>
                        <a:pt x="4" y="316"/>
                      </a:lnTo>
                      <a:lnTo>
                        <a:pt x="5" y="316"/>
                      </a:lnTo>
                      <a:lnTo>
                        <a:pt x="6" y="316"/>
                      </a:lnTo>
                      <a:lnTo>
                        <a:pt x="12" y="310"/>
                      </a:lnTo>
                      <a:lnTo>
                        <a:pt x="16" y="308"/>
                      </a:lnTo>
                      <a:lnTo>
                        <a:pt x="18" y="308"/>
                      </a:lnTo>
                      <a:lnTo>
                        <a:pt x="21" y="308"/>
                      </a:lnTo>
                      <a:lnTo>
                        <a:pt x="23" y="308"/>
                      </a:lnTo>
                      <a:lnTo>
                        <a:pt x="24" y="308"/>
                      </a:lnTo>
                      <a:lnTo>
                        <a:pt x="31" y="306"/>
                      </a:lnTo>
                      <a:lnTo>
                        <a:pt x="32" y="304"/>
                      </a:lnTo>
                      <a:lnTo>
                        <a:pt x="33" y="303"/>
                      </a:lnTo>
                      <a:lnTo>
                        <a:pt x="35" y="299"/>
                      </a:lnTo>
                      <a:lnTo>
                        <a:pt x="33" y="298"/>
                      </a:lnTo>
                      <a:lnTo>
                        <a:pt x="33" y="297"/>
                      </a:lnTo>
                      <a:lnTo>
                        <a:pt x="33" y="296"/>
                      </a:lnTo>
                      <a:lnTo>
                        <a:pt x="32" y="294"/>
                      </a:lnTo>
                      <a:lnTo>
                        <a:pt x="31" y="294"/>
                      </a:lnTo>
                      <a:lnTo>
                        <a:pt x="30" y="294"/>
                      </a:lnTo>
                      <a:lnTo>
                        <a:pt x="29" y="293"/>
                      </a:lnTo>
                      <a:lnTo>
                        <a:pt x="29" y="292"/>
                      </a:lnTo>
                      <a:lnTo>
                        <a:pt x="27" y="291"/>
                      </a:lnTo>
                      <a:lnTo>
                        <a:pt x="26" y="286"/>
                      </a:lnTo>
                      <a:lnTo>
                        <a:pt x="27" y="285"/>
                      </a:lnTo>
                      <a:lnTo>
                        <a:pt x="27" y="283"/>
                      </a:lnTo>
                      <a:lnTo>
                        <a:pt x="28" y="282"/>
                      </a:lnTo>
                      <a:lnTo>
                        <a:pt x="29" y="282"/>
                      </a:lnTo>
                      <a:lnTo>
                        <a:pt x="29" y="280"/>
                      </a:lnTo>
                      <a:lnTo>
                        <a:pt x="31" y="279"/>
                      </a:lnTo>
                      <a:lnTo>
                        <a:pt x="31" y="276"/>
                      </a:lnTo>
                      <a:lnTo>
                        <a:pt x="33" y="272"/>
                      </a:lnTo>
                      <a:lnTo>
                        <a:pt x="33" y="271"/>
                      </a:lnTo>
                      <a:lnTo>
                        <a:pt x="34" y="270"/>
                      </a:lnTo>
                      <a:lnTo>
                        <a:pt x="33" y="270"/>
                      </a:lnTo>
                      <a:lnTo>
                        <a:pt x="33" y="269"/>
                      </a:lnTo>
                      <a:lnTo>
                        <a:pt x="33" y="268"/>
                      </a:lnTo>
                      <a:lnTo>
                        <a:pt x="32" y="268"/>
                      </a:lnTo>
                      <a:lnTo>
                        <a:pt x="33" y="264"/>
                      </a:lnTo>
                      <a:lnTo>
                        <a:pt x="33" y="263"/>
                      </a:lnTo>
                      <a:lnTo>
                        <a:pt x="33" y="263"/>
                      </a:lnTo>
                      <a:lnTo>
                        <a:pt x="34" y="262"/>
                      </a:lnTo>
                      <a:lnTo>
                        <a:pt x="34" y="262"/>
                      </a:lnTo>
                      <a:lnTo>
                        <a:pt x="34" y="260"/>
                      </a:lnTo>
                      <a:lnTo>
                        <a:pt x="33" y="259"/>
                      </a:lnTo>
                      <a:lnTo>
                        <a:pt x="33" y="258"/>
                      </a:lnTo>
                      <a:lnTo>
                        <a:pt x="35" y="258"/>
                      </a:lnTo>
                      <a:lnTo>
                        <a:pt x="41" y="259"/>
                      </a:lnTo>
                      <a:lnTo>
                        <a:pt x="43" y="257"/>
                      </a:lnTo>
                      <a:lnTo>
                        <a:pt x="45" y="257"/>
                      </a:lnTo>
                      <a:lnTo>
                        <a:pt x="46" y="259"/>
                      </a:lnTo>
                      <a:lnTo>
                        <a:pt x="46" y="258"/>
                      </a:lnTo>
                      <a:lnTo>
                        <a:pt x="48" y="257"/>
                      </a:lnTo>
                      <a:lnTo>
                        <a:pt x="48" y="257"/>
                      </a:lnTo>
                      <a:lnTo>
                        <a:pt x="49" y="258"/>
                      </a:lnTo>
                      <a:lnTo>
                        <a:pt x="54" y="256"/>
                      </a:lnTo>
                      <a:lnTo>
                        <a:pt x="54" y="253"/>
                      </a:lnTo>
                      <a:lnTo>
                        <a:pt x="54" y="247"/>
                      </a:lnTo>
                      <a:lnTo>
                        <a:pt x="55" y="245"/>
                      </a:lnTo>
                      <a:lnTo>
                        <a:pt x="55" y="243"/>
                      </a:lnTo>
                      <a:lnTo>
                        <a:pt x="54" y="241"/>
                      </a:lnTo>
                      <a:lnTo>
                        <a:pt x="53" y="240"/>
                      </a:lnTo>
                      <a:lnTo>
                        <a:pt x="53" y="239"/>
                      </a:lnTo>
                      <a:lnTo>
                        <a:pt x="56" y="237"/>
                      </a:lnTo>
                      <a:lnTo>
                        <a:pt x="59" y="238"/>
                      </a:lnTo>
                      <a:lnTo>
                        <a:pt x="60" y="238"/>
                      </a:lnTo>
                      <a:lnTo>
                        <a:pt x="61" y="237"/>
                      </a:lnTo>
                      <a:lnTo>
                        <a:pt x="62" y="235"/>
                      </a:lnTo>
                      <a:lnTo>
                        <a:pt x="62" y="232"/>
                      </a:lnTo>
                      <a:lnTo>
                        <a:pt x="64" y="232"/>
                      </a:lnTo>
                      <a:lnTo>
                        <a:pt x="65" y="231"/>
                      </a:lnTo>
                      <a:lnTo>
                        <a:pt x="67" y="231"/>
                      </a:lnTo>
                      <a:lnTo>
                        <a:pt x="68" y="230"/>
                      </a:lnTo>
                      <a:lnTo>
                        <a:pt x="69" y="230"/>
                      </a:lnTo>
                      <a:lnTo>
                        <a:pt x="70" y="229"/>
                      </a:lnTo>
                      <a:lnTo>
                        <a:pt x="71" y="228"/>
                      </a:lnTo>
                      <a:lnTo>
                        <a:pt x="72" y="228"/>
                      </a:lnTo>
                      <a:lnTo>
                        <a:pt x="73" y="227"/>
                      </a:lnTo>
                      <a:lnTo>
                        <a:pt x="74" y="226"/>
                      </a:lnTo>
                      <a:lnTo>
                        <a:pt x="75" y="225"/>
                      </a:lnTo>
                      <a:lnTo>
                        <a:pt x="76" y="224"/>
                      </a:lnTo>
                      <a:lnTo>
                        <a:pt x="77" y="224"/>
                      </a:lnTo>
                      <a:lnTo>
                        <a:pt x="78" y="222"/>
                      </a:lnTo>
                      <a:lnTo>
                        <a:pt x="79" y="221"/>
                      </a:lnTo>
                      <a:lnTo>
                        <a:pt x="79" y="221"/>
                      </a:lnTo>
                      <a:lnTo>
                        <a:pt x="79" y="220"/>
                      </a:lnTo>
                      <a:lnTo>
                        <a:pt x="80" y="219"/>
                      </a:lnTo>
                      <a:lnTo>
                        <a:pt x="80" y="217"/>
                      </a:lnTo>
                      <a:lnTo>
                        <a:pt x="80" y="217"/>
                      </a:lnTo>
                      <a:lnTo>
                        <a:pt x="81" y="215"/>
                      </a:lnTo>
                      <a:lnTo>
                        <a:pt x="81" y="215"/>
                      </a:lnTo>
                      <a:lnTo>
                        <a:pt x="82" y="213"/>
                      </a:lnTo>
                      <a:lnTo>
                        <a:pt x="83" y="213"/>
                      </a:lnTo>
                      <a:lnTo>
                        <a:pt x="84" y="212"/>
                      </a:lnTo>
                      <a:lnTo>
                        <a:pt x="84" y="211"/>
                      </a:lnTo>
                      <a:lnTo>
                        <a:pt x="85" y="210"/>
                      </a:lnTo>
                      <a:lnTo>
                        <a:pt x="86" y="209"/>
                      </a:lnTo>
                      <a:lnTo>
                        <a:pt x="86" y="209"/>
                      </a:lnTo>
                      <a:lnTo>
                        <a:pt x="86" y="208"/>
                      </a:lnTo>
                      <a:lnTo>
                        <a:pt x="86" y="207"/>
                      </a:lnTo>
                      <a:lnTo>
                        <a:pt x="87" y="206"/>
                      </a:lnTo>
                      <a:lnTo>
                        <a:pt x="90" y="205"/>
                      </a:lnTo>
                      <a:lnTo>
                        <a:pt x="90" y="203"/>
                      </a:lnTo>
                      <a:lnTo>
                        <a:pt x="92" y="200"/>
                      </a:lnTo>
                      <a:lnTo>
                        <a:pt x="92" y="199"/>
                      </a:lnTo>
                      <a:lnTo>
                        <a:pt x="92" y="194"/>
                      </a:lnTo>
                      <a:lnTo>
                        <a:pt x="94" y="192"/>
                      </a:lnTo>
                      <a:lnTo>
                        <a:pt x="95" y="191"/>
                      </a:lnTo>
                      <a:lnTo>
                        <a:pt x="95" y="184"/>
                      </a:lnTo>
                      <a:lnTo>
                        <a:pt x="93" y="174"/>
                      </a:lnTo>
                      <a:lnTo>
                        <a:pt x="93" y="171"/>
                      </a:lnTo>
                      <a:lnTo>
                        <a:pt x="94" y="165"/>
                      </a:lnTo>
                      <a:lnTo>
                        <a:pt x="103" y="165"/>
                      </a:lnTo>
                      <a:lnTo>
                        <a:pt x="107" y="165"/>
                      </a:lnTo>
                      <a:lnTo>
                        <a:pt x="111" y="165"/>
                      </a:lnTo>
                      <a:lnTo>
                        <a:pt x="118" y="164"/>
                      </a:lnTo>
                      <a:lnTo>
                        <a:pt x="126" y="164"/>
                      </a:lnTo>
                      <a:lnTo>
                        <a:pt x="130" y="164"/>
                      </a:lnTo>
                      <a:lnTo>
                        <a:pt x="133" y="163"/>
                      </a:lnTo>
                      <a:lnTo>
                        <a:pt x="134" y="162"/>
                      </a:lnTo>
                      <a:lnTo>
                        <a:pt x="135" y="162"/>
                      </a:lnTo>
                      <a:lnTo>
                        <a:pt x="135" y="162"/>
                      </a:lnTo>
                      <a:lnTo>
                        <a:pt x="135" y="161"/>
                      </a:lnTo>
                      <a:lnTo>
                        <a:pt x="135" y="160"/>
                      </a:lnTo>
                      <a:lnTo>
                        <a:pt x="135" y="160"/>
                      </a:lnTo>
                      <a:lnTo>
                        <a:pt x="134" y="160"/>
                      </a:lnTo>
                      <a:lnTo>
                        <a:pt x="134" y="159"/>
                      </a:lnTo>
                      <a:lnTo>
                        <a:pt x="134" y="158"/>
                      </a:lnTo>
                      <a:lnTo>
                        <a:pt x="135" y="158"/>
                      </a:lnTo>
                      <a:lnTo>
                        <a:pt x="135" y="158"/>
                      </a:lnTo>
                      <a:lnTo>
                        <a:pt x="135" y="157"/>
                      </a:lnTo>
                      <a:lnTo>
                        <a:pt x="134" y="157"/>
                      </a:lnTo>
                      <a:lnTo>
                        <a:pt x="134" y="156"/>
                      </a:lnTo>
                      <a:lnTo>
                        <a:pt x="133" y="156"/>
                      </a:lnTo>
                      <a:lnTo>
                        <a:pt x="133" y="156"/>
                      </a:lnTo>
                      <a:lnTo>
                        <a:pt x="133" y="156"/>
                      </a:lnTo>
                      <a:lnTo>
                        <a:pt x="133" y="155"/>
                      </a:lnTo>
                      <a:lnTo>
                        <a:pt x="132" y="155"/>
                      </a:lnTo>
                      <a:lnTo>
                        <a:pt x="132" y="154"/>
                      </a:lnTo>
                      <a:lnTo>
                        <a:pt x="131" y="154"/>
                      </a:lnTo>
                      <a:lnTo>
                        <a:pt x="131" y="154"/>
                      </a:lnTo>
                      <a:lnTo>
                        <a:pt x="130" y="154"/>
                      </a:lnTo>
                      <a:lnTo>
                        <a:pt x="130" y="154"/>
                      </a:lnTo>
                      <a:lnTo>
                        <a:pt x="130" y="154"/>
                      </a:lnTo>
                      <a:lnTo>
                        <a:pt x="130" y="153"/>
                      </a:lnTo>
                      <a:lnTo>
                        <a:pt x="130" y="154"/>
                      </a:lnTo>
                      <a:lnTo>
                        <a:pt x="129" y="154"/>
                      </a:lnTo>
                      <a:lnTo>
                        <a:pt x="129" y="153"/>
                      </a:lnTo>
                      <a:lnTo>
                        <a:pt x="129" y="152"/>
                      </a:lnTo>
                      <a:lnTo>
                        <a:pt x="129" y="152"/>
                      </a:lnTo>
                      <a:lnTo>
                        <a:pt x="129" y="151"/>
                      </a:lnTo>
                      <a:lnTo>
                        <a:pt x="128" y="151"/>
                      </a:lnTo>
                      <a:lnTo>
                        <a:pt x="128" y="151"/>
                      </a:lnTo>
                      <a:lnTo>
                        <a:pt x="128" y="150"/>
                      </a:lnTo>
                      <a:lnTo>
                        <a:pt x="128" y="150"/>
                      </a:lnTo>
                      <a:lnTo>
                        <a:pt x="128" y="149"/>
                      </a:lnTo>
                      <a:lnTo>
                        <a:pt x="128" y="149"/>
                      </a:lnTo>
                      <a:lnTo>
                        <a:pt x="128" y="148"/>
                      </a:lnTo>
                      <a:lnTo>
                        <a:pt x="128" y="148"/>
                      </a:lnTo>
                      <a:lnTo>
                        <a:pt x="128" y="148"/>
                      </a:lnTo>
                      <a:lnTo>
                        <a:pt x="127" y="148"/>
                      </a:lnTo>
                      <a:lnTo>
                        <a:pt x="127" y="147"/>
                      </a:lnTo>
                      <a:lnTo>
                        <a:pt x="128" y="146"/>
                      </a:lnTo>
                      <a:lnTo>
                        <a:pt x="127" y="146"/>
                      </a:lnTo>
                      <a:lnTo>
                        <a:pt x="127" y="146"/>
                      </a:lnTo>
                      <a:lnTo>
                        <a:pt x="128" y="146"/>
                      </a:lnTo>
                      <a:lnTo>
                        <a:pt x="127" y="145"/>
                      </a:lnTo>
                      <a:lnTo>
                        <a:pt x="126" y="145"/>
                      </a:lnTo>
                      <a:lnTo>
                        <a:pt x="126" y="144"/>
                      </a:lnTo>
                      <a:lnTo>
                        <a:pt x="127" y="144"/>
                      </a:lnTo>
                      <a:lnTo>
                        <a:pt x="127" y="144"/>
                      </a:lnTo>
                      <a:lnTo>
                        <a:pt x="128" y="144"/>
                      </a:lnTo>
                      <a:lnTo>
                        <a:pt x="128" y="143"/>
                      </a:lnTo>
                      <a:lnTo>
                        <a:pt x="128" y="143"/>
                      </a:lnTo>
                      <a:lnTo>
                        <a:pt x="128" y="142"/>
                      </a:lnTo>
                      <a:lnTo>
                        <a:pt x="129" y="141"/>
                      </a:lnTo>
                      <a:lnTo>
                        <a:pt x="130" y="141"/>
                      </a:lnTo>
                      <a:lnTo>
                        <a:pt x="130" y="142"/>
                      </a:lnTo>
                      <a:lnTo>
                        <a:pt x="130" y="142"/>
                      </a:lnTo>
                      <a:lnTo>
                        <a:pt x="130" y="141"/>
                      </a:lnTo>
                      <a:lnTo>
                        <a:pt x="131" y="141"/>
                      </a:lnTo>
                      <a:lnTo>
                        <a:pt x="132" y="141"/>
                      </a:lnTo>
                      <a:lnTo>
                        <a:pt x="132" y="142"/>
                      </a:lnTo>
                      <a:lnTo>
                        <a:pt x="133" y="142"/>
                      </a:lnTo>
                      <a:lnTo>
                        <a:pt x="133" y="141"/>
                      </a:lnTo>
                      <a:lnTo>
                        <a:pt x="133" y="141"/>
                      </a:lnTo>
                      <a:lnTo>
                        <a:pt x="132" y="141"/>
                      </a:lnTo>
                      <a:lnTo>
                        <a:pt x="132" y="140"/>
                      </a:lnTo>
                      <a:lnTo>
                        <a:pt x="132" y="139"/>
                      </a:lnTo>
                      <a:lnTo>
                        <a:pt x="133" y="139"/>
                      </a:lnTo>
                      <a:lnTo>
                        <a:pt x="132" y="139"/>
                      </a:lnTo>
                      <a:lnTo>
                        <a:pt x="131" y="139"/>
                      </a:lnTo>
                      <a:lnTo>
                        <a:pt x="131" y="139"/>
                      </a:lnTo>
                      <a:lnTo>
                        <a:pt x="131" y="138"/>
                      </a:lnTo>
                      <a:lnTo>
                        <a:pt x="130" y="138"/>
                      </a:lnTo>
                      <a:lnTo>
                        <a:pt x="130" y="138"/>
                      </a:lnTo>
                      <a:lnTo>
                        <a:pt x="130" y="139"/>
                      </a:lnTo>
                      <a:lnTo>
                        <a:pt x="129" y="139"/>
                      </a:lnTo>
                      <a:lnTo>
                        <a:pt x="129" y="138"/>
                      </a:lnTo>
                      <a:lnTo>
                        <a:pt x="128" y="138"/>
                      </a:lnTo>
                      <a:lnTo>
                        <a:pt x="128" y="138"/>
                      </a:lnTo>
                      <a:lnTo>
                        <a:pt x="128" y="137"/>
                      </a:lnTo>
                      <a:lnTo>
                        <a:pt x="128" y="137"/>
                      </a:lnTo>
                      <a:lnTo>
                        <a:pt x="127" y="137"/>
                      </a:lnTo>
                      <a:lnTo>
                        <a:pt x="127" y="136"/>
                      </a:lnTo>
                      <a:lnTo>
                        <a:pt x="126" y="136"/>
                      </a:lnTo>
                      <a:lnTo>
                        <a:pt x="126" y="135"/>
                      </a:lnTo>
                      <a:lnTo>
                        <a:pt x="126" y="135"/>
                      </a:lnTo>
                      <a:lnTo>
                        <a:pt x="126" y="135"/>
                      </a:lnTo>
                      <a:lnTo>
                        <a:pt x="125" y="134"/>
                      </a:lnTo>
                      <a:lnTo>
                        <a:pt x="124" y="133"/>
                      </a:lnTo>
                      <a:lnTo>
                        <a:pt x="124" y="133"/>
                      </a:lnTo>
                      <a:lnTo>
                        <a:pt x="124" y="133"/>
                      </a:lnTo>
                      <a:lnTo>
                        <a:pt x="124" y="132"/>
                      </a:lnTo>
                      <a:lnTo>
                        <a:pt x="123" y="132"/>
                      </a:lnTo>
                      <a:lnTo>
                        <a:pt x="123" y="131"/>
                      </a:lnTo>
                      <a:lnTo>
                        <a:pt x="122" y="131"/>
                      </a:lnTo>
                      <a:lnTo>
                        <a:pt x="122" y="131"/>
                      </a:lnTo>
                      <a:lnTo>
                        <a:pt x="122" y="130"/>
                      </a:lnTo>
                      <a:lnTo>
                        <a:pt x="122" y="130"/>
                      </a:lnTo>
                      <a:lnTo>
                        <a:pt x="122" y="129"/>
                      </a:lnTo>
                      <a:lnTo>
                        <a:pt x="122" y="129"/>
                      </a:lnTo>
                      <a:lnTo>
                        <a:pt x="122" y="128"/>
                      </a:lnTo>
                      <a:lnTo>
                        <a:pt x="121" y="128"/>
                      </a:lnTo>
                      <a:lnTo>
                        <a:pt x="121" y="127"/>
                      </a:lnTo>
                      <a:lnTo>
                        <a:pt x="122" y="127"/>
                      </a:lnTo>
                      <a:lnTo>
                        <a:pt x="122" y="127"/>
                      </a:lnTo>
                      <a:lnTo>
                        <a:pt x="121" y="127"/>
                      </a:lnTo>
                      <a:lnTo>
                        <a:pt x="121" y="126"/>
                      </a:lnTo>
                      <a:lnTo>
                        <a:pt x="121" y="125"/>
                      </a:lnTo>
                      <a:lnTo>
                        <a:pt x="121" y="125"/>
                      </a:lnTo>
                      <a:lnTo>
                        <a:pt x="120" y="125"/>
                      </a:lnTo>
                      <a:lnTo>
                        <a:pt x="120" y="125"/>
                      </a:lnTo>
                      <a:lnTo>
                        <a:pt x="120" y="125"/>
                      </a:lnTo>
                      <a:lnTo>
                        <a:pt x="120" y="125"/>
                      </a:lnTo>
                      <a:lnTo>
                        <a:pt x="119" y="125"/>
                      </a:lnTo>
                      <a:lnTo>
                        <a:pt x="119" y="124"/>
                      </a:lnTo>
                      <a:lnTo>
                        <a:pt x="119" y="123"/>
                      </a:lnTo>
                      <a:lnTo>
                        <a:pt x="119" y="122"/>
                      </a:lnTo>
                      <a:lnTo>
                        <a:pt x="119" y="122"/>
                      </a:lnTo>
                      <a:lnTo>
                        <a:pt x="120" y="122"/>
                      </a:lnTo>
                      <a:lnTo>
                        <a:pt x="120" y="121"/>
                      </a:lnTo>
                      <a:lnTo>
                        <a:pt x="120" y="121"/>
                      </a:lnTo>
                      <a:lnTo>
                        <a:pt x="120" y="120"/>
                      </a:lnTo>
                      <a:lnTo>
                        <a:pt x="119" y="120"/>
                      </a:lnTo>
                      <a:lnTo>
                        <a:pt x="119" y="120"/>
                      </a:lnTo>
                      <a:lnTo>
                        <a:pt x="119" y="119"/>
                      </a:lnTo>
                      <a:lnTo>
                        <a:pt x="120" y="119"/>
                      </a:lnTo>
                      <a:lnTo>
                        <a:pt x="120" y="118"/>
                      </a:lnTo>
                      <a:lnTo>
                        <a:pt x="119" y="118"/>
                      </a:lnTo>
                      <a:lnTo>
                        <a:pt x="119" y="118"/>
                      </a:lnTo>
                      <a:lnTo>
                        <a:pt x="119" y="117"/>
                      </a:lnTo>
                      <a:lnTo>
                        <a:pt x="118" y="117"/>
                      </a:lnTo>
                      <a:lnTo>
                        <a:pt x="118" y="116"/>
                      </a:lnTo>
                      <a:lnTo>
                        <a:pt x="118" y="116"/>
                      </a:lnTo>
                      <a:lnTo>
                        <a:pt x="118" y="116"/>
                      </a:lnTo>
                      <a:lnTo>
                        <a:pt x="117" y="116"/>
                      </a:lnTo>
                      <a:lnTo>
                        <a:pt x="116" y="115"/>
                      </a:lnTo>
                      <a:lnTo>
                        <a:pt x="116" y="114"/>
                      </a:lnTo>
                      <a:lnTo>
                        <a:pt x="117" y="114"/>
                      </a:lnTo>
                      <a:lnTo>
                        <a:pt x="117" y="114"/>
                      </a:lnTo>
                      <a:lnTo>
                        <a:pt x="116" y="114"/>
                      </a:lnTo>
                      <a:lnTo>
                        <a:pt x="116" y="113"/>
                      </a:lnTo>
                      <a:lnTo>
                        <a:pt x="115" y="113"/>
                      </a:lnTo>
                      <a:lnTo>
                        <a:pt x="115" y="112"/>
                      </a:lnTo>
                      <a:lnTo>
                        <a:pt x="114" y="112"/>
                      </a:lnTo>
                      <a:lnTo>
                        <a:pt x="114" y="112"/>
                      </a:lnTo>
                      <a:lnTo>
                        <a:pt x="113" y="112"/>
                      </a:lnTo>
                      <a:lnTo>
                        <a:pt x="112" y="112"/>
                      </a:lnTo>
                      <a:lnTo>
                        <a:pt x="112" y="112"/>
                      </a:lnTo>
                      <a:lnTo>
                        <a:pt x="112" y="111"/>
                      </a:lnTo>
                      <a:lnTo>
                        <a:pt x="111" y="111"/>
                      </a:lnTo>
                      <a:lnTo>
                        <a:pt x="111" y="111"/>
                      </a:lnTo>
                      <a:lnTo>
                        <a:pt x="111" y="110"/>
                      </a:lnTo>
                      <a:lnTo>
                        <a:pt x="110" y="111"/>
                      </a:lnTo>
                      <a:lnTo>
                        <a:pt x="110" y="110"/>
                      </a:lnTo>
                      <a:lnTo>
                        <a:pt x="110" y="110"/>
                      </a:lnTo>
                      <a:lnTo>
                        <a:pt x="109" y="110"/>
                      </a:lnTo>
                      <a:lnTo>
                        <a:pt x="109" y="109"/>
                      </a:lnTo>
                      <a:lnTo>
                        <a:pt x="110" y="109"/>
                      </a:lnTo>
                      <a:lnTo>
                        <a:pt x="109" y="109"/>
                      </a:lnTo>
                      <a:lnTo>
                        <a:pt x="109" y="110"/>
                      </a:lnTo>
                      <a:lnTo>
                        <a:pt x="108" y="110"/>
                      </a:lnTo>
                      <a:lnTo>
                        <a:pt x="107" y="110"/>
                      </a:lnTo>
                      <a:lnTo>
                        <a:pt x="107" y="109"/>
                      </a:lnTo>
                      <a:lnTo>
                        <a:pt x="107" y="109"/>
                      </a:lnTo>
                      <a:lnTo>
                        <a:pt x="107" y="110"/>
                      </a:lnTo>
                      <a:lnTo>
                        <a:pt x="107" y="110"/>
                      </a:lnTo>
                      <a:lnTo>
                        <a:pt x="107" y="109"/>
                      </a:lnTo>
                      <a:lnTo>
                        <a:pt x="106" y="109"/>
                      </a:lnTo>
                      <a:lnTo>
                        <a:pt x="105" y="109"/>
                      </a:lnTo>
                      <a:lnTo>
                        <a:pt x="105" y="109"/>
                      </a:lnTo>
                      <a:lnTo>
                        <a:pt x="105" y="108"/>
                      </a:lnTo>
                      <a:lnTo>
                        <a:pt x="105" y="108"/>
                      </a:lnTo>
                      <a:lnTo>
                        <a:pt x="104" y="108"/>
                      </a:lnTo>
                      <a:lnTo>
                        <a:pt x="103" y="108"/>
                      </a:lnTo>
                      <a:lnTo>
                        <a:pt x="103" y="107"/>
                      </a:lnTo>
                      <a:lnTo>
                        <a:pt x="104" y="107"/>
                      </a:lnTo>
                      <a:lnTo>
                        <a:pt x="104" y="106"/>
                      </a:lnTo>
                      <a:lnTo>
                        <a:pt x="104" y="106"/>
                      </a:lnTo>
                      <a:lnTo>
                        <a:pt x="103" y="106"/>
                      </a:lnTo>
                      <a:lnTo>
                        <a:pt x="103" y="106"/>
                      </a:lnTo>
                      <a:lnTo>
                        <a:pt x="102" y="106"/>
                      </a:lnTo>
                      <a:lnTo>
                        <a:pt x="102" y="105"/>
                      </a:lnTo>
                      <a:lnTo>
                        <a:pt x="102" y="104"/>
                      </a:lnTo>
                      <a:lnTo>
                        <a:pt x="102" y="104"/>
                      </a:lnTo>
                      <a:lnTo>
                        <a:pt x="102" y="103"/>
                      </a:lnTo>
                      <a:lnTo>
                        <a:pt x="101" y="103"/>
                      </a:lnTo>
                      <a:lnTo>
                        <a:pt x="101" y="103"/>
                      </a:lnTo>
                      <a:lnTo>
                        <a:pt x="100" y="103"/>
                      </a:lnTo>
                      <a:lnTo>
                        <a:pt x="99" y="103"/>
                      </a:lnTo>
                      <a:lnTo>
                        <a:pt x="99" y="102"/>
                      </a:lnTo>
                      <a:lnTo>
                        <a:pt x="99" y="102"/>
                      </a:lnTo>
                      <a:lnTo>
                        <a:pt x="98" y="101"/>
                      </a:lnTo>
                      <a:lnTo>
                        <a:pt x="98" y="101"/>
                      </a:lnTo>
                      <a:lnTo>
                        <a:pt x="97" y="101"/>
                      </a:lnTo>
                      <a:lnTo>
                        <a:pt x="97" y="100"/>
                      </a:lnTo>
                      <a:lnTo>
                        <a:pt x="97" y="99"/>
                      </a:lnTo>
                      <a:lnTo>
                        <a:pt x="97" y="99"/>
                      </a:lnTo>
                      <a:lnTo>
                        <a:pt x="97" y="98"/>
                      </a:lnTo>
                      <a:lnTo>
                        <a:pt x="96" y="97"/>
                      </a:lnTo>
                      <a:lnTo>
                        <a:pt x="95" y="97"/>
                      </a:lnTo>
                      <a:lnTo>
                        <a:pt x="95" y="97"/>
                      </a:lnTo>
                      <a:lnTo>
                        <a:pt x="94" y="97"/>
                      </a:lnTo>
                      <a:lnTo>
                        <a:pt x="94" y="96"/>
                      </a:lnTo>
                      <a:lnTo>
                        <a:pt x="93" y="95"/>
                      </a:lnTo>
                      <a:lnTo>
                        <a:pt x="94" y="95"/>
                      </a:lnTo>
                      <a:lnTo>
                        <a:pt x="94" y="94"/>
                      </a:lnTo>
                      <a:lnTo>
                        <a:pt x="95" y="93"/>
                      </a:lnTo>
                      <a:lnTo>
                        <a:pt x="95" y="93"/>
                      </a:lnTo>
                      <a:lnTo>
                        <a:pt x="95" y="93"/>
                      </a:lnTo>
                      <a:lnTo>
                        <a:pt x="95" y="92"/>
                      </a:lnTo>
                      <a:lnTo>
                        <a:pt x="95" y="91"/>
                      </a:lnTo>
                      <a:lnTo>
                        <a:pt x="95" y="91"/>
                      </a:lnTo>
                      <a:lnTo>
                        <a:pt x="95" y="90"/>
                      </a:lnTo>
                      <a:lnTo>
                        <a:pt x="96" y="89"/>
                      </a:lnTo>
                      <a:lnTo>
                        <a:pt x="97" y="89"/>
                      </a:lnTo>
                      <a:lnTo>
                        <a:pt x="97" y="89"/>
                      </a:lnTo>
                      <a:lnTo>
                        <a:pt x="97" y="89"/>
                      </a:lnTo>
                      <a:lnTo>
                        <a:pt x="97" y="88"/>
                      </a:lnTo>
                      <a:lnTo>
                        <a:pt x="97" y="88"/>
                      </a:lnTo>
                      <a:lnTo>
                        <a:pt x="96" y="88"/>
                      </a:lnTo>
                      <a:lnTo>
                        <a:pt x="95" y="88"/>
                      </a:lnTo>
                      <a:lnTo>
                        <a:pt x="95" y="87"/>
                      </a:lnTo>
                      <a:lnTo>
                        <a:pt x="94" y="87"/>
                      </a:lnTo>
                      <a:lnTo>
                        <a:pt x="94" y="86"/>
                      </a:lnTo>
                      <a:lnTo>
                        <a:pt x="93" y="85"/>
                      </a:lnTo>
                      <a:lnTo>
                        <a:pt x="93" y="84"/>
                      </a:lnTo>
                      <a:lnTo>
                        <a:pt x="92" y="84"/>
                      </a:lnTo>
                      <a:lnTo>
                        <a:pt x="92" y="83"/>
                      </a:lnTo>
                      <a:lnTo>
                        <a:pt x="92" y="82"/>
                      </a:lnTo>
                      <a:lnTo>
                        <a:pt x="92" y="82"/>
                      </a:lnTo>
                      <a:lnTo>
                        <a:pt x="92" y="81"/>
                      </a:lnTo>
                      <a:lnTo>
                        <a:pt x="92" y="80"/>
                      </a:lnTo>
                      <a:lnTo>
                        <a:pt x="92" y="80"/>
                      </a:lnTo>
                      <a:lnTo>
                        <a:pt x="92" y="79"/>
                      </a:lnTo>
                      <a:lnTo>
                        <a:pt x="91" y="78"/>
                      </a:lnTo>
                      <a:lnTo>
                        <a:pt x="91" y="78"/>
                      </a:lnTo>
                      <a:lnTo>
                        <a:pt x="91" y="77"/>
                      </a:lnTo>
                      <a:lnTo>
                        <a:pt x="92" y="77"/>
                      </a:lnTo>
                      <a:lnTo>
                        <a:pt x="91" y="76"/>
                      </a:lnTo>
                      <a:lnTo>
                        <a:pt x="92" y="76"/>
                      </a:lnTo>
                      <a:lnTo>
                        <a:pt x="92" y="76"/>
                      </a:lnTo>
                      <a:lnTo>
                        <a:pt x="92" y="75"/>
                      </a:lnTo>
                      <a:lnTo>
                        <a:pt x="92" y="74"/>
                      </a:lnTo>
                      <a:lnTo>
                        <a:pt x="92" y="74"/>
                      </a:lnTo>
                      <a:lnTo>
                        <a:pt x="92" y="74"/>
                      </a:lnTo>
                      <a:lnTo>
                        <a:pt x="92" y="73"/>
                      </a:lnTo>
                      <a:lnTo>
                        <a:pt x="93" y="72"/>
                      </a:lnTo>
                      <a:lnTo>
                        <a:pt x="93" y="72"/>
                      </a:lnTo>
                      <a:lnTo>
                        <a:pt x="93" y="71"/>
                      </a:lnTo>
                      <a:lnTo>
                        <a:pt x="93" y="70"/>
                      </a:lnTo>
                      <a:lnTo>
                        <a:pt x="92" y="70"/>
                      </a:lnTo>
                      <a:lnTo>
                        <a:pt x="92" y="69"/>
                      </a:lnTo>
                      <a:lnTo>
                        <a:pt x="92" y="68"/>
                      </a:lnTo>
                      <a:lnTo>
                        <a:pt x="90" y="65"/>
                      </a:lnTo>
                      <a:lnTo>
                        <a:pt x="88" y="61"/>
                      </a:lnTo>
                      <a:lnTo>
                        <a:pt x="89" y="56"/>
                      </a:lnTo>
                      <a:lnTo>
                        <a:pt x="90" y="53"/>
                      </a:lnTo>
                      <a:lnTo>
                        <a:pt x="93" y="43"/>
                      </a:lnTo>
                      <a:lnTo>
                        <a:pt x="92" y="40"/>
                      </a:lnTo>
                      <a:lnTo>
                        <a:pt x="93" y="38"/>
                      </a:lnTo>
                      <a:lnTo>
                        <a:pt x="92" y="38"/>
                      </a:lnTo>
                      <a:lnTo>
                        <a:pt x="92" y="38"/>
                      </a:lnTo>
                      <a:lnTo>
                        <a:pt x="92" y="38"/>
                      </a:lnTo>
                      <a:lnTo>
                        <a:pt x="91" y="37"/>
                      </a:lnTo>
                      <a:lnTo>
                        <a:pt x="90" y="37"/>
                      </a:lnTo>
                      <a:lnTo>
                        <a:pt x="90" y="37"/>
                      </a:lnTo>
                      <a:lnTo>
                        <a:pt x="90" y="36"/>
                      </a:lnTo>
                      <a:lnTo>
                        <a:pt x="89" y="36"/>
                      </a:lnTo>
                      <a:lnTo>
                        <a:pt x="89" y="36"/>
                      </a:lnTo>
                      <a:lnTo>
                        <a:pt x="88" y="36"/>
                      </a:lnTo>
                      <a:lnTo>
                        <a:pt x="88" y="35"/>
                      </a:lnTo>
                      <a:lnTo>
                        <a:pt x="88" y="34"/>
                      </a:lnTo>
                      <a:lnTo>
                        <a:pt x="87" y="34"/>
                      </a:lnTo>
                      <a:lnTo>
                        <a:pt x="86" y="34"/>
                      </a:lnTo>
                      <a:lnTo>
                        <a:pt x="86" y="34"/>
                      </a:lnTo>
                      <a:lnTo>
                        <a:pt x="86" y="34"/>
                      </a:lnTo>
                      <a:lnTo>
                        <a:pt x="86" y="33"/>
                      </a:lnTo>
                      <a:lnTo>
                        <a:pt x="85" y="34"/>
                      </a:lnTo>
                      <a:lnTo>
                        <a:pt x="85" y="33"/>
                      </a:lnTo>
                      <a:lnTo>
                        <a:pt x="84" y="33"/>
                      </a:lnTo>
                      <a:lnTo>
                        <a:pt x="84" y="32"/>
                      </a:lnTo>
                      <a:lnTo>
                        <a:pt x="84" y="32"/>
                      </a:lnTo>
                      <a:lnTo>
                        <a:pt x="84" y="33"/>
                      </a:lnTo>
                      <a:lnTo>
                        <a:pt x="84" y="32"/>
                      </a:lnTo>
                      <a:lnTo>
                        <a:pt x="83" y="33"/>
                      </a:lnTo>
                      <a:lnTo>
                        <a:pt x="82" y="33"/>
                      </a:lnTo>
                      <a:lnTo>
                        <a:pt x="82" y="32"/>
                      </a:lnTo>
                      <a:lnTo>
                        <a:pt x="82" y="33"/>
                      </a:lnTo>
                      <a:lnTo>
                        <a:pt x="81" y="33"/>
                      </a:lnTo>
                      <a:lnTo>
                        <a:pt x="81" y="32"/>
                      </a:lnTo>
                      <a:lnTo>
                        <a:pt x="80" y="33"/>
                      </a:lnTo>
                      <a:lnTo>
                        <a:pt x="80" y="32"/>
                      </a:lnTo>
                      <a:lnTo>
                        <a:pt x="80" y="33"/>
                      </a:lnTo>
                      <a:lnTo>
                        <a:pt x="80" y="33"/>
                      </a:lnTo>
                      <a:lnTo>
                        <a:pt x="80" y="32"/>
                      </a:lnTo>
                      <a:lnTo>
                        <a:pt x="79" y="32"/>
                      </a:lnTo>
                      <a:lnTo>
                        <a:pt x="79" y="32"/>
                      </a:lnTo>
                      <a:lnTo>
                        <a:pt x="79" y="31"/>
                      </a:lnTo>
                      <a:lnTo>
                        <a:pt x="78" y="31"/>
                      </a:lnTo>
                      <a:lnTo>
                        <a:pt x="78" y="30"/>
                      </a:lnTo>
                      <a:lnTo>
                        <a:pt x="78" y="30"/>
                      </a:lnTo>
                      <a:lnTo>
                        <a:pt x="78" y="30"/>
                      </a:lnTo>
                      <a:lnTo>
                        <a:pt x="78" y="30"/>
                      </a:lnTo>
                      <a:lnTo>
                        <a:pt x="78" y="30"/>
                      </a:lnTo>
                      <a:lnTo>
                        <a:pt x="78" y="30"/>
                      </a:lnTo>
                      <a:lnTo>
                        <a:pt x="78" y="29"/>
                      </a:lnTo>
                      <a:lnTo>
                        <a:pt x="78" y="28"/>
                      </a:lnTo>
                      <a:lnTo>
                        <a:pt x="78" y="28"/>
                      </a:lnTo>
                      <a:lnTo>
                        <a:pt x="77" y="28"/>
                      </a:lnTo>
                      <a:lnTo>
                        <a:pt x="77" y="27"/>
                      </a:lnTo>
                      <a:lnTo>
                        <a:pt x="76" y="26"/>
                      </a:lnTo>
                      <a:lnTo>
                        <a:pt x="76" y="27"/>
                      </a:lnTo>
                      <a:lnTo>
                        <a:pt x="76" y="28"/>
                      </a:lnTo>
                      <a:lnTo>
                        <a:pt x="75" y="28"/>
                      </a:lnTo>
                      <a:lnTo>
                        <a:pt x="75" y="27"/>
                      </a:lnTo>
                      <a:lnTo>
                        <a:pt x="75" y="26"/>
                      </a:lnTo>
                      <a:lnTo>
                        <a:pt x="75" y="26"/>
                      </a:lnTo>
                      <a:lnTo>
                        <a:pt x="74" y="26"/>
                      </a:lnTo>
                      <a:lnTo>
                        <a:pt x="74" y="26"/>
                      </a:lnTo>
                      <a:lnTo>
                        <a:pt x="73" y="26"/>
                      </a:lnTo>
                      <a:lnTo>
                        <a:pt x="73" y="25"/>
                      </a:lnTo>
                      <a:lnTo>
                        <a:pt x="73" y="25"/>
                      </a:lnTo>
                      <a:lnTo>
                        <a:pt x="73" y="24"/>
                      </a:lnTo>
                      <a:lnTo>
                        <a:pt x="73" y="23"/>
                      </a:lnTo>
                      <a:lnTo>
                        <a:pt x="72" y="23"/>
                      </a:lnTo>
                      <a:lnTo>
                        <a:pt x="71" y="23"/>
                      </a:lnTo>
                      <a:lnTo>
                        <a:pt x="71" y="23"/>
                      </a:lnTo>
                      <a:lnTo>
                        <a:pt x="72" y="23"/>
                      </a:lnTo>
                      <a:lnTo>
                        <a:pt x="72" y="22"/>
                      </a:lnTo>
                      <a:lnTo>
                        <a:pt x="72" y="21"/>
                      </a:lnTo>
                      <a:lnTo>
                        <a:pt x="71" y="21"/>
                      </a:lnTo>
                      <a:lnTo>
                        <a:pt x="71" y="21"/>
                      </a:lnTo>
                      <a:lnTo>
                        <a:pt x="71" y="20"/>
                      </a:lnTo>
                      <a:lnTo>
                        <a:pt x="70" y="20"/>
                      </a:lnTo>
                      <a:lnTo>
                        <a:pt x="69" y="20"/>
                      </a:lnTo>
                      <a:lnTo>
                        <a:pt x="69" y="19"/>
                      </a:lnTo>
                      <a:lnTo>
                        <a:pt x="69" y="19"/>
                      </a:lnTo>
                      <a:lnTo>
                        <a:pt x="69" y="18"/>
                      </a:lnTo>
                      <a:lnTo>
                        <a:pt x="69" y="17"/>
                      </a:lnTo>
                      <a:lnTo>
                        <a:pt x="69" y="17"/>
                      </a:lnTo>
                      <a:lnTo>
                        <a:pt x="69" y="16"/>
                      </a:lnTo>
                      <a:lnTo>
                        <a:pt x="69" y="15"/>
                      </a:lnTo>
                      <a:lnTo>
                        <a:pt x="69" y="16"/>
                      </a:lnTo>
                      <a:lnTo>
                        <a:pt x="69" y="16"/>
                      </a:lnTo>
                      <a:lnTo>
                        <a:pt x="69" y="15"/>
                      </a:lnTo>
                      <a:lnTo>
                        <a:pt x="69" y="15"/>
                      </a:lnTo>
                      <a:lnTo>
                        <a:pt x="70" y="14"/>
                      </a:lnTo>
                      <a:lnTo>
                        <a:pt x="69" y="14"/>
                      </a:lnTo>
                      <a:lnTo>
                        <a:pt x="69" y="13"/>
                      </a:lnTo>
                      <a:lnTo>
                        <a:pt x="69" y="13"/>
                      </a:lnTo>
                      <a:lnTo>
                        <a:pt x="69" y="12"/>
                      </a:lnTo>
                      <a:lnTo>
                        <a:pt x="69" y="11"/>
                      </a:lnTo>
                      <a:lnTo>
                        <a:pt x="70" y="11"/>
                      </a:lnTo>
                      <a:lnTo>
                        <a:pt x="71" y="11"/>
                      </a:lnTo>
                      <a:lnTo>
                        <a:pt x="71" y="11"/>
                      </a:lnTo>
                      <a:lnTo>
                        <a:pt x="72" y="11"/>
                      </a:lnTo>
                      <a:lnTo>
                        <a:pt x="72" y="10"/>
                      </a:lnTo>
                      <a:lnTo>
                        <a:pt x="73" y="9"/>
                      </a:lnTo>
                      <a:lnTo>
                        <a:pt x="73" y="9"/>
                      </a:lnTo>
                      <a:lnTo>
                        <a:pt x="73" y="9"/>
                      </a:lnTo>
                      <a:lnTo>
                        <a:pt x="74" y="9"/>
                      </a:lnTo>
                      <a:lnTo>
                        <a:pt x="74" y="8"/>
                      </a:lnTo>
                      <a:lnTo>
                        <a:pt x="74" y="7"/>
                      </a:lnTo>
                      <a:lnTo>
                        <a:pt x="75" y="7"/>
                      </a:lnTo>
                      <a:lnTo>
                        <a:pt x="75" y="8"/>
                      </a:lnTo>
                      <a:lnTo>
                        <a:pt x="75" y="7"/>
                      </a:lnTo>
                      <a:lnTo>
                        <a:pt x="76" y="7"/>
                      </a:lnTo>
                      <a:lnTo>
                        <a:pt x="76" y="7"/>
                      </a:lnTo>
                      <a:lnTo>
                        <a:pt x="77" y="7"/>
                      </a:lnTo>
                      <a:lnTo>
                        <a:pt x="78" y="7"/>
                      </a:lnTo>
                      <a:lnTo>
                        <a:pt x="78" y="7"/>
                      </a:lnTo>
                      <a:lnTo>
                        <a:pt x="77" y="8"/>
                      </a:lnTo>
                      <a:lnTo>
                        <a:pt x="76" y="8"/>
                      </a:lnTo>
                      <a:lnTo>
                        <a:pt x="76" y="9"/>
                      </a:lnTo>
                      <a:lnTo>
                        <a:pt x="76" y="9"/>
                      </a:lnTo>
                      <a:lnTo>
                        <a:pt x="77" y="9"/>
                      </a:lnTo>
                      <a:lnTo>
                        <a:pt x="77" y="10"/>
                      </a:lnTo>
                      <a:lnTo>
                        <a:pt x="77" y="11"/>
                      </a:lnTo>
                      <a:lnTo>
                        <a:pt x="78" y="11"/>
                      </a:lnTo>
                      <a:lnTo>
                        <a:pt x="78" y="11"/>
                      </a:lnTo>
                      <a:lnTo>
                        <a:pt x="78" y="10"/>
                      </a:lnTo>
                      <a:lnTo>
                        <a:pt x="79" y="10"/>
                      </a:lnTo>
                      <a:lnTo>
                        <a:pt x="79" y="9"/>
                      </a:lnTo>
                      <a:lnTo>
                        <a:pt x="80" y="9"/>
                      </a:lnTo>
                      <a:lnTo>
                        <a:pt x="80" y="10"/>
                      </a:lnTo>
                      <a:lnTo>
                        <a:pt x="80" y="11"/>
                      </a:lnTo>
                      <a:lnTo>
                        <a:pt x="80" y="11"/>
                      </a:lnTo>
                      <a:lnTo>
                        <a:pt x="80" y="11"/>
                      </a:lnTo>
                      <a:lnTo>
                        <a:pt x="81" y="11"/>
                      </a:lnTo>
                      <a:lnTo>
                        <a:pt x="81" y="11"/>
                      </a:lnTo>
                      <a:lnTo>
                        <a:pt x="82" y="11"/>
                      </a:lnTo>
                      <a:lnTo>
                        <a:pt x="82" y="10"/>
                      </a:lnTo>
                      <a:lnTo>
                        <a:pt x="82" y="11"/>
                      </a:lnTo>
                      <a:lnTo>
                        <a:pt x="83" y="11"/>
                      </a:lnTo>
                      <a:lnTo>
                        <a:pt x="83" y="10"/>
                      </a:lnTo>
                      <a:lnTo>
                        <a:pt x="84" y="10"/>
                      </a:lnTo>
                      <a:lnTo>
                        <a:pt x="84" y="10"/>
                      </a:lnTo>
                      <a:lnTo>
                        <a:pt x="84" y="9"/>
                      </a:lnTo>
                      <a:lnTo>
                        <a:pt x="84" y="10"/>
                      </a:lnTo>
                      <a:lnTo>
                        <a:pt x="85" y="10"/>
                      </a:lnTo>
                      <a:lnTo>
                        <a:pt x="86" y="10"/>
                      </a:lnTo>
                      <a:lnTo>
                        <a:pt x="86" y="10"/>
                      </a:lnTo>
                      <a:lnTo>
                        <a:pt x="87" y="10"/>
                      </a:lnTo>
                      <a:lnTo>
                        <a:pt x="88" y="9"/>
                      </a:lnTo>
                      <a:lnTo>
                        <a:pt x="88" y="9"/>
                      </a:lnTo>
                      <a:lnTo>
                        <a:pt x="87" y="9"/>
                      </a:lnTo>
                      <a:lnTo>
                        <a:pt x="87" y="8"/>
                      </a:lnTo>
                      <a:lnTo>
                        <a:pt x="87" y="7"/>
                      </a:lnTo>
                      <a:lnTo>
                        <a:pt x="86" y="7"/>
                      </a:lnTo>
                      <a:lnTo>
                        <a:pt x="87" y="7"/>
                      </a:lnTo>
                      <a:lnTo>
                        <a:pt x="87" y="6"/>
                      </a:lnTo>
                      <a:lnTo>
                        <a:pt x="88" y="6"/>
                      </a:lnTo>
                      <a:lnTo>
                        <a:pt x="88" y="5"/>
                      </a:lnTo>
                      <a:lnTo>
                        <a:pt x="88" y="5"/>
                      </a:lnTo>
                      <a:lnTo>
                        <a:pt x="88" y="5"/>
                      </a:lnTo>
                      <a:lnTo>
                        <a:pt x="88" y="4"/>
                      </a:lnTo>
                      <a:lnTo>
                        <a:pt x="87" y="4"/>
                      </a:lnTo>
                      <a:lnTo>
                        <a:pt x="86" y="4"/>
                      </a:lnTo>
                      <a:lnTo>
                        <a:pt x="86" y="4"/>
                      </a:lnTo>
                      <a:lnTo>
                        <a:pt x="86" y="4"/>
                      </a:lnTo>
                      <a:lnTo>
                        <a:pt x="85" y="4"/>
                      </a:lnTo>
                      <a:lnTo>
                        <a:pt x="85" y="3"/>
                      </a:lnTo>
                      <a:lnTo>
                        <a:pt x="84" y="2"/>
                      </a:lnTo>
                      <a:lnTo>
                        <a:pt x="84" y="2"/>
                      </a:lnTo>
                      <a:lnTo>
                        <a:pt x="85" y="2"/>
                      </a:lnTo>
                      <a:lnTo>
                        <a:pt x="86" y="2"/>
                      </a:lnTo>
                      <a:lnTo>
                        <a:pt x="86" y="2"/>
                      </a:lnTo>
                      <a:lnTo>
                        <a:pt x="86" y="1"/>
                      </a:lnTo>
                      <a:lnTo>
                        <a:pt x="86" y="0"/>
                      </a:lnTo>
                      <a:lnTo>
                        <a:pt x="86" y="0"/>
                      </a:lnTo>
                      <a:lnTo>
                        <a:pt x="87"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4" name="Freeform 54">
                  <a:extLst>
                    <a:ext uri="{FF2B5EF4-FFF2-40B4-BE49-F238E27FC236}">
                      <a16:creationId xmlns:a16="http://schemas.microsoft.com/office/drawing/2014/main" xmlns="" id="{586755EC-CCE3-F7BB-FF73-8803D50AFC87}"/>
                    </a:ext>
                  </a:extLst>
                </p:cNvPr>
                <p:cNvSpPr>
                  <a:spLocks/>
                </p:cNvSpPr>
                <p:nvPr/>
              </p:nvSpPr>
              <p:spPr bwMode="auto">
                <a:xfrm>
                  <a:off x="2112" y="1514"/>
                  <a:ext cx="68" cy="270"/>
                </a:xfrm>
                <a:custGeom>
                  <a:avLst/>
                  <a:gdLst>
                    <a:gd name="T0" fmla="*/ 5 w 68"/>
                    <a:gd name="T1" fmla="*/ 267 h 270"/>
                    <a:gd name="T2" fmla="*/ 11 w 68"/>
                    <a:gd name="T3" fmla="*/ 265 h 270"/>
                    <a:gd name="T4" fmla="*/ 12 w 68"/>
                    <a:gd name="T5" fmla="*/ 257 h 270"/>
                    <a:gd name="T6" fmla="*/ 12 w 68"/>
                    <a:gd name="T7" fmla="*/ 249 h 270"/>
                    <a:gd name="T8" fmla="*/ 14 w 68"/>
                    <a:gd name="T9" fmla="*/ 244 h 270"/>
                    <a:gd name="T10" fmla="*/ 17 w 68"/>
                    <a:gd name="T11" fmla="*/ 243 h 270"/>
                    <a:gd name="T12" fmla="*/ 20 w 68"/>
                    <a:gd name="T13" fmla="*/ 239 h 270"/>
                    <a:gd name="T14" fmla="*/ 20 w 68"/>
                    <a:gd name="T15" fmla="*/ 235 h 270"/>
                    <a:gd name="T16" fmla="*/ 22 w 68"/>
                    <a:gd name="T17" fmla="*/ 231 h 270"/>
                    <a:gd name="T18" fmla="*/ 24 w 68"/>
                    <a:gd name="T19" fmla="*/ 227 h 270"/>
                    <a:gd name="T20" fmla="*/ 22 w 68"/>
                    <a:gd name="T21" fmla="*/ 222 h 270"/>
                    <a:gd name="T22" fmla="*/ 26 w 68"/>
                    <a:gd name="T23" fmla="*/ 219 h 270"/>
                    <a:gd name="T24" fmla="*/ 25 w 68"/>
                    <a:gd name="T25" fmla="*/ 212 h 270"/>
                    <a:gd name="T26" fmla="*/ 27 w 68"/>
                    <a:gd name="T27" fmla="*/ 211 h 270"/>
                    <a:gd name="T28" fmla="*/ 26 w 68"/>
                    <a:gd name="T29" fmla="*/ 206 h 270"/>
                    <a:gd name="T30" fmla="*/ 29 w 68"/>
                    <a:gd name="T31" fmla="*/ 203 h 270"/>
                    <a:gd name="T32" fmla="*/ 30 w 68"/>
                    <a:gd name="T33" fmla="*/ 198 h 270"/>
                    <a:gd name="T34" fmla="*/ 29 w 68"/>
                    <a:gd name="T35" fmla="*/ 194 h 270"/>
                    <a:gd name="T36" fmla="*/ 29 w 68"/>
                    <a:gd name="T37" fmla="*/ 191 h 270"/>
                    <a:gd name="T38" fmla="*/ 33 w 68"/>
                    <a:gd name="T39" fmla="*/ 186 h 270"/>
                    <a:gd name="T40" fmla="*/ 33 w 68"/>
                    <a:gd name="T41" fmla="*/ 182 h 270"/>
                    <a:gd name="T42" fmla="*/ 33 w 68"/>
                    <a:gd name="T43" fmla="*/ 176 h 270"/>
                    <a:gd name="T44" fmla="*/ 35 w 68"/>
                    <a:gd name="T45" fmla="*/ 173 h 270"/>
                    <a:gd name="T46" fmla="*/ 35 w 68"/>
                    <a:gd name="T47" fmla="*/ 169 h 270"/>
                    <a:gd name="T48" fmla="*/ 33 w 68"/>
                    <a:gd name="T49" fmla="*/ 164 h 270"/>
                    <a:gd name="T50" fmla="*/ 35 w 68"/>
                    <a:gd name="T51" fmla="*/ 160 h 270"/>
                    <a:gd name="T52" fmla="*/ 29 w 68"/>
                    <a:gd name="T53" fmla="*/ 153 h 270"/>
                    <a:gd name="T54" fmla="*/ 32 w 68"/>
                    <a:gd name="T55" fmla="*/ 150 h 270"/>
                    <a:gd name="T56" fmla="*/ 33 w 68"/>
                    <a:gd name="T57" fmla="*/ 145 h 270"/>
                    <a:gd name="T58" fmla="*/ 29 w 68"/>
                    <a:gd name="T59" fmla="*/ 140 h 270"/>
                    <a:gd name="T60" fmla="*/ 30 w 68"/>
                    <a:gd name="T61" fmla="*/ 136 h 270"/>
                    <a:gd name="T62" fmla="*/ 32 w 68"/>
                    <a:gd name="T63" fmla="*/ 130 h 270"/>
                    <a:gd name="T64" fmla="*/ 33 w 68"/>
                    <a:gd name="T65" fmla="*/ 120 h 270"/>
                    <a:gd name="T66" fmla="*/ 33 w 68"/>
                    <a:gd name="T67" fmla="*/ 116 h 270"/>
                    <a:gd name="T68" fmla="*/ 29 w 68"/>
                    <a:gd name="T69" fmla="*/ 113 h 270"/>
                    <a:gd name="T70" fmla="*/ 32 w 68"/>
                    <a:gd name="T71" fmla="*/ 108 h 270"/>
                    <a:gd name="T72" fmla="*/ 29 w 68"/>
                    <a:gd name="T73" fmla="*/ 106 h 270"/>
                    <a:gd name="T74" fmla="*/ 27 w 68"/>
                    <a:gd name="T75" fmla="*/ 101 h 270"/>
                    <a:gd name="T76" fmla="*/ 28 w 68"/>
                    <a:gd name="T77" fmla="*/ 97 h 270"/>
                    <a:gd name="T78" fmla="*/ 27 w 68"/>
                    <a:gd name="T79" fmla="*/ 94 h 270"/>
                    <a:gd name="T80" fmla="*/ 29 w 68"/>
                    <a:gd name="T81" fmla="*/ 91 h 270"/>
                    <a:gd name="T82" fmla="*/ 29 w 68"/>
                    <a:gd name="T83" fmla="*/ 87 h 270"/>
                    <a:gd name="T84" fmla="*/ 27 w 68"/>
                    <a:gd name="T85" fmla="*/ 81 h 270"/>
                    <a:gd name="T86" fmla="*/ 29 w 68"/>
                    <a:gd name="T87" fmla="*/ 75 h 270"/>
                    <a:gd name="T88" fmla="*/ 29 w 68"/>
                    <a:gd name="T89" fmla="*/ 69 h 270"/>
                    <a:gd name="T90" fmla="*/ 35 w 68"/>
                    <a:gd name="T91" fmla="*/ 67 h 270"/>
                    <a:gd name="T92" fmla="*/ 37 w 68"/>
                    <a:gd name="T93" fmla="*/ 63 h 270"/>
                    <a:gd name="T94" fmla="*/ 38 w 68"/>
                    <a:gd name="T95" fmla="*/ 59 h 270"/>
                    <a:gd name="T96" fmla="*/ 39 w 68"/>
                    <a:gd name="T97" fmla="*/ 54 h 270"/>
                    <a:gd name="T98" fmla="*/ 43 w 68"/>
                    <a:gd name="T99" fmla="*/ 52 h 270"/>
                    <a:gd name="T100" fmla="*/ 43 w 68"/>
                    <a:gd name="T101" fmla="*/ 46 h 270"/>
                    <a:gd name="T102" fmla="*/ 45 w 68"/>
                    <a:gd name="T103" fmla="*/ 40 h 270"/>
                    <a:gd name="T104" fmla="*/ 50 w 68"/>
                    <a:gd name="T105" fmla="*/ 33 h 270"/>
                    <a:gd name="T106" fmla="*/ 56 w 68"/>
                    <a:gd name="T107" fmla="*/ 33 h 270"/>
                    <a:gd name="T108" fmla="*/ 64 w 68"/>
                    <a:gd name="T109" fmla="*/ 28 h 270"/>
                    <a:gd name="T110" fmla="*/ 62 w 68"/>
                    <a:gd name="T111" fmla="*/ 25 h 270"/>
                    <a:gd name="T112" fmla="*/ 63 w 68"/>
                    <a:gd name="T113" fmla="*/ 22 h 270"/>
                    <a:gd name="T114" fmla="*/ 66 w 68"/>
                    <a:gd name="T115" fmla="*/ 16 h 270"/>
                    <a:gd name="T116" fmla="*/ 62 w 68"/>
                    <a:gd name="T117" fmla="*/ 12 h 270"/>
                    <a:gd name="T118" fmla="*/ 62 w 68"/>
                    <a:gd name="T119" fmla="*/ 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 h="270">
                      <a:moveTo>
                        <a:pt x="0" y="269"/>
                      </a:moveTo>
                      <a:lnTo>
                        <a:pt x="0" y="270"/>
                      </a:lnTo>
                      <a:lnTo>
                        <a:pt x="1" y="270"/>
                      </a:lnTo>
                      <a:lnTo>
                        <a:pt x="1" y="269"/>
                      </a:lnTo>
                      <a:lnTo>
                        <a:pt x="1" y="269"/>
                      </a:lnTo>
                      <a:lnTo>
                        <a:pt x="1" y="268"/>
                      </a:lnTo>
                      <a:lnTo>
                        <a:pt x="2" y="268"/>
                      </a:lnTo>
                      <a:lnTo>
                        <a:pt x="2" y="267"/>
                      </a:lnTo>
                      <a:lnTo>
                        <a:pt x="3" y="267"/>
                      </a:lnTo>
                      <a:lnTo>
                        <a:pt x="3" y="268"/>
                      </a:lnTo>
                      <a:lnTo>
                        <a:pt x="3" y="268"/>
                      </a:lnTo>
                      <a:lnTo>
                        <a:pt x="3" y="267"/>
                      </a:lnTo>
                      <a:lnTo>
                        <a:pt x="4" y="267"/>
                      </a:lnTo>
                      <a:lnTo>
                        <a:pt x="5" y="267"/>
                      </a:lnTo>
                      <a:lnTo>
                        <a:pt x="5" y="268"/>
                      </a:lnTo>
                      <a:lnTo>
                        <a:pt x="5" y="267"/>
                      </a:lnTo>
                      <a:lnTo>
                        <a:pt x="5" y="267"/>
                      </a:lnTo>
                      <a:lnTo>
                        <a:pt x="5" y="266"/>
                      </a:lnTo>
                      <a:lnTo>
                        <a:pt x="5" y="266"/>
                      </a:lnTo>
                      <a:lnTo>
                        <a:pt x="5" y="265"/>
                      </a:lnTo>
                      <a:lnTo>
                        <a:pt x="5" y="265"/>
                      </a:lnTo>
                      <a:lnTo>
                        <a:pt x="5" y="265"/>
                      </a:lnTo>
                      <a:lnTo>
                        <a:pt x="6" y="265"/>
                      </a:lnTo>
                      <a:lnTo>
                        <a:pt x="7" y="265"/>
                      </a:lnTo>
                      <a:lnTo>
                        <a:pt x="7" y="266"/>
                      </a:lnTo>
                      <a:lnTo>
                        <a:pt x="8" y="266"/>
                      </a:lnTo>
                      <a:lnTo>
                        <a:pt x="8" y="265"/>
                      </a:lnTo>
                      <a:lnTo>
                        <a:pt x="9" y="265"/>
                      </a:lnTo>
                      <a:lnTo>
                        <a:pt x="10" y="265"/>
                      </a:lnTo>
                      <a:lnTo>
                        <a:pt x="10" y="266"/>
                      </a:lnTo>
                      <a:lnTo>
                        <a:pt x="10" y="266"/>
                      </a:lnTo>
                      <a:lnTo>
                        <a:pt x="11" y="266"/>
                      </a:lnTo>
                      <a:lnTo>
                        <a:pt x="11" y="265"/>
                      </a:lnTo>
                      <a:lnTo>
                        <a:pt x="11" y="265"/>
                      </a:lnTo>
                      <a:lnTo>
                        <a:pt x="10" y="264"/>
                      </a:lnTo>
                      <a:lnTo>
                        <a:pt x="10" y="263"/>
                      </a:lnTo>
                      <a:lnTo>
                        <a:pt x="9" y="262"/>
                      </a:lnTo>
                      <a:lnTo>
                        <a:pt x="9" y="261"/>
                      </a:lnTo>
                      <a:lnTo>
                        <a:pt x="10" y="261"/>
                      </a:lnTo>
                      <a:lnTo>
                        <a:pt x="10" y="261"/>
                      </a:lnTo>
                      <a:lnTo>
                        <a:pt x="10" y="261"/>
                      </a:lnTo>
                      <a:lnTo>
                        <a:pt x="11" y="260"/>
                      </a:lnTo>
                      <a:lnTo>
                        <a:pt x="11" y="259"/>
                      </a:lnTo>
                      <a:lnTo>
                        <a:pt x="10" y="259"/>
                      </a:lnTo>
                      <a:lnTo>
                        <a:pt x="10" y="259"/>
                      </a:lnTo>
                      <a:lnTo>
                        <a:pt x="10" y="258"/>
                      </a:lnTo>
                      <a:lnTo>
                        <a:pt x="10" y="257"/>
                      </a:lnTo>
                      <a:lnTo>
                        <a:pt x="11" y="257"/>
                      </a:lnTo>
                      <a:lnTo>
                        <a:pt x="12" y="257"/>
                      </a:lnTo>
                      <a:lnTo>
                        <a:pt x="12" y="257"/>
                      </a:lnTo>
                      <a:lnTo>
                        <a:pt x="12" y="257"/>
                      </a:lnTo>
                      <a:lnTo>
                        <a:pt x="12" y="256"/>
                      </a:lnTo>
                      <a:lnTo>
                        <a:pt x="12" y="255"/>
                      </a:lnTo>
                      <a:lnTo>
                        <a:pt x="12" y="255"/>
                      </a:lnTo>
                      <a:lnTo>
                        <a:pt x="12" y="255"/>
                      </a:lnTo>
                      <a:lnTo>
                        <a:pt x="12" y="254"/>
                      </a:lnTo>
                      <a:lnTo>
                        <a:pt x="12" y="253"/>
                      </a:lnTo>
                      <a:lnTo>
                        <a:pt x="12" y="252"/>
                      </a:lnTo>
                      <a:lnTo>
                        <a:pt x="12" y="252"/>
                      </a:lnTo>
                      <a:lnTo>
                        <a:pt x="11" y="252"/>
                      </a:lnTo>
                      <a:lnTo>
                        <a:pt x="10" y="252"/>
                      </a:lnTo>
                      <a:lnTo>
                        <a:pt x="10" y="251"/>
                      </a:lnTo>
                      <a:lnTo>
                        <a:pt x="11" y="251"/>
                      </a:lnTo>
                      <a:lnTo>
                        <a:pt x="11" y="250"/>
                      </a:lnTo>
                      <a:lnTo>
                        <a:pt x="12" y="250"/>
                      </a:lnTo>
                      <a:lnTo>
                        <a:pt x="12" y="250"/>
                      </a:lnTo>
                      <a:lnTo>
                        <a:pt x="12" y="250"/>
                      </a:lnTo>
                      <a:lnTo>
                        <a:pt x="12" y="249"/>
                      </a:lnTo>
                      <a:lnTo>
                        <a:pt x="12" y="249"/>
                      </a:lnTo>
                      <a:lnTo>
                        <a:pt x="12" y="248"/>
                      </a:lnTo>
                      <a:lnTo>
                        <a:pt x="11" y="248"/>
                      </a:lnTo>
                      <a:lnTo>
                        <a:pt x="11" y="248"/>
                      </a:lnTo>
                      <a:lnTo>
                        <a:pt x="10" y="248"/>
                      </a:lnTo>
                      <a:lnTo>
                        <a:pt x="10" y="247"/>
                      </a:lnTo>
                      <a:lnTo>
                        <a:pt x="11" y="247"/>
                      </a:lnTo>
                      <a:lnTo>
                        <a:pt x="12" y="247"/>
                      </a:lnTo>
                      <a:lnTo>
                        <a:pt x="12" y="248"/>
                      </a:lnTo>
                      <a:lnTo>
                        <a:pt x="12" y="248"/>
                      </a:lnTo>
                      <a:lnTo>
                        <a:pt x="12" y="247"/>
                      </a:lnTo>
                      <a:lnTo>
                        <a:pt x="12" y="246"/>
                      </a:lnTo>
                      <a:lnTo>
                        <a:pt x="12" y="246"/>
                      </a:lnTo>
                      <a:lnTo>
                        <a:pt x="13" y="246"/>
                      </a:lnTo>
                      <a:lnTo>
                        <a:pt x="13" y="245"/>
                      </a:lnTo>
                      <a:lnTo>
                        <a:pt x="14" y="244"/>
                      </a:lnTo>
                      <a:lnTo>
                        <a:pt x="14" y="244"/>
                      </a:lnTo>
                      <a:lnTo>
                        <a:pt x="14" y="243"/>
                      </a:lnTo>
                      <a:lnTo>
                        <a:pt x="14" y="243"/>
                      </a:lnTo>
                      <a:lnTo>
                        <a:pt x="15" y="244"/>
                      </a:lnTo>
                      <a:lnTo>
                        <a:pt x="15" y="244"/>
                      </a:lnTo>
                      <a:lnTo>
                        <a:pt x="14" y="244"/>
                      </a:lnTo>
                      <a:lnTo>
                        <a:pt x="14" y="245"/>
                      </a:lnTo>
                      <a:lnTo>
                        <a:pt x="14" y="246"/>
                      </a:lnTo>
                      <a:lnTo>
                        <a:pt x="15" y="246"/>
                      </a:lnTo>
                      <a:lnTo>
                        <a:pt x="16" y="246"/>
                      </a:lnTo>
                      <a:lnTo>
                        <a:pt x="16" y="245"/>
                      </a:lnTo>
                      <a:lnTo>
                        <a:pt x="16" y="244"/>
                      </a:lnTo>
                      <a:lnTo>
                        <a:pt x="15" y="244"/>
                      </a:lnTo>
                      <a:lnTo>
                        <a:pt x="15" y="244"/>
                      </a:lnTo>
                      <a:lnTo>
                        <a:pt x="16" y="244"/>
                      </a:lnTo>
                      <a:lnTo>
                        <a:pt x="16" y="243"/>
                      </a:lnTo>
                      <a:lnTo>
                        <a:pt x="16" y="243"/>
                      </a:lnTo>
                      <a:lnTo>
                        <a:pt x="17" y="243"/>
                      </a:lnTo>
                      <a:lnTo>
                        <a:pt x="17" y="242"/>
                      </a:lnTo>
                      <a:lnTo>
                        <a:pt x="18" y="242"/>
                      </a:lnTo>
                      <a:lnTo>
                        <a:pt x="18" y="242"/>
                      </a:lnTo>
                      <a:lnTo>
                        <a:pt x="19" y="242"/>
                      </a:lnTo>
                      <a:lnTo>
                        <a:pt x="19" y="243"/>
                      </a:lnTo>
                      <a:lnTo>
                        <a:pt x="20" y="243"/>
                      </a:lnTo>
                      <a:lnTo>
                        <a:pt x="20" y="242"/>
                      </a:lnTo>
                      <a:lnTo>
                        <a:pt x="20" y="242"/>
                      </a:lnTo>
                      <a:lnTo>
                        <a:pt x="20" y="241"/>
                      </a:lnTo>
                      <a:lnTo>
                        <a:pt x="20" y="240"/>
                      </a:lnTo>
                      <a:lnTo>
                        <a:pt x="19" y="240"/>
                      </a:lnTo>
                      <a:lnTo>
                        <a:pt x="18" y="241"/>
                      </a:lnTo>
                      <a:lnTo>
                        <a:pt x="18" y="241"/>
                      </a:lnTo>
                      <a:lnTo>
                        <a:pt x="18" y="240"/>
                      </a:lnTo>
                      <a:lnTo>
                        <a:pt x="18" y="240"/>
                      </a:lnTo>
                      <a:lnTo>
                        <a:pt x="19" y="240"/>
                      </a:lnTo>
                      <a:lnTo>
                        <a:pt x="20" y="239"/>
                      </a:lnTo>
                      <a:lnTo>
                        <a:pt x="20" y="239"/>
                      </a:lnTo>
                      <a:lnTo>
                        <a:pt x="21" y="239"/>
                      </a:lnTo>
                      <a:lnTo>
                        <a:pt x="21" y="238"/>
                      </a:lnTo>
                      <a:lnTo>
                        <a:pt x="21" y="238"/>
                      </a:lnTo>
                      <a:lnTo>
                        <a:pt x="20" y="238"/>
                      </a:lnTo>
                      <a:lnTo>
                        <a:pt x="20" y="238"/>
                      </a:lnTo>
                      <a:lnTo>
                        <a:pt x="20" y="237"/>
                      </a:lnTo>
                      <a:lnTo>
                        <a:pt x="20" y="237"/>
                      </a:lnTo>
                      <a:lnTo>
                        <a:pt x="21" y="237"/>
                      </a:lnTo>
                      <a:lnTo>
                        <a:pt x="22" y="237"/>
                      </a:lnTo>
                      <a:lnTo>
                        <a:pt x="22" y="236"/>
                      </a:lnTo>
                      <a:lnTo>
                        <a:pt x="21" y="236"/>
                      </a:lnTo>
                      <a:lnTo>
                        <a:pt x="21" y="236"/>
                      </a:lnTo>
                      <a:lnTo>
                        <a:pt x="20" y="236"/>
                      </a:lnTo>
                      <a:lnTo>
                        <a:pt x="20" y="236"/>
                      </a:lnTo>
                      <a:lnTo>
                        <a:pt x="20" y="235"/>
                      </a:lnTo>
                      <a:lnTo>
                        <a:pt x="20" y="235"/>
                      </a:lnTo>
                      <a:lnTo>
                        <a:pt x="21" y="235"/>
                      </a:lnTo>
                      <a:lnTo>
                        <a:pt x="22" y="235"/>
                      </a:lnTo>
                      <a:lnTo>
                        <a:pt x="22" y="234"/>
                      </a:lnTo>
                      <a:lnTo>
                        <a:pt x="21" y="234"/>
                      </a:lnTo>
                      <a:lnTo>
                        <a:pt x="21" y="233"/>
                      </a:lnTo>
                      <a:lnTo>
                        <a:pt x="20" y="233"/>
                      </a:lnTo>
                      <a:lnTo>
                        <a:pt x="20" y="234"/>
                      </a:lnTo>
                      <a:lnTo>
                        <a:pt x="20" y="234"/>
                      </a:lnTo>
                      <a:lnTo>
                        <a:pt x="20" y="235"/>
                      </a:lnTo>
                      <a:lnTo>
                        <a:pt x="19" y="235"/>
                      </a:lnTo>
                      <a:lnTo>
                        <a:pt x="19" y="234"/>
                      </a:lnTo>
                      <a:lnTo>
                        <a:pt x="19" y="233"/>
                      </a:lnTo>
                      <a:lnTo>
                        <a:pt x="20" y="233"/>
                      </a:lnTo>
                      <a:lnTo>
                        <a:pt x="20" y="233"/>
                      </a:lnTo>
                      <a:lnTo>
                        <a:pt x="21" y="233"/>
                      </a:lnTo>
                      <a:lnTo>
                        <a:pt x="21" y="232"/>
                      </a:lnTo>
                      <a:lnTo>
                        <a:pt x="22" y="231"/>
                      </a:lnTo>
                      <a:lnTo>
                        <a:pt x="22" y="231"/>
                      </a:lnTo>
                      <a:lnTo>
                        <a:pt x="22" y="231"/>
                      </a:lnTo>
                      <a:lnTo>
                        <a:pt x="22" y="230"/>
                      </a:lnTo>
                      <a:lnTo>
                        <a:pt x="22" y="230"/>
                      </a:lnTo>
                      <a:lnTo>
                        <a:pt x="21" y="230"/>
                      </a:lnTo>
                      <a:lnTo>
                        <a:pt x="21" y="229"/>
                      </a:lnTo>
                      <a:lnTo>
                        <a:pt x="22" y="229"/>
                      </a:lnTo>
                      <a:lnTo>
                        <a:pt x="22" y="229"/>
                      </a:lnTo>
                      <a:lnTo>
                        <a:pt x="22" y="230"/>
                      </a:lnTo>
                      <a:lnTo>
                        <a:pt x="23" y="230"/>
                      </a:lnTo>
                      <a:lnTo>
                        <a:pt x="23" y="229"/>
                      </a:lnTo>
                      <a:lnTo>
                        <a:pt x="23" y="229"/>
                      </a:lnTo>
                      <a:lnTo>
                        <a:pt x="23" y="228"/>
                      </a:lnTo>
                      <a:lnTo>
                        <a:pt x="22" y="228"/>
                      </a:lnTo>
                      <a:lnTo>
                        <a:pt x="23" y="228"/>
                      </a:lnTo>
                      <a:lnTo>
                        <a:pt x="23" y="227"/>
                      </a:lnTo>
                      <a:lnTo>
                        <a:pt x="24" y="227"/>
                      </a:lnTo>
                      <a:lnTo>
                        <a:pt x="24" y="228"/>
                      </a:lnTo>
                      <a:lnTo>
                        <a:pt x="24" y="228"/>
                      </a:lnTo>
                      <a:lnTo>
                        <a:pt x="24" y="227"/>
                      </a:lnTo>
                      <a:lnTo>
                        <a:pt x="24" y="227"/>
                      </a:lnTo>
                      <a:lnTo>
                        <a:pt x="24" y="226"/>
                      </a:lnTo>
                      <a:lnTo>
                        <a:pt x="24" y="225"/>
                      </a:lnTo>
                      <a:lnTo>
                        <a:pt x="24" y="225"/>
                      </a:lnTo>
                      <a:lnTo>
                        <a:pt x="23" y="225"/>
                      </a:lnTo>
                      <a:lnTo>
                        <a:pt x="23" y="224"/>
                      </a:lnTo>
                      <a:lnTo>
                        <a:pt x="22" y="224"/>
                      </a:lnTo>
                      <a:lnTo>
                        <a:pt x="22" y="223"/>
                      </a:lnTo>
                      <a:lnTo>
                        <a:pt x="22" y="223"/>
                      </a:lnTo>
                      <a:lnTo>
                        <a:pt x="22" y="222"/>
                      </a:lnTo>
                      <a:lnTo>
                        <a:pt x="22" y="221"/>
                      </a:lnTo>
                      <a:lnTo>
                        <a:pt x="23" y="221"/>
                      </a:lnTo>
                      <a:lnTo>
                        <a:pt x="23" y="222"/>
                      </a:lnTo>
                      <a:lnTo>
                        <a:pt x="22" y="222"/>
                      </a:lnTo>
                      <a:lnTo>
                        <a:pt x="22" y="223"/>
                      </a:lnTo>
                      <a:lnTo>
                        <a:pt x="23" y="223"/>
                      </a:lnTo>
                      <a:lnTo>
                        <a:pt x="23" y="223"/>
                      </a:lnTo>
                      <a:lnTo>
                        <a:pt x="24" y="224"/>
                      </a:lnTo>
                      <a:lnTo>
                        <a:pt x="24" y="223"/>
                      </a:lnTo>
                      <a:lnTo>
                        <a:pt x="24" y="223"/>
                      </a:lnTo>
                      <a:lnTo>
                        <a:pt x="24" y="223"/>
                      </a:lnTo>
                      <a:lnTo>
                        <a:pt x="24" y="222"/>
                      </a:lnTo>
                      <a:lnTo>
                        <a:pt x="24" y="222"/>
                      </a:lnTo>
                      <a:lnTo>
                        <a:pt x="23" y="221"/>
                      </a:lnTo>
                      <a:lnTo>
                        <a:pt x="23" y="221"/>
                      </a:lnTo>
                      <a:lnTo>
                        <a:pt x="23" y="220"/>
                      </a:lnTo>
                      <a:lnTo>
                        <a:pt x="24" y="220"/>
                      </a:lnTo>
                      <a:lnTo>
                        <a:pt x="24" y="220"/>
                      </a:lnTo>
                      <a:lnTo>
                        <a:pt x="24" y="219"/>
                      </a:lnTo>
                      <a:lnTo>
                        <a:pt x="25" y="219"/>
                      </a:lnTo>
                      <a:lnTo>
                        <a:pt x="26" y="219"/>
                      </a:lnTo>
                      <a:lnTo>
                        <a:pt x="25" y="219"/>
                      </a:lnTo>
                      <a:lnTo>
                        <a:pt x="25" y="218"/>
                      </a:lnTo>
                      <a:lnTo>
                        <a:pt x="26" y="218"/>
                      </a:lnTo>
                      <a:lnTo>
                        <a:pt x="26" y="217"/>
                      </a:lnTo>
                      <a:lnTo>
                        <a:pt x="25" y="217"/>
                      </a:lnTo>
                      <a:lnTo>
                        <a:pt x="24" y="217"/>
                      </a:lnTo>
                      <a:lnTo>
                        <a:pt x="24" y="217"/>
                      </a:lnTo>
                      <a:lnTo>
                        <a:pt x="24" y="217"/>
                      </a:lnTo>
                      <a:lnTo>
                        <a:pt x="24" y="216"/>
                      </a:lnTo>
                      <a:lnTo>
                        <a:pt x="24" y="215"/>
                      </a:lnTo>
                      <a:lnTo>
                        <a:pt x="24" y="215"/>
                      </a:lnTo>
                      <a:lnTo>
                        <a:pt x="24" y="215"/>
                      </a:lnTo>
                      <a:lnTo>
                        <a:pt x="24" y="214"/>
                      </a:lnTo>
                      <a:lnTo>
                        <a:pt x="24" y="214"/>
                      </a:lnTo>
                      <a:lnTo>
                        <a:pt x="25" y="214"/>
                      </a:lnTo>
                      <a:lnTo>
                        <a:pt x="25" y="213"/>
                      </a:lnTo>
                      <a:lnTo>
                        <a:pt x="25" y="212"/>
                      </a:lnTo>
                      <a:lnTo>
                        <a:pt x="26" y="212"/>
                      </a:lnTo>
                      <a:lnTo>
                        <a:pt x="26" y="213"/>
                      </a:lnTo>
                      <a:lnTo>
                        <a:pt x="27" y="213"/>
                      </a:lnTo>
                      <a:lnTo>
                        <a:pt x="27" y="212"/>
                      </a:lnTo>
                      <a:lnTo>
                        <a:pt x="27" y="212"/>
                      </a:lnTo>
                      <a:lnTo>
                        <a:pt x="27" y="211"/>
                      </a:lnTo>
                      <a:lnTo>
                        <a:pt x="27" y="211"/>
                      </a:lnTo>
                      <a:lnTo>
                        <a:pt x="27" y="212"/>
                      </a:lnTo>
                      <a:lnTo>
                        <a:pt x="26" y="212"/>
                      </a:lnTo>
                      <a:lnTo>
                        <a:pt x="25" y="212"/>
                      </a:lnTo>
                      <a:lnTo>
                        <a:pt x="24" y="212"/>
                      </a:lnTo>
                      <a:lnTo>
                        <a:pt x="24" y="211"/>
                      </a:lnTo>
                      <a:lnTo>
                        <a:pt x="24" y="210"/>
                      </a:lnTo>
                      <a:lnTo>
                        <a:pt x="25" y="210"/>
                      </a:lnTo>
                      <a:lnTo>
                        <a:pt x="26" y="210"/>
                      </a:lnTo>
                      <a:lnTo>
                        <a:pt x="26" y="211"/>
                      </a:lnTo>
                      <a:lnTo>
                        <a:pt x="27" y="211"/>
                      </a:lnTo>
                      <a:lnTo>
                        <a:pt x="27" y="210"/>
                      </a:lnTo>
                      <a:lnTo>
                        <a:pt x="27" y="210"/>
                      </a:lnTo>
                      <a:lnTo>
                        <a:pt x="27" y="210"/>
                      </a:lnTo>
                      <a:lnTo>
                        <a:pt x="27" y="209"/>
                      </a:lnTo>
                      <a:lnTo>
                        <a:pt x="27" y="208"/>
                      </a:lnTo>
                      <a:lnTo>
                        <a:pt x="27" y="208"/>
                      </a:lnTo>
                      <a:lnTo>
                        <a:pt x="27" y="208"/>
                      </a:lnTo>
                      <a:lnTo>
                        <a:pt x="27" y="207"/>
                      </a:lnTo>
                      <a:lnTo>
                        <a:pt x="27" y="206"/>
                      </a:lnTo>
                      <a:lnTo>
                        <a:pt x="26" y="206"/>
                      </a:lnTo>
                      <a:lnTo>
                        <a:pt x="26" y="207"/>
                      </a:lnTo>
                      <a:lnTo>
                        <a:pt x="26" y="208"/>
                      </a:lnTo>
                      <a:lnTo>
                        <a:pt x="25" y="208"/>
                      </a:lnTo>
                      <a:lnTo>
                        <a:pt x="25" y="207"/>
                      </a:lnTo>
                      <a:lnTo>
                        <a:pt x="25" y="206"/>
                      </a:lnTo>
                      <a:lnTo>
                        <a:pt x="25" y="206"/>
                      </a:lnTo>
                      <a:lnTo>
                        <a:pt x="26" y="206"/>
                      </a:lnTo>
                      <a:lnTo>
                        <a:pt x="27" y="206"/>
                      </a:lnTo>
                      <a:lnTo>
                        <a:pt x="27" y="206"/>
                      </a:lnTo>
                      <a:lnTo>
                        <a:pt x="28" y="206"/>
                      </a:lnTo>
                      <a:lnTo>
                        <a:pt x="28" y="206"/>
                      </a:lnTo>
                      <a:lnTo>
                        <a:pt x="27" y="206"/>
                      </a:lnTo>
                      <a:lnTo>
                        <a:pt x="27" y="205"/>
                      </a:lnTo>
                      <a:lnTo>
                        <a:pt x="27" y="204"/>
                      </a:lnTo>
                      <a:lnTo>
                        <a:pt x="27" y="204"/>
                      </a:lnTo>
                      <a:lnTo>
                        <a:pt x="27" y="204"/>
                      </a:lnTo>
                      <a:lnTo>
                        <a:pt x="26" y="204"/>
                      </a:lnTo>
                      <a:lnTo>
                        <a:pt x="26" y="203"/>
                      </a:lnTo>
                      <a:lnTo>
                        <a:pt x="27" y="203"/>
                      </a:lnTo>
                      <a:lnTo>
                        <a:pt x="27" y="203"/>
                      </a:lnTo>
                      <a:lnTo>
                        <a:pt x="28" y="203"/>
                      </a:lnTo>
                      <a:lnTo>
                        <a:pt x="28" y="204"/>
                      </a:lnTo>
                      <a:lnTo>
                        <a:pt x="29" y="204"/>
                      </a:lnTo>
                      <a:lnTo>
                        <a:pt x="29" y="203"/>
                      </a:lnTo>
                      <a:lnTo>
                        <a:pt x="29" y="202"/>
                      </a:lnTo>
                      <a:lnTo>
                        <a:pt x="28" y="202"/>
                      </a:lnTo>
                      <a:lnTo>
                        <a:pt x="28" y="201"/>
                      </a:lnTo>
                      <a:lnTo>
                        <a:pt x="29" y="201"/>
                      </a:lnTo>
                      <a:lnTo>
                        <a:pt x="29" y="201"/>
                      </a:lnTo>
                      <a:lnTo>
                        <a:pt x="29" y="202"/>
                      </a:lnTo>
                      <a:lnTo>
                        <a:pt x="30" y="201"/>
                      </a:lnTo>
                      <a:lnTo>
                        <a:pt x="30" y="200"/>
                      </a:lnTo>
                      <a:lnTo>
                        <a:pt x="30" y="200"/>
                      </a:lnTo>
                      <a:lnTo>
                        <a:pt x="31" y="200"/>
                      </a:lnTo>
                      <a:lnTo>
                        <a:pt x="31" y="200"/>
                      </a:lnTo>
                      <a:lnTo>
                        <a:pt x="31" y="199"/>
                      </a:lnTo>
                      <a:lnTo>
                        <a:pt x="30" y="199"/>
                      </a:lnTo>
                      <a:lnTo>
                        <a:pt x="29" y="200"/>
                      </a:lnTo>
                      <a:lnTo>
                        <a:pt x="29" y="199"/>
                      </a:lnTo>
                      <a:lnTo>
                        <a:pt x="29" y="198"/>
                      </a:lnTo>
                      <a:lnTo>
                        <a:pt x="30" y="198"/>
                      </a:lnTo>
                      <a:lnTo>
                        <a:pt x="31" y="198"/>
                      </a:lnTo>
                      <a:lnTo>
                        <a:pt x="31" y="199"/>
                      </a:lnTo>
                      <a:lnTo>
                        <a:pt x="31" y="199"/>
                      </a:lnTo>
                      <a:lnTo>
                        <a:pt x="31" y="198"/>
                      </a:lnTo>
                      <a:lnTo>
                        <a:pt x="31" y="198"/>
                      </a:lnTo>
                      <a:lnTo>
                        <a:pt x="31" y="198"/>
                      </a:lnTo>
                      <a:lnTo>
                        <a:pt x="30" y="198"/>
                      </a:lnTo>
                      <a:lnTo>
                        <a:pt x="29" y="198"/>
                      </a:lnTo>
                      <a:lnTo>
                        <a:pt x="29" y="197"/>
                      </a:lnTo>
                      <a:lnTo>
                        <a:pt x="29" y="196"/>
                      </a:lnTo>
                      <a:lnTo>
                        <a:pt x="29" y="196"/>
                      </a:lnTo>
                      <a:lnTo>
                        <a:pt x="28" y="196"/>
                      </a:lnTo>
                      <a:lnTo>
                        <a:pt x="28" y="196"/>
                      </a:lnTo>
                      <a:lnTo>
                        <a:pt x="29" y="196"/>
                      </a:lnTo>
                      <a:lnTo>
                        <a:pt x="29" y="195"/>
                      </a:lnTo>
                      <a:lnTo>
                        <a:pt x="29" y="195"/>
                      </a:lnTo>
                      <a:lnTo>
                        <a:pt x="29" y="194"/>
                      </a:lnTo>
                      <a:lnTo>
                        <a:pt x="30" y="194"/>
                      </a:lnTo>
                      <a:lnTo>
                        <a:pt x="30" y="193"/>
                      </a:lnTo>
                      <a:lnTo>
                        <a:pt x="31" y="193"/>
                      </a:lnTo>
                      <a:lnTo>
                        <a:pt x="31" y="193"/>
                      </a:lnTo>
                      <a:lnTo>
                        <a:pt x="31" y="193"/>
                      </a:lnTo>
                      <a:lnTo>
                        <a:pt x="31" y="193"/>
                      </a:lnTo>
                      <a:lnTo>
                        <a:pt x="30" y="193"/>
                      </a:lnTo>
                      <a:lnTo>
                        <a:pt x="30" y="192"/>
                      </a:lnTo>
                      <a:lnTo>
                        <a:pt x="29" y="192"/>
                      </a:lnTo>
                      <a:lnTo>
                        <a:pt x="29" y="193"/>
                      </a:lnTo>
                      <a:lnTo>
                        <a:pt x="29" y="193"/>
                      </a:lnTo>
                      <a:lnTo>
                        <a:pt x="29" y="193"/>
                      </a:lnTo>
                      <a:lnTo>
                        <a:pt x="29" y="193"/>
                      </a:lnTo>
                      <a:lnTo>
                        <a:pt x="28" y="193"/>
                      </a:lnTo>
                      <a:lnTo>
                        <a:pt x="28" y="192"/>
                      </a:lnTo>
                      <a:lnTo>
                        <a:pt x="29" y="191"/>
                      </a:lnTo>
                      <a:lnTo>
                        <a:pt x="29" y="191"/>
                      </a:lnTo>
                      <a:lnTo>
                        <a:pt x="30" y="191"/>
                      </a:lnTo>
                      <a:lnTo>
                        <a:pt x="30" y="191"/>
                      </a:lnTo>
                      <a:lnTo>
                        <a:pt x="30" y="190"/>
                      </a:lnTo>
                      <a:lnTo>
                        <a:pt x="30" y="189"/>
                      </a:lnTo>
                      <a:lnTo>
                        <a:pt x="31" y="189"/>
                      </a:lnTo>
                      <a:lnTo>
                        <a:pt x="31" y="189"/>
                      </a:lnTo>
                      <a:lnTo>
                        <a:pt x="31" y="189"/>
                      </a:lnTo>
                      <a:lnTo>
                        <a:pt x="32" y="189"/>
                      </a:lnTo>
                      <a:lnTo>
                        <a:pt x="32" y="190"/>
                      </a:lnTo>
                      <a:lnTo>
                        <a:pt x="33" y="189"/>
                      </a:lnTo>
                      <a:lnTo>
                        <a:pt x="33" y="189"/>
                      </a:lnTo>
                      <a:lnTo>
                        <a:pt x="33" y="188"/>
                      </a:lnTo>
                      <a:lnTo>
                        <a:pt x="33" y="187"/>
                      </a:lnTo>
                      <a:lnTo>
                        <a:pt x="33" y="187"/>
                      </a:lnTo>
                      <a:lnTo>
                        <a:pt x="33" y="187"/>
                      </a:lnTo>
                      <a:lnTo>
                        <a:pt x="33" y="187"/>
                      </a:lnTo>
                      <a:lnTo>
                        <a:pt x="33" y="186"/>
                      </a:lnTo>
                      <a:lnTo>
                        <a:pt x="33" y="185"/>
                      </a:lnTo>
                      <a:lnTo>
                        <a:pt x="33" y="185"/>
                      </a:lnTo>
                      <a:lnTo>
                        <a:pt x="32" y="185"/>
                      </a:lnTo>
                      <a:lnTo>
                        <a:pt x="31" y="185"/>
                      </a:lnTo>
                      <a:lnTo>
                        <a:pt x="31" y="185"/>
                      </a:lnTo>
                      <a:lnTo>
                        <a:pt x="31" y="184"/>
                      </a:lnTo>
                      <a:lnTo>
                        <a:pt x="31" y="183"/>
                      </a:lnTo>
                      <a:lnTo>
                        <a:pt x="31" y="183"/>
                      </a:lnTo>
                      <a:lnTo>
                        <a:pt x="31" y="183"/>
                      </a:lnTo>
                      <a:lnTo>
                        <a:pt x="32" y="183"/>
                      </a:lnTo>
                      <a:lnTo>
                        <a:pt x="33" y="184"/>
                      </a:lnTo>
                      <a:lnTo>
                        <a:pt x="33" y="184"/>
                      </a:lnTo>
                      <a:lnTo>
                        <a:pt x="33" y="183"/>
                      </a:lnTo>
                      <a:lnTo>
                        <a:pt x="34" y="183"/>
                      </a:lnTo>
                      <a:lnTo>
                        <a:pt x="34" y="183"/>
                      </a:lnTo>
                      <a:lnTo>
                        <a:pt x="34" y="182"/>
                      </a:lnTo>
                      <a:lnTo>
                        <a:pt x="33" y="182"/>
                      </a:lnTo>
                      <a:lnTo>
                        <a:pt x="33" y="182"/>
                      </a:lnTo>
                      <a:lnTo>
                        <a:pt x="33" y="181"/>
                      </a:lnTo>
                      <a:lnTo>
                        <a:pt x="33" y="181"/>
                      </a:lnTo>
                      <a:lnTo>
                        <a:pt x="33" y="180"/>
                      </a:lnTo>
                      <a:lnTo>
                        <a:pt x="33" y="180"/>
                      </a:lnTo>
                      <a:lnTo>
                        <a:pt x="34" y="180"/>
                      </a:lnTo>
                      <a:lnTo>
                        <a:pt x="35" y="180"/>
                      </a:lnTo>
                      <a:lnTo>
                        <a:pt x="35" y="179"/>
                      </a:lnTo>
                      <a:lnTo>
                        <a:pt x="34" y="179"/>
                      </a:lnTo>
                      <a:lnTo>
                        <a:pt x="33" y="179"/>
                      </a:lnTo>
                      <a:lnTo>
                        <a:pt x="33" y="179"/>
                      </a:lnTo>
                      <a:lnTo>
                        <a:pt x="33" y="179"/>
                      </a:lnTo>
                      <a:lnTo>
                        <a:pt x="33" y="178"/>
                      </a:lnTo>
                      <a:lnTo>
                        <a:pt x="33" y="177"/>
                      </a:lnTo>
                      <a:lnTo>
                        <a:pt x="32" y="177"/>
                      </a:lnTo>
                      <a:lnTo>
                        <a:pt x="32" y="177"/>
                      </a:lnTo>
                      <a:lnTo>
                        <a:pt x="33" y="176"/>
                      </a:lnTo>
                      <a:lnTo>
                        <a:pt x="33" y="176"/>
                      </a:lnTo>
                      <a:lnTo>
                        <a:pt x="33" y="177"/>
                      </a:lnTo>
                      <a:lnTo>
                        <a:pt x="34" y="177"/>
                      </a:lnTo>
                      <a:lnTo>
                        <a:pt x="35" y="177"/>
                      </a:lnTo>
                      <a:lnTo>
                        <a:pt x="35" y="177"/>
                      </a:lnTo>
                      <a:lnTo>
                        <a:pt x="35" y="177"/>
                      </a:lnTo>
                      <a:lnTo>
                        <a:pt x="35" y="176"/>
                      </a:lnTo>
                      <a:lnTo>
                        <a:pt x="35" y="176"/>
                      </a:lnTo>
                      <a:lnTo>
                        <a:pt x="34" y="176"/>
                      </a:lnTo>
                      <a:lnTo>
                        <a:pt x="33" y="176"/>
                      </a:lnTo>
                      <a:lnTo>
                        <a:pt x="33" y="176"/>
                      </a:lnTo>
                      <a:lnTo>
                        <a:pt x="33" y="175"/>
                      </a:lnTo>
                      <a:lnTo>
                        <a:pt x="33" y="174"/>
                      </a:lnTo>
                      <a:lnTo>
                        <a:pt x="33" y="174"/>
                      </a:lnTo>
                      <a:lnTo>
                        <a:pt x="34" y="174"/>
                      </a:lnTo>
                      <a:lnTo>
                        <a:pt x="35" y="174"/>
                      </a:lnTo>
                      <a:lnTo>
                        <a:pt x="35" y="173"/>
                      </a:lnTo>
                      <a:lnTo>
                        <a:pt x="34" y="173"/>
                      </a:lnTo>
                      <a:lnTo>
                        <a:pt x="33" y="174"/>
                      </a:lnTo>
                      <a:lnTo>
                        <a:pt x="33" y="174"/>
                      </a:lnTo>
                      <a:lnTo>
                        <a:pt x="33" y="173"/>
                      </a:lnTo>
                      <a:lnTo>
                        <a:pt x="33" y="172"/>
                      </a:lnTo>
                      <a:lnTo>
                        <a:pt x="33" y="172"/>
                      </a:lnTo>
                      <a:lnTo>
                        <a:pt x="33" y="172"/>
                      </a:lnTo>
                      <a:lnTo>
                        <a:pt x="33" y="171"/>
                      </a:lnTo>
                      <a:lnTo>
                        <a:pt x="34" y="171"/>
                      </a:lnTo>
                      <a:lnTo>
                        <a:pt x="34" y="170"/>
                      </a:lnTo>
                      <a:lnTo>
                        <a:pt x="35" y="170"/>
                      </a:lnTo>
                      <a:lnTo>
                        <a:pt x="35" y="170"/>
                      </a:lnTo>
                      <a:lnTo>
                        <a:pt x="36" y="170"/>
                      </a:lnTo>
                      <a:lnTo>
                        <a:pt x="37" y="170"/>
                      </a:lnTo>
                      <a:lnTo>
                        <a:pt x="37" y="170"/>
                      </a:lnTo>
                      <a:lnTo>
                        <a:pt x="36" y="169"/>
                      </a:lnTo>
                      <a:lnTo>
                        <a:pt x="35" y="169"/>
                      </a:lnTo>
                      <a:lnTo>
                        <a:pt x="35" y="168"/>
                      </a:lnTo>
                      <a:lnTo>
                        <a:pt x="35" y="168"/>
                      </a:lnTo>
                      <a:lnTo>
                        <a:pt x="35" y="167"/>
                      </a:lnTo>
                      <a:lnTo>
                        <a:pt x="35" y="167"/>
                      </a:lnTo>
                      <a:lnTo>
                        <a:pt x="34" y="167"/>
                      </a:lnTo>
                      <a:lnTo>
                        <a:pt x="33" y="167"/>
                      </a:lnTo>
                      <a:lnTo>
                        <a:pt x="33" y="167"/>
                      </a:lnTo>
                      <a:lnTo>
                        <a:pt x="33" y="166"/>
                      </a:lnTo>
                      <a:lnTo>
                        <a:pt x="33" y="166"/>
                      </a:lnTo>
                      <a:lnTo>
                        <a:pt x="34" y="166"/>
                      </a:lnTo>
                      <a:lnTo>
                        <a:pt x="34" y="165"/>
                      </a:lnTo>
                      <a:lnTo>
                        <a:pt x="34" y="164"/>
                      </a:lnTo>
                      <a:lnTo>
                        <a:pt x="34" y="164"/>
                      </a:lnTo>
                      <a:lnTo>
                        <a:pt x="34" y="163"/>
                      </a:lnTo>
                      <a:lnTo>
                        <a:pt x="33" y="163"/>
                      </a:lnTo>
                      <a:lnTo>
                        <a:pt x="33" y="164"/>
                      </a:lnTo>
                      <a:lnTo>
                        <a:pt x="33" y="164"/>
                      </a:lnTo>
                      <a:lnTo>
                        <a:pt x="33" y="164"/>
                      </a:lnTo>
                      <a:lnTo>
                        <a:pt x="32" y="165"/>
                      </a:lnTo>
                      <a:lnTo>
                        <a:pt x="32" y="164"/>
                      </a:lnTo>
                      <a:lnTo>
                        <a:pt x="32" y="164"/>
                      </a:lnTo>
                      <a:lnTo>
                        <a:pt x="32" y="163"/>
                      </a:lnTo>
                      <a:lnTo>
                        <a:pt x="32" y="162"/>
                      </a:lnTo>
                      <a:lnTo>
                        <a:pt x="32" y="162"/>
                      </a:lnTo>
                      <a:lnTo>
                        <a:pt x="32" y="161"/>
                      </a:lnTo>
                      <a:lnTo>
                        <a:pt x="33" y="161"/>
                      </a:lnTo>
                      <a:lnTo>
                        <a:pt x="33" y="161"/>
                      </a:lnTo>
                      <a:lnTo>
                        <a:pt x="33" y="162"/>
                      </a:lnTo>
                      <a:lnTo>
                        <a:pt x="33" y="162"/>
                      </a:lnTo>
                      <a:lnTo>
                        <a:pt x="34" y="162"/>
                      </a:lnTo>
                      <a:lnTo>
                        <a:pt x="35" y="162"/>
                      </a:lnTo>
                      <a:lnTo>
                        <a:pt x="35" y="162"/>
                      </a:lnTo>
                      <a:lnTo>
                        <a:pt x="35" y="161"/>
                      </a:lnTo>
                      <a:lnTo>
                        <a:pt x="35" y="160"/>
                      </a:lnTo>
                      <a:lnTo>
                        <a:pt x="34" y="160"/>
                      </a:lnTo>
                      <a:lnTo>
                        <a:pt x="34" y="160"/>
                      </a:lnTo>
                      <a:lnTo>
                        <a:pt x="33" y="159"/>
                      </a:lnTo>
                      <a:lnTo>
                        <a:pt x="33" y="158"/>
                      </a:lnTo>
                      <a:lnTo>
                        <a:pt x="33" y="158"/>
                      </a:lnTo>
                      <a:lnTo>
                        <a:pt x="33" y="158"/>
                      </a:lnTo>
                      <a:lnTo>
                        <a:pt x="32" y="157"/>
                      </a:lnTo>
                      <a:lnTo>
                        <a:pt x="32" y="156"/>
                      </a:lnTo>
                      <a:lnTo>
                        <a:pt x="32" y="156"/>
                      </a:lnTo>
                      <a:lnTo>
                        <a:pt x="31" y="155"/>
                      </a:lnTo>
                      <a:lnTo>
                        <a:pt x="31" y="156"/>
                      </a:lnTo>
                      <a:lnTo>
                        <a:pt x="31" y="156"/>
                      </a:lnTo>
                      <a:lnTo>
                        <a:pt x="30" y="155"/>
                      </a:lnTo>
                      <a:lnTo>
                        <a:pt x="30" y="154"/>
                      </a:lnTo>
                      <a:lnTo>
                        <a:pt x="30" y="153"/>
                      </a:lnTo>
                      <a:lnTo>
                        <a:pt x="29" y="153"/>
                      </a:lnTo>
                      <a:lnTo>
                        <a:pt x="29" y="153"/>
                      </a:lnTo>
                      <a:lnTo>
                        <a:pt x="29" y="152"/>
                      </a:lnTo>
                      <a:lnTo>
                        <a:pt x="30" y="152"/>
                      </a:lnTo>
                      <a:lnTo>
                        <a:pt x="31" y="153"/>
                      </a:lnTo>
                      <a:lnTo>
                        <a:pt x="31" y="153"/>
                      </a:lnTo>
                      <a:lnTo>
                        <a:pt x="32" y="154"/>
                      </a:lnTo>
                      <a:lnTo>
                        <a:pt x="32" y="153"/>
                      </a:lnTo>
                      <a:lnTo>
                        <a:pt x="33" y="153"/>
                      </a:lnTo>
                      <a:lnTo>
                        <a:pt x="32" y="153"/>
                      </a:lnTo>
                      <a:lnTo>
                        <a:pt x="31" y="152"/>
                      </a:lnTo>
                      <a:lnTo>
                        <a:pt x="31" y="151"/>
                      </a:lnTo>
                      <a:lnTo>
                        <a:pt x="31" y="151"/>
                      </a:lnTo>
                      <a:lnTo>
                        <a:pt x="32" y="151"/>
                      </a:lnTo>
                      <a:lnTo>
                        <a:pt x="33" y="150"/>
                      </a:lnTo>
                      <a:lnTo>
                        <a:pt x="33" y="150"/>
                      </a:lnTo>
                      <a:lnTo>
                        <a:pt x="33" y="150"/>
                      </a:lnTo>
                      <a:lnTo>
                        <a:pt x="33" y="149"/>
                      </a:lnTo>
                      <a:lnTo>
                        <a:pt x="32" y="150"/>
                      </a:lnTo>
                      <a:lnTo>
                        <a:pt x="31" y="150"/>
                      </a:lnTo>
                      <a:lnTo>
                        <a:pt x="31" y="150"/>
                      </a:lnTo>
                      <a:lnTo>
                        <a:pt x="30" y="150"/>
                      </a:lnTo>
                      <a:lnTo>
                        <a:pt x="30" y="149"/>
                      </a:lnTo>
                      <a:lnTo>
                        <a:pt x="29" y="149"/>
                      </a:lnTo>
                      <a:lnTo>
                        <a:pt x="29" y="149"/>
                      </a:lnTo>
                      <a:lnTo>
                        <a:pt x="30" y="149"/>
                      </a:lnTo>
                      <a:lnTo>
                        <a:pt x="31" y="149"/>
                      </a:lnTo>
                      <a:lnTo>
                        <a:pt x="31" y="148"/>
                      </a:lnTo>
                      <a:lnTo>
                        <a:pt x="31" y="147"/>
                      </a:lnTo>
                      <a:lnTo>
                        <a:pt x="30" y="147"/>
                      </a:lnTo>
                      <a:lnTo>
                        <a:pt x="30" y="147"/>
                      </a:lnTo>
                      <a:lnTo>
                        <a:pt x="31" y="146"/>
                      </a:lnTo>
                      <a:lnTo>
                        <a:pt x="31" y="145"/>
                      </a:lnTo>
                      <a:lnTo>
                        <a:pt x="32" y="145"/>
                      </a:lnTo>
                      <a:lnTo>
                        <a:pt x="32" y="145"/>
                      </a:lnTo>
                      <a:lnTo>
                        <a:pt x="33" y="145"/>
                      </a:lnTo>
                      <a:lnTo>
                        <a:pt x="33" y="144"/>
                      </a:lnTo>
                      <a:lnTo>
                        <a:pt x="32" y="144"/>
                      </a:lnTo>
                      <a:lnTo>
                        <a:pt x="32" y="145"/>
                      </a:lnTo>
                      <a:lnTo>
                        <a:pt x="31" y="145"/>
                      </a:lnTo>
                      <a:lnTo>
                        <a:pt x="31" y="144"/>
                      </a:lnTo>
                      <a:lnTo>
                        <a:pt x="31" y="144"/>
                      </a:lnTo>
                      <a:lnTo>
                        <a:pt x="31" y="143"/>
                      </a:lnTo>
                      <a:lnTo>
                        <a:pt x="30" y="143"/>
                      </a:lnTo>
                      <a:lnTo>
                        <a:pt x="30" y="144"/>
                      </a:lnTo>
                      <a:lnTo>
                        <a:pt x="29" y="144"/>
                      </a:lnTo>
                      <a:lnTo>
                        <a:pt x="29" y="143"/>
                      </a:lnTo>
                      <a:lnTo>
                        <a:pt x="30" y="143"/>
                      </a:lnTo>
                      <a:lnTo>
                        <a:pt x="30" y="142"/>
                      </a:lnTo>
                      <a:lnTo>
                        <a:pt x="31" y="141"/>
                      </a:lnTo>
                      <a:lnTo>
                        <a:pt x="30" y="141"/>
                      </a:lnTo>
                      <a:lnTo>
                        <a:pt x="30" y="140"/>
                      </a:lnTo>
                      <a:lnTo>
                        <a:pt x="29" y="140"/>
                      </a:lnTo>
                      <a:lnTo>
                        <a:pt x="29" y="141"/>
                      </a:lnTo>
                      <a:lnTo>
                        <a:pt x="29" y="141"/>
                      </a:lnTo>
                      <a:lnTo>
                        <a:pt x="29" y="142"/>
                      </a:lnTo>
                      <a:lnTo>
                        <a:pt x="28" y="142"/>
                      </a:lnTo>
                      <a:lnTo>
                        <a:pt x="27" y="142"/>
                      </a:lnTo>
                      <a:lnTo>
                        <a:pt x="27" y="141"/>
                      </a:lnTo>
                      <a:lnTo>
                        <a:pt x="27" y="141"/>
                      </a:lnTo>
                      <a:lnTo>
                        <a:pt x="27" y="140"/>
                      </a:lnTo>
                      <a:lnTo>
                        <a:pt x="28" y="140"/>
                      </a:lnTo>
                      <a:lnTo>
                        <a:pt x="29" y="140"/>
                      </a:lnTo>
                      <a:lnTo>
                        <a:pt x="29" y="139"/>
                      </a:lnTo>
                      <a:lnTo>
                        <a:pt x="29" y="139"/>
                      </a:lnTo>
                      <a:lnTo>
                        <a:pt x="29" y="138"/>
                      </a:lnTo>
                      <a:lnTo>
                        <a:pt x="29" y="137"/>
                      </a:lnTo>
                      <a:lnTo>
                        <a:pt x="29" y="137"/>
                      </a:lnTo>
                      <a:lnTo>
                        <a:pt x="30" y="137"/>
                      </a:lnTo>
                      <a:lnTo>
                        <a:pt x="30" y="136"/>
                      </a:lnTo>
                      <a:lnTo>
                        <a:pt x="29" y="136"/>
                      </a:lnTo>
                      <a:lnTo>
                        <a:pt x="29" y="136"/>
                      </a:lnTo>
                      <a:lnTo>
                        <a:pt x="28" y="136"/>
                      </a:lnTo>
                      <a:lnTo>
                        <a:pt x="28" y="135"/>
                      </a:lnTo>
                      <a:lnTo>
                        <a:pt x="28" y="134"/>
                      </a:lnTo>
                      <a:lnTo>
                        <a:pt x="29" y="134"/>
                      </a:lnTo>
                      <a:lnTo>
                        <a:pt x="29" y="134"/>
                      </a:lnTo>
                      <a:lnTo>
                        <a:pt x="30" y="134"/>
                      </a:lnTo>
                      <a:lnTo>
                        <a:pt x="31" y="134"/>
                      </a:lnTo>
                      <a:lnTo>
                        <a:pt x="31" y="133"/>
                      </a:lnTo>
                      <a:lnTo>
                        <a:pt x="31" y="132"/>
                      </a:lnTo>
                      <a:lnTo>
                        <a:pt x="31" y="132"/>
                      </a:lnTo>
                      <a:lnTo>
                        <a:pt x="31" y="132"/>
                      </a:lnTo>
                      <a:lnTo>
                        <a:pt x="31" y="131"/>
                      </a:lnTo>
                      <a:lnTo>
                        <a:pt x="31" y="130"/>
                      </a:lnTo>
                      <a:lnTo>
                        <a:pt x="32" y="130"/>
                      </a:lnTo>
                      <a:lnTo>
                        <a:pt x="32" y="130"/>
                      </a:lnTo>
                      <a:lnTo>
                        <a:pt x="31" y="129"/>
                      </a:lnTo>
                      <a:lnTo>
                        <a:pt x="31" y="128"/>
                      </a:lnTo>
                      <a:lnTo>
                        <a:pt x="30" y="128"/>
                      </a:lnTo>
                      <a:lnTo>
                        <a:pt x="30" y="127"/>
                      </a:lnTo>
                      <a:lnTo>
                        <a:pt x="29" y="126"/>
                      </a:lnTo>
                      <a:lnTo>
                        <a:pt x="29" y="126"/>
                      </a:lnTo>
                      <a:lnTo>
                        <a:pt x="30" y="126"/>
                      </a:lnTo>
                      <a:lnTo>
                        <a:pt x="31" y="125"/>
                      </a:lnTo>
                      <a:lnTo>
                        <a:pt x="31" y="124"/>
                      </a:lnTo>
                      <a:lnTo>
                        <a:pt x="32" y="124"/>
                      </a:lnTo>
                      <a:lnTo>
                        <a:pt x="32" y="124"/>
                      </a:lnTo>
                      <a:lnTo>
                        <a:pt x="32" y="123"/>
                      </a:lnTo>
                      <a:lnTo>
                        <a:pt x="32" y="122"/>
                      </a:lnTo>
                      <a:lnTo>
                        <a:pt x="33" y="122"/>
                      </a:lnTo>
                      <a:lnTo>
                        <a:pt x="33" y="122"/>
                      </a:lnTo>
                      <a:lnTo>
                        <a:pt x="33" y="121"/>
                      </a:lnTo>
                      <a:lnTo>
                        <a:pt x="33" y="120"/>
                      </a:lnTo>
                      <a:lnTo>
                        <a:pt x="33" y="120"/>
                      </a:lnTo>
                      <a:lnTo>
                        <a:pt x="32" y="120"/>
                      </a:lnTo>
                      <a:lnTo>
                        <a:pt x="31" y="120"/>
                      </a:lnTo>
                      <a:lnTo>
                        <a:pt x="31" y="120"/>
                      </a:lnTo>
                      <a:lnTo>
                        <a:pt x="31" y="119"/>
                      </a:lnTo>
                      <a:lnTo>
                        <a:pt x="31" y="118"/>
                      </a:lnTo>
                      <a:lnTo>
                        <a:pt x="31" y="118"/>
                      </a:lnTo>
                      <a:lnTo>
                        <a:pt x="31" y="117"/>
                      </a:lnTo>
                      <a:lnTo>
                        <a:pt x="31" y="117"/>
                      </a:lnTo>
                      <a:lnTo>
                        <a:pt x="32" y="117"/>
                      </a:lnTo>
                      <a:lnTo>
                        <a:pt x="32" y="118"/>
                      </a:lnTo>
                      <a:lnTo>
                        <a:pt x="33" y="118"/>
                      </a:lnTo>
                      <a:lnTo>
                        <a:pt x="33" y="118"/>
                      </a:lnTo>
                      <a:lnTo>
                        <a:pt x="34" y="118"/>
                      </a:lnTo>
                      <a:lnTo>
                        <a:pt x="35" y="117"/>
                      </a:lnTo>
                      <a:lnTo>
                        <a:pt x="34" y="116"/>
                      </a:lnTo>
                      <a:lnTo>
                        <a:pt x="33" y="116"/>
                      </a:lnTo>
                      <a:lnTo>
                        <a:pt x="33" y="116"/>
                      </a:lnTo>
                      <a:lnTo>
                        <a:pt x="33" y="115"/>
                      </a:lnTo>
                      <a:lnTo>
                        <a:pt x="33" y="115"/>
                      </a:lnTo>
                      <a:lnTo>
                        <a:pt x="33" y="115"/>
                      </a:lnTo>
                      <a:lnTo>
                        <a:pt x="34" y="115"/>
                      </a:lnTo>
                      <a:lnTo>
                        <a:pt x="34" y="114"/>
                      </a:lnTo>
                      <a:lnTo>
                        <a:pt x="34" y="113"/>
                      </a:lnTo>
                      <a:lnTo>
                        <a:pt x="33" y="113"/>
                      </a:lnTo>
                      <a:lnTo>
                        <a:pt x="33" y="113"/>
                      </a:lnTo>
                      <a:lnTo>
                        <a:pt x="33" y="113"/>
                      </a:lnTo>
                      <a:lnTo>
                        <a:pt x="32" y="113"/>
                      </a:lnTo>
                      <a:lnTo>
                        <a:pt x="32" y="113"/>
                      </a:lnTo>
                      <a:lnTo>
                        <a:pt x="31" y="114"/>
                      </a:lnTo>
                      <a:lnTo>
                        <a:pt x="31" y="114"/>
                      </a:lnTo>
                      <a:lnTo>
                        <a:pt x="30" y="113"/>
                      </a:lnTo>
                      <a:lnTo>
                        <a:pt x="29" y="113"/>
                      </a:lnTo>
                      <a:lnTo>
                        <a:pt x="29" y="113"/>
                      </a:lnTo>
                      <a:lnTo>
                        <a:pt x="29" y="112"/>
                      </a:lnTo>
                      <a:lnTo>
                        <a:pt x="30" y="112"/>
                      </a:lnTo>
                      <a:lnTo>
                        <a:pt x="31" y="112"/>
                      </a:lnTo>
                      <a:lnTo>
                        <a:pt x="31" y="112"/>
                      </a:lnTo>
                      <a:lnTo>
                        <a:pt x="31" y="111"/>
                      </a:lnTo>
                      <a:lnTo>
                        <a:pt x="32" y="111"/>
                      </a:lnTo>
                      <a:lnTo>
                        <a:pt x="32" y="111"/>
                      </a:lnTo>
                      <a:lnTo>
                        <a:pt x="31" y="111"/>
                      </a:lnTo>
                      <a:lnTo>
                        <a:pt x="31" y="110"/>
                      </a:lnTo>
                      <a:lnTo>
                        <a:pt x="32" y="110"/>
                      </a:lnTo>
                      <a:lnTo>
                        <a:pt x="32" y="109"/>
                      </a:lnTo>
                      <a:lnTo>
                        <a:pt x="33" y="109"/>
                      </a:lnTo>
                      <a:lnTo>
                        <a:pt x="33" y="109"/>
                      </a:lnTo>
                      <a:lnTo>
                        <a:pt x="33" y="109"/>
                      </a:lnTo>
                      <a:lnTo>
                        <a:pt x="33" y="109"/>
                      </a:lnTo>
                      <a:lnTo>
                        <a:pt x="33" y="108"/>
                      </a:lnTo>
                      <a:lnTo>
                        <a:pt x="32" y="108"/>
                      </a:lnTo>
                      <a:lnTo>
                        <a:pt x="31" y="108"/>
                      </a:lnTo>
                      <a:lnTo>
                        <a:pt x="31" y="109"/>
                      </a:lnTo>
                      <a:lnTo>
                        <a:pt x="30" y="109"/>
                      </a:lnTo>
                      <a:lnTo>
                        <a:pt x="29" y="109"/>
                      </a:lnTo>
                      <a:lnTo>
                        <a:pt x="29" y="109"/>
                      </a:lnTo>
                      <a:lnTo>
                        <a:pt x="29" y="110"/>
                      </a:lnTo>
                      <a:lnTo>
                        <a:pt x="28" y="109"/>
                      </a:lnTo>
                      <a:lnTo>
                        <a:pt x="27" y="109"/>
                      </a:lnTo>
                      <a:lnTo>
                        <a:pt x="27" y="109"/>
                      </a:lnTo>
                      <a:lnTo>
                        <a:pt x="27" y="108"/>
                      </a:lnTo>
                      <a:lnTo>
                        <a:pt x="27" y="107"/>
                      </a:lnTo>
                      <a:lnTo>
                        <a:pt x="28" y="107"/>
                      </a:lnTo>
                      <a:lnTo>
                        <a:pt x="29" y="107"/>
                      </a:lnTo>
                      <a:lnTo>
                        <a:pt x="29" y="107"/>
                      </a:lnTo>
                      <a:lnTo>
                        <a:pt x="29" y="107"/>
                      </a:lnTo>
                      <a:lnTo>
                        <a:pt x="29" y="106"/>
                      </a:lnTo>
                      <a:lnTo>
                        <a:pt x="29" y="106"/>
                      </a:lnTo>
                      <a:lnTo>
                        <a:pt x="28" y="106"/>
                      </a:lnTo>
                      <a:lnTo>
                        <a:pt x="28" y="105"/>
                      </a:lnTo>
                      <a:lnTo>
                        <a:pt x="28" y="105"/>
                      </a:lnTo>
                      <a:lnTo>
                        <a:pt x="29" y="105"/>
                      </a:lnTo>
                      <a:lnTo>
                        <a:pt x="29" y="105"/>
                      </a:lnTo>
                      <a:lnTo>
                        <a:pt x="29" y="104"/>
                      </a:lnTo>
                      <a:lnTo>
                        <a:pt x="29" y="103"/>
                      </a:lnTo>
                      <a:lnTo>
                        <a:pt x="29" y="103"/>
                      </a:lnTo>
                      <a:lnTo>
                        <a:pt x="29" y="102"/>
                      </a:lnTo>
                      <a:lnTo>
                        <a:pt x="29" y="101"/>
                      </a:lnTo>
                      <a:lnTo>
                        <a:pt x="28" y="101"/>
                      </a:lnTo>
                      <a:lnTo>
                        <a:pt x="27" y="101"/>
                      </a:lnTo>
                      <a:lnTo>
                        <a:pt x="27" y="102"/>
                      </a:lnTo>
                      <a:lnTo>
                        <a:pt x="27" y="102"/>
                      </a:lnTo>
                      <a:lnTo>
                        <a:pt x="26" y="102"/>
                      </a:lnTo>
                      <a:lnTo>
                        <a:pt x="26" y="101"/>
                      </a:lnTo>
                      <a:lnTo>
                        <a:pt x="27" y="101"/>
                      </a:lnTo>
                      <a:lnTo>
                        <a:pt x="27" y="101"/>
                      </a:lnTo>
                      <a:lnTo>
                        <a:pt x="27" y="101"/>
                      </a:lnTo>
                      <a:lnTo>
                        <a:pt x="28" y="101"/>
                      </a:lnTo>
                      <a:lnTo>
                        <a:pt x="29" y="101"/>
                      </a:lnTo>
                      <a:lnTo>
                        <a:pt x="29" y="101"/>
                      </a:lnTo>
                      <a:lnTo>
                        <a:pt x="30" y="101"/>
                      </a:lnTo>
                      <a:lnTo>
                        <a:pt x="31" y="101"/>
                      </a:lnTo>
                      <a:lnTo>
                        <a:pt x="31" y="100"/>
                      </a:lnTo>
                      <a:lnTo>
                        <a:pt x="31" y="99"/>
                      </a:lnTo>
                      <a:lnTo>
                        <a:pt x="30" y="99"/>
                      </a:lnTo>
                      <a:lnTo>
                        <a:pt x="30" y="98"/>
                      </a:lnTo>
                      <a:lnTo>
                        <a:pt x="29" y="97"/>
                      </a:lnTo>
                      <a:lnTo>
                        <a:pt x="30" y="97"/>
                      </a:lnTo>
                      <a:lnTo>
                        <a:pt x="29" y="97"/>
                      </a:lnTo>
                      <a:lnTo>
                        <a:pt x="29" y="97"/>
                      </a:lnTo>
                      <a:lnTo>
                        <a:pt x="29" y="97"/>
                      </a:lnTo>
                      <a:lnTo>
                        <a:pt x="28" y="97"/>
                      </a:lnTo>
                      <a:lnTo>
                        <a:pt x="28" y="98"/>
                      </a:lnTo>
                      <a:lnTo>
                        <a:pt x="28" y="99"/>
                      </a:lnTo>
                      <a:lnTo>
                        <a:pt x="29" y="99"/>
                      </a:lnTo>
                      <a:lnTo>
                        <a:pt x="29" y="99"/>
                      </a:lnTo>
                      <a:lnTo>
                        <a:pt x="28" y="99"/>
                      </a:lnTo>
                      <a:lnTo>
                        <a:pt x="28" y="100"/>
                      </a:lnTo>
                      <a:lnTo>
                        <a:pt x="27" y="99"/>
                      </a:lnTo>
                      <a:lnTo>
                        <a:pt x="27" y="99"/>
                      </a:lnTo>
                      <a:lnTo>
                        <a:pt x="27" y="99"/>
                      </a:lnTo>
                      <a:lnTo>
                        <a:pt x="27" y="98"/>
                      </a:lnTo>
                      <a:lnTo>
                        <a:pt x="27" y="98"/>
                      </a:lnTo>
                      <a:lnTo>
                        <a:pt x="27" y="97"/>
                      </a:lnTo>
                      <a:lnTo>
                        <a:pt x="27" y="97"/>
                      </a:lnTo>
                      <a:lnTo>
                        <a:pt x="27" y="96"/>
                      </a:lnTo>
                      <a:lnTo>
                        <a:pt x="27" y="95"/>
                      </a:lnTo>
                      <a:lnTo>
                        <a:pt x="27" y="94"/>
                      </a:lnTo>
                      <a:lnTo>
                        <a:pt x="27" y="94"/>
                      </a:lnTo>
                      <a:lnTo>
                        <a:pt x="27" y="93"/>
                      </a:lnTo>
                      <a:lnTo>
                        <a:pt x="26" y="93"/>
                      </a:lnTo>
                      <a:lnTo>
                        <a:pt x="25" y="93"/>
                      </a:lnTo>
                      <a:lnTo>
                        <a:pt x="24" y="93"/>
                      </a:lnTo>
                      <a:lnTo>
                        <a:pt x="24" y="92"/>
                      </a:lnTo>
                      <a:lnTo>
                        <a:pt x="25" y="92"/>
                      </a:lnTo>
                      <a:lnTo>
                        <a:pt x="26" y="92"/>
                      </a:lnTo>
                      <a:lnTo>
                        <a:pt x="27" y="92"/>
                      </a:lnTo>
                      <a:lnTo>
                        <a:pt x="27" y="92"/>
                      </a:lnTo>
                      <a:lnTo>
                        <a:pt x="27" y="91"/>
                      </a:lnTo>
                      <a:lnTo>
                        <a:pt x="27" y="90"/>
                      </a:lnTo>
                      <a:lnTo>
                        <a:pt x="27" y="90"/>
                      </a:lnTo>
                      <a:lnTo>
                        <a:pt x="28" y="90"/>
                      </a:lnTo>
                      <a:lnTo>
                        <a:pt x="28" y="90"/>
                      </a:lnTo>
                      <a:lnTo>
                        <a:pt x="29" y="90"/>
                      </a:lnTo>
                      <a:lnTo>
                        <a:pt x="29" y="90"/>
                      </a:lnTo>
                      <a:lnTo>
                        <a:pt x="29" y="91"/>
                      </a:lnTo>
                      <a:lnTo>
                        <a:pt x="30" y="91"/>
                      </a:lnTo>
                      <a:lnTo>
                        <a:pt x="31" y="91"/>
                      </a:lnTo>
                      <a:lnTo>
                        <a:pt x="31" y="90"/>
                      </a:lnTo>
                      <a:lnTo>
                        <a:pt x="31" y="90"/>
                      </a:lnTo>
                      <a:lnTo>
                        <a:pt x="31" y="90"/>
                      </a:lnTo>
                      <a:lnTo>
                        <a:pt x="30" y="90"/>
                      </a:lnTo>
                      <a:lnTo>
                        <a:pt x="29" y="89"/>
                      </a:lnTo>
                      <a:lnTo>
                        <a:pt x="29" y="89"/>
                      </a:lnTo>
                      <a:lnTo>
                        <a:pt x="28" y="89"/>
                      </a:lnTo>
                      <a:lnTo>
                        <a:pt x="27" y="88"/>
                      </a:lnTo>
                      <a:lnTo>
                        <a:pt x="27" y="88"/>
                      </a:lnTo>
                      <a:lnTo>
                        <a:pt x="27" y="88"/>
                      </a:lnTo>
                      <a:lnTo>
                        <a:pt x="27" y="88"/>
                      </a:lnTo>
                      <a:lnTo>
                        <a:pt x="27" y="87"/>
                      </a:lnTo>
                      <a:lnTo>
                        <a:pt x="28" y="87"/>
                      </a:lnTo>
                      <a:lnTo>
                        <a:pt x="29" y="87"/>
                      </a:lnTo>
                      <a:lnTo>
                        <a:pt x="29" y="87"/>
                      </a:lnTo>
                      <a:lnTo>
                        <a:pt x="29" y="86"/>
                      </a:lnTo>
                      <a:lnTo>
                        <a:pt x="29" y="86"/>
                      </a:lnTo>
                      <a:lnTo>
                        <a:pt x="29" y="85"/>
                      </a:lnTo>
                      <a:lnTo>
                        <a:pt x="30" y="85"/>
                      </a:lnTo>
                      <a:lnTo>
                        <a:pt x="31" y="86"/>
                      </a:lnTo>
                      <a:lnTo>
                        <a:pt x="31" y="85"/>
                      </a:lnTo>
                      <a:lnTo>
                        <a:pt x="31" y="84"/>
                      </a:lnTo>
                      <a:lnTo>
                        <a:pt x="30" y="84"/>
                      </a:lnTo>
                      <a:lnTo>
                        <a:pt x="29" y="84"/>
                      </a:lnTo>
                      <a:lnTo>
                        <a:pt x="29" y="84"/>
                      </a:lnTo>
                      <a:lnTo>
                        <a:pt x="28" y="84"/>
                      </a:lnTo>
                      <a:lnTo>
                        <a:pt x="27" y="84"/>
                      </a:lnTo>
                      <a:lnTo>
                        <a:pt x="27" y="84"/>
                      </a:lnTo>
                      <a:lnTo>
                        <a:pt x="27" y="83"/>
                      </a:lnTo>
                      <a:lnTo>
                        <a:pt x="27" y="82"/>
                      </a:lnTo>
                      <a:lnTo>
                        <a:pt x="27" y="82"/>
                      </a:lnTo>
                      <a:lnTo>
                        <a:pt x="27" y="81"/>
                      </a:lnTo>
                      <a:lnTo>
                        <a:pt x="27" y="80"/>
                      </a:lnTo>
                      <a:lnTo>
                        <a:pt x="28" y="80"/>
                      </a:lnTo>
                      <a:lnTo>
                        <a:pt x="28" y="80"/>
                      </a:lnTo>
                      <a:lnTo>
                        <a:pt x="29" y="80"/>
                      </a:lnTo>
                      <a:lnTo>
                        <a:pt x="29" y="79"/>
                      </a:lnTo>
                      <a:lnTo>
                        <a:pt x="29" y="78"/>
                      </a:lnTo>
                      <a:lnTo>
                        <a:pt x="28" y="78"/>
                      </a:lnTo>
                      <a:lnTo>
                        <a:pt x="27" y="78"/>
                      </a:lnTo>
                      <a:lnTo>
                        <a:pt x="27" y="78"/>
                      </a:lnTo>
                      <a:lnTo>
                        <a:pt x="28" y="78"/>
                      </a:lnTo>
                      <a:lnTo>
                        <a:pt x="28" y="77"/>
                      </a:lnTo>
                      <a:lnTo>
                        <a:pt x="29" y="78"/>
                      </a:lnTo>
                      <a:lnTo>
                        <a:pt x="29" y="77"/>
                      </a:lnTo>
                      <a:lnTo>
                        <a:pt x="29" y="77"/>
                      </a:lnTo>
                      <a:lnTo>
                        <a:pt x="29" y="76"/>
                      </a:lnTo>
                      <a:lnTo>
                        <a:pt x="29" y="76"/>
                      </a:lnTo>
                      <a:lnTo>
                        <a:pt x="29" y="75"/>
                      </a:lnTo>
                      <a:lnTo>
                        <a:pt x="28" y="75"/>
                      </a:lnTo>
                      <a:lnTo>
                        <a:pt x="27" y="75"/>
                      </a:lnTo>
                      <a:lnTo>
                        <a:pt x="27" y="75"/>
                      </a:lnTo>
                      <a:lnTo>
                        <a:pt x="27" y="74"/>
                      </a:lnTo>
                      <a:lnTo>
                        <a:pt x="28" y="73"/>
                      </a:lnTo>
                      <a:lnTo>
                        <a:pt x="29" y="73"/>
                      </a:lnTo>
                      <a:lnTo>
                        <a:pt x="29" y="72"/>
                      </a:lnTo>
                      <a:lnTo>
                        <a:pt x="29" y="72"/>
                      </a:lnTo>
                      <a:lnTo>
                        <a:pt x="29" y="71"/>
                      </a:lnTo>
                      <a:lnTo>
                        <a:pt x="29" y="71"/>
                      </a:lnTo>
                      <a:lnTo>
                        <a:pt x="29" y="71"/>
                      </a:lnTo>
                      <a:lnTo>
                        <a:pt x="28" y="71"/>
                      </a:lnTo>
                      <a:lnTo>
                        <a:pt x="27" y="71"/>
                      </a:lnTo>
                      <a:lnTo>
                        <a:pt x="27" y="70"/>
                      </a:lnTo>
                      <a:lnTo>
                        <a:pt x="28" y="69"/>
                      </a:lnTo>
                      <a:lnTo>
                        <a:pt x="29" y="69"/>
                      </a:lnTo>
                      <a:lnTo>
                        <a:pt x="29" y="69"/>
                      </a:lnTo>
                      <a:lnTo>
                        <a:pt x="30" y="69"/>
                      </a:lnTo>
                      <a:lnTo>
                        <a:pt x="31" y="69"/>
                      </a:lnTo>
                      <a:lnTo>
                        <a:pt x="31" y="68"/>
                      </a:lnTo>
                      <a:lnTo>
                        <a:pt x="31" y="67"/>
                      </a:lnTo>
                      <a:lnTo>
                        <a:pt x="31" y="67"/>
                      </a:lnTo>
                      <a:lnTo>
                        <a:pt x="31" y="67"/>
                      </a:lnTo>
                      <a:lnTo>
                        <a:pt x="31" y="67"/>
                      </a:lnTo>
                      <a:lnTo>
                        <a:pt x="31" y="68"/>
                      </a:lnTo>
                      <a:lnTo>
                        <a:pt x="32" y="69"/>
                      </a:lnTo>
                      <a:lnTo>
                        <a:pt x="33" y="69"/>
                      </a:lnTo>
                      <a:lnTo>
                        <a:pt x="33" y="69"/>
                      </a:lnTo>
                      <a:lnTo>
                        <a:pt x="33" y="69"/>
                      </a:lnTo>
                      <a:lnTo>
                        <a:pt x="34" y="69"/>
                      </a:lnTo>
                      <a:lnTo>
                        <a:pt x="34" y="68"/>
                      </a:lnTo>
                      <a:lnTo>
                        <a:pt x="34" y="67"/>
                      </a:lnTo>
                      <a:lnTo>
                        <a:pt x="34" y="67"/>
                      </a:lnTo>
                      <a:lnTo>
                        <a:pt x="35" y="67"/>
                      </a:lnTo>
                      <a:lnTo>
                        <a:pt x="35" y="67"/>
                      </a:lnTo>
                      <a:lnTo>
                        <a:pt x="36" y="67"/>
                      </a:lnTo>
                      <a:lnTo>
                        <a:pt x="36" y="67"/>
                      </a:lnTo>
                      <a:lnTo>
                        <a:pt x="37" y="67"/>
                      </a:lnTo>
                      <a:lnTo>
                        <a:pt x="37" y="67"/>
                      </a:lnTo>
                      <a:lnTo>
                        <a:pt x="37" y="66"/>
                      </a:lnTo>
                      <a:lnTo>
                        <a:pt x="37" y="65"/>
                      </a:lnTo>
                      <a:lnTo>
                        <a:pt x="36" y="65"/>
                      </a:lnTo>
                      <a:lnTo>
                        <a:pt x="36" y="65"/>
                      </a:lnTo>
                      <a:lnTo>
                        <a:pt x="36" y="64"/>
                      </a:lnTo>
                      <a:lnTo>
                        <a:pt x="35" y="64"/>
                      </a:lnTo>
                      <a:lnTo>
                        <a:pt x="35" y="63"/>
                      </a:lnTo>
                      <a:lnTo>
                        <a:pt x="35" y="63"/>
                      </a:lnTo>
                      <a:lnTo>
                        <a:pt x="35" y="63"/>
                      </a:lnTo>
                      <a:lnTo>
                        <a:pt x="35" y="63"/>
                      </a:lnTo>
                      <a:lnTo>
                        <a:pt x="36" y="63"/>
                      </a:lnTo>
                      <a:lnTo>
                        <a:pt x="37" y="63"/>
                      </a:lnTo>
                      <a:lnTo>
                        <a:pt x="37" y="63"/>
                      </a:lnTo>
                      <a:lnTo>
                        <a:pt x="37" y="63"/>
                      </a:lnTo>
                      <a:lnTo>
                        <a:pt x="37" y="63"/>
                      </a:lnTo>
                      <a:lnTo>
                        <a:pt x="37" y="62"/>
                      </a:lnTo>
                      <a:lnTo>
                        <a:pt x="37" y="61"/>
                      </a:lnTo>
                      <a:lnTo>
                        <a:pt x="37" y="61"/>
                      </a:lnTo>
                      <a:lnTo>
                        <a:pt x="37" y="61"/>
                      </a:lnTo>
                      <a:lnTo>
                        <a:pt x="37" y="60"/>
                      </a:lnTo>
                      <a:lnTo>
                        <a:pt x="36" y="60"/>
                      </a:lnTo>
                      <a:lnTo>
                        <a:pt x="35" y="60"/>
                      </a:lnTo>
                      <a:lnTo>
                        <a:pt x="35" y="59"/>
                      </a:lnTo>
                      <a:lnTo>
                        <a:pt x="35" y="59"/>
                      </a:lnTo>
                      <a:lnTo>
                        <a:pt x="36" y="59"/>
                      </a:lnTo>
                      <a:lnTo>
                        <a:pt x="37" y="59"/>
                      </a:lnTo>
                      <a:lnTo>
                        <a:pt x="37" y="60"/>
                      </a:lnTo>
                      <a:lnTo>
                        <a:pt x="38" y="59"/>
                      </a:lnTo>
                      <a:lnTo>
                        <a:pt x="38" y="59"/>
                      </a:lnTo>
                      <a:lnTo>
                        <a:pt x="37" y="58"/>
                      </a:lnTo>
                      <a:lnTo>
                        <a:pt x="37" y="58"/>
                      </a:lnTo>
                      <a:lnTo>
                        <a:pt x="37" y="59"/>
                      </a:lnTo>
                      <a:lnTo>
                        <a:pt x="36" y="59"/>
                      </a:lnTo>
                      <a:lnTo>
                        <a:pt x="35" y="58"/>
                      </a:lnTo>
                      <a:lnTo>
                        <a:pt x="35" y="57"/>
                      </a:lnTo>
                      <a:lnTo>
                        <a:pt x="36" y="57"/>
                      </a:lnTo>
                      <a:lnTo>
                        <a:pt x="37" y="57"/>
                      </a:lnTo>
                      <a:lnTo>
                        <a:pt x="37" y="56"/>
                      </a:lnTo>
                      <a:lnTo>
                        <a:pt x="37" y="55"/>
                      </a:lnTo>
                      <a:lnTo>
                        <a:pt x="37" y="54"/>
                      </a:lnTo>
                      <a:lnTo>
                        <a:pt x="37" y="54"/>
                      </a:lnTo>
                      <a:lnTo>
                        <a:pt x="37" y="54"/>
                      </a:lnTo>
                      <a:lnTo>
                        <a:pt x="38" y="54"/>
                      </a:lnTo>
                      <a:lnTo>
                        <a:pt x="39" y="54"/>
                      </a:lnTo>
                      <a:lnTo>
                        <a:pt x="39" y="55"/>
                      </a:lnTo>
                      <a:lnTo>
                        <a:pt x="39" y="54"/>
                      </a:lnTo>
                      <a:lnTo>
                        <a:pt x="39" y="54"/>
                      </a:lnTo>
                      <a:lnTo>
                        <a:pt x="39" y="54"/>
                      </a:lnTo>
                      <a:lnTo>
                        <a:pt x="39" y="53"/>
                      </a:lnTo>
                      <a:lnTo>
                        <a:pt x="39" y="52"/>
                      </a:lnTo>
                      <a:lnTo>
                        <a:pt x="40" y="52"/>
                      </a:lnTo>
                      <a:lnTo>
                        <a:pt x="40" y="53"/>
                      </a:lnTo>
                      <a:lnTo>
                        <a:pt x="41" y="53"/>
                      </a:lnTo>
                      <a:lnTo>
                        <a:pt x="41" y="52"/>
                      </a:lnTo>
                      <a:lnTo>
                        <a:pt x="41" y="52"/>
                      </a:lnTo>
                      <a:lnTo>
                        <a:pt x="42" y="52"/>
                      </a:lnTo>
                      <a:lnTo>
                        <a:pt x="42" y="53"/>
                      </a:lnTo>
                      <a:lnTo>
                        <a:pt x="43" y="54"/>
                      </a:lnTo>
                      <a:lnTo>
                        <a:pt x="43" y="54"/>
                      </a:lnTo>
                      <a:lnTo>
                        <a:pt x="43" y="53"/>
                      </a:lnTo>
                      <a:lnTo>
                        <a:pt x="43" y="52"/>
                      </a:lnTo>
                      <a:lnTo>
                        <a:pt x="43" y="52"/>
                      </a:lnTo>
                      <a:lnTo>
                        <a:pt x="43" y="52"/>
                      </a:lnTo>
                      <a:lnTo>
                        <a:pt x="43" y="51"/>
                      </a:lnTo>
                      <a:lnTo>
                        <a:pt x="42" y="51"/>
                      </a:lnTo>
                      <a:lnTo>
                        <a:pt x="42" y="50"/>
                      </a:lnTo>
                      <a:lnTo>
                        <a:pt x="41" y="50"/>
                      </a:lnTo>
                      <a:lnTo>
                        <a:pt x="41" y="50"/>
                      </a:lnTo>
                      <a:lnTo>
                        <a:pt x="41" y="50"/>
                      </a:lnTo>
                      <a:lnTo>
                        <a:pt x="41" y="49"/>
                      </a:lnTo>
                      <a:lnTo>
                        <a:pt x="41" y="48"/>
                      </a:lnTo>
                      <a:lnTo>
                        <a:pt x="41" y="48"/>
                      </a:lnTo>
                      <a:lnTo>
                        <a:pt x="41" y="48"/>
                      </a:lnTo>
                      <a:lnTo>
                        <a:pt x="41" y="47"/>
                      </a:lnTo>
                      <a:lnTo>
                        <a:pt x="42" y="47"/>
                      </a:lnTo>
                      <a:lnTo>
                        <a:pt x="43" y="47"/>
                      </a:lnTo>
                      <a:lnTo>
                        <a:pt x="43" y="47"/>
                      </a:lnTo>
                      <a:lnTo>
                        <a:pt x="44" y="47"/>
                      </a:lnTo>
                      <a:lnTo>
                        <a:pt x="44" y="46"/>
                      </a:lnTo>
                      <a:lnTo>
                        <a:pt x="43" y="46"/>
                      </a:lnTo>
                      <a:lnTo>
                        <a:pt x="43" y="46"/>
                      </a:lnTo>
                      <a:lnTo>
                        <a:pt x="43" y="45"/>
                      </a:lnTo>
                      <a:lnTo>
                        <a:pt x="43" y="44"/>
                      </a:lnTo>
                      <a:lnTo>
                        <a:pt x="43" y="44"/>
                      </a:lnTo>
                      <a:lnTo>
                        <a:pt x="44" y="44"/>
                      </a:lnTo>
                      <a:lnTo>
                        <a:pt x="44" y="43"/>
                      </a:lnTo>
                      <a:lnTo>
                        <a:pt x="43" y="43"/>
                      </a:lnTo>
                      <a:lnTo>
                        <a:pt x="43" y="42"/>
                      </a:lnTo>
                      <a:lnTo>
                        <a:pt x="43" y="42"/>
                      </a:lnTo>
                      <a:lnTo>
                        <a:pt x="44" y="42"/>
                      </a:lnTo>
                      <a:lnTo>
                        <a:pt x="45" y="41"/>
                      </a:lnTo>
                      <a:lnTo>
                        <a:pt x="44" y="41"/>
                      </a:lnTo>
                      <a:lnTo>
                        <a:pt x="44" y="40"/>
                      </a:lnTo>
                      <a:lnTo>
                        <a:pt x="44" y="40"/>
                      </a:lnTo>
                      <a:lnTo>
                        <a:pt x="44" y="39"/>
                      </a:lnTo>
                      <a:lnTo>
                        <a:pt x="45" y="39"/>
                      </a:lnTo>
                      <a:lnTo>
                        <a:pt x="45" y="40"/>
                      </a:lnTo>
                      <a:lnTo>
                        <a:pt x="46" y="40"/>
                      </a:lnTo>
                      <a:lnTo>
                        <a:pt x="46" y="40"/>
                      </a:lnTo>
                      <a:lnTo>
                        <a:pt x="47" y="40"/>
                      </a:lnTo>
                      <a:lnTo>
                        <a:pt x="48" y="40"/>
                      </a:lnTo>
                      <a:lnTo>
                        <a:pt x="48" y="40"/>
                      </a:lnTo>
                      <a:lnTo>
                        <a:pt x="48" y="40"/>
                      </a:lnTo>
                      <a:lnTo>
                        <a:pt x="48" y="39"/>
                      </a:lnTo>
                      <a:lnTo>
                        <a:pt x="49" y="38"/>
                      </a:lnTo>
                      <a:lnTo>
                        <a:pt x="48" y="38"/>
                      </a:lnTo>
                      <a:lnTo>
                        <a:pt x="49" y="38"/>
                      </a:lnTo>
                      <a:lnTo>
                        <a:pt x="49" y="37"/>
                      </a:lnTo>
                      <a:lnTo>
                        <a:pt x="50" y="37"/>
                      </a:lnTo>
                      <a:lnTo>
                        <a:pt x="50" y="36"/>
                      </a:lnTo>
                      <a:lnTo>
                        <a:pt x="50" y="35"/>
                      </a:lnTo>
                      <a:lnTo>
                        <a:pt x="50" y="35"/>
                      </a:lnTo>
                      <a:lnTo>
                        <a:pt x="50" y="34"/>
                      </a:lnTo>
                      <a:lnTo>
                        <a:pt x="50" y="33"/>
                      </a:lnTo>
                      <a:lnTo>
                        <a:pt x="50" y="33"/>
                      </a:lnTo>
                      <a:lnTo>
                        <a:pt x="51" y="33"/>
                      </a:lnTo>
                      <a:lnTo>
                        <a:pt x="51" y="33"/>
                      </a:lnTo>
                      <a:lnTo>
                        <a:pt x="51" y="34"/>
                      </a:lnTo>
                      <a:lnTo>
                        <a:pt x="51" y="35"/>
                      </a:lnTo>
                      <a:lnTo>
                        <a:pt x="52" y="35"/>
                      </a:lnTo>
                      <a:lnTo>
                        <a:pt x="52" y="35"/>
                      </a:lnTo>
                      <a:lnTo>
                        <a:pt x="53" y="35"/>
                      </a:lnTo>
                      <a:lnTo>
                        <a:pt x="53" y="35"/>
                      </a:lnTo>
                      <a:lnTo>
                        <a:pt x="54" y="35"/>
                      </a:lnTo>
                      <a:lnTo>
                        <a:pt x="54" y="35"/>
                      </a:lnTo>
                      <a:lnTo>
                        <a:pt x="54" y="35"/>
                      </a:lnTo>
                      <a:lnTo>
                        <a:pt x="55" y="35"/>
                      </a:lnTo>
                      <a:lnTo>
                        <a:pt x="55" y="34"/>
                      </a:lnTo>
                      <a:lnTo>
                        <a:pt x="56" y="34"/>
                      </a:lnTo>
                      <a:lnTo>
                        <a:pt x="56" y="33"/>
                      </a:lnTo>
                      <a:lnTo>
                        <a:pt x="56" y="33"/>
                      </a:lnTo>
                      <a:lnTo>
                        <a:pt x="57" y="33"/>
                      </a:lnTo>
                      <a:lnTo>
                        <a:pt x="57" y="33"/>
                      </a:lnTo>
                      <a:lnTo>
                        <a:pt x="58" y="33"/>
                      </a:lnTo>
                      <a:lnTo>
                        <a:pt x="58" y="33"/>
                      </a:lnTo>
                      <a:lnTo>
                        <a:pt x="59" y="33"/>
                      </a:lnTo>
                      <a:lnTo>
                        <a:pt x="59" y="32"/>
                      </a:lnTo>
                      <a:lnTo>
                        <a:pt x="60" y="31"/>
                      </a:lnTo>
                      <a:lnTo>
                        <a:pt x="60" y="31"/>
                      </a:lnTo>
                      <a:lnTo>
                        <a:pt x="60" y="30"/>
                      </a:lnTo>
                      <a:lnTo>
                        <a:pt x="60" y="29"/>
                      </a:lnTo>
                      <a:lnTo>
                        <a:pt x="60" y="29"/>
                      </a:lnTo>
                      <a:lnTo>
                        <a:pt x="61" y="29"/>
                      </a:lnTo>
                      <a:lnTo>
                        <a:pt x="62" y="29"/>
                      </a:lnTo>
                      <a:lnTo>
                        <a:pt x="62" y="29"/>
                      </a:lnTo>
                      <a:lnTo>
                        <a:pt x="62" y="28"/>
                      </a:lnTo>
                      <a:lnTo>
                        <a:pt x="63" y="28"/>
                      </a:lnTo>
                      <a:lnTo>
                        <a:pt x="64" y="28"/>
                      </a:lnTo>
                      <a:lnTo>
                        <a:pt x="64" y="27"/>
                      </a:lnTo>
                      <a:lnTo>
                        <a:pt x="63" y="27"/>
                      </a:lnTo>
                      <a:lnTo>
                        <a:pt x="62" y="27"/>
                      </a:lnTo>
                      <a:lnTo>
                        <a:pt x="62" y="27"/>
                      </a:lnTo>
                      <a:lnTo>
                        <a:pt x="61" y="27"/>
                      </a:lnTo>
                      <a:lnTo>
                        <a:pt x="61" y="27"/>
                      </a:lnTo>
                      <a:lnTo>
                        <a:pt x="61" y="28"/>
                      </a:lnTo>
                      <a:lnTo>
                        <a:pt x="60" y="28"/>
                      </a:lnTo>
                      <a:lnTo>
                        <a:pt x="60" y="27"/>
                      </a:lnTo>
                      <a:lnTo>
                        <a:pt x="60" y="27"/>
                      </a:lnTo>
                      <a:lnTo>
                        <a:pt x="60" y="27"/>
                      </a:lnTo>
                      <a:lnTo>
                        <a:pt x="60" y="26"/>
                      </a:lnTo>
                      <a:lnTo>
                        <a:pt x="60" y="26"/>
                      </a:lnTo>
                      <a:lnTo>
                        <a:pt x="61" y="26"/>
                      </a:lnTo>
                      <a:lnTo>
                        <a:pt x="61" y="25"/>
                      </a:lnTo>
                      <a:lnTo>
                        <a:pt x="62" y="25"/>
                      </a:lnTo>
                      <a:lnTo>
                        <a:pt x="62" y="25"/>
                      </a:lnTo>
                      <a:lnTo>
                        <a:pt x="63" y="25"/>
                      </a:lnTo>
                      <a:lnTo>
                        <a:pt x="63" y="24"/>
                      </a:lnTo>
                      <a:lnTo>
                        <a:pt x="64" y="24"/>
                      </a:lnTo>
                      <a:lnTo>
                        <a:pt x="65" y="24"/>
                      </a:lnTo>
                      <a:lnTo>
                        <a:pt x="65" y="23"/>
                      </a:lnTo>
                      <a:lnTo>
                        <a:pt x="65" y="23"/>
                      </a:lnTo>
                      <a:lnTo>
                        <a:pt x="65" y="22"/>
                      </a:lnTo>
                      <a:lnTo>
                        <a:pt x="64" y="22"/>
                      </a:lnTo>
                      <a:lnTo>
                        <a:pt x="63" y="22"/>
                      </a:lnTo>
                      <a:lnTo>
                        <a:pt x="63" y="23"/>
                      </a:lnTo>
                      <a:lnTo>
                        <a:pt x="63" y="23"/>
                      </a:lnTo>
                      <a:lnTo>
                        <a:pt x="62" y="23"/>
                      </a:lnTo>
                      <a:lnTo>
                        <a:pt x="62" y="23"/>
                      </a:lnTo>
                      <a:lnTo>
                        <a:pt x="62" y="23"/>
                      </a:lnTo>
                      <a:lnTo>
                        <a:pt x="62" y="22"/>
                      </a:lnTo>
                      <a:lnTo>
                        <a:pt x="62" y="22"/>
                      </a:lnTo>
                      <a:lnTo>
                        <a:pt x="63" y="22"/>
                      </a:lnTo>
                      <a:lnTo>
                        <a:pt x="63" y="21"/>
                      </a:lnTo>
                      <a:lnTo>
                        <a:pt x="64" y="21"/>
                      </a:lnTo>
                      <a:lnTo>
                        <a:pt x="65" y="21"/>
                      </a:lnTo>
                      <a:lnTo>
                        <a:pt x="65" y="21"/>
                      </a:lnTo>
                      <a:lnTo>
                        <a:pt x="66" y="21"/>
                      </a:lnTo>
                      <a:lnTo>
                        <a:pt x="67" y="20"/>
                      </a:lnTo>
                      <a:lnTo>
                        <a:pt x="67" y="20"/>
                      </a:lnTo>
                      <a:lnTo>
                        <a:pt x="67" y="19"/>
                      </a:lnTo>
                      <a:lnTo>
                        <a:pt x="68" y="19"/>
                      </a:lnTo>
                      <a:lnTo>
                        <a:pt x="68" y="19"/>
                      </a:lnTo>
                      <a:lnTo>
                        <a:pt x="67" y="19"/>
                      </a:lnTo>
                      <a:lnTo>
                        <a:pt x="67" y="19"/>
                      </a:lnTo>
                      <a:lnTo>
                        <a:pt x="67" y="18"/>
                      </a:lnTo>
                      <a:lnTo>
                        <a:pt x="66" y="18"/>
                      </a:lnTo>
                      <a:lnTo>
                        <a:pt x="66" y="17"/>
                      </a:lnTo>
                      <a:lnTo>
                        <a:pt x="66" y="16"/>
                      </a:lnTo>
                      <a:lnTo>
                        <a:pt x="66" y="16"/>
                      </a:lnTo>
                      <a:lnTo>
                        <a:pt x="65" y="15"/>
                      </a:lnTo>
                      <a:lnTo>
                        <a:pt x="65" y="16"/>
                      </a:lnTo>
                      <a:lnTo>
                        <a:pt x="64" y="16"/>
                      </a:lnTo>
                      <a:lnTo>
                        <a:pt x="64" y="16"/>
                      </a:lnTo>
                      <a:lnTo>
                        <a:pt x="64" y="17"/>
                      </a:lnTo>
                      <a:lnTo>
                        <a:pt x="63" y="16"/>
                      </a:lnTo>
                      <a:lnTo>
                        <a:pt x="63" y="16"/>
                      </a:lnTo>
                      <a:lnTo>
                        <a:pt x="63" y="15"/>
                      </a:lnTo>
                      <a:lnTo>
                        <a:pt x="62" y="16"/>
                      </a:lnTo>
                      <a:lnTo>
                        <a:pt x="62" y="16"/>
                      </a:lnTo>
                      <a:lnTo>
                        <a:pt x="62" y="15"/>
                      </a:lnTo>
                      <a:lnTo>
                        <a:pt x="61" y="14"/>
                      </a:lnTo>
                      <a:lnTo>
                        <a:pt x="61" y="14"/>
                      </a:lnTo>
                      <a:lnTo>
                        <a:pt x="61" y="13"/>
                      </a:lnTo>
                      <a:lnTo>
                        <a:pt x="61" y="12"/>
                      </a:lnTo>
                      <a:lnTo>
                        <a:pt x="62" y="12"/>
                      </a:lnTo>
                      <a:lnTo>
                        <a:pt x="62" y="12"/>
                      </a:lnTo>
                      <a:lnTo>
                        <a:pt x="62" y="12"/>
                      </a:lnTo>
                      <a:lnTo>
                        <a:pt x="62" y="11"/>
                      </a:lnTo>
                      <a:lnTo>
                        <a:pt x="62" y="10"/>
                      </a:lnTo>
                      <a:lnTo>
                        <a:pt x="62" y="10"/>
                      </a:lnTo>
                      <a:lnTo>
                        <a:pt x="62" y="10"/>
                      </a:lnTo>
                      <a:lnTo>
                        <a:pt x="62" y="9"/>
                      </a:lnTo>
                      <a:lnTo>
                        <a:pt x="61" y="8"/>
                      </a:lnTo>
                      <a:lnTo>
                        <a:pt x="60" y="8"/>
                      </a:lnTo>
                      <a:lnTo>
                        <a:pt x="60" y="7"/>
                      </a:lnTo>
                      <a:lnTo>
                        <a:pt x="60" y="6"/>
                      </a:lnTo>
                      <a:lnTo>
                        <a:pt x="60" y="6"/>
                      </a:lnTo>
                      <a:lnTo>
                        <a:pt x="60" y="6"/>
                      </a:lnTo>
                      <a:lnTo>
                        <a:pt x="61" y="5"/>
                      </a:lnTo>
                      <a:lnTo>
                        <a:pt x="62" y="4"/>
                      </a:lnTo>
                      <a:lnTo>
                        <a:pt x="62" y="4"/>
                      </a:lnTo>
                      <a:lnTo>
                        <a:pt x="62" y="3"/>
                      </a:lnTo>
                      <a:lnTo>
                        <a:pt x="62" y="2"/>
                      </a:lnTo>
                      <a:lnTo>
                        <a:pt x="62" y="2"/>
                      </a:lnTo>
                      <a:lnTo>
                        <a:pt x="62" y="1"/>
                      </a:lnTo>
                      <a:lnTo>
                        <a:pt x="62" y="0"/>
                      </a:lnTo>
                      <a:lnTo>
                        <a:pt x="62"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5" name="Freeform 55">
                  <a:extLst>
                    <a:ext uri="{FF2B5EF4-FFF2-40B4-BE49-F238E27FC236}">
                      <a16:creationId xmlns:a16="http://schemas.microsoft.com/office/drawing/2014/main" xmlns="" id="{FD1F5BC5-4ADD-43A9-BFC6-A98644C2A5C4}"/>
                    </a:ext>
                  </a:extLst>
                </p:cNvPr>
                <p:cNvSpPr>
                  <a:spLocks/>
                </p:cNvSpPr>
                <p:nvPr/>
              </p:nvSpPr>
              <p:spPr bwMode="auto">
                <a:xfrm>
                  <a:off x="2174" y="1309"/>
                  <a:ext cx="195" cy="205"/>
                </a:xfrm>
                <a:custGeom>
                  <a:avLst/>
                  <a:gdLst>
                    <a:gd name="T0" fmla="*/ 2 w 195"/>
                    <a:gd name="T1" fmla="*/ 204 h 205"/>
                    <a:gd name="T2" fmla="*/ 5 w 195"/>
                    <a:gd name="T3" fmla="*/ 204 h 205"/>
                    <a:gd name="T4" fmla="*/ 5 w 195"/>
                    <a:gd name="T5" fmla="*/ 201 h 205"/>
                    <a:gd name="T6" fmla="*/ 7 w 195"/>
                    <a:gd name="T7" fmla="*/ 199 h 205"/>
                    <a:gd name="T8" fmla="*/ 9 w 195"/>
                    <a:gd name="T9" fmla="*/ 197 h 205"/>
                    <a:gd name="T10" fmla="*/ 10 w 195"/>
                    <a:gd name="T11" fmla="*/ 199 h 205"/>
                    <a:gd name="T12" fmla="*/ 9 w 195"/>
                    <a:gd name="T13" fmla="*/ 196 h 205"/>
                    <a:gd name="T14" fmla="*/ 9 w 195"/>
                    <a:gd name="T15" fmla="*/ 194 h 205"/>
                    <a:gd name="T16" fmla="*/ 11 w 195"/>
                    <a:gd name="T17" fmla="*/ 192 h 205"/>
                    <a:gd name="T18" fmla="*/ 12 w 195"/>
                    <a:gd name="T19" fmla="*/ 190 h 205"/>
                    <a:gd name="T20" fmla="*/ 15 w 195"/>
                    <a:gd name="T21" fmla="*/ 190 h 205"/>
                    <a:gd name="T22" fmla="*/ 15 w 195"/>
                    <a:gd name="T23" fmla="*/ 187 h 205"/>
                    <a:gd name="T24" fmla="*/ 15 w 195"/>
                    <a:gd name="T25" fmla="*/ 184 h 205"/>
                    <a:gd name="T26" fmla="*/ 13 w 195"/>
                    <a:gd name="T27" fmla="*/ 181 h 205"/>
                    <a:gd name="T28" fmla="*/ 16 w 195"/>
                    <a:gd name="T29" fmla="*/ 182 h 205"/>
                    <a:gd name="T30" fmla="*/ 18 w 195"/>
                    <a:gd name="T31" fmla="*/ 184 h 205"/>
                    <a:gd name="T32" fmla="*/ 20 w 195"/>
                    <a:gd name="T33" fmla="*/ 184 h 205"/>
                    <a:gd name="T34" fmla="*/ 19 w 195"/>
                    <a:gd name="T35" fmla="*/ 181 h 205"/>
                    <a:gd name="T36" fmla="*/ 19 w 195"/>
                    <a:gd name="T37" fmla="*/ 179 h 205"/>
                    <a:gd name="T38" fmla="*/ 20 w 195"/>
                    <a:gd name="T39" fmla="*/ 176 h 205"/>
                    <a:gd name="T40" fmla="*/ 31 w 195"/>
                    <a:gd name="T41" fmla="*/ 173 h 205"/>
                    <a:gd name="T42" fmla="*/ 39 w 195"/>
                    <a:gd name="T43" fmla="*/ 167 h 205"/>
                    <a:gd name="T44" fmla="*/ 45 w 195"/>
                    <a:gd name="T45" fmla="*/ 163 h 205"/>
                    <a:gd name="T46" fmla="*/ 43 w 195"/>
                    <a:gd name="T47" fmla="*/ 159 h 205"/>
                    <a:gd name="T48" fmla="*/ 39 w 195"/>
                    <a:gd name="T49" fmla="*/ 154 h 205"/>
                    <a:gd name="T50" fmla="*/ 37 w 195"/>
                    <a:gd name="T51" fmla="*/ 152 h 205"/>
                    <a:gd name="T52" fmla="*/ 36 w 195"/>
                    <a:gd name="T53" fmla="*/ 149 h 205"/>
                    <a:gd name="T54" fmla="*/ 37 w 195"/>
                    <a:gd name="T55" fmla="*/ 147 h 205"/>
                    <a:gd name="T56" fmla="*/ 41 w 195"/>
                    <a:gd name="T57" fmla="*/ 146 h 205"/>
                    <a:gd name="T58" fmla="*/ 44 w 195"/>
                    <a:gd name="T59" fmla="*/ 146 h 205"/>
                    <a:gd name="T60" fmla="*/ 48 w 195"/>
                    <a:gd name="T61" fmla="*/ 146 h 205"/>
                    <a:gd name="T62" fmla="*/ 55 w 195"/>
                    <a:gd name="T63" fmla="*/ 147 h 205"/>
                    <a:gd name="T64" fmla="*/ 62 w 195"/>
                    <a:gd name="T65" fmla="*/ 152 h 205"/>
                    <a:gd name="T66" fmla="*/ 70 w 195"/>
                    <a:gd name="T67" fmla="*/ 153 h 205"/>
                    <a:gd name="T68" fmla="*/ 79 w 195"/>
                    <a:gd name="T69" fmla="*/ 146 h 205"/>
                    <a:gd name="T70" fmla="*/ 85 w 195"/>
                    <a:gd name="T71" fmla="*/ 130 h 205"/>
                    <a:gd name="T72" fmla="*/ 82 w 195"/>
                    <a:gd name="T73" fmla="*/ 112 h 205"/>
                    <a:gd name="T74" fmla="*/ 93 w 195"/>
                    <a:gd name="T75" fmla="*/ 101 h 205"/>
                    <a:gd name="T76" fmla="*/ 103 w 195"/>
                    <a:gd name="T77" fmla="*/ 100 h 205"/>
                    <a:gd name="T78" fmla="*/ 112 w 195"/>
                    <a:gd name="T79" fmla="*/ 101 h 205"/>
                    <a:gd name="T80" fmla="*/ 121 w 195"/>
                    <a:gd name="T81" fmla="*/ 93 h 205"/>
                    <a:gd name="T82" fmla="*/ 129 w 195"/>
                    <a:gd name="T83" fmla="*/ 83 h 205"/>
                    <a:gd name="T84" fmla="*/ 128 w 195"/>
                    <a:gd name="T85" fmla="*/ 68 h 205"/>
                    <a:gd name="T86" fmla="*/ 129 w 195"/>
                    <a:gd name="T87" fmla="*/ 58 h 205"/>
                    <a:gd name="T88" fmla="*/ 126 w 195"/>
                    <a:gd name="T89" fmla="*/ 48 h 205"/>
                    <a:gd name="T90" fmla="*/ 128 w 195"/>
                    <a:gd name="T91" fmla="*/ 43 h 205"/>
                    <a:gd name="T92" fmla="*/ 138 w 195"/>
                    <a:gd name="T93" fmla="*/ 43 h 205"/>
                    <a:gd name="T94" fmla="*/ 147 w 195"/>
                    <a:gd name="T95" fmla="*/ 46 h 205"/>
                    <a:gd name="T96" fmla="*/ 155 w 195"/>
                    <a:gd name="T97" fmla="*/ 47 h 205"/>
                    <a:gd name="T98" fmla="*/ 163 w 195"/>
                    <a:gd name="T99" fmla="*/ 49 h 205"/>
                    <a:gd name="T100" fmla="*/ 172 w 195"/>
                    <a:gd name="T101" fmla="*/ 39 h 205"/>
                    <a:gd name="T102" fmla="*/ 182 w 195"/>
                    <a:gd name="T103" fmla="*/ 34 h 205"/>
                    <a:gd name="T104" fmla="*/ 189 w 195"/>
                    <a:gd name="T105" fmla="*/ 28 h 205"/>
                    <a:gd name="T106" fmla="*/ 195 w 195"/>
                    <a:gd name="T107" fmla="*/ 18 h 205"/>
                    <a:gd name="T108" fmla="*/ 190 w 195"/>
                    <a:gd name="T109" fmla="*/ 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5" h="205">
                      <a:moveTo>
                        <a:pt x="0" y="205"/>
                      </a:moveTo>
                      <a:lnTo>
                        <a:pt x="0" y="205"/>
                      </a:lnTo>
                      <a:lnTo>
                        <a:pt x="1" y="205"/>
                      </a:lnTo>
                      <a:lnTo>
                        <a:pt x="2" y="205"/>
                      </a:lnTo>
                      <a:lnTo>
                        <a:pt x="2" y="204"/>
                      </a:lnTo>
                      <a:lnTo>
                        <a:pt x="3" y="203"/>
                      </a:lnTo>
                      <a:lnTo>
                        <a:pt x="3" y="203"/>
                      </a:lnTo>
                      <a:lnTo>
                        <a:pt x="3" y="204"/>
                      </a:lnTo>
                      <a:lnTo>
                        <a:pt x="4" y="204"/>
                      </a:lnTo>
                      <a:lnTo>
                        <a:pt x="5" y="204"/>
                      </a:lnTo>
                      <a:lnTo>
                        <a:pt x="5" y="204"/>
                      </a:lnTo>
                      <a:lnTo>
                        <a:pt x="5" y="203"/>
                      </a:lnTo>
                      <a:lnTo>
                        <a:pt x="5" y="203"/>
                      </a:lnTo>
                      <a:lnTo>
                        <a:pt x="5" y="202"/>
                      </a:lnTo>
                      <a:lnTo>
                        <a:pt x="5" y="201"/>
                      </a:lnTo>
                      <a:lnTo>
                        <a:pt x="5" y="200"/>
                      </a:lnTo>
                      <a:lnTo>
                        <a:pt x="6" y="200"/>
                      </a:lnTo>
                      <a:lnTo>
                        <a:pt x="7" y="200"/>
                      </a:lnTo>
                      <a:lnTo>
                        <a:pt x="7" y="199"/>
                      </a:lnTo>
                      <a:lnTo>
                        <a:pt x="7" y="199"/>
                      </a:lnTo>
                      <a:lnTo>
                        <a:pt x="7" y="198"/>
                      </a:lnTo>
                      <a:lnTo>
                        <a:pt x="8" y="198"/>
                      </a:lnTo>
                      <a:lnTo>
                        <a:pt x="8" y="198"/>
                      </a:lnTo>
                      <a:lnTo>
                        <a:pt x="8" y="197"/>
                      </a:lnTo>
                      <a:lnTo>
                        <a:pt x="9" y="197"/>
                      </a:lnTo>
                      <a:lnTo>
                        <a:pt x="9" y="198"/>
                      </a:lnTo>
                      <a:lnTo>
                        <a:pt x="9" y="198"/>
                      </a:lnTo>
                      <a:lnTo>
                        <a:pt x="9" y="199"/>
                      </a:lnTo>
                      <a:lnTo>
                        <a:pt x="9" y="199"/>
                      </a:lnTo>
                      <a:lnTo>
                        <a:pt x="10" y="199"/>
                      </a:lnTo>
                      <a:lnTo>
                        <a:pt x="10" y="198"/>
                      </a:lnTo>
                      <a:lnTo>
                        <a:pt x="11" y="198"/>
                      </a:lnTo>
                      <a:lnTo>
                        <a:pt x="10" y="197"/>
                      </a:lnTo>
                      <a:lnTo>
                        <a:pt x="9" y="197"/>
                      </a:lnTo>
                      <a:lnTo>
                        <a:pt x="9" y="196"/>
                      </a:lnTo>
                      <a:lnTo>
                        <a:pt x="9" y="196"/>
                      </a:lnTo>
                      <a:lnTo>
                        <a:pt x="9" y="196"/>
                      </a:lnTo>
                      <a:lnTo>
                        <a:pt x="9" y="195"/>
                      </a:lnTo>
                      <a:lnTo>
                        <a:pt x="9" y="194"/>
                      </a:lnTo>
                      <a:lnTo>
                        <a:pt x="9" y="194"/>
                      </a:lnTo>
                      <a:lnTo>
                        <a:pt x="10" y="194"/>
                      </a:lnTo>
                      <a:lnTo>
                        <a:pt x="10" y="193"/>
                      </a:lnTo>
                      <a:lnTo>
                        <a:pt x="11" y="193"/>
                      </a:lnTo>
                      <a:lnTo>
                        <a:pt x="11" y="192"/>
                      </a:lnTo>
                      <a:lnTo>
                        <a:pt x="11" y="192"/>
                      </a:lnTo>
                      <a:lnTo>
                        <a:pt x="10" y="192"/>
                      </a:lnTo>
                      <a:lnTo>
                        <a:pt x="10" y="191"/>
                      </a:lnTo>
                      <a:lnTo>
                        <a:pt x="11" y="191"/>
                      </a:lnTo>
                      <a:lnTo>
                        <a:pt x="11" y="191"/>
                      </a:lnTo>
                      <a:lnTo>
                        <a:pt x="12" y="190"/>
                      </a:lnTo>
                      <a:lnTo>
                        <a:pt x="13" y="190"/>
                      </a:lnTo>
                      <a:lnTo>
                        <a:pt x="13" y="190"/>
                      </a:lnTo>
                      <a:lnTo>
                        <a:pt x="14" y="190"/>
                      </a:lnTo>
                      <a:lnTo>
                        <a:pt x="15" y="190"/>
                      </a:lnTo>
                      <a:lnTo>
                        <a:pt x="15" y="190"/>
                      </a:lnTo>
                      <a:lnTo>
                        <a:pt x="15" y="189"/>
                      </a:lnTo>
                      <a:lnTo>
                        <a:pt x="15" y="188"/>
                      </a:lnTo>
                      <a:lnTo>
                        <a:pt x="15" y="188"/>
                      </a:lnTo>
                      <a:lnTo>
                        <a:pt x="15" y="188"/>
                      </a:lnTo>
                      <a:lnTo>
                        <a:pt x="15" y="187"/>
                      </a:lnTo>
                      <a:lnTo>
                        <a:pt x="15" y="186"/>
                      </a:lnTo>
                      <a:lnTo>
                        <a:pt x="15" y="186"/>
                      </a:lnTo>
                      <a:lnTo>
                        <a:pt x="15" y="185"/>
                      </a:lnTo>
                      <a:lnTo>
                        <a:pt x="15" y="184"/>
                      </a:lnTo>
                      <a:lnTo>
                        <a:pt x="15" y="184"/>
                      </a:lnTo>
                      <a:lnTo>
                        <a:pt x="14" y="184"/>
                      </a:lnTo>
                      <a:lnTo>
                        <a:pt x="13" y="184"/>
                      </a:lnTo>
                      <a:lnTo>
                        <a:pt x="13" y="183"/>
                      </a:lnTo>
                      <a:lnTo>
                        <a:pt x="13" y="182"/>
                      </a:lnTo>
                      <a:lnTo>
                        <a:pt x="13" y="181"/>
                      </a:lnTo>
                      <a:lnTo>
                        <a:pt x="13" y="181"/>
                      </a:lnTo>
                      <a:lnTo>
                        <a:pt x="14" y="182"/>
                      </a:lnTo>
                      <a:lnTo>
                        <a:pt x="15" y="182"/>
                      </a:lnTo>
                      <a:lnTo>
                        <a:pt x="15" y="182"/>
                      </a:lnTo>
                      <a:lnTo>
                        <a:pt x="16" y="182"/>
                      </a:lnTo>
                      <a:lnTo>
                        <a:pt x="17" y="182"/>
                      </a:lnTo>
                      <a:lnTo>
                        <a:pt x="17" y="182"/>
                      </a:lnTo>
                      <a:lnTo>
                        <a:pt x="18" y="183"/>
                      </a:lnTo>
                      <a:lnTo>
                        <a:pt x="18" y="184"/>
                      </a:lnTo>
                      <a:lnTo>
                        <a:pt x="18" y="184"/>
                      </a:lnTo>
                      <a:lnTo>
                        <a:pt x="18" y="185"/>
                      </a:lnTo>
                      <a:lnTo>
                        <a:pt x="19" y="186"/>
                      </a:lnTo>
                      <a:lnTo>
                        <a:pt x="19" y="185"/>
                      </a:lnTo>
                      <a:lnTo>
                        <a:pt x="20" y="184"/>
                      </a:lnTo>
                      <a:lnTo>
                        <a:pt x="20" y="184"/>
                      </a:lnTo>
                      <a:lnTo>
                        <a:pt x="19" y="183"/>
                      </a:lnTo>
                      <a:lnTo>
                        <a:pt x="19" y="182"/>
                      </a:lnTo>
                      <a:lnTo>
                        <a:pt x="19" y="181"/>
                      </a:lnTo>
                      <a:lnTo>
                        <a:pt x="19" y="181"/>
                      </a:lnTo>
                      <a:lnTo>
                        <a:pt x="19" y="181"/>
                      </a:lnTo>
                      <a:lnTo>
                        <a:pt x="18" y="181"/>
                      </a:lnTo>
                      <a:lnTo>
                        <a:pt x="18" y="180"/>
                      </a:lnTo>
                      <a:lnTo>
                        <a:pt x="19" y="180"/>
                      </a:lnTo>
                      <a:lnTo>
                        <a:pt x="19" y="179"/>
                      </a:lnTo>
                      <a:lnTo>
                        <a:pt x="19" y="179"/>
                      </a:lnTo>
                      <a:lnTo>
                        <a:pt x="19" y="179"/>
                      </a:lnTo>
                      <a:lnTo>
                        <a:pt x="20" y="179"/>
                      </a:lnTo>
                      <a:lnTo>
                        <a:pt x="20" y="178"/>
                      </a:lnTo>
                      <a:lnTo>
                        <a:pt x="20" y="177"/>
                      </a:lnTo>
                      <a:lnTo>
                        <a:pt x="20" y="176"/>
                      </a:lnTo>
                      <a:lnTo>
                        <a:pt x="20" y="175"/>
                      </a:lnTo>
                      <a:lnTo>
                        <a:pt x="24" y="175"/>
                      </a:lnTo>
                      <a:lnTo>
                        <a:pt x="27" y="175"/>
                      </a:lnTo>
                      <a:lnTo>
                        <a:pt x="29" y="174"/>
                      </a:lnTo>
                      <a:lnTo>
                        <a:pt x="31" y="173"/>
                      </a:lnTo>
                      <a:lnTo>
                        <a:pt x="33" y="171"/>
                      </a:lnTo>
                      <a:lnTo>
                        <a:pt x="35" y="170"/>
                      </a:lnTo>
                      <a:lnTo>
                        <a:pt x="36" y="169"/>
                      </a:lnTo>
                      <a:lnTo>
                        <a:pt x="38" y="168"/>
                      </a:lnTo>
                      <a:lnTo>
                        <a:pt x="39" y="167"/>
                      </a:lnTo>
                      <a:lnTo>
                        <a:pt x="40" y="167"/>
                      </a:lnTo>
                      <a:lnTo>
                        <a:pt x="43" y="165"/>
                      </a:lnTo>
                      <a:lnTo>
                        <a:pt x="43" y="165"/>
                      </a:lnTo>
                      <a:lnTo>
                        <a:pt x="44" y="164"/>
                      </a:lnTo>
                      <a:lnTo>
                        <a:pt x="45" y="163"/>
                      </a:lnTo>
                      <a:lnTo>
                        <a:pt x="45" y="162"/>
                      </a:lnTo>
                      <a:lnTo>
                        <a:pt x="45" y="162"/>
                      </a:lnTo>
                      <a:lnTo>
                        <a:pt x="45" y="161"/>
                      </a:lnTo>
                      <a:lnTo>
                        <a:pt x="44" y="160"/>
                      </a:lnTo>
                      <a:lnTo>
                        <a:pt x="43" y="159"/>
                      </a:lnTo>
                      <a:lnTo>
                        <a:pt x="43" y="158"/>
                      </a:lnTo>
                      <a:lnTo>
                        <a:pt x="42" y="158"/>
                      </a:lnTo>
                      <a:lnTo>
                        <a:pt x="41" y="156"/>
                      </a:lnTo>
                      <a:lnTo>
                        <a:pt x="40" y="155"/>
                      </a:lnTo>
                      <a:lnTo>
                        <a:pt x="39" y="154"/>
                      </a:lnTo>
                      <a:lnTo>
                        <a:pt x="38" y="154"/>
                      </a:lnTo>
                      <a:lnTo>
                        <a:pt x="38" y="154"/>
                      </a:lnTo>
                      <a:lnTo>
                        <a:pt x="38" y="154"/>
                      </a:lnTo>
                      <a:lnTo>
                        <a:pt x="38" y="153"/>
                      </a:lnTo>
                      <a:lnTo>
                        <a:pt x="37" y="152"/>
                      </a:lnTo>
                      <a:lnTo>
                        <a:pt x="37" y="152"/>
                      </a:lnTo>
                      <a:lnTo>
                        <a:pt x="36" y="151"/>
                      </a:lnTo>
                      <a:lnTo>
                        <a:pt x="36" y="150"/>
                      </a:lnTo>
                      <a:lnTo>
                        <a:pt x="36" y="150"/>
                      </a:lnTo>
                      <a:lnTo>
                        <a:pt x="36" y="149"/>
                      </a:lnTo>
                      <a:lnTo>
                        <a:pt x="36" y="148"/>
                      </a:lnTo>
                      <a:lnTo>
                        <a:pt x="36" y="148"/>
                      </a:lnTo>
                      <a:lnTo>
                        <a:pt x="36" y="148"/>
                      </a:lnTo>
                      <a:lnTo>
                        <a:pt x="37" y="148"/>
                      </a:lnTo>
                      <a:lnTo>
                        <a:pt x="37" y="147"/>
                      </a:lnTo>
                      <a:lnTo>
                        <a:pt x="38" y="147"/>
                      </a:lnTo>
                      <a:lnTo>
                        <a:pt x="38" y="146"/>
                      </a:lnTo>
                      <a:lnTo>
                        <a:pt x="39" y="146"/>
                      </a:lnTo>
                      <a:lnTo>
                        <a:pt x="40" y="146"/>
                      </a:lnTo>
                      <a:lnTo>
                        <a:pt x="41" y="146"/>
                      </a:lnTo>
                      <a:lnTo>
                        <a:pt x="41" y="146"/>
                      </a:lnTo>
                      <a:lnTo>
                        <a:pt x="41" y="146"/>
                      </a:lnTo>
                      <a:lnTo>
                        <a:pt x="42" y="146"/>
                      </a:lnTo>
                      <a:lnTo>
                        <a:pt x="43" y="146"/>
                      </a:lnTo>
                      <a:lnTo>
                        <a:pt x="44" y="146"/>
                      </a:lnTo>
                      <a:lnTo>
                        <a:pt x="45" y="146"/>
                      </a:lnTo>
                      <a:lnTo>
                        <a:pt x="46" y="146"/>
                      </a:lnTo>
                      <a:lnTo>
                        <a:pt x="47" y="146"/>
                      </a:lnTo>
                      <a:lnTo>
                        <a:pt x="47" y="146"/>
                      </a:lnTo>
                      <a:lnTo>
                        <a:pt x="48" y="146"/>
                      </a:lnTo>
                      <a:lnTo>
                        <a:pt x="49" y="146"/>
                      </a:lnTo>
                      <a:lnTo>
                        <a:pt x="51" y="147"/>
                      </a:lnTo>
                      <a:lnTo>
                        <a:pt x="52" y="147"/>
                      </a:lnTo>
                      <a:lnTo>
                        <a:pt x="53" y="147"/>
                      </a:lnTo>
                      <a:lnTo>
                        <a:pt x="55" y="147"/>
                      </a:lnTo>
                      <a:lnTo>
                        <a:pt x="56" y="148"/>
                      </a:lnTo>
                      <a:lnTo>
                        <a:pt x="57" y="148"/>
                      </a:lnTo>
                      <a:lnTo>
                        <a:pt x="59" y="149"/>
                      </a:lnTo>
                      <a:lnTo>
                        <a:pt x="60" y="151"/>
                      </a:lnTo>
                      <a:lnTo>
                        <a:pt x="62" y="152"/>
                      </a:lnTo>
                      <a:lnTo>
                        <a:pt x="64" y="154"/>
                      </a:lnTo>
                      <a:lnTo>
                        <a:pt x="65" y="154"/>
                      </a:lnTo>
                      <a:lnTo>
                        <a:pt x="67" y="154"/>
                      </a:lnTo>
                      <a:lnTo>
                        <a:pt x="69" y="154"/>
                      </a:lnTo>
                      <a:lnTo>
                        <a:pt x="70" y="153"/>
                      </a:lnTo>
                      <a:lnTo>
                        <a:pt x="71" y="152"/>
                      </a:lnTo>
                      <a:lnTo>
                        <a:pt x="72" y="151"/>
                      </a:lnTo>
                      <a:lnTo>
                        <a:pt x="74" y="149"/>
                      </a:lnTo>
                      <a:lnTo>
                        <a:pt x="76" y="147"/>
                      </a:lnTo>
                      <a:lnTo>
                        <a:pt x="79" y="146"/>
                      </a:lnTo>
                      <a:lnTo>
                        <a:pt x="81" y="143"/>
                      </a:lnTo>
                      <a:lnTo>
                        <a:pt x="83" y="140"/>
                      </a:lnTo>
                      <a:lnTo>
                        <a:pt x="84" y="138"/>
                      </a:lnTo>
                      <a:lnTo>
                        <a:pt x="85" y="134"/>
                      </a:lnTo>
                      <a:lnTo>
                        <a:pt x="85" y="130"/>
                      </a:lnTo>
                      <a:lnTo>
                        <a:pt x="85" y="122"/>
                      </a:lnTo>
                      <a:lnTo>
                        <a:pt x="83" y="118"/>
                      </a:lnTo>
                      <a:lnTo>
                        <a:pt x="81" y="116"/>
                      </a:lnTo>
                      <a:lnTo>
                        <a:pt x="81" y="114"/>
                      </a:lnTo>
                      <a:lnTo>
                        <a:pt x="82" y="112"/>
                      </a:lnTo>
                      <a:lnTo>
                        <a:pt x="84" y="109"/>
                      </a:lnTo>
                      <a:lnTo>
                        <a:pt x="86" y="107"/>
                      </a:lnTo>
                      <a:lnTo>
                        <a:pt x="88" y="105"/>
                      </a:lnTo>
                      <a:lnTo>
                        <a:pt x="91" y="103"/>
                      </a:lnTo>
                      <a:lnTo>
                        <a:pt x="93" y="101"/>
                      </a:lnTo>
                      <a:lnTo>
                        <a:pt x="95" y="100"/>
                      </a:lnTo>
                      <a:lnTo>
                        <a:pt x="98" y="100"/>
                      </a:lnTo>
                      <a:lnTo>
                        <a:pt x="101" y="99"/>
                      </a:lnTo>
                      <a:lnTo>
                        <a:pt x="102" y="100"/>
                      </a:lnTo>
                      <a:lnTo>
                        <a:pt x="103" y="100"/>
                      </a:lnTo>
                      <a:lnTo>
                        <a:pt x="104" y="101"/>
                      </a:lnTo>
                      <a:lnTo>
                        <a:pt x="106" y="101"/>
                      </a:lnTo>
                      <a:lnTo>
                        <a:pt x="108" y="101"/>
                      </a:lnTo>
                      <a:lnTo>
                        <a:pt x="110" y="101"/>
                      </a:lnTo>
                      <a:lnTo>
                        <a:pt x="112" y="101"/>
                      </a:lnTo>
                      <a:lnTo>
                        <a:pt x="115" y="99"/>
                      </a:lnTo>
                      <a:lnTo>
                        <a:pt x="117" y="97"/>
                      </a:lnTo>
                      <a:lnTo>
                        <a:pt x="119" y="95"/>
                      </a:lnTo>
                      <a:lnTo>
                        <a:pt x="120" y="94"/>
                      </a:lnTo>
                      <a:lnTo>
                        <a:pt x="121" y="93"/>
                      </a:lnTo>
                      <a:lnTo>
                        <a:pt x="124" y="92"/>
                      </a:lnTo>
                      <a:lnTo>
                        <a:pt x="125" y="91"/>
                      </a:lnTo>
                      <a:lnTo>
                        <a:pt x="126" y="89"/>
                      </a:lnTo>
                      <a:lnTo>
                        <a:pt x="128" y="86"/>
                      </a:lnTo>
                      <a:lnTo>
                        <a:pt x="129" y="83"/>
                      </a:lnTo>
                      <a:lnTo>
                        <a:pt x="129" y="80"/>
                      </a:lnTo>
                      <a:lnTo>
                        <a:pt x="130" y="77"/>
                      </a:lnTo>
                      <a:lnTo>
                        <a:pt x="130" y="74"/>
                      </a:lnTo>
                      <a:lnTo>
                        <a:pt x="129" y="70"/>
                      </a:lnTo>
                      <a:lnTo>
                        <a:pt x="128" y="68"/>
                      </a:lnTo>
                      <a:lnTo>
                        <a:pt x="128" y="67"/>
                      </a:lnTo>
                      <a:lnTo>
                        <a:pt x="129" y="65"/>
                      </a:lnTo>
                      <a:lnTo>
                        <a:pt x="129" y="63"/>
                      </a:lnTo>
                      <a:lnTo>
                        <a:pt x="129" y="61"/>
                      </a:lnTo>
                      <a:lnTo>
                        <a:pt x="129" y="58"/>
                      </a:lnTo>
                      <a:lnTo>
                        <a:pt x="128" y="55"/>
                      </a:lnTo>
                      <a:lnTo>
                        <a:pt x="128" y="53"/>
                      </a:lnTo>
                      <a:lnTo>
                        <a:pt x="128" y="51"/>
                      </a:lnTo>
                      <a:lnTo>
                        <a:pt x="127" y="50"/>
                      </a:lnTo>
                      <a:lnTo>
                        <a:pt x="126" y="48"/>
                      </a:lnTo>
                      <a:lnTo>
                        <a:pt x="126" y="47"/>
                      </a:lnTo>
                      <a:lnTo>
                        <a:pt x="126" y="45"/>
                      </a:lnTo>
                      <a:lnTo>
                        <a:pt x="126" y="44"/>
                      </a:lnTo>
                      <a:lnTo>
                        <a:pt x="127" y="43"/>
                      </a:lnTo>
                      <a:lnTo>
                        <a:pt x="128" y="43"/>
                      </a:lnTo>
                      <a:lnTo>
                        <a:pt x="129" y="43"/>
                      </a:lnTo>
                      <a:lnTo>
                        <a:pt x="131" y="43"/>
                      </a:lnTo>
                      <a:lnTo>
                        <a:pt x="133" y="43"/>
                      </a:lnTo>
                      <a:lnTo>
                        <a:pt x="136" y="43"/>
                      </a:lnTo>
                      <a:lnTo>
                        <a:pt x="138" y="43"/>
                      </a:lnTo>
                      <a:lnTo>
                        <a:pt x="140" y="43"/>
                      </a:lnTo>
                      <a:lnTo>
                        <a:pt x="142" y="44"/>
                      </a:lnTo>
                      <a:lnTo>
                        <a:pt x="144" y="45"/>
                      </a:lnTo>
                      <a:lnTo>
                        <a:pt x="146" y="45"/>
                      </a:lnTo>
                      <a:lnTo>
                        <a:pt x="147" y="46"/>
                      </a:lnTo>
                      <a:lnTo>
                        <a:pt x="148" y="47"/>
                      </a:lnTo>
                      <a:lnTo>
                        <a:pt x="150" y="47"/>
                      </a:lnTo>
                      <a:lnTo>
                        <a:pt x="152" y="46"/>
                      </a:lnTo>
                      <a:lnTo>
                        <a:pt x="153" y="46"/>
                      </a:lnTo>
                      <a:lnTo>
                        <a:pt x="155" y="47"/>
                      </a:lnTo>
                      <a:lnTo>
                        <a:pt x="157" y="48"/>
                      </a:lnTo>
                      <a:lnTo>
                        <a:pt x="158" y="49"/>
                      </a:lnTo>
                      <a:lnTo>
                        <a:pt x="159" y="50"/>
                      </a:lnTo>
                      <a:lnTo>
                        <a:pt x="161" y="50"/>
                      </a:lnTo>
                      <a:lnTo>
                        <a:pt x="163" y="49"/>
                      </a:lnTo>
                      <a:lnTo>
                        <a:pt x="164" y="47"/>
                      </a:lnTo>
                      <a:lnTo>
                        <a:pt x="166" y="46"/>
                      </a:lnTo>
                      <a:lnTo>
                        <a:pt x="169" y="43"/>
                      </a:lnTo>
                      <a:lnTo>
                        <a:pt x="171" y="41"/>
                      </a:lnTo>
                      <a:lnTo>
                        <a:pt x="172" y="39"/>
                      </a:lnTo>
                      <a:lnTo>
                        <a:pt x="174" y="38"/>
                      </a:lnTo>
                      <a:lnTo>
                        <a:pt x="176" y="36"/>
                      </a:lnTo>
                      <a:lnTo>
                        <a:pt x="178" y="36"/>
                      </a:lnTo>
                      <a:lnTo>
                        <a:pt x="180" y="35"/>
                      </a:lnTo>
                      <a:lnTo>
                        <a:pt x="182" y="34"/>
                      </a:lnTo>
                      <a:lnTo>
                        <a:pt x="184" y="34"/>
                      </a:lnTo>
                      <a:lnTo>
                        <a:pt x="184" y="32"/>
                      </a:lnTo>
                      <a:lnTo>
                        <a:pt x="186" y="31"/>
                      </a:lnTo>
                      <a:lnTo>
                        <a:pt x="188" y="29"/>
                      </a:lnTo>
                      <a:lnTo>
                        <a:pt x="189" y="28"/>
                      </a:lnTo>
                      <a:lnTo>
                        <a:pt x="191" y="26"/>
                      </a:lnTo>
                      <a:lnTo>
                        <a:pt x="193" y="24"/>
                      </a:lnTo>
                      <a:lnTo>
                        <a:pt x="194" y="22"/>
                      </a:lnTo>
                      <a:lnTo>
                        <a:pt x="194" y="21"/>
                      </a:lnTo>
                      <a:lnTo>
                        <a:pt x="195" y="18"/>
                      </a:lnTo>
                      <a:lnTo>
                        <a:pt x="194" y="15"/>
                      </a:lnTo>
                      <a:lnTo>
                        <a:pt x="193" y="13"/>
                      </a:lnTo>
                      <a:lnTo>
                        <a:pt x="193" y="10"/>
                      </a:lnTo>
                      <a:lnTo>
                        <a:pt x="192" y="8"/>
                      </a:lnTo>
                      <a:lnTo>
                        <a:pt x="190" y="6"/>
                      </a:lnTo>
                      <a:lnTo>
                        <a:pt x="189" y="4"/>
                      </a:lnTo>
                      <a:lnTo>
                        <a:pt x="188" y="2"/>
                      </a:lnTo>
                      <a:lnTo>
                        <a:pt x="188" y="0"/>
                      </a:lnTo>
                      <a:lnTo>
                        <a:pt x="188"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6" name="Freeform 56">
                  <a:extLst>
                    <a:ext uri="{FF2B5EF4-FFF2-40B4-BE49-F238E27FC236}">
                      <a16:creationId xmlns:a16="http://schemas.microsoft.com/office/drawing/2014/main" xmlns="" id="{CD9C7B57-C3FF-0C32-4C47-DAA1C57B7D40}"/>
                    </a:ext>
                  </a:extLst>
                </p:cNvPr>
                <p:cNvSpPr>
                  <a:spLocks/>
                </p:cNvSpPr>
                <p:nvPr/>
              </p:nvSpPr>
              <p:spPr bwMode="auto">
                <a:xfrm>
                  <a:off x="2530" y="3431"/>
                  <a:ext cx="1" cy="2"/>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0 w 1"/>
                    <a:gd name="T17" fmla="*/ 0 h 2"/>
                    <a:gd name="T18" fmla="*/ 0 w 1"/>
                    <a:gd name="T19" fmla="*/ 1 h 2"/>
                    <a:gd name="T20" fmla="*/ 0 w 1"/>
                    <a:gd name="T21" fmla="*/ 2 h 2"/>
                    <a:gd name="T22" fmla="*/ 0 w 1"/>
                    <a:gd name="T23" fmla="*/ 1 h 2"/>
                    <a:gd name="T24" fmla="*/ 0 w 1"/>
                    <a:gd name="T25" fmla="*/ 0 h 2"/>
                    <a:gd name="T26" fmla="*/ 0 w 1"/>
                    <a:gd name="T27" fmla="*/ 0 h 2"/>
                    <a:gd name="T28" fmla="*/ 1 w 1"/>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2">
                      <a:moveTo>
                        <a:pt x="1" y="0"/>
                      </a:moveTo>
                      <a:lnTo>
                        <a:pt x="1" y="0"/>
                      </a:lnTo>
                      <a:lnTo>
                        <a:pt x="1" y="0"/>
                      </a:lnTo>
                      <a:lnTo>
                        <a:pt x="1" y="0"/>
                      </a:lnTo>
                      <a:lnTo>
                        <a:pt x="1" y="0"/>
                      </a:lnTo>
                      <a:lnTo>
                        <a:pt x="1" y="0"/>
                      </a:lnTo>
                      <a:lnTo>
                        <a:pt x="1" y="0"/>
                      </a:lnTo>
                      <a:lnTo>
                        <a:pt x="1" y="0"/>
                      </a:lnTo>
                      <a:lnTo>
                        <a:pt x="0" y="0"/>
                      </a:lnTo>
                      <a:lnTo>
                        <a:pt x="0" y="1"/>
                      </a:lnTo>
                      <a:lnTo>
                        <a:pt x="0" y="2"/>
                      </a:lnTo>
                      <a:lnTo>
                        <a:pt x="0" y="1"/>
                      </a:lnTo>
                      <a:lnTo>
                        <a:pt x="0" y="0"/>
                      </a:lnTo>
                      <a:lnTo>
                        <a:pt x="0" y="0"/>
                      </a:lnTo>
                      <a:lnTo>
                        <a:pt x="1"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7" name="Freeform 57">
                  <a:extLst>
                    <a:ext uri="{FF2B5EF4-FFF2-40B4-BE49-F238E27FC236}">
                      <a16:creationId xmlns:a16="http://schemas.microsoft.com/office/drawing/2014/main" xmlns="" id="{1E5E1F8F-0D66-1597-EF4C-7C88F2AD6D56}"/>
                    </a:ext>
                  </a:extLst>
                </p:cNvPr>
                <p:cNvSpPr>
                  <a:spLocks/>
                </p:cNvSpPr>
                <p:nvPr/>
              </p:nvSpPr>
              <p:spPr bwMode="auto">
                <a:xfrm>
                  <a:off x="2585" y="2757"/>
                  <a:ext cx="304" cy="562"/>
                </a:xfrm>
                <a:custGeom>
                  <a:avLst/>
                  <a:gdLst>
                    <a:gd name="T0" fmla="*/ 6 w 304"/>
                    <a:gd name="T1" fmla="*/ 2 h 562"/>
                    <a:gd name="T2" fmla="*/ 14 w 304"/>
                    <a:gd name="T3" fmla="*/ 6 h 562"/>
                    <a:gd name="T4" fmla="*/ 16 w 304"/>
                    <a:gd name="T5" fmla="*/ 14 h 562"/>
                    <a:gd name="T6" fmla="*/ 16 w 304"/>
                    <a:gd name="T7" fmla="*/ 25 h 562"/>
                    <a:gd name="T8" fmla="*/ 46 w 304"/>
                    <a:gd name="T9" fmla="*/ 37 h 562"/>
                    <a:gd name="T10" fmla="*/ 54 w 304"/>
                    <a:gd name="T11" fmla="*/ 72 h 562"/>
                    <a:gd name="T12" fmla="*/ 95 w 304"/>
                    <a:gd name="T13" fmla="*/ 80 h 562"/>
                    <a:gd name="T14" fmla="*/ 119 w 304"/>
                    <a:gd name="T15" fmla="*/ 118 h 562"/>
                    <a:gd name="T16" fmla="*/ 128 w 304"/>
                    <a:gd name="T17" fmla="*/ 129 h 562"/>
                    <a:gd name="T18" fmla="*/ 137 w 304"/>
                    <a:gd name="T19" fmla="*/ 137 h 562"/>
                    <a:gd name="T20" fmla="*/ 126 w 304"/>
                    <a:gd name="T21" fmla="*/ 168 h 562"/>
                    <a:gd name="T22" fmla="*/ 110 w 304"/>
                    <a:gd name="T23" fmla="*/ 197 h 562"/>
                    <a:gd name="T24" fmla="*/ 120 w 304"/>
                    <a:gd name="T25" fmla="*/ 210 h 562"/>
                    <a:gd name="T26" fmla="*/ 130 w 304"/>
                    <a:gd name="T27" fmla="*/ 228 h 562"/>
                    <a:gd name="T28" fmla="*/ 136 w 304"/>
                    <a:gd name="T29" fmla="*/ 240 h 562"/>
                    <a:gd name="T30" fmla="*/ 151 w 304"/>
                    <a:gd name="T31" fmla="*/ 237 h 562"/>
                    <a:gd name="T32" fmla="*/ 158 w 304"/>
                    <a:gd name="T33" fmla="*/ 239 h 562"/>
                    <a:gd name="T34" fmla="*/ 168 w 304"/>
                    <a:gd name="T35" fmla="*/ 238 h 562"/>
                    <a:gd name="T36" fmla="*/ 177 w 304"/>
                    <a:gd name="T37" fmla="*/ 241 h 562"/>
                    <a:gd name="T38" fmla="*/ 185 w 304"/>
                    <a:gd name="T39" fmla="*/ 240 h 562"/>
                    <a:gd name="T40" fmla="*/ 185 w 304"/>
                    <a:gd name="T41" fmla="*/ 246 h 562"/>
                    <a:gd name="T42" fmla="*/ 181 w 304"/>
                    <a:gd name="T43" fmla="*/ 248 h 562"/>
                    <a:gd name="T44" fmla="*/ 170 w 304"/>
                    <a:gd name="T45" fmla="*/ 250 h 562"/>
                    <a:gd name="T46" fmla="*/ 164 w 304"/>
                    <a:gd name="T47" fmla="*/ 251 h 562"/>
                    <a:gd name="T48" fmla="*/ 154 w 304"/>
                    <a:gd name="T49" fmla="*/ 256 h 562"/>
                    <a:gd name="T50" fmla="*/ 146 w 304"/>
                    <a:gd name="T51" fmla="*/ 291 h 562"/>
                    <a:gd name="T52" fmla="*/ 155 w 304"/>
                    <a:gd name="T53" fmla="*/ 317 h 562"/>
                    <a:gd name="T54" fmla="*/ 158 w 304"/>
                    <a:gd name="T55" fmla="*/ 326 h 562"/>
                    <a:gd name="T56" fmla="*/ 162 w 304"/>
                    <a:gd name="T57" fmla="*/ 344 h 562"/>
                    <a:gd name="T58" fmla="*/ 171 w 304"/>
                    <a:gd name="T59" fmla="*/ 351 h 562"/>
                    <a:gd name="T60" fmla="*/ 177 w 304"/>
                    <a:gd name="T61" fmla="*/ 361 h 562"/>
                    <a:gd name="T62" fmla="*/ 190 w 304"/>
                    <a:gd name="T63" fmla="*/ 380 h 562"/>
                    <a:gd name="T64" fmla="*/ 208 w 304"/>
                    <a:gd name="T65" fmla="*/ 362 h 562"/>
                    <a:gd name="T66" fmla="*/ 215 w 304"/>
                    <a:gd name="T67" fmla="*/ 361 h 562"/>
                    <a:gd name="T68" fmla="*/ 227 w 304"/>
                    <a:gd name="T69" fmla="*/ 368 h 562"/>
                    <a:gd name="T70" fmla="*/ 236 w 304"/>
                    <a:gd name="T71" fmla="*/ 387 h 562"/>
                    <a:gd name="T72" fmla="*/ 243 w 304"/>
                    <a:gd name="T73" fmla="*/ 408 h 562"/>
                    <a:gd name="T74" fmla="*/ 257 w 304"/>
                    <a:gd name="T75" fmla="*/ 441 h 562"/>
                    <a:gd name="T76" fmla="*/ 273 w 304"/>
                    <a:gd name="T77" fmla="*/ 436 h 562"/>
                    <a:gd name="T78" fmla="*/ 280 w 304"/>
                    <a:gd name="T79" fmla="*/ 436 h 562"/>
                    <a:gd name="T80" fmla="*/ 300 w 304"/>
                    <a:gd name="T81" fmla="*/ 461 h 562"/>
                    <a:gd name="T82" fmla="*/ 298 w 304"/>
                    <a:gd name="T83" fmla="*/ 480 h 562"/>
                    <a:gd name="T84" fmla="*/ 295 w 304"/>
                    <a:gd name="T85" fmla="*/ 501 h 562"/>
                    <a:gd name="T86" fmla="*/ 286 w 304"/>
                    <a:gd name="T87" fmla="*/ 500 h 562"/>
                    <a:gd name="T88" fmla="*/ 277 w 304"/>
                    <a:gd name="T89" fmla="*/ 503 h 562"/>
                    <a:gd name="T90" fmla="*/ 250 w 304"/>
                    <a:gd name="T91" fmla="*/ 537 h 562"/>
                    <a:gd name="T92" fmla="*/ 174 w 304"/>
                    <a:gd name="T93" fmla="*/ 554 h 562"/>
                    <a:gd name="T94" fmla="*/ 158 w 304"/>
                    <a:gd name="T95" fmla="*/ 556 h 562"/>
                    <a:gd name="T96" fmla="*/ 143 w 304"/>
                    <a:gd name="T97" fmla="*/ 554 h 562"/>
                    <a:gd name="T98" fmla="*/ 135 w 304"/>
                    <a:gd name="T99" fmla="*/ 555 h 562"/>
                    <a:gd name="T100" fmla="*/ 127 w 304"/>
                    <a:gd name="T101" fmla="*/ 558 h 562"/>
                    <a:gd name="T102" fmla="*/ 119 w 304"/>
                    <a:gd name="T103" fmla="*/ 562 h 562"/>
                    <a:gd name="T104" fmla="*/ 110 w 304"/>
                    <a:gd name="T105" fmla="*/ 558 h 562"/>
                    <a:gd name="T106" fmla="*/ 105 w 304"/>
                    <a:gd name="T107" fmla="*/ 551 h 562"/>
                    <a:gd name="T108" fmla="*/ 92 w 304"/>
                    <a:gd name="T109" fmla="*/ 544 h 562"/>
                    <a:gd name="T110" fmla="*/ 85 w 304"/>
                    <a:gd name="T111" fmla="*/ 539 h 562"/>
                    <a:gd name="T112" fmla="*/ 77 w 304"/>
                    <a:gd name="T113" fmla="*/ 543 h 562"/>
                    <a:gd name="T114" fmla="*/ 65 w 304"/>
                    <a:gd name="T115" fmla="*/ 543 h 562"/>
                    <a:gd name="T116" fmla="*/ 60 w 304"/>
                    <a:gd name="T117" fmla="*/ 542 h 562"/>
                    <a:gd name="T118" fmla="*/ 54 w 304"/>
                    <a:gd name="T119" fmla="*/ 537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4" h="562">
                      <a:moveTo>
                        <a:pt x="0" y="0"/>
                      </a:moveTo>
                      <a:lnTo>
                        <a:pt x="1" y="0"/>
                      </a:lnTo>
                      <a:lnTo>
                        <a:pt x="1" y="0"/>
                      </a:lnTo>
                      <a:lnTo>
                        <a:pt x="1" y="0"/>
                      </a:lnTo>
                      <a:lnTo>
                        <a:pt x="2" y="1"/>
                      </a:lnTo>
                      <a:lnTo>
                        <a:pt x="3" y="1"/>
                      </a:lnTo>
                      <a:lnTo>
                        <a:pt x="3" y="2"/>
                      </a:lnTo>
                      <a:lnTo>
                        <a:pt x="3" y="2"/>
                      </a:lnTo>
                      <a:lnTo>
                        <a:pt x="4" y="2"/>
                      </a:lnTo>
                      <a:lnTo>
                        <a:pt x="3" y="2"/>
                      </a:lnTo>
                      <a:lnTo>
                        <a:pt x="4" y="2"/>
                      </a:lnTo>
                      <a:lnTo>
                        <a:pt x="4" y="2"/>
                      </a:lnTo>
                      <a:lnTo>
                        <a:pt x="5" y="2"/>
                      </a:lnTo>
                      <a:lnTo>
                        <a:pt x="5" y="3"/>
                      </a:lnTo>
                      <a:lnTo>
                        <a:pt x="5" y="2"/>
                      </a:lnTo>
                      <a:lnTo>
                        <a:pt x="5" y="2"/>
                      </a:lnTo>
                      <a:lnTo>
                        <a:pt x="6" y="2"/>
                      </a:lnTo>
                      <a:lnTo>
                        <a:pt x="7" y="2"/>
                      </a:lnTo>
                      <a:lnTo>
                        <a:pt x="7" y="2"/>
                      </a:lnTo>
                      <a:lnTo>
                        <a:pt x="8" y="2"/>
                      </a:lnTo>
                      <a:lnTo>
                        <a:pt x="8" y="3"/>
                      </a:lnTo>
                      <a:lnTo>
                        <a:pt x="8" y="3"/>
                      </a:lnTo>
                      <a:lnTo>
                        <a:pt x="8" y="2"/>
                      </a:lnTo>
                      <a:lnTo>
                        <a:pt x="9" y="2"/>
                      </a:lnTo>
                      <a:lnTo>
                        <a:pt x="10" y="2"/>
                      </a:lnTo>
                      <a:lnTo>
                        <a:pt x="10" y="2"/>
                      </a:lnTo>
                      <a:lnTo>
                        <a:pt x="11" y="2"/>
                      </a:lnTo>
                      <a:lnTo>
                        <a:pt x="12" y="2"/>
                      </a:lnTo>
                      <a:lnTo>
                        <a:pt x="12" y="3"/>
                      </a:lnTo>
                      <a:lnTo>
                        <a:pt x="12" y="3"/>
                      </a:lnTo>
                      <a:lnTo>
                        <a:pt x="12" y="4"/>
                      </a:lnTo>
                      <a:lnTo>
                        <a:pt x="13" y="5"/>
                      </a:lnTo>
                      <a:lnTo>
                        <a:pt x="14" y="5"/>
                      </a:lnTo>
                      <a:lnTo>
                        <a:pt x="14" y="6"/>
                      </a:lnTo>
                      <a:lnTo>
                        <a:pt x="14" y="6"/>
                      </a:lnTo>
                      <a:lnTo>
                        <a:pt x="14" y="6"/>
                      </a:lnTo>
                      <a:lnTo>
                        <a:pt x="14" y="6"/>
                      </a:lnTo>
                      <a:lnTo>
                        <a:pt x="14" y="7"/>
                      </a:lnTo>
                      <a:lnTo>
                        <a:pt x="14" y="8"/>
                      </a:lnTo>
                      <a:lnTo>
                        <a:pt x="13" y="8"/>
                      </a:lnTo>
                      <a:lnTo>
                        <a:pt x="13" y="8"/>
                      </a:lnTo>
                      <a:lnTo>
                        <a:pt x="13" y="9"/>
                      </a:lnTo>
                      <a:lnTo>
                        <a:pt x="13" y="10"/>
                      </a:lnTo>
                      <a:lnTo>
                        <a:pt x="13" y="10"/>
                      </a:lnTo>
                      <a:lnTo>
                        <a:pt x="14" y="10"/>
                      </a:lnTo>
                      <a:lnTo>
                        <a:pt x="14" y="11"/>
                      </a:lnTo>
                      <a:lnTo>
                        <a:pt x="14" y="11"/>
                      </a:lnTo>
                      <a:lnTo>
                        <a:pt x="14" y="12"/>
                      </a:lnTo>
                      <a:lnTo>
                        <a:pt x="15" y="12"/>
                      </a:lnTo>
                      <a:lnTo>
                        <a:pt x="16" y="13"/>
                      </a:lnTo>
                      <a:lnTo>
                        <a:pt x="16" y="14"/>
                      </a:lnTo>
                      <a:lnTo>
                        <a:pt x="16" y="14"/>
                      </a:lnTo>
                      <a:lnTo>
                        <a:pt x="16" y="15"/>
                      </a:lnTo>
                      <a:lnTo>
                        <a:pt x="16" y="16"/>
                      </a:lnTo>
                      <a:lnTo>
                        <a:pt x="16" y="17"/>
                      </a:lnTo>
                      <a:lnTo>
                        <a:pt x="16" y="18"/>
                      </a:lnTo>
                      <a:lnTo>
                        <a:pt x="16" y="19"/>
                      </a:lnTo>
                      <a:lnTo>
                        <a:pt x="16" y="19"/>
                      </a:lnTo>
                      <a:lnTo>
                        <a:pt x="16" y="20"/>
                      </a:lnTo>
                      <a:lnTo>
                        <a:pt x="16" y="21"/>
                      </a:lnTo>
                      <a:lnTo>
                        <a:pt x="16" y="21"/>
                      </a:lnTo>
                      <a:lnTo>
                        <a:pt x="16" y="21"/>
                      </a:lnTo>
                      <a:lnTo>
                        <a:pt x="16" y="22"/>
                      </a:lnTo>
                      <a:lnTo>
                        <a:pt x="15" y="22"/>
                      </a:lnTo>
                      <a:lnTo>
                        <a:pt x="15" y="23"/>
                      </a:lnTo>
                      <a:lnTo>
                        <a:pt x="15" y="23"/>
                      </a:lnTo>
                      <a:lnTo>
                        <a:pt x="16" y="24"/>
                      </a:lnTo>
                      <a:lnTo>
                        <a:pt x="16" y="25"/>
                      </a:lnTo>
                      <a:lnTo>
                        <a:pt x="17" y="25"/>
                      </a:lnTo>
                      <a:lnTo>
                        <a:pt x="18" y="26"/>
                      </a:lnTo>
                      <a:lnTo>
                        <a:pt x="18" y="26"/>
                      </a:lnTo>
                      <a:lnTo>
                        <a:pt x="19" y="27"/>
                      </a:lnTo>
                      <a:lnTo>
                        <a:pt x="20" y="27"/>
                      </a:lnTo>
                      <a:lnTo>
                        <a:pt x="20" y="27"/>
                      </a:lnTo>
                      <a:lnTo>
                        <a:pt x="20" y="28"/>
                      </a:lnTo>
                      <a:lnTo>
                        <a:pt x="24" y="30"/>
                      </a:lnTo>
                      <a:lnTo>
                        <a:pt x="26" y="32"/>
                      </a:lnTo>
                      <a:lnTo>
                        <a:pt x="28" y="33"/>
                      </a:lnTo>
                      <a:lnTo>
                        <a:pt x="29" y="33"/>
                      </a:lnTo>
                      <a:lnTo>
                        <a:pt x="33" y="36"/>
                      </a:lnTo>
                      <a:lnTo>
                        <a:pt x="38" y="36"/>
                      </a:lnTo>
                      <a:lnTo>
                        <a:pt x="41" y="36"/>
                      </a:lnTo>
                      <a:lnTo>
                        <a:pt x="43" y="35"/>
                      </a:lnTo>
                      <a:lnTo>
                        <a:pt x="44" y="37"/>
                      </a:lnTo>
                      <a:lnTo>
                        <a:pt x="46" y="37"/>
                      </a:lnTo>
                      <a:lnTo>
                        <a:pt x="47" y="37"/>
                      </a:lnTo>
                      <a:lnTo>
                        <a:pt x="48" y="37"/>
                      </a:lnTo>
                      <a:lnTo>
                        <a:pt x="49" y="39"/>
                      </a:lnTo>
                      <a:lnTo>
                        <a:pt x="49" y="40"/>
                      </a:lnTo>
                      <a:lnTo>
                        <a:pt x="50" y="40"/>
                      </a:lnTo>
                      <a:lnTo>
                        <a:pt x="51" y="42"/>
                      </a:lnTo>
                      <a:lnTo>
                        <a:pt x="52" y="44"/>
                      </a:lnTo>
                      <a:lnTo>
                        <a:pt x="55" y="45"/>
                      </a:lnTo>
                      <a:lnTo>
                        <a:pt x="58" y="48"/>
                      </a:lnTo>
                      <a:lnTo>
                        <a:pt x="58" y="50"/>
                      </a:lnTo>
                      <a:lnTo>
                        <a:pt x="59" y="52"/>
                      </a:lnTo>
                      <a:lnTo>
                        <a:pt x="59" y="55"/>
                      </a:lnTo>
                      <a:lnTo>
                        <a:pt x="56" y="60"/>
                      </a:lnTo>
                      <a:lnTo>
                        <a:pt x="54" y="64"/>
                      </a:lnTo>
                      <a:lnTo>
                        <a:pt x="52" y="68"/>
                      </a:lnTo>
                      <a:lnTo>
                        <a:pt x="52" y="69"/>
                      </a:lnTo>
                      <a:lnTo>
                        <a:pt x="54" y="72"/>
                      </a:lnTo>
                      <a:lnTo>
                        <a:pt x="56" y="73"/>
                      </a:lnTo>
                      <a:lnTo>
                        <a:pt x="56" y="73"/>
                      </a:lnTo>
                      <a:lnTo>
                        <a:pt x="58" y="74"/>
                      </a:lnTo>
                      <a:lnTo>
                        <a:pt x="61" y="76"/>
                      </a:lnTo>
                      <a:lnTo>
                        <a:pt x="62" y="78"/>
                      </a:lnTo>
                      <a:lnTo>
                        <a:pt x="63" y="79"/>
                      </a:lnTo>
                      <a:lnTo>
                        <a:pt x="63" y="80"/>
                      </a:lnTo>
                      <a:lnTo>
                        <a:pt x="71" y="77"/>
                      </a:lnTo>
                      <a:lnTo>
                        <a:pt x="73" y="76"/>
                      </a:lnTo>
                      <a:lnTo>
                        <a:pt x="81" y="73"/>
                      </a:lnTo>
                      <a:lnTo>
                        <a:pt x="84" y="72"/>
                      </a:lnTo>
                      <a:lnTo>
                        <a:pt x="85" y="71"/>
                      </a:lnTo>
                      <a:lnTo>
                        <a:pt x="90" y="68"/>
                      </a:lnTo>
                      <a:lnTo>
                        <a:pt x="94" y="71"/>
                      </a:lnTo>
                      <a:lnTo>
                        <a:pt x="97" y="75"/>
                      </a:lnTo>
                      <a:lnTo>
                        <a:pt x="98" y="77"/>
                      </a:lnTo>
                      <a:lnTo>
                        <a:pt x="95" y="80"/>
                      </a:lnTo>
                      <a:lnTo>
                        <a:pt x="94" y="81"/>
                      </a:lnTo>
                      <a:lnTo>
                        <a:pt x="93" y="88"/>
                      </a:lnTo>
                      <a:lnTo>
                        <a:pt x="96" y="92"/>
                      </a:lnTo>
                      <a:lnTo>
                        <a:pt x="96" y="94"/>
                      </a:lnTo>
                      <a:lnTo>
                        <a:pt x="98" y="95"/>
                      </a:lnTo>
                      <a:lnTo>
                        <a:pt x="98" y="97"/>
                      </a:lnTo>
                      <a:lnTo>
                        <a:pt x="101" y="101"/>
                      </a:lnTo>
                      <a:lnTo>
                        <a:pt x="103" y="102"/>
                      </a:lnTo>
                      <a:lnTo>
                        <a:pt x="108" y="104"/>
                      </a:lnTo>
                      <a:lnTo>
                        <a:pt x="111" y="107"/>
                      </a:lnTo>
                      <a:lnTo>
                        <a:pt x="113" y="111"/>
                      </a:lnTo>
                      <a:lnTo>
                        <a:pt x="116" y="115"/>
                      </a:lnTo>
                      <a:lnTo>
                        <a:pt x="117" y="116"/>
                      </a:lnTo>
                      <a:lnTo>
                        <a:pt x="117" y="117"/>
                      </a:lnTo>
                      <a:lnTo>
                        <a:pt x="117" y="118"/>
                      </a:lnTo>
                      <a:lnTo>
                        <a:pt x="118" y="118"/>
                      </a:lnTo>
                      <a:lnTo>
                        <a:pt x="119" y="118"/>
                      </a:lnTo>
                      <a:lnTo>
                        <a:pt x="120" y="118"/>
                      </a:lnTo>
                      <a:lnTo>
                        <a:pt x="122" y="118"/>
                      </a:lnTo>
                      <a:lnTo>
                        <a:pt x="122" y="119"/>
                      </a:lnTo>
                      <a:lnTo>
                        <a:pt x="123" y="118"/>
                      </a:lnTo>
                      <a:lnTo>
                        <a:pt x="124" y="118"/>
                      </a:lnTo>
                      <a:lnTo>
                        <a:pt x="123" y="121"/>
                      </a:lnTo>
                      <a:lnTo>
                        <a:pt x="124" y="121"/>
                      </a:lnTo>
                      <a:lnTo>
                        <a:pt x="124" y="121"/>
                      </a:lnTo>
                      <a:lnTo>
                        <a:pt x="124" y="122"/>
                      </a:lnTo>
                      <a:lnTo>
                        <a:pt x="125" y="122"/>
                      </a:lnTo>
                      <a:lnTo>
                        <a:pt x="125" y="122"/>
                      </a:lnTo>
                      <a:lnTo>
                        <a:pt x="125" y="123"/>
                      </a:lnTo>
                      <a:lnTo>
                        <a:pt x="126" y="123"/>
                      </a:lnTo>
                      <a:lnTo>
                        <a:pt x="126" y="124"/>
                      </a:lnTo>
                      <a:lnTo>
                        <a:pt x="126" y="124"/>
                      </a:lnTo>
                      <a:lnTo>
                        <a:pt x="126" y="124"/>
                      </a:lnTo>
                      <a:lnTo>
                        <a:pt x="128" y="129"/>
                      </a:lnTo>
                      <a:lnTo>
                        <a:pt x="128" y="130"/>
                      </a:lnTo>
                      <a:lnTo>
                        <a:pt x="129" y="131"/>
                      </a:lnTo>
                      <a:lnTo>
                        <a:pt x="130" y="132"/>
                      </a:lnTo>
                      <a:lnTo>
                        <a:pt x="130" y="132"/>
                      </a:lnTo>
                      <a:lnTo>
                        <a:pt x="130" y="133"/>
                      </a:lnTo>
                      <a:lnTo>
                        <a:pt x="132" y="133"/>
                      </a:lnTo>
                      <a:lnTo>
                        <a:pt x="133" y="133"/>
                      </a:lnTo>
                      <a:lnTo>
                        <a:pt x="134" y="133"/>
                      </a:lnTo>
                      <a:lnTo>
                        <a:pt x="134" y="134"/>
                      </a:lnTo>
                      <a:lnTo>
                        <a:pt x="134" y="134"/>
                      </a:lnTo>
                      <a:lnTo>
                        <a:pt x="135" y="134"/>
                      </a:lnTo>
                      <a:lnTo>
                        <a:pt x="135" y="134"/>
                      </a:lnTo>
                      <a:lnTo>
                        <a:pt x="136" y="135"/>
                      </a:lnTo>
                      <a:lnTo>
                        <a:pt x="136" y="136"/>
                      </a:lnTo>
                      <a:lnTo>
                        <a:pt x="136" y="136"/>
                      </a:lnTo>
                      <a:lnTo>
                        <a:pt x="137" y="136"/>
                      </a:lnTo>
                      <a:lnTo>
                        <a:pt x="137" y="137"/>
                      </a:lnTo>
                      <a:lnTo>
                        <a:pt x="137" y="138"/>
                      </a:lnTo>
                      <a:lnTo>
                        <a:pt x="137" y="139"/>
                      </a:lnTo>
                      <a:lnTo>
                        <a:pt x="137" y="139"/>
                      </a:lnTo>
                      <a:lnTo>
                        <a:pt x="137" y="140"/>
                      </a:lnTo>
                      <a:lnTo>
                        <a:pt x="136" y="140"/>
                      </a:lnTo>
                      <a:lnTo>
                        <a:pt x="136" y="141"/>
                      </a:lnTo>
                      <a:lnTo>
                        <a:pt x="137" y="141"/>
                      </a:lnTo>
                      <a:lnTo>
                        <a:pt x="137" y="141"/>
                      </a:lnTo>
                      <a:lnTo>
                        <a:pt x="137" y="142"/>
                      </a:lnTo>
                      <a:lnTo>
                        <a:pt x="139" y="143"/>
                      </a:lnTo>
                      <a:lnTo>
                        <a:pt x="139" y="145"/>
                      </a:lnTo>
                      <a:lnTo>
                        <a:pt x="139" y="147"/>
                      </a:lnTo>
                      <a:lnTo>
                        <a:pt x="139" y="149"/>
                      </a:lnTo>
                      <a:lnTo>
                        <a:pt x="133" y="160"/>
                      </a:lnTo>
                      <a:lnTo>
                        <a:pt x="132" y="162"/>
                      </a:lnTo>
                      <a:lnTo>
                        <a:pt x="131" y="164"/>
                      </a:lnTo>
                      <a:lnTo>
                        <a:pt x="126" y="168"/>
                      </a:lnTo>
                      <a:lnTo>
                        <a:pt x="122" y="172"/>
                      </a:lnTo>
                      <a:lnTo>
                        <a:pt x="121" y="173"/>
                      </a:lnTo>
                      <a:lnTo>
                        <a:pt x="117" y="177"/>
                      </a:lnTo>
                      <a:lnTo>
                        <a:pt x="113" y="183"/>
                      </a:lnTo>
                      <a:lnTo>
                        <a:pt x="112" y="183"/>
                      </a:lnTo>
                      <a:lnTo>
                        <a:pt x="111" y="186"/>
                      </a:lnTo>
                      <a:lnTo>
                        <a:pt x="110" y="188"/>
                      </a:lnTo>
                      <a:lnTo>
                        <a:pt x="109" y="189"/>
                      </a:lnTo>
                      <a:lnTo>
                        <a:pt x="108" y="190"/>
                      </a:lnTo>
                      <a:lnTo>
                        <a:pt x="109" y="191"/>
                      </a:lnTo>
                      <a:lnTo>
                        <a:pt x="110" y="193"/>
                      </a:lnTo>
                      <a:lnTo>
                        <a:pt x="110" y="193"/>
                      </a:lnTo>
                      <a:lnTo>
                        <a:pt x="110" y="194"/>
                      </a:lnTo>
                      <a:lnTo>
                        <a:pt x="110" y="195"/>
                      </a:lnTo>
                      <a:lnTo>
                        <a:pt x="110" y="195"/>
                      </a:lnTo>
                      <a:lnTo>
                        <a:pt x="110" y="196"/>
                      </a:lnTo>
                      <a:lnTo>
                        <a:pt x="110" y="197"/>
                      </a:lnTo>
                      <a:lnTo>
                        <a:pt x="110" y="198"/>
                      </a:lnTo>
                      <a:lnTo>
                        <a:pt x="110" y="198"/>
                      </a:lnTo>
                      <a:lnTo>
                        <a:pt x="111" y="199"/>
                      </a:lnTo>
                      <a:lnTo>
                        <a:pt x="111" y="200"/>
                      </a:lnTo>
                      <a:lnTo>
                        <a:pt x="111" y="200"/>
                      </a:lnTo>
                      <a:lnTo>
                        <a:pt x="111" y="200"/>
                      </a:lnTo>
                      <a:lnTo>
                        <a:pt x="112" y="200"/>
                      </a:lnTo>
                      <a:lnTo>
                        <a:pt x="113" y="201"/>
                      </a:lnTo>
                      <a:lnTo>
                        <a:pt x="113" y="202"/>
                      </a:lnTo>
                      <a:lnTo>
                        <a:pt x="113" y="202"/>
                      </a:lnTo>
                      <a:lnTo>
                        <a:pt x="113" y="202"/>
                      </a:lnTo>
                      <a:lnTo>
                        <a:pt x="113" y="203"/>
                      </a:lnTo>
                      <a:lnTo>
                        <a:pt x="114" y="203"/>
                      </a:lnTo>
                      <a:lnTo>
                        <a:pt x="115" y="206"/>
                      </a:lnTo>
                      <a:lnTo>
                        <a:pt x="116" y="207"/>
                      </a:lnTo>
                      <a:lnTo>
                        <a:pt x="119" y="209"/>
                      </a:lnTo>
                      <a:lnTo>
                        <a:pt x="120" y="210"/>
                      </a:lnTo>
                      <a:lnTo>
                        <a:pt x="120" y="211"/>
                      </a:lnTo>
                      <a:lnTo>
                        <a:pt x="122" y="211"/>
                      </a:lnTo>
                      <a:lnTo>
                        <a:pt x="122" y="212"/>
                      </a:lnTo>
                      <a:lnTo>
                        <a:pt x="123" y="212"/>
                      </a:lnTo>
                      <a:lnTo>
                        <a:pt x="124" y="216"/>
                      </a:lnTo>
                      <a:lnTo>
                        <a:pt x="126" y="219"/>
                      </a:lnTo>
                      <a:lnTo>
                        <a:pt x="126" y="219"/>
                      </a:lnTo>
                      <a:lnTo>
                        <a:pt x="127" y="220"/>
                      </a:lnTo>
                      <a:lnTo>
                        <a:pt x="128" y="220"/>
                      </a:lnTo>
                      <a:lnTo>
                        <a:pt x="128" y="220"/>
                      </a:lnTo>
                      <a:lnTo>
                        <a:pt x="129" y="221"/>
                      </a:lnTo>
                      <a:lnTo>
                        <a:pt x="129" y="222"/>
                      </a:lnTo>
                      <a:lnTo>
                        <a:pt x="129" y="223"/>
                      </a:lnTo>
                      <a:lnTo>
                        <a:pt x="129" y="223"/>
                      </a:lnTo>
                      <a:lnTo>
                        <a:pt x="129" y="225"/>
                      </a:lnTo>
                      <a:lnTo>
                        <a:pt x="130" y="227"/>
                      </a:lnTo>
                      <a:lnTo>
                        <a:pt x="130" y="228"/>
                      </a:lnTo>
                      <a:lnTo>
                        <a:pt x="130" y="229"/>
                      </a:lnTo>
                      <a:lnTo>
                        <a:pt x="130" y="231"/>
                      </a:lnTo>
                      <a:lnTo>
                        <a:pt x="128" y="231"/>
                      </a:lnTo>
                      <a:lnTo>
                        <a:pt x="128" y="233"/>
                      </a:lnTo>
                      <a:lnTo>
                        <a:pt x="130" y="236"/>
                      </a:lnTo>
                      <a:lnTo>
                        <a:pt x="130" y="236"/>
                      </a:lnTo>
                      <a:lnTo>
                        <a:pt x="132" y="238"/>
                      </a:lnTo>
                      <a:lnTo>
                        <a:pt x="132" y="238"/>
                      </a:lnTo>
                      <a:lnTo>
                        <a:pt x="132" y="239"/>
                      </a:lnTo>
                      <a:lnTo>
                        <a:pt x="133" y="239"/>
                      </a:lnTo>
                      <a:lnTo>
                        <a:pt x="132" y="239"/>
                      </a:lnTo>
                      <a:lnTo>
                        <a:pt x="132" y="240"/>
                      </a:lnTo>
                      <a:lnTo>
                        <a:pt x="133" y="240"/>
                      </a:lnTo>
                      <a:lnTo>
                        <a:pt x="134" y="240"/>
                      </a:lnTo>
                      <a:lnTo>
                        <a:pt x="134" y="240"/>
                      </a:lnTo>
                      <a:lnTo>
                        <a:pt x="135" y="240"/>
                      </a:lnTo>
                      <a:lnTo>
                        <a:pt x="136" y="240"/>
                      </a:lnTo>
                      <a:lnTo>
                        <a:pt x="136" y="240"/>
                      </a:lnTo>
                      <a:lnTo>
                        <a:pt x="137" y="240"/>
                      </a:lnTo>
                      <a:lnTo>
                        <a:pt x="138" y="240"/>
                      </a:lnTo>
                      <a:lnTo>
                        <a:pt x="138" y="240"/>
                      </a:lnTo>
                      <a:lnTo>
                        <a:pt x="139" y="240"/>
                      </a:lnTo>
                      <a:lnTo>
                        <a:pt x="139" y="241"/>
                      </a:lnTo>
                      <a:lnTo>
                        <a:pt x="139" y="240"/>
                      </a:lnTo>
                      <a:lnTo>
                        <a:pt x="140" y="240"/>
                      </a:lnTo>
                      <a:lnTo>
                        <a:pt x="141" y="240"/>
                      </a:lnTo>
                      <a:lnTo>
                        <a:pt x="141" y="240"/>
                      </a:lnTo>
                      <a:lnTo>
                        <a:pt x="141" y="240"/>
                      </a:lnTo>
                      <a:lnTo>
                        <a:pt x="142" y="240"/>
                      </a:lnTo>
                      <a:lnTo>
                        <a:pt x="144" y="238"/>
                      </a:lnTo>
                      <a:lnTo>
                        <a:pt x="145" y="238"/>
                      </a:lnTo>
                      <a:lnTo>
                        <a:pt x="147" y="237"/>
                      </a:lnTo>
                      <a:lnTo>
                        <a:pt x="150" y="237"/>
                      </a:lnTo>
                      <a:lnTo>
                        <a:pt x="151" y="237"/>
                      </a:lnTo>
                      <a:lnTo>
                        <a:pt x="151" y="238"/>
                      </a:lnTo>
                      <a:lnTo>
                        <a:pt x="151" y="238"/>
                      </a:lnTo>
                      <a:lnTo>
                        <a:pt x="151" y="238"/>
                      </a:lnTo>
                      <a:lnTo>
                        <a:pt x="152" y="238"/>
                      </a:lnTo>
                      <a:lnTo>
                        <a:pt x="153" y="238"/>
                      </a:lnTo>
                      <a:lnTo>
                        <a:pt x="153" y="239"/>
                      </a:lnTo>
                      <a:lnTo>
                        <a:pt x="153" y="239"/>
                      </a:lnTo>
                      <a:lnTo>
                        <a:pt x="153" y="238"/>
                      </a:lnTo>
                      <a:lnTo>
                        <a:pt x="154" y="238"/>
                      </a:lnTo>
                      <a:lnTo>
                        <a:pt x="155" y="238"/>
                      </a:lnTo>
                      <a:lnTo>
                        <a:pt x="155" y="238"/>
                      </a:lnTo>
                      <a:lnTo>
                        <a:pt x="155" y="238"/>
                      </a:lnTo>
                      <a:lnTo>
                        <a:pt x="155" y="238"/>
                      </a:lnTo>
                      <a:lnTo>
                        <a:pt x="156" y="238"/>
                      </a:lnTo>
                      <a:lnTo>
                        <a:pt x="157" y="238"/>
                      </a:lnTo>
                      <a:lnTo>
                        <a:pt x="157" y="239"/>
                      </a:lnTo>
                      <a:lnTo>
                        <a:pt x="158" y="239"/>
                      </a:lnTo>
                      <a:lnTo>
                        <a:pt x="158" y="239"/>
                      </a:lnTo>
                      <a:lnTo>
                        <a:pt x="159" y="239"/>
                      </a:lnTo>
                      <a:lnTo>
                        <a:pt x="160" y="239"/>
                      </a:lnTo>
                      <a:lnTo>
                        <a:pt x="160" y="239"/>
                      </a:lnTo>
                      <a:lnTo>
                        <a:pt x="161" y="239"/>
                      </a:lnTo>
                      <a:lnTo>
                        <a:pt x="161" y="238"/>
                      </a:lnTo>
                      <a:lnTo>
                        <a:pt x="162" y="238"/>
                      </a:lnTo>
                      <a:lnTo>
                        <a:pt x="162" y="238"/>
                      </a:lnTo>
                      <a:lnTo>
                        <a:pt x="163" y="238"/>
                      </a:lnTo>
                      <a:lnTo>
                        <a:pt x="164" y="238"/>
                      </a:lnTo>
                      <a:lnTo>
                        <a:pt x="164" y="238"/>
                      </a:lnTo>
                      <a:lnTo>
                        <a:pt x="165" y="238"/>
                      </a:lnTo>
                      <a:lnTo>
                        <a:pt x="166" y="238"/>
                      </a:lnTo>
                      <a:lnTo>
                        <a:pt x="166" y="238"/>
                      </a:lnTo>
                      <a:lnTo>
                        <a:pt x="167" y="238"/>
                      </a:lnTo>
                      <a:lnTo>
                        <a:pt x="168" y="238"/>
                      </a:lnTo>
                      <a:lnTo>
                        <a:pt x="168" y="238"/>
                      </a:lnTo>
                      <a:lnTo>
                        <a:pt x="169" y="238"/>
                      </a:lnTo>
                      <a:lnTo>
                        <a:pt x="170" y="238"/>
                      </a:lnTo>
                      <a:lnTo>
                        <a:pt x="170" y="238"/>
                      </a:lnTo>
                      <a:lnTo>
                        <a:pt x="170" y="238"/>
                      </a:lnTo>
                      <a:lnTo>
                        <a:pt x="171" y="238"/>
                      </a:lnTo>
                      <a:lnTo>
                        <a:pt x="171" y="238"/>
                      </a:lnTo>
                      <a:lnTo>
                        <a:pt x="172" y="238"/>
                      </a:lnTo>
                      <a:lnTo>
                        <a:pt x="172" y="239"/>
                      </a:lnTo>
                      <a:lnTo>
                        <a:pt x="172" y="239"/>
                      </a:lnTo>
                      <a:lnTo>
                        <a:pt x="173" y="239"/>
                      </a:lnTo>
                      <a:lnTo>
                        <a:pt x="173" y="240"/>
                      </a:lnTo>
                      <a:lnTo>
                        <a:pt x="174" y="240"/>
                      </a:lnTo>
                      <a:lnTo>
                        <a:pt x="174" y="240"/>
                      </a:lnTo>
                      <a:lnTo>
                        <a:pt x="175" y="240"/>
                      </a:lnTo>
                      <a:lnTo>
                        <a:pt x="176" y="240"/>
                      </a:lnTo>
                      <a:lnTo>
                        <a:pt x="176" y="241"/>
                      </a:lnTo>
                      <a:lnTo>
                        <a:pt x="177" y="241"/>
                      </a:lnTo>
                      <a:lnTo>
                        <a:pt x="177" y="241"/>
                      </a:lnTo>
                      <a:lnTo>
                        <a:pt x="178" y="241"/>
                      </a:lnTo>
                      <a:lnTo>
                        <a:pt x="179" y="241"/>
                      </a:lnTo>
                      <a:lnTo>
                        <a:pt x="179" y="241"/>
                      </a:lnTo>
                      <a:lnTo>
                        <a:pt x="179" y="240"/>
                      </a:lnTo>
                      <a:lnTo>
                        <a:pt x="180" y="240"/>
                      </a:lnTo>
                      <a:lnTo>
                        <a:pt x="180" y="240"/>
                      </a:lnTo>
                      <a:lnTo>
                        <a:pt x="181" y="240"/>
                      </a:lnTo>
                      <a:lnTo>
                        <a:pt x="181" y="240"/>
                      </a:lnTo>
                      <a:lnTo>
                        <a:pt x="182" y="240"/>
                      </a:lnTo>
                      <a:lnTo>
                        <a:pt x="183" y="240"/>
                      </a:lnTo>
                      <a:lnTo>
                        <a:pt x="183" y="239"/>
                      </a:lnTo>
                      <a:lnTo>
                        <a:pt x="183" y="240"/>
                      </a:lnTo>
                      <a:lnTo>
                        <a:pt x="184" y="240"/>
                      </a:lnTo>
                      <a:lnTo>
                        <a:pt x="184" y="240"/>
                      </a:lnTo>
                      <a:lnTo>
                        <a:pt x="185" y="240"/>
                      </a:lnTo>
                      <a:lnTo>
                        <a:pt x="185" y="240"/>
                      </a:lnTo>
                      <a:lnTo>
                        <a:pt x="186" y="240"/>
                      </a:lnTo>
                      <a:lnTo>
                        <a:pt x="187" y="240"/>
                      </a:lnTo>
                      <a:lnTo>
                        <a:pt x="187" y="240"/>
                      </a:lnTo>
                      <a:lnTo>
                        <a:pt x="188" y="240"/>
                      </a:lnTo>
                      <a:lnTo>
                        <a:pt x="188" y="241"/>
                      </a:lnTo>
                      <a:lnTo>
                        <a:pt x="188" y="242"/>
                      </a:lnTo>
                      <a:lnTo>
                        <a:pt x="188" y="242"/>
                      </a:lnTo>
                      <a:lnTo>
                        <a:pt x="188" y="243"/>
                      </a:lnTo>
                      <a:lnTo>
                        <a:pt x="188" y="244"/>
                      </a:lnTo>
                      <a:lnTo>
                        <a:pt x="188" y="244"/>
                      </a:lnTo>
                      <a:lnTo>
                        <a:pt x="187" y="244"/>
                      </a:lnTo>
                      <a:lnTo>
                        <a:pt x="187" y="244"/>
                      </a:lnTo>
                      <a:lnTo>
                        <a:pt x="187" y="245"/>
                      </a:lnTo>
                      <a:lnTo>
                        <a:pt x="187" y="246"/>
                      </a:lnTo>
                      <a:lnTo>
                        <a:pt x="186" y="246"/>
                      </a:lnTo>
                      <a:lnTo>
                        <a:pt x="186" y="245"/>
                      </a:lnTo>
                      <a:lnTo>
                        <a:pt x="185" y="246"/>
                      </a:lnTo>
                      <a:lnTo>
                        <a:pt x="185" y="246"/>
                      </a:lnTo>
                      <a:lnTo>
                        <a:pt x="185" y="246"/>
                      </a:lnTo>
                      <a:lnTo>
                        <a:pt x="185" y="246"/>
                      </a:lnTo>
                      <a:lnTo>
                        <a:pt x="185" y="245"/>
                      </a:lnTo>
                      <a:lnTo>
                        <a:pt x="184" y="245"/>
                      </a:lnTo>
                      <a:lnTo>
                        <a:pt x="184" y="246"/>
                      </a:lnTo>
                      <a:lnTo>
                        <a:pt x="184" y="246"/>
                      </a:lnTo>
                      <a:lnTo>
                        <a:pt x="184" y="247"/>
                      </a:lnTo>
                      <a:lnTo>
                        <a:pt x="183" y="247"/>
                      </a:lnTo>
                      <a:lnTo>
                        <a:pt x="183" y="246"/>
                      </a:lnTo>
                      <a:lnTo>
                        <a:pt x="183" y="247"/>
                      </a:lnTo>
                      <a:lnTo>
                        <a:pt x="183" y="247"/>
                      </a:lnTo>
                      <a:lnTo>
                        <a:pt x="183" y="247"/>
                      </a:lnTo>
                      <a:lnTo>
                        <a:pt x="183" y="248"/>
                      </a:lnTo>
                      <a:lnTo>
                        <a:pt x="182" y="248"/>
                      </a:lnTo>
                      <a:lnTo>
                        <a:pt x="182" y="248"/>
                      </a:lnTo>
                      <a:lnTo>
                        <a:pt x="181" y="248"/>
                      </a:lnTo>
                      <a:lnTo>
                        <a:pt x="181" y="248"/>
                      </a:lnTo>
                      <a:lnTo>
                        <a:pt x="181" y="248"/>
                      </a:lnTo>
                      <a:lnTo>
                        <a:pt x="181" y="248"/>
                      </a:lnTo>
                      <a:lnTo>
                        <a:pt x="181" y="248"/>
                      </a:lnTo>
                      <a:lnTo>
                        <a:pt x="180" y="248"/>
                      </a:lnTo>
                      <a:lnTo>
                        <a:pt x="180" y="248"/>
                      </a:lnTo>
                      <a:lnTo>
                        <a:pt x="179" y="248"/>
                      </a:lnTo>
                      <a:lnTo>
                        <a:pt x="179" y="248"/>
                      </a:lnTo>
                      <a:lnTo>
                        <a:pt x="179" y="249"/>
                      </a:lnTo>
                      <a:lnTo>
                        <a:pt x="178" y="249"/>
                      </a:lnTo>
                      <a:lnTo>
                        <a:pt x="177" y="249"/>
                      </a:lnTo>
                      <a:lnTo>
                        <a:pt x="177" y="248"/>
                      </a:lnTo>
                      <a:lnTo>
                        <a:pt x="177" y="249"/>
                      </a:lnTo>
                      <a:lnTo>
                        <a:pt x="176" y="249"/>
                      </a:lnTo>
                      <a:lnTo>
                        <a:pt x="175" y="249"/>
                      </a:lnTo>
                      <a:lnTo>
                        <a:pt x="174" y="250"/>
                      </a:lnTo>
                      <a:lnTo>
                        <a:pt x="170" y="250"/>
                      </a:lnTo>
                      <a:lnTo>
                        <a:pt x="170" y="250"/>
                      </a:lnTo>
                      <a:lnTo>
                        <a:pt x="170" y="249"/>
                      </a:lnTo>
                      <a:lnTo>
                        <a:pt x="169" y="249"/>
                      </a:lnTo>
                      <a:lnTo>
                        <a:pt x="169" y="250"/>
                      </a:lnTo>
                      <a:lnTo>
                        <a:pt x="169" y="249"/>
                      </a:lnTo>
                      <a:lnTo>
                        <a:pt x="168" y="249"/>
                      </a:lnTo>
                      <a:lnTo>
                        <a:pt x="168" y="250"/>
                      </a:lnTo>
                      <a:lnTo>
                        <a:pt x="168" y="249"/>
                      </a:lnTo>
                      <a:lnTo>
                        <a:pt x="168" y="249"/>
                      </a:lnTo>
                      <a:lnTo>
                        <a:pt x="167" y="249"/>
                      </a:lnTo>
                      <a:lnTo>
                        <a:pt x="166" y="249"/>
                      </a:lnTo>
                      <a:lnTo>
                        <a:pt x="166" y="250"/>
                      </a:lnTo>
                      <a:lnTo>
                        <a:pt x="165" y="250"/>
                      </a:lnTo>
                      <a:lnTo>
                        <a:pt x="165" y="250"/>
                      </a:lnTo>
                      <a:lnTo>
                        <a:pt x="164" y="250"/>
                      </a:lnTo>
                      <a:lnTo>
                        <a:pt x="164" y="251"/>
                      </a:lnTo>
                      <a:lnTo>
                        <a:pt x="164" y="251"/>
                      </a:lnTo>
                      <a:lnTo>
                        <a:pt x="163" y="251"/>
                      </a:lnTo>
                      <a:lnTo>
                        <a:pt x="162" y="251"/>
                      </a:lnTo>
                      <a:lnTo>
                        <a:pt x="162" y="251"/>
                      </a:lnTo>
                      <a:lnTo>
                        <a:pt x="161" y="251"/>
                      </a:lnTo>
                      <a:lnTo>
                        <a:pt x="161" y="252"/>
                      </a:lnTo>
                      <a:lnTo>
                        <a:pt x="160" y="252"/>
                      </a:lnTo>
                      <a:lnTo>
                        <a:pt x="160" y="252"/>
                      </a:lnTo>
                      <a:lnTo>
                        <a:pt x="160" y="253"/>
                      </a:lnTo>
                      <a:lnTo>
                        <a:pt x="159" y="253"/>
                      </a:lnTo>
                      <a:lnTo>
                        <a:pt x="158" y="253"/>
                      </a:lnTo>
                      <a:lnTo>
                        <a:pt x="158" y="254"/>
                      </a:lnTo>
                      <a:lnTo>
                        <a:pt x="158" y="253"/>
                      </a:lnTo>
                      <a:lnTo>
                        <a:pt x="157" y="253"/>
                      </a:lnTo>
                      <a:lnTo>
                        <a:pt x="156" y="254"/>
                      </a:lnTo>
                      <a:lnTo>
                        <a:pt x="155" y="254"/>
                      </a:lnTo>
                      <a:lnTo>
                        <a:pt x="155" y="254"/>
                      </a:lnTo>
                      <a:lnTo>
                        <a:pt x="154" y="256"/>
                      </a:lnTo>
                      <a:lnTo>
                        <a:pt x="153" y="257"/>
                      </a:lnTo>
                      <a:lnTo>
                        <a:pt x="150" y="259"/>
                      </a:lnTo>
                      <a:lnTo>
                        <a:pt x="144" y="261"/>
                      </a:lnTo>
                      <a:lnTo>
                        <a:pt x="143" y="263"/>
                      </a:lnTo>
                      <a:lnTo>
                        <a:pt x="141" y="263"/>
                      </a:lnTo>
                      <a:lnTo>
                        <a:pt x="138" y="266"/>
                      </a:lnTo>
                      <a:lnTo>
                        <a:pt x="141" y="271"/>
                      </a:lnTo>
                      <a:lnTo>
                        <a:pt x="142" y="275"/>
                      </a:lnTo>
                      <a:lnTo>
                        <a:pt x="142" y="276"/>
                      </a:lnTo>
                      <a:lnTo>
                        <a:pt x="143" y="279"/>
                      </a:lnTo>
                      <a:lnTo>
                        <a:pt x="145" y="280"/>
                      </a:lnTo>
                      <a:lnTo>
                        <a:pt x="146" y="282"/>
                      </a:lnTo>
                      <a:lnTo>
                        <a:pt x="146" y="284"/>
                      </a:lnTo>
                      <a:lnTo>
                        <a:pt x="146" y="286"/>
                      </a:lnTo>
                      <a:lnTo>
                        <a:pt x="145" y="286"/>
                      </a:lnTo>
                      <a:lnTo>
                        <a:pt x="146" y="288"/>
                      </a:lnTo>
                      <a:lnTo>
                        <a:pt x="146" y="291"/>
                      </a:lnTo>
                      <a:lnTo>
                        <a:pt x="147" y="292"/>
                      </a:lnTo>
                      <a:lnTo>
                        <a:pt x="149" y="298"/>
                      </a:lnTo>
                      <a:lnTo>
                        <a:pt x="150" y="300"/>
                      </a:lnTo>
                      <a:lnTo>
                        <a:pt x="151" y="301"/>
                      </a:lnTo>
                      <a:lnTo>
                        <a:pt x="150" y="301"/>
                      </a:lnTo>
                      <a:lnTo>
                        <a:pt x="150" y="302"/>
                      </a:lnTo>
                      <a:lnTo>
                        <a:pt x="150" y="303"/>
                      </a:lnTo>
                      <a:lnTo>
                        <a:pt x="150" y="303"/>
                      </a:lnTo>
                      <a:lnTo>
                        <a:pt x="151" y="305"/>
                      </a:lnTo>
                      <a:lnTo>
                        <a:pt x="151" y="306"/>
                      </a:lnTo>
                      <a:lnTo>
                        <a:pt x="151" y="307"/>
                      </a:lnTo>
                      <a:lnTo>
                        <a:pt x="151" y="308"/>
                      </a:lnTo>
                      <a:lnTo>
                        <a:pt x="152" y="309"/>
                      </a:lnTo>
                      <a:lnTo>
                        <a:pt x="153" y="312"/>
                      </a:lnTo>
                      <a:lnTo>
                        <a:pt x="155" y="313"/>
                      </a:lnTo>
                      <a:lnTo>
                        <a:pt x="155" y="315"/>
                      </a:lnTo>
                      <a:lnTo>
                        <a:pt x="155" y="317"/>
                      </a:lnTo>
                      <a:lnTo>
                        <a:pt x="155" y="318"/>
                      </a:lnTo>
                      <a:lnTo>
                        <a:pt x="155" y="318"/>
                      </a:lnTo>
                      <a:lnTo>
                        <a:pt x="155" y="319"/>
                      </a:lnTo>
                      <a:lnTo>
                        <a:pt x="156" y="320"/>
                      </a:lnTo>
                      <a:lnTo>
                        <a:pt x="157" y="320"/>
                      </a:lnTo>
                      <a:lnTo>
                        <a:pt x="157" y="321"/>
                      </a:lnTo>
                      <a:lnTo>
                        <a:pt x="157" y="322"/>
                      </a:lnTo>
                      <a:lnTo>
                        <a:pt x="158" y="322"/>
                      </a:lnTo>
                      <a:lnTo>
                        <a:pt x="157" y="322"/>
                      </a:lnTo>
                      <a:lnTo>
                        <a:pt x="157" y="323"/>
                      </a:lnTo>
                      <a:lnTo>
                        <a:pt x="157" y="324"/>
                      </a:lnTo>
                      <a:lnTo>
                        <a:pt x="157" y="324"/>
                      </a:lnTo>
                      <a:lnTo>
                        <a:pt x="158" y="324"/>
                      </a:lnTo>
                      <a:lnTo>
                        <a:pt x="157" y="324"/>
                      </a:lnTo>
                      <a:lnTo>
                        <a:pt x="157" y="325"/>
                      </a:lnTo>
                      <a:lnTo>
                        <a:pt x="157" y="326"/>
                      </a:lnTo>
                      <a:lnTo>
                        <a:pt x="158" y="326"/>
                      </a:lnTo>
                      <a:lnTo>
                        <a:pt x="158" y="326"/>
                      </a:lnTo>
                      <a:lnTo>
                        <a:pt x="158" y="326"/>
                      </a:lnTo>
                      <a:lnTo>
                        <a:pt x="159" y="327"/>
                      </a:lnTo>
                      <a:lnTo>
                        <a:pt x="159" y="328"/>
                      </a:lnTo>
                      <a:lnTo>
                        <a:pt x="159" y="328"/>
                      </a:lnTo>
                      <a:lnTo>
                        <a:pt x="160" y="330"/>
                      </a:lnTo>
                      <a:lnTo>
                        <a:pt x="161" y="332"/>
                      </a:lnTo>
                      <a:lnTo>
                        <a:pt x="162" y="332"/>
                      </a:lnTo>
                      <a:lnTo>
                        <a:pt x="162" y="334"/>
                      </a:lnTo>
                      <a:lnTo>
                        <a:pt x="162" y="335"/>
                      </a:lnTo>
                      <a:lnTo>
                        <a:pt x="162" y="336"/>
                      </a:lnTo>
                      <a:lnTo>
                        <a:pt x="162" y="337"/>
                      </a:lnTo>
                      <a:lnTo>
                        <a:pt x="160" y="338"/>
                      </a:lnTo>
                      <a:lnTo>
                        <a:pt x="160" y="339"/>
                      </a:lnTo>
                      <a:lnTo>
                        <a:pt x="160" y="340"/>
                      </a:lnTo>
                      <a:lnTo>
                        <a:pt x="161" y="343"/>
                      </a:lnTo>
                      <a:lnTo>
                        <a:pt x="162" y="344"/>
                      </a:lnTo>
                      <a:lnTo>
                        <a:pt x="162" y="345"/>
                      </a:lnTo>
                      <a:lnTo>
                        <a:pt x="162" y="345"/>
                      </a:lnTo>
                      <a:lnTo>
                        <a:pt x="163" y="345"/>
                      </a:lnTo>
                      <a:lnTo>
                        <a:pt x="163" y="346"/>
                      </a:lnTo>
                      <a:lnTo>
                        <a:pt x="163" y="347"/>
                      </a:lnTo>
                      <a:lnTo>
                        <a:pt x="164" y="347"/>
                      </a:lnTo>
                      <a:lnTo>
                        <a:pt x="164" y="347"/>
                      </a:lnTo>
                      <a:lnTo>
                        <a:pt x="165" y="347"/>
                      </a:lnTo>
                      <a:lnTo>
                        <a:pt x="166" y="347"/>
                      </a:lnTo>
                      <a:lnTo>
                        <a:pt x="168" y="346"/>
                      </a:lnTo>
                      <a:lnTo>
                        <a:pt x="168" y="347"/>
                      </a:lnTo>
                      <a:lnTo>
                        <a:pt x="170" y="347"/>
                      </a:lnTo>
                      <a:lnTo>
                        <a:pt x="170" y="347"/>
                      </a:lnTo>
                      <a:lnTo>
                        <a:pt x="169" y="349"/>
                      </a:lnTo>
                      <a:lnTo>
                        <a:pt x="169" y="350"/>
                      </a:lnTo>
                      <a:lnTo>
                        <a:pt x="170" y="350"/>
                      </a:lnTo>
                      <a:lnTo>
                        <a:pt x="171" y="351"/>
                      </a:lnTo>
                      <a:lnTo>
                        <a:pt x="171" y="351"/>
                      </a:lnTo>
                      <a:lnTo>
                        <a:pt x="172" y="351"/>
                      </a:lnTo>
                      <a:lnTo>
                        <a:pt x="172" y="353"/>
                      </a:lnTo>
                      <a:lnTo>
                        <a:pt x="173" y="353"/>
                      </a:lnTo>
                      <a:lnTo>
                        <a:pt x="174" y="355"/>
                      </a:lnTo>
                      <a:lnTo>
                        <a:pt x="174" y="356"/>
                      </a:lnTo>
                      <a:lnTo>
                        <a:pt x="173" y="356"/>
                      </a:lnTo>
                      <a:lnTo>
                        <a:pt x="174" y="356"/>
                      </a:lnTo>
                      <a:lnTo>
                        <a:pt x="174" y="357"/>
                      </a:lnTo>
                      <a:lnTo>
                        <a:pt x="172" y="358"/>
                      </a:lnTo>
                      <a:lnTo>
                        <a:pt x="172" y="359"/>
                      </a:lnTo>
                      <a:lnTo>
                        <a:pt x="172" y="360"/>
                      </a:lnTo>
                      <a:lnTo>
                        <a:pt x="173" y="360"/>
                      </a:lnTo>
                      <a:lnTo>
                        <a:pt x="174" y="360"/>
                      </a:lnTo>
                      <a:lnTo>
                        <a:pt x="175" y="360"/>
                      </a:lnTo>
                      <a:lnTo>
                        <a:pt x="177" y="360"/>
                      </a:lnTo>
                      <a:lnTo>
                        <a:pt x="177" y="361"/>
                      </a:lnTo>
                      <a:lnTo>
                        <a:pt x="177" y="362"/>
                      </a:lnTo>
                      <a:lnTo>
                        <a:pt x="178" y="362"/>
                      </a:lnTo>
                      <a:lnTo>
                        <a:pt x="179" y="362"/>
                      </a:lnTo>
                      <a:lnTo>
                        <a:pt x="179" y="363"/>
                      </a:lnTo>
                      <a:lnTo>
                        <a:pt x="179" y="364"/>
                      </a:lnTo>
                      <a:lnTo>
                        <a:pt x="181" y="365"/>
                      </a:lnTo>
                      <a:lnTo>
                        <a:pt x="181" y="365"/>
                      </a:lnTo>
                      <a:lnTo>
                        <a:pt x="182" y="365"/>
                      </a:lnTo>
                      <a:lnTo>
                        <a:pt x="183" y="366"/>
                      </a:lnTo>
                      <a:lnTo>
                        <a:pt x="186" y="366"/>
                      </a:lnTo>
                      <a:lnTo>
                        <a:pt x="188" y="366"/>
                      </a:lnTo>
                      <a:lnTo>
                        <a:pt x="188" y="370"/>
                      </a:lnTo>
                      <a:lnTo>
                        <a:pt x="188" y="372"/>
                      </a:lnTo>
                      <a:lnTo>
                        <a:pt x="189" y="373"/>
                      </a:lnTo>
                      <a:lnTo>
                        <a:pt x="189" y="375"/>
                      </a:lnTo>
                      <a:lnTo>
                        <a:pt x="189" y="377"/>
                      </a:lnTo>
                      <a:lnTo>
                        <a:pt x="190" y="380"/>
                      </a:lnTo>
                      <a:lnTo>
                        <a:pt x="191" y="381"/>
                      </a:lnTo>
                      <a:lnTo>
                        <a:pt x="193" y="382"/>
                      </a:lnTo>
                      <a:lnTo>
                        <a:pt x="196" y="383"/>
                      </a:lnTo>
                      <a:lnTo>
                        <a:pt x="198" y="383"/>
                      </a:lnTo>
                      <a:lnTo>
                        <a:pt x="198" y="383"/>
                      </a:lnTo>
                      <a:lnTo>
                        <a:pt x="200" y="381"/>
                      </a:lnTo>
                      <a:lnTo>
                        <a:pt x="201" y="379"/>
                      </a:lnTo>
                      <a:lnTo>
                        <a:pt x="202" y="379"/>
                      </a:lnTo>
                      <a:lnTo>
                        <a:pt x="204" y="376"/>
                      </a:lnTo>
                      <a:lnTo>
                        <a:pt x="204" y="375"/>
                      </a:lnTo>
                      <a:lnTo>
                        <a:pt x="204" y="374"/>
                      </a:lnTo>
                      <a:lnTo>
                        <a:pt x="204" y="371"/>
                      </a:lnTo>
                      <a:lnTo>
                        <a:pt x="204" y="370"/>
                      </a:lnTo>
                      <a:lnTo>
                        <a:pt x="204" y="368"/>
                      </a:lnTo>
                      <a:lnTo>
                        <a:pt x="205" y="365"/>
                      </a:lnTo>
                      <a:lnTo>
                        <a:pt x="207" y="362"/>
                      </a:lnTo>
                      <a:lnTo>
                        <a:pt x="208" y="362"/>
                      </a:lnTo>
                      <a:lnTo>
                        <a:pt x="208" y="362"/>
                      </a:lnTo>
                      <a:lnTo>
                        <a:pt x="209" y="362"/>
                      </a:lnTo>
                      <a:lnTo>
                        <a:pt x="210" y="362"/>
                      </a:lnTo>
                      <a:lnTo>
                        <a:pt x="210" y="361"/>
                      </a:lnTo>
                      <a:lnTo>
                        <a:pt x="210" y="361"/>
                      </a:lnTo>
                      <a:lnTo>
                        <a:pt x="211" y="361"/>
                      </a:lnTo>
                      <a:lnTo>
                        <a:pt x="212" y="361"/>
                      </a:lnTo>
                      <a:lnTo>
                        <a:pt x="212" y="360"/>
                      </a:lnTo>
                      <a:lnTo>
                        <a:pt x="212" y="360"/>
                      </a:lnTo>
                      <a:lnTo>
                        <a:pt x="212" y="361"/>
                      </a:lnTo>
                      <a:lnTo>
                        <a:pt x="213" y="362"/>
                      </a:lnTo>
                      <a:lnTo>
                        <a:pt x="213" y="362"/>
                      </a:lnTo>
                      <a:lnTo>
                        <a:pt x="214" y="362"/>
                      </a:lnTo>
                      <a:lnTo>
                        <a:pt x="214" y="362"/>
                      </a:lnTo>
                      <a:lnTo>
                        <a:pt x="215" y="362"/>
                      </a:lnTo>
                      <a:lnTo>
                        <a:pt x="215" y="362"/>
                      </a:lnTo>
                      <a:lnTo>
                        <a:pt x="215" y="361"/>
                      </a:lnTo>
                      <a:lnTo>
                        <a:pt x="216" y="361"/>
                      </a:lnTo>
                      <a:lnTo>
                        <a:pt x="217" y="361"/>
                      </a:lnTo>
                      <a:lnTo>
                        <a:pt x="217" y="362"/>
                      </a:lnTo>
                      <a:lnTo>
                        <a:pt x="217" y="362"/>
                      </a:lnTo>
                      <a:lnTo>
                        <a:pt x="217" y="362"/>
                      </a:lnTo>
                      <a:lnTo>
                        <a:pt x="219" y="362"/>
                      </a:lnTo>
                      <a:lnTo>
                        <a:pt x="219" y="362"/>
                      </a:lnTo>
                      <a:lnTo>
                        <a:pt x="220" y="362"/>
                      </a:lnTo>
                      <a:lnTo>
                        <a:pt x="221" y="363"/>
                      </a:lnTo>
                      <a:lnTo>
                        <a:pt x="221" y="363"/>
                      </a:lnTo>
                      <a:lnTo>
                        <a:pt x="223" y="363"/>
                      </a:lnTo>
                      <a:lnTo>
                        <a:pt x="223" y="363"/>
                      </a:lnTo>
                      <a:lnTo>
                        <a:pt x="225" y="364"/>
                      </a:lnTo>
                      <a:lnTo>
                        <a:pt x="225" y="364"/>
                      </a:lnTo>
                      <a:lnTo>
                        <a:pt x="226" y="366"/>
                      </a:lnTo>
                      <a:lnTo>
                        <a:pt x="227" y="367"/>
                      </a:lnTo>
                      <a:lnTo>
                        <a:pt x="227" y="368"/>
                      </a:lnTo>
                      <a:lnTo>
                        <a:pt x="228" y="369"/>
                      </a:lnTo>
                      <a:lnTo>
                        <a:pt x="228" y="370"/>
                      </a:lnTo>
                      <a:lnTo>
                        <a:pt x="229" y="370"/>
                      </a:lnTo>
                      <a:lnTo>
                        <a:pt x="229" y="371"/>
                      </a:lnTo>
                      <a:lnTo>
                        <a:pt x="229" y="372"/>
                      </a:lnTo>
                      <a:lnTo>
                        <a:pt x="229" y="373"/>
                      </a:lnTo>
                      <a:lnTo>
                        <a:pt x="230" y="374"/>
                      </a:lnTo>
                      <a:lnTo>
                        <a:pt x="231" y="375"/>
                      </a:lnTo>
                      <a:lnTo>
                        <a:pt x="231" y="375"/>
                      </a:lnTo>
                      <a:lnTo>
                        <a:pt x="231" y="376"/>
                      </a:lnTo>
                      <a:lnTo>
                        <a:pt x="232" y="377"/>
                      </a:lnTo>
                      <a:lnTo>
                        <a:pt x="232" y="378"/>
                      </a:lnTo>
                      <a:lnTo>
                        <a:pt x="233" y="378"/>
                      </a:lnTo>
                      <a:lnTo>
                        <a:pt x="234" y="381"/>
                      </a:lnTo>
                      <a:lnTo>
                        <a:pt x="236" y="384"/>
                      </a:lnTo>
                      <a:lnTo>
                        <a:pt x="236" y="385"/>
                      </a:lnTo>
                      <a:lnTo>
                        <a:pt x="236" y="387"/>
                      </a:lnTo>
                      <a:lnTo>
                        <a:pt x="237" y="389"/>
                      </a:lnTo>
                      <a:lnTo>
                        <a:pt x="238" y="391"/>
                      </a:lnTo>
                      <a:lnTo>
                        <a:pt x="238" y="392"/>
                      </a:lnTo>
                      <a:lnTo>
                        <a:pt x="238" y="393"/>
                      </a:lnTo>
                      <a:lnTo>
                        <a:pt x="238" y="394"/>
                      </a:lnTo>
                      <a:lnTo>
                        <a:pt x="238" y="396"/>
                      </a:lnTo>
                      <a:lnTo>
                        <a:pt x="240" y="398"/>
                      </a:lnTo>
                      <a:lnTo>
                        <a:pt x="240" y="400"/>
                      </a:lnTo>
                      <a:lnTo>
                        <a:pt x="242" y="402"/>
                      </a:lnTo>
                      <a:lnTo>
                        <a:pt x="241" y="402"/>
                      </a:lnTo>
                      <a:lnTo>
                        <a:pt x="241" y="404"/>
                      </a:lnTo>
                      <a:lnTo>
                        <a:pt x="242" y="404"/>
                      </a:lnTo>
                      <a:lnTo>
                        <a:pt x="242" y="405"/>
                      </a:lnTo>
                      <a:lnTo>
                        <a:pt x="242" y="405"/>
                      </a:lnTo>
                      <a:lnTo>
                        <a:pt x="242" y="406"/>
                      </a:lnTo>
                      <a:lnTo>
                        <a:pt x="243" y="406"/>
                      </a:lnTo>
                      <a:lnTo>
                        <a:pt x="243" y="408"/>
                      </a:lnTo>
                      <a:lnTo>
                        <a:pt x="244" y="408"/>
                      </a:lnTo>
                      <a:lnTo>
                        <a:pt x="244" y="409"/>
                      </a:lnTo>
                      <a:lnTo>
                        <a:pt x="244" y="410"/>
                      </a:lnTo>
                      <a:lnTo>
                        <a:pt x="244" y="411"/>
                      </a:lnTo>
                      <a:lnTo>
                        <a:pt x="245" y="412"/>
                      </a:lnTo>
                      <a:lnTo>
                        <a:pt x="246" y="414"/>
                      </a:lnTo>
                      <a:lnTo>
                        <a:pt x="246" y="415"/>
                      </a:lnTo>
                      <a:lnTo>
                        <a:pt x="246" y="418"/>
                      </a:lnTo>
                      <a:lnTo>
                        <a:pt x="248" y="420"/>
                      </a:lnTo>
                      <a:lnTo>
                        <a:pt x="249" y="421"/>
                      </a:lnTo>
                      <a:lnTo>
                        <a:pt x="249" y="425"/>
                      </a:lnTo>
                      <a:lnTo>
                        <a:pt x="250" y="431"/>
                      </a:lnTo>
                      <a:lnTo>
                        <a:pt x="250" y="433"/>
                      </a:lnTo>
                      <a:lnTo>
                        <a:pt x="249" y="436"/>
                      </a:lnTo>
                      <a:lnTo>
                        <a:pt x="250" y="438"/>
                      </a:lnTo>
                      <a:lnTo>
                        <a:pt x="255" y="442"/>
                      </a:lnTo>
                      <a:lnTo>
                        <a:pt x="257" y="441"/>
                      </a:lnTo>
                      <a:lnTo>
                        <a:pt x="263" y="440"/>
                      </a:lnTo>
                      <a:lnTo>
                        <a:pt x="264" y="440"/>
                      </a:lnTo>
                      <a:lnTo>
                        <a:pt x="265" y="439"/>
                      </a:lnTo>
                      <a:lnTo>
                        <a:pt x="266" y="438"/>
                      </a:lnTo>
                      <a:lnTo>
                        <a:pt x="267" y="438"/>
                      </a:lnTo>
                      <a:lnTo>
                        <a:pt x="267" y="437"/>
                      </a:lnTo>
                      <a:lnTo>
                        <a:pt x="268" y="437"/>
                      </a:lnTo>
                      <a:lnTo>
                        <a:pt x="269" y="437"/>
                      </a:lnTo>
                      <a:lnTo>
                        <a:pt x="269" y="437"/>
                      </a:lnTo>
                      <a:lnTo>
                        <a:pt x="270" y="437"/>
                      </a:lnTo>
                      <a:lnTo>
                        <a:pt x="271" y="437"/>
                      </a:lnTo>
                      <a:lnTo>
                        <a:pt x="271" y="436"/>
                      </a:lnTo>
                      <a:lnTo>
                        <a:pt x="272" y="436"/>
                      </a:lnTo>
                      <a:lnTo>
                        <a:pt x="272" y="437"/>
                      </a:lnTo>
                      <a:lnTo>
                        <a:pt x="272" y="436"/>
                      </a:lnTo>
                      <a:lnTo>
                        <a:pt x="272" y="436"/>
                      </a:lnTo>
                      <a:lnTo>
                        <a:pt x="273" y="436"/>
                      </a:lnTo>
                      <a:lnTo>
                        <a:pt x="273" y="436"/>
                      </a:lnTo>
                      <a:lnTo>
                        <a:pt x="274" y="436"/>
                      </a:lnTo>
                      <a:lnTo>
                        <a:pt x="274" y="436"/>
                      </a:lnTo>
                      <a:lnTo>
                        <a:pt x="275" y="435"/>
                      </a:lnTo>
                      <a:lnTo>
                        <a:pt x="276" y="435"/>
                      </a:lnTo>
                      <a:lnTo>
                        <a:pt x="276" y="435"/>
                      </a:lnTo>
                      <a:lnTo>
                        <a:pt x="276" y="434"/>
                      </a:lnTo>
                      <a:lnTo>
                        <a:pt x="276" y="435"/>
                      </a:lnTo>
                      <a:lnTo>
                        <a:pt x="276" y="434"/>
                      </a:lnTo>
                      <a:lnTo>
                        <a:pt x="277" y="434"/>
                      </a:lnTo>
                      <a:lnTo>
                        <a:pt x="278" y="434"/>
                      </a:lnTo>
                      <a:lnTo>
                        <a:pt x="278" y="434"/>
                      </a:lnTo>
                      <a:lnTo>
                        <a:pt x="279" y="434"/>
                      </a:lnTo>
                      <a:lnTo>
                        <a:pt x="279" y="434"/>
                      </a:lnTo>
                      <a:lnTo>
                        <a:pt x="280" y="434"/>
                      </a:lnTo>
                      <a:lnTo>
                        <a:pt x="280" y="436"/>
                      </a:lnTo>
                      <a:lnTo>
                        <a:pt x="280" y="436"/>
                      </a:lnTo>
                      <a:lnTo>
                        <a:pt x="280" y="438"/>
                      </a:lnTo>
                      <a:lnTo>
                        <a:pt x="281" y="442"/>
                      </a:lnTo>
                      <a:lnTo>
                        <a:pt x="281" y="444"/>
                      </a:lnTo>
                      <a:lnTo>
                        <a:pt x="282" y="443"/>
                      </a:lnTo>
                      <a:lnTo>
                        <a:pt x="287" y="446"/>
                      </a:lnTo>
                      <a:lnTo>
                        <a:pt x="289" y="449"/>
                      </a:lnTo>
                      <a:lnTo>
                        <a:pt x="290" y="450"/>
                      </a:lnTo>
                      <a:lnTo>
                        <a:pt x="291" y="452"/>
                      </a:lnTo>
                      <a:lnTo>
                        <a:pt x="293" y="452"/>
                      </a:lnTo>
                      <a:lnTo>
                        <a:pt x="294" y="453"/>
                      </a:lnTo>
                      <a:lnTo>
                        <a:pt x="295" y="454"/>
                      </a:lnTo>
                      <a:lnTo>
                        <a:pt x="297" y="457"/>
                      </a:lnTo>
                      <a:lnTo>
                        <a:pt x="299" y="458"/>
                      </a:lnTo>
                      <a:lnTo>
                        <a:pt x="299" y="459"/>
                      </a:lnTo>
                      <a:lnTo>
                        <a:pt x="299" y="459"/>
                      </a:lnTo>
                      <a:lnTo>
                        <a:pt x="299" y="460"/>
                      </a:lnTo>
                      <a:lnTo>
                        <a:pt x="300" y="461"/>
                      </a:lnTo>
                      <a:lnTo>
                        <a:pt x="301" y="460"/>
                      </a:lnTo>
                      <a:lnTo>
                        <a:pt x="302" y="460"/>
                      </a:lnTo>
                      <a:lnTo>
                        <a:pt x="303" y="462"/>
                      </a:lnTo>
                      <a:lnTo>
                        <a:pt x="303" y="463"/>
                      </a:lnTo>
                      <a:lnTo>
                        <a:pt x="303" y="463"/>
                      </a:lnTo>
                      <a:lnTo>
                        <a:pt x="304" y="464"/>
                      </a:lnTo>
                      <a:lnTo>
                        <a:pt x="303" y="465"/>
                      </a:lnTo>
                      <a:lnTo>
                        <a:pt x="303" y="465"/>
                      </a:lnTo>
                      <a:lnTo>
                        <a:pt x="302" y="465"/>
                      </a:lnTo>
                      <a:lnTo>
                        <a:pt x="301" y="467"/>
                      </a:lnTo>
                      <a:lnTo>
                        <a:pt x="300" y="469"/>
                      </a:lnTo>
                      <a:lnTo>
                        <a:pt x="301" y="471"/>
                      </a:lnTo>
                      <a:lnTo>
                        <a:pt x="300" y="475"/>
                      </a:lnTo>
                      <a:lnTo>
                        <a:pt x="297" y="478"/>
                      </a:lnTo>
                      <a:lnTo>
                        <a:pt x="297" y="479"/>
                      </a:lnTo>
                      <a:lnTo>
                        <a:pt x="298" y="480"/>
                      </a:lnTo>
                      <a:lnTo>
                        <a:pt x="298" y="480"/>
                      </a:lnTo>
                      <a:lnTo>
                        <a:pt x="299" y="480"/>
                      </a:lnTo>
                      <a:lnTo>
                        <a:pt x="299" y="481"/>
                      </a:lnTo>
                      <a:lnTo>
                        <a:pt x="299" y="482"/>
                      </a:lnTo>
                      <a:lnTo>
                        <a:pt x="299" y="482"/>
                      </a:lnTo>
                      <a:lnTo>
                        <a:pt x="300" y="483"/>
                      </a:lnTo>
                      <a:lnTo>
                        <a:pt x="301" y="483"/>
                      </a:lnTo>
                      <a:lnTo>
                        <a:pt x="301" y="484"/>
                      </a:lnTo>
                      <a:lnTo>
                        <a:pt x="301" y="484"/>
                      </a:lnTo>
                      <a:lnTo>
                        <a:pt x="300" y="486"/>
                      </a:lnTo>
                      <a:lnTo>
                        <a:pt x="299" y="486"/>
                      </a:lnTo>
                      <a:lnTo>
                        <a:pt x="297" y="488"/>
                      </a:lnTo>
                      <a:lnTo>
                        <a:pt x="296" y="490"/>
                      </a:lnTo>
                      <a:lnTo>
                        <a:pt x="295" y="493"/>
                      </a:lnTo>
                      <a:lnTo>
                        <a:pt x="295" y="495"/>
                      </a:lnTo>
                      <a:lnTo>
                        <a:pt x="294" y="496"/>
                      </a:lnTo>
                      <a:lnTo>
                        <a:pt x="294" y="497"/>
                      </a:lnTo>
                      <a:lnTo>
                        <a:pt x="295" y="501"/>
                      </a:lnTo>
                      <a:lnTo>
                        <a:pt x="294" y="502"/>
                      </a:lnTo>
                      <a:lnTo>
                        <a:pt x="294" y="503"/>
                      </a:lnTo>
                      <a:lnTo>
                        <a:pt x="293" y="503"/>
                      </a:lnTo>
                      <a:lnTo>
                        <a:pt x="293" y="503"/>
                      </a:lnTo>
                      <a:lnTo>
                        <a:pt x="292" y="503"/>
                      </a:lnTo>
                      <a:lnTo>
                        <a:pt x="291" y="503"/>
                      </a:lnTo>
                      <a:lnTo>
                        <a:pt x="291" y="502"/>
                      </a:lnTo>
                      <a:lnTo>
                        <a:pt x="290" y="502"/>
                      </a:lnTo>
                      <a:lnTo>
                        <a:pt x="290" y="501"/>
                      </a:lnTo>
                      <a:lnTo>
                        <a:pt x="289" y="501"/>
                      </a:lnTo>
                      <a:lnTo>
                        <a:pt x="288" y="501"/>
                      </a:lnTo>
                      <a:lnTo>
                        <a:pt x="288" y="501"/>
                      </a:lnTo>
                      <a:lnTo>
                        <a:pt x="288" y="501"/>
                      </a:lnTo>
                      <a:lnTo>
                        <a:pt x="288" y="500"/>
                      </a:lnTo>
                      <a:lnTo>
                        <a:pt x="287" y="500"/>
                      </a:lnTo>
                      <a:lnTo>
                        <a:pt x="286" y="500"/>
                      </a:lnTo>
                      <a:lnTo>
                        <a:pt x="286" y="500"/>
                      </a:lnTo>
                      <a:lnTo>
                        <a:pt x="285" y="500"/>
                      </a:lnTo>
                      <a:lnTo>
                        <a:pt x="285" y="501"/>
                      </a:lnTo>
                      <a:lnTo>
                        <a:pt x="284" y="501"/>
                      </a:lnTo>
                      <a:lnTo>
                        <a:pt x="284" y="501"/>
                      </a:lnTo>
                      <a:lnTo>
                        <a:pt x="284" y="501"/>
                      </a:lnTo>
                      <a:lnTo>
                        <a:pt x="284" y="501"/>
                      </a:lnTo>
                      <a:lnTo>
                        <a:pt x="283" y="501"/>
                      </a:lnTo>
                      <a:lnTo>
                        <a:pt x="283" y="501"/>
                      </a:lnTo>
                      <a:lnTo>
                        <a:pt x="282" y="501"/>
                      </a:lnTo>
                      <a:lnTo>
                        <a:pt x="282" y="501"/>
                      </a:lnTo>
                      <a:lnTo>
                        <a:pt x="282" y="502"/>
                      </a:lnTo>
                      <a:lnTo>
                        <a:pt x="281" y="502"/>
                      </a:lnTo>
                      <a:lnTo>
                        <a:pt x="280" y="502"/>
                      </a:lnTo>
                      <a:lnTo>
                        <a:pt x="280" y="502"/>
                      </a:lnTo>
                      <a:lnTo>
                        <a:pt x="279" y="502"/>
                      </a:lnTo>
                      <a:lnTo>
                        <a:pt x="278" y="503"/>
                      </a:lnTo>
                      <a:lnTo>
                        <a:pt x="277" y="503"/>
                      </a:lnTo>
                      <a:lnTo>
                        <a:pt x="276" y="505"/>
                      </a:lnTo>
                      <a:lnTo>
                        <a:pt x="272" y="506"/>
                      </a:lnTo>
                      <a:lnTo>
                        <a:pt x="271" y="507"/>
                      </a:lnTo>
                      <a:lnTo>
                        <a:pt x="270" y="511"/>
                      </a:lnTo>
                      <a:lnTo>
                        <a:pt x="269" y="512"/>
                      </a:lnTo>
                      <a:lnTo>
                        <a:pt x="269" y="514"/>
                      </a:lnTo>
                      <a:lnTo>
                        <a:pt x="265" y="516"/>
                      </a:lnTo>
                      <a:lnTo>
                        <a:pt x="263" y="518"/>
                      </a:lnTo>
                      <a:lnTo>
                        <a:pt x="262" y="518"/>
                      </a:lnTo>
                      <a:lnTo>
                        <a:pt x="261" y="518"/>
                      </a:lnTo>
                      <a:lnTo>
                        <a:pt x="259" y="518"/>
                      </a:lnTo>
                      <a:lnTo>
                        <a:pt x="258" y="519"/>
                      </a:lnTo>
                      <a:lnTo>
                        <a:pt x="258" y="520"/>
                      </a:lnTo>
                      <a:lnTo>
                        <a:pt x="259" y="522"/>
                      </a:lnTo>
                      <a:lnTo>
                        <a:pt x="257" y="522"/>
                      </a:lnTo>
                      <a:lnTo>
                        <a:pt x="255" y="526"/>
                      </a:lnTo>
                      <a:lnTo>
                        <a:pt x="250" y="537"/>
                      </a:lnTo>
                      <a:lnTo>
                        <a:pt x="242" y="549"/>
                      </a:lnTo>
                      <a:lnTo>
                        <a:pt x="238" y="559"/>
                      </a:lnTo>
                      <a:lnTo>
                        <a:pt x="229" y="560"/>
                      </a:lnTo>
                      <a:lnTo>
                        <a:pt x="219" y="547"/>
                      </a:lnTo>
                      <a:lnTo>
                        <a:pt x="211" y="540"/>
                      </a:lnTo>
                      <a:lnTo>
                        <a:pt x="200" y="535"/>
                      </a:lnTo>
                      <a:lnTo>
                        <a:pt x="189" y="542"/>
                      </a:lnTo>
                      <a:lnTo>
                        <a:pt x="189" y="543"/>
                      </a:lnTo>
                      <a:lnTo>
                        <a:pt x="187" y="545"/>
                      </a:lnTo>
                      <a:lnTo>
                        <a:pt x="185" y="545"/>
                      </a:lnTo>
                      <a:lnTo>
                        <a:pt x="183" y="546"/>
                      </a:lnTo>
                      <a:lnTo>
                        <a:pt x="181" y="551"/>
                      </a:lnTo>
                      <a:lnTo>
                        <a:pt x="181" y="552"/>
                      </a:lnTo>
                      <a:lnTo>
                        <a:pt x="179" y="553"/>
                      </a:lnTo>
                      <a:lnTo>
                        <a:pt x="178" y="553"/>
                      </a:lnTo>
                      <a:lnTo>
                        <a:pt x="176" y="554"/>
                      </a:lnTo>
                      <a:lnTo>
                        <a:pt x="174" y="554"/>
                      </a:lnTo>
                      <a:lnTo>
                        <a:pt x="172" y="553"/>
                      </a:lnTo>
                      <a:lnTo>
                        <a:pt x="171" y="553"/>
                      </a:lnTo>
                      <a:lnTo>
                        <a:pt x="169" y="553"/>
                      </a:lnTo>
                      <a:lnTo>
                        <a:pt x="168" y="554"/>
                      </a:lnTo>
                      <a:lnTo>
                        <a:pt x="166" y="554"/>
                      </a:lnTo>
                      <a:lnTo>
                        <a:pt x="165" y="554"/>
                      </a:lnTo>
                      <a:lnTo>
                        <a:pt x="162" y="555"/>
                      </a:lnTo>
                      <a:lnTo>
                        <a:pt x="162" y="555"/>
                      </a:lnTo>
                      <a:lnTo>
                        <a:pt x="162" y="554"/>
                      </a:lnTo>
                      <a:lnTo>
                        <a:pt x="161" y="554"/>
                      </a:lnTo>
                      <a:lnTo>
                        <a:pt x="160" y="554"/>
                      </a:lnTo>
                      <a:lnTo>
                        <a:pt x="160" y="555"/>
                      </a:lnTo>
                      <a:lnTo>
                        <a:pt x="160" y="555"/>
                      </a:lnTo>
                      <a:lnTo>
                        <a:pt x="160" y="556"/>
                      </a:lnTo>
                      <a:lnTo>
                        <a:pt x="159" y="556"/>
                      </a:lnTo>
                      <a:lnTo>
                        <a:pt x="159" y="556"/>
                      </a:lnTo>
                      <a:lnTo>
                        <a:pt x="158" y="556"/>
                      </a:lnTo>
                      <a:lnTo>
                        <a:pt x="158" y="557"/>
                      </a:lnTo>
                      <a:lnTo>
                        <a:pt x="157" y="558"/>
                      </a:lnTo>
                      <a:lnTo>
                        <a:pt x="156" y="558"/>
                      </a:lnTo>
                      <a:lnTo>
                        <a:pt x="155" y="559"/>
                      </a:lnTo>
                      <a:lnTo>
                        <a:pt x="153" y="559"/>
                      </a:lnTo>
                      <a:lnTo>
                        <a:pt x="151" y="560"/>
                      </a:lnTo>
                      <a:lnTo>
                        <a:pt x="149" y="559"/>
                      </a:lnTo>
                      <a:lnTo>
                        <a:pt x="149" y="559"/>
                      </a:lnTo>
                      <a:lnTo>
                        <a:pt x="147" y="558"/>
                      </a:lnTo>
                      <a:lnTo>
                        <a:pt x="147" y="558"/>
                      </a:lnTo>
                      <a:lnTo>
                        <a:pt x="145" y="557"/>
                      </a:lnTo>
                      <a:lnTo>
                        <a:pt x="145" y="556"/>
                      </a:lnTo>
                      <a:lnTo>
                        <a:pt x="144" y="556"/>
                      </a:lnTo>
                      <a:lnTo>
                        <a:pt x="144" y="556"/>
                      </a:lnTo>
                      <a:lnTo>
                        <a:pt x="144" y="555"/>
                      </a:lnTo>
                      <a:lnTo>
                        <a:pt x="143" y="555"/>
                      </a:lnTo>
                      <a:lnTo>
                        <a:pt x="143" y="554"/>
                      </a:lnTo>
                      <a:lnTo>
                        <a:pt x="142" y="556"/>
                      </a:lnTo>
                      <a:lnTo>
                        <a:pt x="141" y="556"/>
                      </a:lnTo>
                      <a:lnTo>
                        <a:pt x="141" y="556"/>
                      </a:lnTo>
                      <a:lnTo>
                        <a:pt x="140" y="556"/>
                      </a:lnTo>
                      <a:lnTo>
                        <a:pt x="139" y="556"/>
                      </a:lnTo>
                      <a:lnTo>
                        <a:pt x="139" y="556"/>
                      </a:lnTo>
                      <a:lnTo>
                        <a:pt x="139" y="557"/>
                      </a:lnTo>
                      <a:lnTo>
                        <a:pt x="139" y="556"/>
                      </a:lnTo>
                      <a:lnTo>
                        <a:pt x="138" y="556"/>
                      </a:lnTo>
                      <a:lnTo>
                        <a:pt x="138" y="556"/>
                      </a:lnTo>
                      <a:lnTo>
                        <a:pt x="138" y="555"/>
                      </a:lnTo>
                      <a:lnTo>
                        <a:pt x="138" y="554"/>
                      </a:lnTo>
                      <a:lnTo>
                        <a:pt x="137" y="554"/>
                      </a:lnTo>
                      <a:lnTo>
                        <a:pt x="136" y="554"/>
                      </a:lnTo>
                      <a:lnTo>
                        <a:pt x="136" y="555"/>
                      </a:lnTo>
                      <a:lnTo>
                        <a:pt x="136" y="555"/>
                      </a:lnTo>
                      <a:lnTo>
                        <a:pt x="135" y="555"/>
                      </a:lnTo>
                      <a:lnTo>
                        <a:pt x="134" y="555"/>
                      </a:lnTo>
                      <a:lnTo>
                        <a:pt x="134" y="555"/>
                      </a:lnTo>
                      <a:lnTo>
                        <a:pt x="133" y="555"/>
                      </a:lnTo>
                      <a:lnTo>
                        <a:pt x="132" y="555"/>
                      </a:lnTo>
                      <a:lnTo>
                        <a:pt x="132" y="555"/>
                      </a:lnTo>
                      <a:lnTo>
                        <a:pt x="132" y="556"/>
                      </a:lnTo>
                      <a:lnTo>
                        <a:pt x="131" y="556"/>
                      </a:lnTo>
                      <a:lnTo>
                        <a:pt x="130" y="556"/>
                      </a:lnTo>
                      <a:lnTo>
                        <a:pt x="130" y="556"/>
                      </a:lnTo>
                      <a:lnTo>
                        <a:pt x="129" y="556"/>
                      </a:lnTo>
                      <a:lnTo>
                        <a:pt x="129" y="556"/>
                      </a:lnTo>
                      <a:lnTo>
                        <a:pt x="128" y="556"/>
                      </a:lnTo>
                      <a:lnTo>
                        <a:pt x="128" y="557"/>
                      </a:lnTo>
                      <a:lnTo>
                        <a:pt x="128" y="557"/>
                      </a:lnTo>
                      <a:lnTo>
                        <a:pt x="128" y="558"/>
                      </a:lnTo>
                      <a:lnTo>
                        <a:pt x="127" y="558"/>
                      </a:lnTo>
                      <a:lnTo>
                        <a:pt x="127" y="558"/>
                      </a:lnTo>
                      <a:lnTo>
                        <a:pt x="126" y="558"/>
                      </a:lnTo>
                      <a:lnTo>
                        <a:pt x="126" y="558"/>
                      </a:lnTo>
                      <a:lnTo>
                        <a:pt x="126" y="559"/>
                      </a:lnTo>
                      <a:lnTo>
                        <a:pt x="126" y="560"/>
                      </a:lnTo>
                      <a:lnTo>
                        <a:pt x="125" y="560"/>
                      </a:lnTo>
                      <a:lnTo>
                        <a:pt x="125" y="560"/>
                      </a:lnTo>
                      <a:lnTo>
                        <a:pt x="124" y="560"/>
                      </a:lnTo>
                      <a:lnTo>
                        <a:pt x="124" y="560"/>
                      </a:lnTo>
                      <a:lnTo>
                        <a:pt x="123" y="560"/>
                      </a:lnTo>
                      <a:lnTo>
                        <a:pt x="122" y="560"/>
                      </a:lnTo>
                      <a:lnTo>
                        <a:pt x="122" y="560"/>
                      </a:lnTo>
                      <a:lnTo>
                        <a:pt x="122" y="561"/>
                      </a:lnTo>
                      <a:lnTo>
                        <a:pt x="121" y="561"/>
                      </a:lnTo>
                      <a:lnTo>
                        <a:pt x="121" y="562"/>
                      </a:lnTo>
                      <a:lnTo>
                        <a:pt x="120" y="562"/>
                      </a:lnTo>
                      <a:lnTo>
                        <a:pt x="120" y="562"/>
                      </a:lnTo>
                      <a:lnTo>
                        <a:pt x="119" y="562"/>
                      </a:lnTo>
                      <a:lnTo>
                        <a:pt x="118" y="562"/>
                      </a:lnTo>
                      <a:lnTo>
                        <a:pt x="117" y="562"/>
                      </a:lnTo>
                      <a:lnTo>
                        <a:pt x="117" y="562"/>
                      </a:lnTo>
                      <a:lnTo>
                        <a:pt x="116" y="562"/>
                      </a:lnTo>
                      <a:lnTo>
                        <a:pt x="115" y="562"/>
                      </a:lnTo>
                      <a:lnTo>
                        <a:pt x="115" y="562"/>
                      </a:lnTo>
                      <a:lnTo>
                        <a:pt x="114" y="561"/>
                      </a:lnTo>
                      <a:lnTo>
                        <a:pt x="114" y="560"/>
                      </a:lnTo>
                      <a:lnTo>
                        <a:pt x="113" y="560"/>
                      </a:lnTo>
                      <a:lnTo>
                        <a:pt x="113" y="560"/>
                      </a:lnTo>
                      <a:lnTo>
                        <a:pt x="113" y="560"/>
                      </a:lnTo>
                      <a:lnTo>
                        <a:pt x="112" y="560"/>
                      </a:lnTo>
                      <a:lnTo>
                        <a:pt x="112" y="560"/>
                      </a:lnTo>
                      <a:lnTo>
                        <a:pt x="111" y="560"/>
                      </a:lnTo>
                      <a:lnTo>
                        <a:pt x="111" y="559"/>
                      </a:lnTo>
                      <a:lnTo>
                        <a:pt x="111" y="559"/>
                      </a:lnTo>
                      <a:lnTo>
                        <a:pt x="110" y="558"/>
                      </a:lnTo>
                      <a:lnTo>
                        <a:pt x="110" y="558"/>
                      </a:lnTo>
                      <a:lnTo>
                        <a:pt x="109" y="558"/>
                      </a:lnTo>
                      <a:lnTo>
                        <a:pt x="109" y="558"/>
                      </a:lnTo>
                      <a:lnTo>
                        <a:pt x="108" y="557"/>
                      </a:lnTo>
                      <a:lnTo>
                        <a:pt x="108" y="556"/>
                      </a:lnTo>
                      <a:lnTo>
                        <a:pt x="107" y="556"/>
                      </a:lnTo>
                      <a:lnTo>
                        <a:pt x="108" y="556"/>
                      </a:lnTo>
                      <a:lnTo>
                        <a:pt x="107" y="556"/>
                      </a:lnTo>
                      <a:lnTo>
                        <a:pt x="107" y="555"/>
                      </a:lnTo>
                      <a:lnTo>
                        <a:pt x="107" y="554"/>
                      </a:lnTo>
                      <a:lnTo>
                        <a:pt x="107" y="554"/>
                      </a:lnTo>
                      <a:lnTo>
                        <a:pt x="106" y="554"/>
                      </a:lnTo>
                      <a:lnTo>
                        <a:pt x="105" y="554"/>
                      </a:lnTo>
                      <a:lnTo>
                        <a:pt x="105" y="553"/>
                      </a:lnTo>
                      <a:lnTo>
                        <a:pt x="105" y="552"/>
                      </a:lnTo>
                      <a:lnTo>
                        <a:pt x="105" y="552"/>
                      </a:lnTo>
                      <a:lnTo>
                        <a:pt x="105" y="551"/>
                      </a:lnTo>
                      <a:lnTo>
                        <a:pt x="105" y="551"/>
                      </a:lnTo>
                      <a:lnTo>
                        <a:pt x="104" y="551"/>
                      </a:lnTo>
                      <a:lnTo>
                        <a:pt x="103" y="551"/>
                      </a:lnTo>
                      <a:lnTo>
                        <a:pt x="103" y="550"/>
                      </a:lnTo>
                      <a:lnTo>
                        <a:pt x="103" y="550"/>
                      </a:lnTo>
                      <a:lnTo>
                        <a:pt x="101" y="550"/>
                      </a:lnTo>
                      <a:lnTo>
                        <a:pt x="101" y="549"/>
                      </a:lnTo>
                      <a:lnTo>
                        <a:pt x="99" y="549"/>
                      </a:lnTo>
                      <a:lnTo>
                        <a:pt x="98" y="548"/>
                      </a:lnTo>
                      <a:lnTo>
                        <a:pt x="97" y="547"/>
                      </a:lnTo>
                      <a:lnTo>
                        <a:pt x="96" y="546"/>
                      </a:lnTo>
                      <a:lnTo>
                        <a:pt x="95" y="546"/>
                      </a:lnTo>
                      <a:lnTo>
                        <a:pt x="94" y="545"/>
                      </a:lnTo>
                      <a:lnTo>
                        <a:pt x="94" y="545"/>
                      </a:lnTo>
                      <a:lnTo>
                        <a:pt x="93" y="545"/>
                      </a:lnTo>
                      <a:lnTo>
                        <a:pt x="93" y="544"/>
                      </a:lnTo>
                      <a:lnTo>
                        <a:pt x="92" y="544"/>
                      </a:lnTo>
                      <a:lnTo>
                        <a:pt x="92" y="543"/>
                      </a:lnTo>
                      <a:lnTo>
                        <a:pt x="92" y="543"/>
                      </a:lnTo>
                      <a:lnTo>
                        <a:pt x="91" y="543"/>
                      </a:lnTo>
                      <a:lnTo>
                        <a:pt x="91" y="543"/>
                      </a:lnTo>
                      <a:lnTo>
                        <a:pt x="90" y="543"/>
                      </a:lnTo>
                      <a:lnTo>
                        <a:pt x="90" y="542"/>
                      </a:lnTo>
                      <a:lnTo>
                        <a:pt x="90" y="542"/>
                      </a:lnTo>
                      <a:lnTo>
                        <a:pt x="89" y="542"/>
                      </a:lnTo>
                      <a:lnTo>
                        <a:pt x="88" y="542"/>
                      </a:lnTo>
                      <a:lnTo>
                        <a:pt x="88" y="541"/>
                      </a:lnTo>
                      <a:lnTo>
                        <a:pt x="88" y="541"/>
                      </a:lnTo>
                      <a:lnTo>
                        <a:pt x="88" y="541"/>
                      </a:lnTo>
                      <a:lnTo>
                        <a:pt x="88" y="540"/>
                      </a:lnTo>
                      <a:lnTo>
                        <a:pt x="87" y="540"/>
                      </a:lnTo>
                      <a:lnTo>
                        <a:pt x="86" y="539"/>
                      </a:lnTo>
                      <a:lnTo>
                        <a:pt x="86" y="539"/>
                      </a:lnTo>
                      <a:lnTo>
                        <a:pt x="85" y="539"/>
                      </a:lnTo>
                      <a:lnTo>
                        <a:pt x="85" y="540"/>
                      </a:lnTo>
                      <a:lnTo>
                        <a:pt x="84" y="540"/>
                      </a:lnTo>
                      <a:lnTo>
                        <a:pt x="84" y="540"/>
                      </a:lnTo>
                      <a:lnTo>
                        <a:pt x="83" y="540"/>
                      </a:lnTo>
                      <a:lnTo>
                        <a:pt x="83" y="541"/>
                      </a:lnTo>
                      <a:lnTo>
                        <a:pt x="82" y="541"/>
                      </a:lnTo>
                      <a:lnTo>
                        <a:pt x="82" y="540"/>
                      </a:lnTo>
                      <a:lnTo>
                        <a:pt x="82" y="540"/>
                      </a:lnTo>
                      <a:lnTo>
                        <a:pt x="82" y="541"/>
                      </a:lnTo>
                      <a:lnTo>
                        <a:pt x="81" y="541"/>
                      </a:lnTo>
                      <a:lnTo>
                        <a:pt x="80" y="541"/>
                      </a:lnTo>
                      <a:lnTo>
                        <a:pt x="79" y="541"/>
                      </a:lnTo>
                      <a:lnTo>
                        <a:pt x="79" y="541"/>
                      </a:lnTo>
                      <a:lnTo>
                        <a:pt x="78" y="541"/>
                      </a:lnTo>
                      <a:lnTo>
                        <a:pt x="77" y="542"/>
                      </a:lnTo>
                      <a:lnTo>
                        <a:pt x="77" y="542"/>
                      </a:lnTo>
                      <a:lnTo>
                        <a:pt x="77" y="543"/>
                      </a:lnTo>
                      <a:lnTo>
                        <a:pt x="76" y="543"/>
                      </a:lnTo>
                      <a:lnTo>
                        <a:pt x="75" y="543"/>
                      </a:lnTo>
                      <a:lnTo>
                        <a:pt x="75" y="543"/>
                      </a:lnTo>
                      <a:lnTo>
                        <a:pt x="75" y="543"/>
                      </a:lnTo>
                      <a:lnTo>
                        <a:pt x="73" y="541"/>
                      </a:lnTo>
                      <a:lnTo>
                        <a:pt x="73" y="541"/>
                      </a:lnTo>
                      <a:lnTo>
                        <a:pt x="72" y="541"/>
                      </a:lnTo>
                      <a:lnTo>
                        <a:pt x="71" y="540"/>
                      </a:lnTo>
                      <a:lnTo>
                        <a:pt x="71" y="540"/>
                      </a:lnTo>
                      <a:lnTo>
                        <a:pt x="70" y="540"/>
                      </a:lnTo>
                      <a:lnTo>
                        <a:pt x="69" y="540"/>
                      </a:lnTo>
                      <a:lnTo>
                        <a:pt x="69" y="541"/>
                      </a:lnTo>
                      <a:lnTo>
                        <a:pt x="68" y="541"/>
                      </a:lnTo>
                      <a:lnTo>
                        <a:pt x="67" y="541"/>
                      </a:lnTo>
                      <a:lnTo>
                        <a:pt x="67" y="541"/>
                      </a:lnTo>
                      <a:lnTo>
                        <a:pt x="66" y="542"/>
                      </a:lnTo>
                      <a:lnTo>
                        <a:pt x="65" y="543"/>
                      </a:lnTo>
                      <a:lnTo>
                        <a:pt x="65" y="543"/>
                      </a:lnTo>
                      <a:lnTo>
                        <a:pt x="65" y="543"/>
                      </a:lnTo>
                      <a:lnTo>
                        <a:pt x="64" y="543"/>
                      </a:lnTo>
                      <a:lnTo>
                        <a:pt x="64" y="543"/>
                      </a:lnTo>
                      <a:lnTo>
                        <a:pt x="63" y="543"/>
                      </a:lnTo>
                      <a:lnTo>
                        <a:pt x="63" y="543"/>
                      </a:lnTo>
                      <a:lnTo>
                        <a:pt x="63" y="542"/>
                      </a:lnTo>
                      <a:lnTo>
                        <a:pt x="62" y="542"/>
                      </a:lnTo>
                      <a:lnTo>
                        <a:pt x="62" y="541"/>
                      </a:lnTo>
                      <a:lnTo>
                        <a:pt x="62" y="541"/>
                      </a:lnTo>
                      <a:lnTo>
                        <a:pt x="61" y="541"/>
                      </a:lnTo>
                      <a:lnTo>
                        <a:pt x="60" y="541"/>
                      </a:lnTo>
                      <a:lnTo>
                        <a:pt x="60" y="541"/>
                      </a:lnTo>
                      <a:lnTo>
                        <a:pt x="60" y="542"/>
                      </a:lnTo>
                      <a:lnTo>
                        <a:pt x="60" y="542"/>
                      </a:lnTo>
                      <a:lnTo>
                        <a:pt x="60" y="541"/>
                      </a:lnTo>
                      <a:lnTo>
                        <a:pt x="60" y="542"/>
                      </a:lnTo>
                      <a:lnTo>
                        <a:pt x="59" y="542"/>
                      </a:lnTo>
                      <a:lnTo>
                        <a:pt x="59" y="541"/>
                      </a:lnTo>
                      <a:lnTo>
                        <a:pt x="58" y="541"/>
                      </a:lnTo>
                      <a:lnTo>
                        <a:pt x="58" y="541"/>
                      </a:lnTo>
                      <a:lnTo>
                        <a:pt x="58" y="541"/>
                      </a:lnTo>
                      <a:lnTo>
                        <a:pt x="58" y="540"/>
                      </a:lnTo>
                      <a:lnTo>
                        <a:pt x="58" y="539"/>
                      </a:lnTo>
                      <a:lnTo>
                        <a:pt x="57" y="539"/>
                      </a:lnTo>
                      <a:lnTo>
                        <a:pt x="57" y="539"/>
                      </a:lnTo>
                      <a:lnTo>
                        <a:pt x="56" y="539"/>
                      </a:lnTo>
                      <a:lnTo>
                        <a:pt x="56" y="538"/>
                      </a:lnTo>
                      <a:lnTo>
                        <a:pt x="56" y="538"/>
                      </a:lnTo>
                      <a:lnTo>
                        <a:pt x="56" y="537"/>
                      </a:lnTo>
                      <a:lnTo>
                        <a:pt x="56" y="538"/>
                      </a:lnTo>
                      <a:lnTo>
                        <a:pt x="55" y="538"/>
                      </a:lnTo>
                      <a:lnTo>
                        <a:pt x="55" y="537"/>
                      </a:lnTo>
                      <a:lnTo>
                        <a:pt x="54" y="537"/>
                      </a:lnTo>
                      <a:lnTo>
                        <a:pt x="54" y="538"/>
                      </a:lnTo>
                      <a:lnTo>
                        <a:pt x="54" y="539"/>
                      </a:lnTo>
                      <a:lnTo>
                        <a:pt x="54" y="539"/>
                      </a:lnTo>
                      <a:lnTo>
                        <a:pt x="53" y="54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8" name="Freeform 58">
                  <a:extLst>
                    <a:ext uri="{FF2B5EF4-FFF2-40B4-BE49-F238E27FC236}">
                      <a16:creationId xmlns:a16="http://schemas.microsoft.com/office/drawing/2014/main" xmlns="" id="{62226709-5B70-0B8D-7ABF-7EA361E33B32}"/>
                    </a:ext>
                  </a:extLst>
                </p:cNvPr>
                <p:cNvSpPr>
                  <a:spLocks/>
                </p:cNvSpPr>
                <p:nvPr/>
              </p:nvSpPr>
              <p:spPr bwMode="auto">
                <a:xfrm>
                  <a:off x="2109" y="2950"/>
                  <a:ext cx="529" cy="488"/>
                </a:xfrm>
                <a:custGeom>
                  <a:avLst/>
                  <a:gdLst>
                    <a:gd name="T0" fmla="*/ 525 w 529"/>
                    <a:gd name="T1" fmla="*/ 357 h 488"/>
                    <a:gd name="T2" fmla="*/ 515 w 529"/>
                    <a:gd name="T3" fmla="*/ 362 h 488"/>
                    <a:gd name="T4" fmla="*/ 505 w 529"/>
                    <a:gd name="T5" fmla="*/ 369 h 488"/>
                    <a:gd name="T6" fmla="*/ 492 w 529"/>
                    <a:gd name="T7" fmla="*/ 366 h 488"/>
                    <a:gd name="T8" fmla="*/ 484 w 529"/>
                    <a:gd name="T9" fmla="*/ 367 h 488"/>
                    <a:gd name="T10" fmla="*/ 487 w 529"/>
                    <a:gd name="T11" fmla="*/ 373 h 488"/>
                    <a:gd name="T12" fmla="*/ 494 w 529"/>
                    <a:gd name="T13" fmla="*/ 378 h 488"/>
                    <a:gd name="T14" fmla="*/ 493 w 529"/>
                    <a:gd name="T15" fmla="*/ 386 h 488"/>
                    <a:gd name="T16" fmla="*/ 495 w 529"/>
                    <a:gd name="T17" fmla="*/ 395 h 488"/>
                    <a:gd name="T18" fmla="*/ 494 w 529"/>
                    <a:gd name="T19" fmla="*/ 405 h 488"/>
                    <a:gd name="T20" fmla="*/ 500 w 529"/>
                    <a:gd name="T21" fmla="*/ 411 h 488"/>
                    <a:gd name="T22" fmla="*/ 500 w 529"/>
                    <a:gd name="T23" fmla="*/ 420 h 488"/>
                    <a:gd name="T24" fmla="*/ 501 w 529"/>
                    <a:gd name="T25" fmla="*/ 429 h 488"/>
                    <a:gd name="T26" fmla="*/ 496 w 529"/>
                    <a:gd name="T27" fmla="*/ 434 h 488"/>
                    <a:gd name="T28" fmla="*/ 488 w 529"/>
                    <a:gd name="T29" fmla="*/ 438 h 488"/>
                    <a:gd name="T30" fmla="*/ 486 w 529"/>
                    <a:gd name="T31" fmla="*/ 446 h 488"/>
                    <a:gd name="T32" fmla="*/ 479 w 529"/>
                    <a:gd name="T33" fmla="*/ 451 h 488"/>
                    <a:gd name="T34" fmla="*/ 469 w 529"/>
                    <a:gd name="T35" fmla="*/ 445 h 488"/>
                    <a:gd name="T36" fmla="*/ 460 w 529"/>
                    <a:gd name="T37" fmla="*/ 441 h 488"/>
                    <a:gd name="T38" fmla="*/ 447 w 529"/>
                    <a:gd name="T39" fmla="*/ 441 h 488"/>
                    <a:gd name="T40" fmla="*/ 436 w 529"/>
                    <a:gd name="T41" fmla="*/ 439 h 488"/>
                    <a:gd name="T42" fmla="*/ 427 w 529"/>
                    <a:gd name="T43" fmla="*/ 441 h 488"/>
                    <a:gd name="T44" fmla="*/ 418 w 529"/>
                    <a:gd name="T45" fmla="*/ 442 h 488"/>
                    <a:gd name="T46" fmla="*/ 410 w 529"/>
                    <a:gd name="T47" fmla="*/ 447 h 488"/>
                    <a:gd name="T48" fmla="*/ 413 w 529"/>
                    <a:gd name="T49" fmla="*/ 457 h 488"/>
                    <a:gd name="T50" fmla="*/ 414 w 529"/>
                    <a:gd name="T51" fmla="*/ 461 h 488"/>
                    <a:gd name="T52" fmla="*/ 418 w 529"/>
                    <a:gd name="T53" fmla="*/ 461 h 488"/>
                    <a:gd name="T54" fmla="*/ 417 w 529"/>
                    <a:gd name="T55" fmla="*/ 466 h 488"/>
                    <a:gd name="T56" fmla="*/ 420 w 529"/>
                    <a:gd name="T57" fmla="*/ 472 h 488"/>
                    <a:gd name="T58" fmla="*/ 422 w 529"/>
                    <a:gd name="T59" fmla="*/ 474 h 488"/>
                    <a:gd name="T60" fmla="*/ 419 w 529"/>
                    <a:gd name="T61" fmla="*/ 479 h 488"/>
                    <a:gd name="T62" fmla="*/ 413 w 529"/>
                    <a:gd name="T63" fmla="*/ 484 h 488"/>
                    <a:gd name="T64" fmla="*/ 408 w 529"/>
                    <a:gd name="T65" fmla="*/ 485 h 488"/>
                    <a:gd name="T66" fmla="*/ 401 w 529"/>
                    <a:gd name="T67" fmla="*/ 481 h 488"/>
                    <a:gd name="T68" fmla="*/ 371 w 529"/>
                    <a:gd name="T69" fmla="*/ 474 h 488"/>
                    <a:gd name="T70" fmla="*/ 363 w 529"/>
                    <a:gd name="T71" fmla="*/ 470 h 488"/>
                    <a:gd name="T72" fmla="*/ 313 w 529"/>
                    <a:gd name="T73" fmla="*/ 449 h 488"/>
                    <a:gd name="T74" fmla="*/ 287 w 529"/>
                    <a:gd name="T75" fmla="*/ 415 h 488"/>
                    <a:gd name="T76" fmla="*/ 279 w 529"/>
                    <a:gd name="T77" fmla="*/ 410 h 488"/>
                    <a:gd name="T78" fmla="*/ 272 w 529"/>
                    <a:gd name="T79" fmla="*/ 413 h 488"/>
                    <a:gd name="T80" fmla="*/ 264 w 529"/>
                    <a:gd name="T81" fmla="*/ 417 h 488"/>
                    <a:gd name="T82" fmla="*/ 257 w 529"/>
                    <a:gd name="T83" fmla="*/ 416 h 488"/>
                    <a:gd name="T84" fmla="*/ 249 w 529"/>
                    <a:gd name="T85" fmla="*/ 413 h 488"/>
                    <a:gd name="T86" fmla="*/ 243 w 529"/>
                    <a:gd name="T87" fmla="*/ 411 h 488"/>
                    <a:gd name="T88" fmla="*/ 236 w 529"/>
                    <a:gd name="T89" fmla="*/ 407 h 488"/>
                    <a:gd name="T90" fmla="*/ 227 w 529"/>
                    <a:gd name="T91" fmla="*/ 403 h 488"/>
                    <a:gd name="T92" fmla="*/ 226 w 529"/>
                    <a:gd name="T93" fmla="*/ 397 h 488"/>
                    <a:gd name="T94" fmla="*/ 217 w 529"/>
                    <a:gd name="T95" fmla="*/ 395 h 488"/>
                    <a:gd name="T96" fmla="*/ 208 w 529"/>
                    <a:gd name="T97" fmla="*/ 393 h 488"/>
                    <a:gd name="T98" fmla="*/ 199 w 529"/>
                    <a:gd name="T99" fmla="*/ 384 h 488"/>
                    <a:gd name="T100" fmla="*/ 196 w 529"/>
                    <a:gd name="T101" fmla="*/ 376 h 488"/>
                    <a:gd name="T102" fmla="*/ 198 w 529"/>
                    <a:gd name="T103" fmla="*/ 369 h 488"/>
                    <a:gd name="T104" fmla="*/ 118 w 529"/>
                    <a:gd name="T105" fmla="*/ 306 h 488"/>
                    <a:gd name="T106" fmla="*/ 46 w 529"/>
                    <a:gd name="T107" fmla="*/ 196 h 488"/>
                    <a:gd name="T108" fmla="*/ 40 w 529"/>
                    <a:gd name="T109" fmla="*/ 171 h 488"/>
                    <a:gd name="T110" fmla="*/ 37 w 529"/>
                    <a:gd name="T111" fmla="*/ 141 h 488"/>
                    <a:gd name="T112" fmla="*/ 25 w 529"/>
                    <a:gd name="T113" fmla="*/ 93 h 488"/>
                    <a:gd name="T114" fmla="*/ 26 w 529"/>
                    <a:gd name="T115" fmla="*/ 81 h 488"/>
                    <a:gd name="T116" fmla="*/ 19 w 529"/>
                    <a:gd name="T117" fmla="*/ 76 h 488"/>
                    <a:gd name="T118" fmla="*/ 21 w 529"/>
                    <a:gd name="T119" fmla="*/ 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88">
                      <a:moveTo>
                        <a:pt x="529" y="347"/>
                      </a:moveTo>
                      <a:lnTo>
                        <a:pt x="529" y="348"/>
                      </a:lnTo>
                      <a:lnTo>
                        <a:pt x="529" y="349"/>
                      </a:lnTo>
                      <a:lnTo>
                        <a:pt x="529" y="350"/>
                      </a:lnTo>
                      <a:lnTo>
                        <a:pt x="528" y="350"/>
                      </a:lnTo>
                      <a:lnTo>
                        <a:pt x="528" y="351"/>
                      </a:lnTo>
                      <a:lnTo>
                        <a:pt x="528" y="352"/>
                      </a:lnTo>
                      <a:lnTo>
                        <a:pt x="527" y="352"/>
                      </a:lnTo>
                      <a:lnTo>
                        <a:pt x="527" y="353"/>
                      </a:lnTo>
                      <a:lnTo>
                        <a:pt x="526" y="354"/>
                      </a:lnTo>
                      <a:lnTo>
                        <a:pt x="526" y="354"/>
                      </a:lnTo>
                      <a:lnTo>
                        <a:pt x="526" y="354"/>
                      </a:lnTo>
                      <a:lnTo>
                        <a:pt x="526" y="355"/>
                      </a:lnTo>
                      <a:lnTo>
                        <a:pt x="526" y="356"/>
                      </a:lnTo>
                      <a:lnTo>
                        <a:pt x="526" y="356"/>
                      </a:lnTo>
                      <a:lnTo>
                        <a:pt x="525" y="356"/>
                      </a:lnTo>
                      <a:lnTo>
                        <a:pt x="525" y="357"/>
                      </a:lnTo>
                      <a:lnTo>
                        <a:pt x="525" y="358"/>
                      </a:lnTo>
                      <a:lnTo>
                        <a:pt x="524" y="358"/>
                      </a:lnTo>
                      <a:lnTo>
                        <a:pt x="524" y="359"/>
                      </a:lnTo>
                      <a:lnTo>
                        <a:pt x="524" y="359"/>
                      </a:lnTo>
                      <a:lnTo>
                        <a:pt x="524" y="359"/>
                      </a:lnTo>
                      <a:lnTo>
                        <a:pt x="523" y="359"/>
                      </a:lnTo>
                      <a:lnTo>
                        <a:pt x="522" y="360"/>
                      </a:lnTo>
                      <a:lnTo>
                        <a:pt x="521" y="360"/>
                      </a:lnTo>
                      <a:lnTo>
                        <a:pt x="520" y="360"/>
                      </a:lnTo>
                      <a:lnTo>
                        <a:pt x="520" y="361"/>
                      </a:lnTo>
                      <a:lnTo>
                        <a:pt x="519" y="361"/>
                      </a:lnTo>
                      <a:lnTo>
                        <a:pt x="518" y="361"/>
                      </a:lnTo>
                      <a:lnTo>
                        <a:pt x="517" y="361"/>
                      </a:lnTo>
                      <a:lnTo>
                        <a:pt x="516" y="361"/>
                      </a:lnTo>
                      <a:lnTo>
                        <a:pt x="515" y="361"/>
                      </a:lnTo>
                      <a:lnTo>
                        <a:pt x="515" y="362"/>
                      </a:lnTo>
                      <a:lnTo>
                        <a:pt x="515" y="362"/>
                      </a:lnTo>
                      <a:lnTo>
                        <a:pt x="515" y="363"/>
                      </a:lnTo>
                      <a:lnTo>
                        <a:pt x="514" y="363"/>
                      </a:lnTo>
                      <a:lnTo>
                        <a:pt x="513" y="363"/>
                      </a:lnTo>
                      <a:lnTo>
                        <a:pt x="512" y="365"/>
                      </a:lnTo>
                      <a:lnTo>
                        <a:pt x="511" y="366"/>
                      </a:lnTo>
                      <a:lnTo>
                        <a:pt x="511" y="366"/>
                      </a:lnTo>
                      <a:lnTo>
                        <a:pt x="511" y="367"/>
                      </a:lnTo>
                      <a:lnTo>
                        <a:pt x="510" y="367"/>
                      </a:lnTo>
                      <a:lnTo>
                        <a:pt x="510" y="367"/>
                      </a:lnTo>
                      <a:lnTo>
                        <a:pt x="509" y="367"/>
                      </a:lnTo>
                      <a:lnTo>
                        <a:pt x="509" y="367"/>
                      </a:lnTo>
                      <a:lnTo>
                        <a:pt x="508" y="368"/>
                      </a:lnTo>
                      <a:lnTo>
                        <a:pt x="507" y="368"/>
                      </a:lnTo>
                      <a:lnTo>
                        <a:pt x="507" y="368"/>
                      </a:lnTo>
                      <a:lnTo>
                        <a:pt x="506" y="368"/>
                      </a:lnTo>
                      <a:lnTo>
                        <a:pt x="505" y="369"/>
                      </a:lnTo>
                      <a:lnTo>
                        <a:pt x="505" y="369"/>
                      </a:lnTo>
                      <a:lnTo>
                        <a:pt x="504" y="369"/>
                      </a:lnTo>
                      <a:lnTo>
                        <a:pt x="503" y="369"/>
                      </a:lnTo>
                      <a:lnTo>
                        <a:pt x="503" y="369"/>
                      </a:lnTo>
                      <a:lnTo>
                        <a:pt x="502" y="369"/>
                      </a:lnTo>
                      <a:lnTo>
                        <a:pt x="501" y="369"/>
                      </a:lnTo>
                      <a:lnTo>
                        <a:pt x="500" y="369"/>
                      </a:lnTo>
                      <a:lnTo>
                        <a:pt x="500" y="369"/>
                      </a:lnTo>
                      <a:lnTo>
                        <a:pt x="499" y="369"/>
                      </a:lnTo>
                      <a:lnTo>
                        <a:pt x="498" y="369"/>
                      </a:lnTo>
                      <a:lnTo>
                        <a:pt x="498" y="368"/>
                      </a:lnTo>
                      <a:lnTo>
                        <a:pt x="498" y="368"/>
                      </a:lnTo>
                      <a:lnTo>
                        <a:pt x="497" y="367"/>
                      </a:lnTo>
                      <a:lnTo>
                        <a:pt x="495" y="368"/>
                      </a:lnTo>
                      <a:lnTo>
                        <a:pt x="494" y="367"/>
                      </a:lnTo>
                      <a:lnTo>
                        <a:pt x="493" y="366"/>
                      </a:lnTo>
                      <a:lnTo>
                        <a:pt x="492" y="366"/>
                      </a:lnTo>
                      <a:lnTo>
                        <a:pt x="492" y="366"/>
                      </a:lnTo>
                      <a:lnTo>
                        <a:pt x="491" y="366"/>
                      </a:lnTo>
                      <a:lnTo>
                        <a:pt x="490" y="366"/>
                      </a:lnTo>
                      <a:lnTo>
                        <a:pt x="490" y="366"/>
                      </a:lnTo>
                      <a:lnTo>
                        <a:pt x="490" y="365"/>
                      </a:lnTo>
                      <a:lnTo>
                        <a:pt x="489" y="365"/>
                      </a:lnTo>
                      <a:lnTo>
                        <a:pt x="488" y="365"/>
                      </a:lnTo>
                      <a:lnTo>
                        <a:pt x="488" y="365"/>
                      </a:lnTo>
                      <a:lnTo>
                        <a:pt x="487" y="365"/>
                      </a:lnTo>
                      <a:lnTo>
                        <a:pt x="486" y="365"/>
                      </a:lnTo>
                      <a:lnTo>
                        <a:pt x="486" y="365"/>
                      </a:lnTo>
                      <a:lnTo>
                        <a:pt x="485" y="365"/>
                      </a:lnTo>
                      <a:lnTo>
                        <a:pt x="484" y="365"/>
                      </a:lnTo>
                      <a:lnTo>
                        <a:pt x="484" y="365"/>
                      </a:lnTo>
                      <a:lnTo>
                        <a:pt x="484" y="366"/>
                      </a:lnTo>
                      <a:lnTo>
                        <a:pt x="484" y="366"/>
                      </a:lnTo>
                      <a:lnTo>
                        <a:pt x="484" y="367"/>
                      </a:lnTo>
                      <a:lnTo>
                        <a:pt x="484" y="367"/>
                      </a:lnTo>
                      <a:lnTo>
                        <a:pt x="485" y="367"/>
                      </a:lnTo>
                      <a:lnTo>
                        <a:pt x="485" y="368"/>
                      </a:lnTo>
                      <a:lnTo>
                        <a:pt x="486" y="368"/>
                      </a:lnTo>
                      <a:lnTo>
                        <a:pt x="486" y="369"/>
                      </a:lnTo>
                      <a:lnTo>
                        <a:pt x="486" y="369"/>
                      </a:lnTo>
                      <a:lnTo>
                        <a:pt x="486" y="370"/>
                      </a:lnTo>
                      <a:lnTo>
                        <a:pt x="486" y="370"/>
                      </a:lnTo>
                      <a:lnTo>
                        <a:pt x="486" y="369"/>
                      </a:lnTo>
                      <a:lnTo>
                        <a:pt x="486" y="370"/>
                      </a:lnTo>
                      <a:lnTo>
                        <a:pt x="487" y="370"/>
                      </a:lnTo>
                      <a:lnTo>
                        <a:pt x="487" y="371"/>
                      </a:lnTo>
                      <a:lnTo>
                        <a:pt x="486" y="371"/>
                      </a:lnTo>
                      <a:lnTo>
                        <a:pt x="486" y="371"/>
                      </a:lnTo>
                      <a:lnTo>
                        <a:pt x="486" y="372"/>
                      </a:lnTo>
                      <a:lnTo>
                        <a:pt x="487" y="372"/>
                      </a:lnTo>
                      <a:lnTo>
                        <a:pt x="487" y="373"/>
                      </a:lnTo>
                      <a:lnTo>
                        <a:pt x="487" y="373"/>
                      </a:lnTo>
                      <a:lnTo>
                        <a:pt x="488" y="373"/>
                      </a:lnTo>
                      <a:lnTo>
                        <a:pt x="488" y="374"/>
                      </a:lnTo>
                      <a:lnTo>
                        <a:pt x="488" y="373"/>
                      </a:lnTo>
                      <a:lnTo>
                        <a:pt x="488" y="374"/>
                      </a:lnTo>
                      <a:lnTo>
                        <a:pt x="488" y="374"/>
                      </a:lnTo>
                      <a:lnTo>
                        <a:pt x="488" y="375"/>
                      </a:lnTo>
                      <a:lnTo>
                        <a:pt x="489" y="375"/>
                      </a:lnTo>
                      <a:lnTo>
                        <a:pt x="490" y="375"/>
                      </a:lnTo>
                      <a:lnTo>
                        <a:pt x="490" y="375"/>
                      </a:lnTo>
                      <a:lnTo>
                        <a:pt x="490" y="375"/>
                      </a:lnTo>
                      <a:lnTo>
                        <a:pt x="491" y="376"/>
                      </a:lnTo>
                      <a:lnTo>
                        <a:pt x="491" y="377"/>
                      </a:lnTo>
                      <a:lnTo>
                        <a:pt x="492" y="377"/>
                      </a:lnTo>
                      <a:lnTo>
                        <a:pt x="492" y="377"/>
                      </a:lnTo>
                      <a:lnTo>
                        <a:pt x="492" y="377"/>
                      </a:lnTo>
                      <a:lnTo>
                        <a:pt x="493" y="378"/>
                      </a:lnTo>
                      <a:lnTo>
                        <a:pt x="494" y="378"/>
                      </a:lnTo>
                      <a:lnTo>
                        <a:pt x="494" y="378"/>
                      </a:lnTo>
                      <a:lnTo>
                        <a:pt x="495" y="378"/>
                      </a:lnTo>
                      <a:lnTo>
                        <a:pt x="495" y="379"/>
                      </a:lnTo>
                      <a:lnTo>
                        <a:pt x="495" y="380"/>
                      </a:lnTo>
                      <a:lnTo>
                        <a:pt x="495" y="380"/>
                      </a:lnTo>
                      <a:lnTo>
                        <a:pt x="495" y="381"/>
                      </a:lnTo>
                      <a:lnTo>
                        <a:pt x="495" y="382"/>
                      </a:lnTo>
                      <a:lnTo>
                        <a:pt x="495" y="382"/>
                      </a:lnTo>
                      <a:lnTo>
                        <a:pt x="494" y="382"/>
                      </a:lnTo>
                      <a:lnTo>
                        <a:pt x="494" y="382"/>
                      </a:lnTo>
                      <a:lnTo>
                        <a:pt x="494" y="383"/>
                      </a:lnTo>
                      <a:lnTo>
                        <a:pt x="493" y="384"/>
                      </a:lnTo>
                      <a:lnTo>
                        <a:pt x="493" y="384"/>
                      </a:lnTo>
                      <a:lnTo>
                        <a:pt x="492" y="384"/>
                      </a:lnTo>
                      <a:lnTo>
                        <a:pt x="492" y="385"/>
                      </a:lnTo>
                      <a:lnTo>
                        <a:pt x="493" y="385"/>
                      </a:lnTo>
                      <a:lnTo>
                        <a:pt x="493" y="386"/>
                      </a:lnTo>
                      <a:lnTo>
                        <a:pt x="494" y="386"/>
                      </a:lnTo>
                      <a:lnTo>
                        <a:pt x="494" y="386"/>
                      </a:lnTo>
                      <a:lnTo>
                        <a:pt x="494" y="387"/>
                      </a:lnTo>
                      <a:lnTo>
                        <a:pt x="494" y="388"/>
                      </a:lnTo>
                      <a:lnTo>
                        <a:pt x="494" y="388"/>
                      </a:lnTo>
                      <a:lnTo>
                        <a:pt x="494" y="389"/>
                      </a:lnTo>
                      <a:lnTo>
                        <a:pt x="494" y="390"/>
                      </a:lnTo>
                      <a:lnTo>
                        <a:pt x="494" y="390"/>
                      </a:lnTo>
                      <a:lnTo>
                        <a:pt x="495" y="390"/>
                      </a:lnTo>
                      <a:lnTo>
                        <a:pt x="495" y="391"/>
                      </a:lnTo>
                      <a:lnTo>
                        <a:pt x="495" y="392"/>
                      </a:lnTo>
                      <a:lnTo>
                        <a:pt x="496" y="392"/>
                      </a:lnTo>
                      <a:lnTo>
                        <a:pt x="495" y="392"/>
                      </a:lnTo>
                      <a:lnTo>
                        <a:pt x="495" y="392"/>
                      </a:lnTo>
                      <a:lnTo>
                        <a:pt x="495" y="392"/>
                      </a:lnTo>
                      <a:lnTo>
                        <a:pt x="494" y="392"/>
                      </a:lnTo>
                      <a:lnTo>
                        <a:pt x="495" y="395"/>
                      </a:lnTo>
                      <a:lnTo>
                        <a:pt x="496" y="396"/>
                      </a:lnTo>
                      <a:lnTo>
                        <a:pt x="497" y="397"/>
                      </a:lnTo>
                      <a:lnTo>
                        <a:pt x="498" y="398"/>
                      </a:lnTo>
                      <a:lnTo>
                        <a:pt x="498" y="399"/>
                      </a:lnTo>
                      <a:lnTo>
                        <a:pt x="497" y="399"/>
                      </a:lnTo>
                      <a:lnTo>
                        <a:pt x="497" y="400"/>
                      </a:lnTo>
                      <a:lnTo>
                        <a:pt x="496" y="400"/>
                      </a:lnTo>
                      <a:lnTo>
                        <a:pt x="496" y="401"/>
                      </a:lnTo>
                      <a:lnTo>
                        <a:pt x="495" y="401"/>
                      </a:lnTo>
                      <a:lnTo>
                        <a:pt x="495" y="401"/>
                      </a:lnTo>
                      <a:lnTo>
                        <a:pt x="494" y="401"/>
                      </a:lnTo>
                      <a:lnTo>
                        <a:pt x="494" y="402"/>
                      </a:lnTo>
                      <a:lnTo>
                        <a:pt x="494" y="403"/>
                      </a:lnTo>
                      <a:lnTo>
                        <a:pt x="494" y="403"/>
                      </a:lnTo>
                      <a:lnTo>
                        <a:pt x="494" y="404"/>
                      </a:lnTo>
                      <a:lnTo>
                        <a:pt x="494" y="405"/>
                      </a:lnTo>
                      <a:lnTo>
                        <a:pt x="494" y="405"/>
                      </a:lnTo>
                      <a:lnTo>
                        <a:pt x="494" y="406"/>
                      </a:lnTo>
                      <a:lnTo>
                        <a:pt x="495" y="406"/>
                      </a:lnTo>
                      <a:lnTo>
                        <a:pt x="496" y="406"/>
                      </a:lnTo>
                      <a:lnTo>
                        <a:pt x="496" y="407"/>
                      </a:lnTo>
                      <a:lnTo>
                        <a:pt x="496" y="407"/>
                      </a:lnTo>
                      <a:lnTo>
                        <a:pt x="496" y="407"/>
                      </a:lnTo>
                      <a:lnTo>
                        <a:pt x="497" y="407"/>
                      </a:lnTo>
                      <a:lnTo>
                        <a:pt x="497" y="408"/>
                      </a:lnTo>
                      <a:lnTo>
                        <a:pt x="498" y="408"/>
                      </a:lnTo>
                      <a:lnTo>
                        <a:pt x="498" y="408"/>
                      </a:lnTo>
                      <a:lnTo>
                        <a:pt x="498" y="409"/>
                      </a:lnTo>
                      <a:lnTo>
                        <a:pt x="499" y="409"/>
                      </a:lnTo>
                      <a:lnTo>
                        <a:pt x="499" y="409"/>
                      </a:lnTo>
                      <a:lnTo>
                        <a:pt x="500" y="409"/>
                      </a:lnTo>
                      <a:lnTo>
                        <a:pt x="500" y="410"/>
                      </a:lnTo>
                      <a:lnTo>
                        <a:pt x="500" y="410"/>
                      </a:lnTo>
                      <a:lnTo>
                        <a:pt x="500" y="411"/>
                      </a:lnTo>
                      <a:lnTo>
                        <a:pt x="500" y="411"/>
                      </a:lnTo>
                      <a:lnTo>
                        <a:pt x="501" y="411"/>
                      </a:lnTo>
                      <a:lnTo>
                        <a:pt x="501" y="412"/>
                      </a:lnTo>
                      <a:lnTo>
                        <a:pt x="501" y="413"/>
                      </a:lnTo>
                      <a:lnTo>
                        <a:pt x="501" y="413"/>
                      </a:lnTo>
                      <a:lnTo>
                        <a:pt x="502" y="413"/>
                      </a:lnTo>
                      <a:lnTo>
                        <a:pt x="502" y="414"/>
                      </a:lnTo>
                      <a:lnTo>
                        <a:pt x="501" y="414"/>
                      </a:lnTo>
                      <a:lnTo>
                        <a:pt x="500" y="414"/>
                      </a:lnTo>
                      <a:lnTo>
                        <a:pt x="500" y="415"/>
                      </a:lnTo>
                      <a:lnTo>
                        <a:pt x="500" y="415"/>
                      </a:lnTo>
                      <a:lnTo>
                        <a:pt x="500" y="416"/>
                      </a:lnTo>
                      <a:lnTo>
                        <a:pt x="500" y="417"/>
                      </a:lnTo>
                      <a:lnTo>
                        <a:pt x="500" y="417"/>
                      </a:lnTo>
                      <a:lnTo>
                        <a:pt x="500" y="418"/>
                      </a:lnTo>
                      <a:lnTo>
                        <a:pt x="500" y="419"/>
                      </a:lnTo>
                      <a:lnTo>
                        <a:pt x="500" y="420"/>
                      </a:lnTo>
                      <a:lnTo>
                        <a:pt x="500" y="420"/>
                      </a:lnTo>
                      <a:lnTo>
                        <a:pt x="500" y="421"/>
                      </a:lnTo>
                      <a:lnTo>
                        <a:pt x="500" y="422"/>
                      </a:lnTo>
                      <a:lnTo>
                        <a:pt x="500" y="422"/>
                      </a:lnTo>
                      <a:lnTo>
                        <a:pt x="500" y="423"/>
                      </a:lnTo>
                      <a:lnTo>
                        <a:pt x="500" y="424"/>
                      </a:lnTo>
                      <a:lnTo>
                        <a:pt x="500" y="424"/>
                      </a:lnTo>
                      <a:lnTo>
                        <a:pt x="500" y="424"/>
                      </a:lnTo>
                      <a:lnTo>
                        <a:pt x="500" y="425"/>
                      </a:lnTo>
                      <a:lnTo>
                        <a:pt x="501" y="425"/>
                      </a:lnTo>
                      <a:lnTo>
                        <a:pt x="501" y="426"/>
                      </a:lnTo>
                      <a:lnTo>
                        <a:pt x="501" y="426"/>
                      </a:lnTo>
                      <a:lnTo>
                        <a:pt x="501" y="427"/>
                      </a:lnTo>
                      <a:lnTo>
                        <a:pt x="501" y="428"/>
                      </a:lnTo>
                      <a:lnTo>
                        <a:pt x="501" y="428"/>
                      </a:lnTo>
                      <a:lnTo>
                        <a:pt x="500" y="428"/>
                      </a:lnTo>
                      <a:lnTo>
                        <a:pt x="501" y="429"/>
                      </a:lnTo>
                      <a:lnTo>
                        <a:pt x="500" y="429"/>
                      </a:lnTo>
                      <a:lnTo>
                        <a:pt x="500" y="430"/>
                      </a:lnTo>
                      <a:lnTo>
                        <a:pt x="500" y="429"/>
                      </a:lnTo>
                      <a:lnTo>
                        <a:pt x="500" y="429"/>
                      </a:lnTo>
                      <a:lnTo>
                        <a:pt x="500" y="430"/>
                      </a:lnTo>
                      <a:lnTo>
                        <a:pt x="500" y="430"/>
                      </a:lnTo>
                      <a:lnTo>
                        <a:pt x="499" y="430"/>
                      </a:lnTo>
                      <a:lnTo>
                        <a:pt x="499" y="431"/>
                      </a:lnTo>
                      <a:lnTo>
                        <a:pt x="500" y="431"/>
                      </a:lnTo>
                      <a:lnTo>
                        <a:pt x="499" y="431"/>
                      </a:lnTo>
                      <a:lnTo>
                        <a:pt x="499" y="432"/>
                      </a:lnTo>
                      <a:lnTo>
                        <a:pt x="498" y="432"/>
                      </a:lnTo>
                      <a:lnTo>
                        <a:pt x="498" y="432"/>
                      </a:lnTo>
                      <a:lnTo>
                        <a:pt x="497" y="432"/>
                      </a:lnTo>
                      <a:lnTo>
                        <a:pt x="497" y="433"/>
                      </a:lnTo>
                      <a:lnTo>
                        <a:pt x="496" y="433"/>
                      </a:lnTo>
                      <a:lnTo>
                        <a:pt x="496" y="434"/>
                      </a:lnTo>
                      <a:lnTo>
                        <a:pt x="496" y="434"/>
                      </a:lnTo>
                      <a:lnTo>
                        <a:pt x="495" y="434"/>
                      </a:lnTo>
                      <a:lnTo>
                        <a:pt x="494" y="434"/>
                      </a:lnTo>
                      <a:lnTo>
                        <a:pt x="494" y="434"/>
                      </a:lnTo>
                      <a:lnTo>
                        <a:pt x="493" y="434"/>
                      </a:lnTo>
                      <a:lnTo>
                        <a:pt x="492" y="434"/>
                      </a:lnTo>
                      <a:lnTo>
                        <a:pt x="492" y="434"/>
                      </a:lnTo>
                      <a:lnTo>
                        <a:pt x="492" y="434"/>
                      </a:lnTo>
                      <a:lnTo>
                        <a:pt x="491" y="434"/>
                      </a:lnTo>
                      <a:lnTo>
                        <a:pt x="490" y="435"/>
                      </a:lnTo>
                      <a:lnTo>
                        <a:pt x="490" y="435"/>
                      </a:lnTo>
                      <a:lnTo>
                        <a:pt x="490" y="436"/>
                      </a:lnTo>
                      <a:lnTo>
                        <a:pt x="489" y="436"/>
                      </a:lnTo>
                      <a:lnTo>
                        <a:pt x="489" y="436"/>
                      </a:lnTo>
                      <a:lnTo>
                        <a:pt x="489" y="437"/>
                      </a:lnTo>
                      <a:lnTo>
                        <a:pt x="489" y="438"/>
                      </a:lnTo>
                      <a:lnTo>
                        <a:pt x="488" y="438"/>
                      </a:lnTo>
                      <a:lnTo>
                        <a:pt x="488" y="439"/>
                      </a:lnTo>
                      <a:lnTo>
                        <a:pt x="489" y="439"/>
                      </a:lnTo>
                      <a:lnTo>
                        <a:pt x="488" y="439"/>
                      </a:lnTo>
                      <a:lnTo>
                        <a:pt x="488" y="439"/>
                      </a:lnTo>
                      <a:lnTo>
                        <a:pt x="489" y="439"/>
                      </a:lnTo>
                      <a:lnTo>
                        <a:pt x="488" y="440"/>
                      </a:lnTo>
                      <a:lnTo>
                        <a:pt x="489" y="440"/>
                      </a:lnTo>
                      <a:lnTo>
                        <a:pt x="489" y="441"/>
                      </a:lnTo>
                      <a:lnTo>
                        <a:pt x="488" y="441"/>
                      </a:lnTo>
                      <a:lnTo>
                        <a:pt x="488" y="441"/>
                      </a:lnTo>
                      <a:lnTo>
                        <a:pt x="488" y="442"/>
                      </a:lnTo>
                      <a:lnTo>
                        <a:pt x="488" y="443"/>
                      </a:lnTo>
                      <a:lnTo>
                        <a:pt x="487" y="443"/>
                      </a:lnTo>
                      <a:lnTo>
                        <a:pt x="487" y="444"/>
                      </a:lnTo>
                      <a:lnTo>
                        <a:pt x="486" y="445"/>
                      </a:lnTo>
                      <a:lnTo>
                        <a:pt x="486" y="445"/>
                      </a:lnTo>
                      <a:lnTo>
                        <a:pt x="486" y="446"/>
                      </a:lnTo>
                      <a:lnTo>
                        <a:pt x="486" y="447"/>
                      </a:lnTo>
                      <a:lnTo>
                        <a:pt x="486" y="447"/>
                      </a:lnTo>
                      <a:lnTo>
                        <a:pt x="486" y="447"/>
                      </a:lnTo>
                      <a:lnTo>
                        <a:pt x="486" y="448"/>
                      </a:lnTo>
                      <a:lnTo>
                        <a:pt x="485" y="449"/>
                      </a:lnTo>
                      <a:lnTo>
                        <a:pt x="485" y="449"/>
                      </a:lnTo>
                      <a:lnTo>
                        <a:pt x="485" y="450"/>
                      </a:lnTo>
                      <a:lnTo>
                        <a:pt x="481" y="453"/>
                      </a:lnTo>
                      <a:lnTo>
                        <a:pt x="481" y="454"/>
                      </a:lnTo>
                      <a:lnTo>
                        <a:pt x="481" y="453"/>
                      </a:lnTo>
                      <a:lnTo>
                        <a:pt x="481" y="453"/>
                      </a:lnTo>
                      <a:lnTo>
                        <a:pt x="481" y="452"/>
                      </a:lnTo>
                      <a:lnTo>
                        <a:pt x="480" y="452"/>
                      </a:lnTo>
                      <a:lnTo>
                        <a:pt x="480" y="451"/>
                      </a:lnTo>
                      <a:lnTo>
                        <a:pt x="479" y="451"/>
                      </a:lnTo>
                      <a:lnTo>
                        <a:pt x="479" y="451"/>
                      </a:lnTo>
                      <a:lnTo>
                        <a:pt x="479" y="451"/>
                      </a:lnTo>
                      <a:lnTo>
                        <a:pt x="478" y="451"/>
                      </a:lnTo>
                      <a:lnTo>
                        <a:pt x="478" y="450"/>
                      </a:lnTo>
                      <a:lnTo>
                        <a:pt x="477" y="449"/>
                      </a:lnTo>
                      <a:lnTo>
                        <a:pt x="477" y="449"/>
                      </a:lnTo>
                      <a:lnTo>
                        <a:pt x="476" y="449"/>
                      </a:lnTo>
                      <a:lnTo>
                        <a:pt x="475" y="449"/>
                      </a:lnTo>
                      <a:lnTo>
                        <a:pt x="475" y="449"/>
                      </a:lnTo>
                      <a:lnTo>
                        <a:pt x="474" y="448"/>
                      </a:lnTo>
                      <a:lnTo>
                        <a:pt x="473" y="449"/>
                      </a:lnTo>
                      <a:lnTo>
                        <a:pt x="473" y="448"/>
                      </a:lnTo>
                      <a:lnTo>
                        <a:pt x="473" y="448"/>
                      </a:lnTo>
                      <a:lnTo>
                        <a:pt x="472" y="448"/>
                      </a:lnTo>
                      <a:lnTo>
                        <a:pt x="471" y="447"/>
                      </a:lnTo>
                      <a:lnTo>
                        <a:pt x="471" y="447"/>
                      </a:lnTo>
                      <a:lnTo>
                        <a:pt x="470" y="447"/>
                      </a:lnTo>
                      <a:lnTo>
                        <a:pt x="470" y="446"/>
                      </a:lnTo>
                      <a:lnTo>
                        <a:pt x="469" y="445"/>
                      </a:lnTo>
                      <a:lnTo>
                        <a:pt x="469" y="445"/>
                      </a:lnTo>
                      <a:lnTo>
                        <a:pt x="469" y="445"/>
                      </a:lnTo>
                      <a:lnTo>
                        <a:pt x="468" y="444"/>
                      </a:lnTo>
                      <a:lnTo>
                        <a:pt x="467" y="444"/>
                      </a:lnTo>
                      <a:lnTo>
                        <a:pt x="467" y="443"/>
                      </a:lnTo>
                      <a:lnTo>
                        <a:pt x="467" y="443"/>
                      </a:lnTo>
                      <a:lnTo>
                        <a:pt x="467" y="443"/>
                      </a:lnTo>
                      <a:lnTo>
                        <a:pt x="466" y="443"/>
                      </a:lnTo>
                      <a:lnTo>
                        <a:pt x="465" y="443"/>
                      </a:lnTo>
                      <a:lnTo>
                        <a:pt x="465" y="443"/>
                      </a:lnTo>
                      <a:lnTo>
                        <a:pt x="464" y="442"/>
                      </a:lnTo>
                      <a:lnTo>
                        <a:pt x="463" y="442"/>
                      </a:lnTo>
                      <a:lnTo>
                        <a:pt x="462" y="442"/>
                      </a:lnTo>
                      <a:lnTo>
                        <a:pt x="462" y="441"/>
                      </a:lnTo>
                      <a:lnTo>
                        <a:pt x="461" y="441"/>
                      </a:lnTo>
                      <a:lnTo>
                        <a:pt x="460" y="441"/>
                      </a:lnTo>
                      <a:lnTo>
                        <a:pt x="460" y="441"/>
                      </a:lnTo>
                      <a:lnTo>
                        <a:pt x="459" y="441"/>
                      </a:lnTo>
                      <a:lnTo>
                        <a:pt x="458" y="441"/>
                      </a:lnTo>
                      <a:lnTo>
                        <a:pt x="457" y="441"/>
                      </a:lnTo>
                      <a:lnTo>
                        <a:pt x="456" y="441"/>
                      </a:lnTo>
                      <a:lnTo>
                        <a:pt x="456" y="441"/>
                      </a:lnTo>
                      <a:lnTo>
                        <a:pt x="455" y="441"/>
                      </a:lnTo>
                      <a:lnTo>
                        <a:pt x="454" y="441"/>
                      </a:lnTo>
                      <a:lnTo>
                        <a:pt x="454" y="441"/>
                      </a:lnTo>
                      <a:lnTo>
                        <a:pt x="452" y="441"/>
                      </a:lnTo>
                      <a:lnTo>
                        <a:pt x="452" y="441"/>
                      </a:lnTo>
                      <a:lnTo>
                        <a:pt x="451" y="441"/>
                      </a:lnTo>
                      <a:lnTo>
                        <a:pt x="450" y="441"/>
                      </a:lnTo>
                      <a:lnTo>
                        <a:pt x="450" y="441"/>
                      </a:lnTo>
                      <a:lnTo>
                        <a:pt x="449" y="441"/>
                      </a:lnTo>
                      <a:lnTo>
                        <a:pt x="448" y="441"/>
                      </a:lnTo>
                      <a:lnTo>
                        <a:pt x="448" y="441"/>
                      </a:lnTo>
                      <a:lnTo>
                        <a:pt x="447" y="441"/>
                      </a:lnTo>
                      <a:lnTo>
                        <a:pt x="446" y="441"/>
                      </a:lnTo>
                      <a:lnTo>
                        <a:pt x="446" y="441"/>
                      </a:lnTo>
                      <a:lnTo>
                        <a:pt x="445" y="441"/>
                      </a:lnTo>
                      <a:lnTo>
                        <a:pt x="444" y="441"/>
                      </a:lnTo>
                      <a:lnTo>
                        <a:pt x="443" y="441"/>
                      </a:lnTo>
                      <a:lnTo>
                        <a:pt x="443" y="441"/>
                      </a:lnTo>
                      <a:lnTo>
                        <a:pt x="442" y="440"/>
                      </a:lnTo>
                      <a:lnTo>
                        <a:pt x="441" y="440"/>
                      </a:lnTo>
                      <a:lnTo>
                        <a:pt x="441" y="439"/>
                      </a:lnTo>
                      <a:lnTo>
                        <a:pt x="441" y="439"/>
                      </a:lnTo>
                      <a:lnTo>
                        <a:pt x="440" y="439"/>
                      </a:lnTo>
                      <a:lnTo>
                        <a:pt x="439" y="439"/>
                      </a:lnTo>
                      <a:lnTo>
                        <a:pt x="439" y="439"/>
                      </a:lnTo>
                      <a:lnTo>
                        <a:pt x="438" y="439"/>
                      </a:lnTo>
                      <a:lnTo>
                        <a:pt x="437" y="439"/>
                      </a:lnTo>
                      <a:lnTo>
                        <a:pt x="437" y="439"/>
                      </a:lnTo>
                      <a:lnTo>
                        <a:pt x="436" y="439"/>
                      </a:lnTo>
                      <a:lnTo>
                        <a:pt x="435" y="439"/>
                      </a:lnTo>
                      <a:lnTo>
                        <a:pt x="435" y="439"/>
                      </a:lnTo>
                      <a:lnTo>
                        <a:pt x="434" y="439"/>
                      </a:lnTo>
                      <a:lnTo>
                        <a:pt x="433" y="439"/>
                      </a:lnTo>
                      <a:lnTo>
                        <a:pt x="433" y="439"/>
                      </a:lnTo>
                      <a:lnTo>
                        <a:pt x="433" y="439"/>
                      </a:lnTo>
                      <a:lnTo>
                        <a:pt x="432" y="439"/>
                      </a:lnTo>
                      <a:lnTo>
                        <a:pt x="431" y="439"/>
                      </a:lnTo>
                      <a:lnTo>
                        <a:pt x="431" y="439"/>
                      </a:lnTo>
                      <a:lnTo>
                        <a:pt x="430" y="440"/>
                      </a:lnTo>
                      <a:lnTo>
                        <a:pt x="429" y="440"/>
                      </a:lnTo>
                      <a:lnTo>
                        <a:pt x="429" y="440"/>
                      </a:lnTo>
                      <a:lnTo>
                        <a:pt x="429" y="441"/>
                      </a:lnTo>
                      <a:lnTo>
                        <a:pt x="428" y="441"/>
                      </a:lnTo>
                      <a:lnTo>
                        <a:pt x="428" y="441"/>
                      </a:lnTo>
                      <a:lnTo>
                        <a:pt x="427" y="441"/>
                      </a:lnTo>
                      <a:lnTo>
                        <a:pt x="427" y="441"/>
                      </a:lnTo>
                      <a:lnTo>
                        <a:pt x="426" y="441"/>
                      </a:lnTo>
                      <a:lnTo>
                        <a:pt x="425" y="441"/>
                      </a:lnTo>
                      <a:lnTo>
                        <a:pt x="424" y="441"/>
                      </a:lnTo>
                      <a:lnTo>
                        <a:pt x="424" y="442"/>
                      </a:lnTo>
                      <a:lnTo>
                        <a:pt x="424" y="442"/>
                      </a:lnTo>
                      <a:lnTo>
                        <a:pt x="423" y="442"/>
                      </a:lnTo>
                      <a:lnTo>
                        <a:pt x="422" y="443"/>
                      </a:lnTo>
                      <a:lnTo>
                        <a:pt x="422" y="443"/>
                      </a:lnTo>
                      <a:lnTo>
                        <a:pt x="421" y="443"/>
                      </a:lnTo>
                      <a:lnTo>
                        <a:pt x="420" y="443"/>
                      </a:lnTo>
                      <a:lnTo>
                        <a:pt x="420" y="443"/>
                      </a:lnTo>
                      <a:lnTo>
                        <a:pt x="419" y="443"/>
                      </a:lnTo>
                      <a:lnTo>
                        <a:pt x="419" y="442"/>
                      </a:lnTo>
                      <a:lnTo>
                        <a:pt x="418" y="442"/>
                      </a:lnTo>
                      <a:lnTo>
                        <a:pt x="418" y="442"/>
                      </a:lnTo>
                      <a:lnTo>
                        <a:pt x="418" y="441"/>
                      </a:lnTo>
                      <a:lnTo>
                        <a:pt x="418" y="442"/>
                      </a:lnTo>
                      <a:lnTo>
                        <a:pt x="417" y="442"/>
                      </a:lnTo>
                      <a:lnTo>
                        <a:pt x="416" y="442"/>
                      </a:lnTo>
                      <a:lnTo>
                        <a:pt x="416" y="442"/>
                      </a:lnTo>
                      <a:lnTo>
                        <a:pt x="415" y="442"/>
                      </a:lnTo>
                      <a:lnTo>
                        <a:pt x="414" y="442"/>
                      </a:lnTo>
                      <a:lnTo>
                        <a:pt x="414" y="443"/>
                      </a:lnTo>
                      <a:lnTo>
                        <a:pt x="413" y="443"/>
                      </a:lnTo>
                      <a:lnTo>
                        <a:pt x="412" y="443"/>
                      </a:lnTo>
                      <a:lnTo>
                        <a:pt x="412" y="443"/>
                      </a:lnTo>
                      <a:lnTo>
                        <a:pt x="412" y="443"/>
                      </a:lnTo>
                      <a:lnTo>
                        <a:pt x="411" y="444"/>
                      </a:lnTo>
                      <a:lnTo>
                        <a:pt x="410" y="445"/>
                      </a:lnTo>
                      <a:lnTo>
                        <a:pt x="410" y="445"/>
                      </a:lnTo>
                      <a:lnTo>
                        <a:pt x="410" y="446"/>
                      </a:lnTo>
                      <a:lnTo>
                        <a:pt x="410" y="446"/>
                      </a:lnTo>
                      <a:lnTo>
                        <a:pt x="410" y="447"/>
                      </a:lnTo>
                      <a:lnTo>
                        <a:pt x="410" y="447"/>
                      </a:lnTo>
                      <a:lnTo>
                        <a:pt x="410" y="448"/>
                      </a:lnTo>
                      <a:lnTo>
                        <a:pt x="410" y="449"/>
                      </a:lnTo>
                      <a:lnTo>
                        <a:pt x="410" y="449"/>
                      </a:lnTo>
                      <a:lnTo>
                        <a:pt x="411" y="450"/>
                      </a:lnTo>
                      <a:lnTo>
                        <a:pt x="411" y="451"/>
                      </a:lnTo>
                      <a:lnTo>
                        <a:pt x="411" y="451"/>
                      </a:lnTo>
                      <a:lnTo>
                        <a:pt x="411" y="452"/>
                      </a:lnTo>
                      <a:lnTo>
                        <a:pt x="411" y="453"/>
                      </a:lnTo>
                      <a:lnTo>
                        <a:pt x="412" y="453"/>
                      </a:lnTo>
                      <a:lnTo>
                        <a:pt x="412" y="454"/>
                      </a:lnTo>
                      <a:lnTo>
                        <a:pt x="412" y="455"/>
                      </a:lnTo>
                      <a:lnTo>
                        <a:pt x="412" y="455"/>
                      </a:lnTo>
                      <a:lnTo>
                        <a:pt x="411" y="455"/>
                      </a:lnTo>
                      <a:lnTo>
                        <a:pt x="412" y="455"/>
                      </a:lnTo>
                      <a:lnTo>
                        <a:pt x="412" y="455"/>
                      </a:lnTo>
                      <a:lnTo>
                        <a:pt x="412" y="456"/>
                      </a:lnTo>
                      <a:lnTo>
                        <a:pt x="413" y="457"/>
                      </a:lnTo>
                      <a:lnTo>
                        <a:pt x="413" y="456"/>
                      </a:lnTo>
                      <a:lnTo>
                        <a:pt x="413" y="457"/>
                      </a:lnTo>
                      <a:lnTo>
                        <a:pt x="414" y="457"/>
                      </a:lnTo>
                      <a:lnTo>
                        <a:pt x="414" y="458"/>
                      </a:lnTo>
                      <a:lnTo>
                        <a:pt x="413" y="458"/>
                      </a:lnTo>
                      <a:lnTo>
                        <a:pt x="414" y="458"/>
                      </a:lnTo>
                      <a:lnTo>
                        <a:pt x="414" y="458"/>
                      </a:lnTo>
                      <a:lnTo>
                        <a:pt x="413" y="458"/>
                      </a:lnTo>
                      <a:lnTo>
                        <a:pt x="413" y="459"/>
                      </a:lnTo>
                      <a:lnTo>
                        <a:pt x="412" y="459"/>
                      </a:lnTo>
                      <a:lnTo>
                        <a:pt x="412" y="458"/>
                      </a:lnTo>
                      <a:lnTo>
                        <a:pt x="412" y="459"/>
                      </a:lnTo>
                      <a:lnTo>
                        <a:pt x="413" y="459"/>
                      </a:lnTo>
                      <a:lnTo>
                        <a:pt x="413" y="460"/>
                      </a:lnTo>
                      <a:lnTo>
                        <a:pt x="414" y="460"/>
                      </a:lnTo>
                      <a:lnTo>
                        <a:pt x="414" y="460"/>
                      </a:lnTo>
                      <a:lnTo>
                        <a:pt x="414" y="461"/>
                      </a:lnTo>
                      <a:lnTo>
                        <a:pt x="414" y="460"/>
                      </a:lnTo>
                      <a:lnTo>
                        <a:pt x="414" y="461"/>
                      </a:lnTo>
                      <a:lnTo>
                        <a:pt x="414" y="461"/>
                      </a:lnTo>
                      <a:lnTo>
                        <a:pt x="414" y="460"/>
                      </a:lnTo>
                      <a:lnTo>
                        <a:pt x="415" y="460"/>
                      </a:lnTo>
                      <a:lnTo>
                        <a:pt x="415" y="461"/>
                      </a:lnTo>
                      <a:lnTo>
                        <a:pt x="416" y="461"/>
                      </a:lnTo>
                      <a:lnTo>
                        <a:pt x="416" y="461"/>
                      </a:lnTo>
                      <a:lnTo>
                        <a:pt x="416" y="460"/>
                      </a:lnTo>
                      <a:lnTo>
                        <a:pt x="416" y="460"/>
                      </a:lnTo>
                      <a:lnTo>
                        <a:pt x="416" y="460"/>
                      </a:lnTo>
                      <a:lnTo>
                        <a:pt x="416" y="460"/>
                      </a:lnTo>
                      <a:lnTo>
                        <a:pt x="416" y="460"/>
                      </a:lnTo>
                      <a:lnTo>
                        <a:pt x="417" y="460"/>
                      </a:lnTo>
                      <a:lnTo>
                        <a:pt x="417" y="461"/>
                      </a:lnTo>
                      <a:lnTo>
                        <a:pt x="418" y="461"/>
                      </a:lnTo>
                      <a:lnTo>
                        <a:pt x="418" y="461"/>
                      </a:lnTo>
                      <a:lnTo>
                        <a:pt x="418" y="460"/>
                      </a:lnTo>
                      <a:lnTo>
                        <a:pt x="419" y="460"/>
                      </a:lnTo>
                      <a:lnTo>
                        <a:pt x="418" y="460"/>
                      </a:lnTo>
                      <a:lnTo>
                        <a:pt x="419" y="460"/>
                      </a:lnTo>
                      <a:lnTo>
                        <a:pt x="419" y="461"/>
                      </a:lnTo>
                      <a:lnTo>
                        <a:pt x="419" y="462"/>
                      </a:lnTo>
                      <a:lnTo>
                        <a:pt x="420" y="462"/>
                      </a:lnTo>
                      <a:lnTo>
                        <a:pt x="420" y="462"/>
                      </a:lnTo>
                      <a:lnTo>
                        <a:pt x="420" y="463"/>
                      </a:lnTo>
                      <a:lnTo>
                        <a:pt x="419" y="463"/>
                      </a:lnTo>
                      <a:lnTo>
                        <a:pt x="419" y="464"/>
                      </a:lnTo>
                      <a:lnTo>
                        <a:pt x="418" y="464"/>
                      </a:lnTo>
                      <a:lnTo>
                        <a:pt x="418" y="464"/>
                      </a:lnTo>
                      <a:lnTo>
                        <a:pt x="418" y="464"/>
                      </a:lnTo>
                      <a:lnTo>
                        <a:pt x="418" y="465"/>
                      </a:lnTo>
                      <a:lnTo>
                        <a:pt x="417" y="465"/>
                      </a:lnTo>
                      <a:lnTo>
                        <a:pt x="417" y="466"/>
                      </a:lnTo>
                      <a:lnTo>
                        <a:pt x="416" y="466"/>
                      </a:lnTo>
                      <a:lnTo>
                        <a:pt x="416" y="466"/>
                      </a:lnTo>
                      <a:lnTo>
                        <a:pt x="416" y="467"/>
                      </a:lnTo>
                      <a:lnTo>
                        <a:pt x="417" y="467"/>
                      </a:lnTo>
                      <a:lnTo>
                        <a:pt x="417" y="468"/>
                      </a:lnTo>
                      <a:lnTo>
                        <a:pt x="417" y="468"/>
                      </a:lnTo>
                      <a:lnTo>
                        <a:pt x="418" y="468"/>
                      </a:lnTo>
                      <a:lnTo>
                        <a:pt x="418" y="469"/>
                      </a:lnTo>
                      <a:lnTo>
                        <a:pt x="418" y="470"/>
                      </a:lnTo>
                      <a:lnTo>
                        <a:pt x="418" y="469"/>
                      </a:lnTo>
                      <a:lnTo>
                        <a:pt x="418" y="470"/>
                      </a:lnTo>
                      <a:lnTo>
                        <a:pt x="418" y="470"/>
                      </a:lnTo>
                      <a:lnTo>
                        <a:pt x="418" y="470"/>
                      </a:lnTo>
                      <a:lnTo>
                        <a:pt x="418" y="471"/>
                      </a:lnTo>
                      <a:lnTo>
                        <a:pt x="419" y="471"/>
                      </a:lnTo>
                      <a:lnTo>
                        <a:pt x="420" y="472"/>
                      </a:lnTo>
                      <a:lnTo>
                        <a:pt x="420" y="472"/>
                      </a:lnTo>
                      <a:lnTo>
                        <a:pt x="421" y="472"/>
                      </a:lnTo>
                      <a:lnTo>
                        <a:pt x="421" y="472"/>
                      </a:lnTo>
                      <a:lnTo>
                        <a:pt x="421" y="473"/>
                      </a:lnTo>
                      <a:lnTo>
                        <a:pt x="421" y="474"/>
                      </a:lnTo>
                      <a:lnTo>
                        <a:pt x="422" y="474"/>
                      </a:lnTo>
                      <a:lnTo>
                        <a:pt x="422" y="474"/>
                      </a:lnTo>
                      <a:lnTo>
                        <a:pt x="423" y="473"/>
                      </a:lnTo>
                      <a:lnTo>
                        <a:pt x="423" y="472"/>
                      </a:lnTo>
                      <a:lnTo>
                        <a:pt x="424" y="472"/>
                      </a:lnTo>
                      <a:lnTo>
                        <a:pt x="424" y="473"/>
                      </a:lnTo>
                      <a:lnTo>
                        <a:pt x="424" y="474"/>
                      </a:lnTo>
                      <a:lnTo>
                        <a:pt x="423" y="474"/>
                      </a:lnTo>
                      <a:lnTo>
                        <a:pt x="422" y="474"/>
                      </a:lnTo>
                      <a:lnTo>
                        <a:pt x="422" y="474"/>
                      </a:lnTo>
                      <a:lnTo>
                        <a:pt x="422" y="474"/>
                      </a:lnTo>
                      <a:lnTo>
                        <a:pt x="422" y="474"/>
                      </a:lnTo>
                      <a:lnTo>
                        <a:pt x="422" y="474"/>
                      </a:lnTo>
                      <a:lnTo>
                        <a:pt x="421" y="474"/>
                      </a:lnTo>
                      <a:lnTo>
                        <a:pt x="421" y="475"/>
                      </a:lnTo>
                      <a:lnTo>
                        <a:pt x="421" y="476"/>
                      </a:lnTo>
                      <a:lnTo>
                        <a:pt x="421" y="476"/>
                      </a:lnTo>
                      <a:lnTo>
                        <a:pt x="422" y="476"/>
                      </a:lnTo>
                      <a:lnTo>
                        <a:pt x="422" y="477"/>
                      </a:lnTo>
                      <a:lnTo>
                        <a:pt x="422" y="478"/>
                      </a:lnTo>
                      <a:lnTo>
                        <a:pt x="422" y="477"/>
                      </a:lnTo>
                      <a:lnTo>
                        <a:pt x="421" y="477"/>
                      </a:lnTo>
                      <a:lnTo>
                        <a:pt x="421" y="478"/>
                      </a:lnTo>
                      <a:lnTo>
                        <a:pt x="421" y="477"/>
                      </a:lnTo>
                      <a:lnTo>
                        <a:pt x="420" y="477"/>
                      </a:lnTo>
                      <a:lnTo>
                        <a:pt x="420" y="478"/>
                      </a:lnTo>
                      <a:lnTo>
                        <a:pt x="420" y="478"/>
                      </a:lnTo>
                      <a:lnTo>
                        <a:pt x="420" y="479"/>
                      </a:lnTo>
                      <a:lnTo>
                        <a:pt x="419" y="479"/>
                      </a:lnTo>
                      <a:lnTo>
                        <a:pt x="419" y="479"/>
                      </a:lnTo>
                      <a:lnTo>
                        <a:pt x="418" y="479"/>
                      </a:lnTo>
                      <a:lnTo>
                        <a:pt x="418" y="480"/>
                      </a:lnTo>
                      <a:lnTo>
                        <a:pt x="418" y="481"/>
                      </a:lnTo>
                      <a:lnTo>
                        <a:pt x="418" y="481"/>
                      </a:lnTo>
                      <a:lnTo>
                        <a:pt x="418" y="481"/>
                      </a:lnTo>
                      <a:lnTo>
                        <a:pt x="418" y="482"/>
                      </a:lnTo>
                      <a:lnTo>
                        <a:pt x="417" y="482"/>
                      </a:lnTo>
                      <a:lnTo>
                        <a:pt x="416" y="482"/>
                      </a:lnTo>
                      <a:lnTo>
                        <a:pt x="416" y="482"/>
                      </a:lnTo>
                      <a:lnTo>
                        <a:pt x="415" y="482"/>
                      </a:lnTo>
                      <a:lnTo>
                        <a:pt x="414" y="482"/>
                      </a:lnTo>
                      <a:lnTo>
                        <a:pt x="414" y="483"/>
                      </a:lnTo>
                      <a:lnTo>
                        <a:pt x="414" y="482"/>
                      </a:lnTo>
                      <a:lnTo>
                        <a:pt x="414" y="483"/>
                      </a:lnTo>
                      <a:lnTo>
                        <a:pt x="414" y="483"/>
                      </a:lnTo>
                      <a:lnTo>
                        <a:pt x="413" y="483"/>
                      </a:lnTo>
                      <a:lnTo>
                        <a:pt x="413" y="484"/>
                      </a:lnTo>
                      <a:lnTo>
                        <a:pt x="413" y="485"/>
                      </a:lnTo>
                      <a:lnTo>
                        <a:pt x="413" y="485"/>
                      </a:lnTo>
                      <a:lnTo>
                        <a:pt x="412" y="485"/>
                      </a:lnTo>
                      <a:lnTo>
                        <a:pt x="412" y="486"/>
                      </a:lnTo>
                      <a:lnTo>
                        <a:pt x="412" y="487"/>
                      </a:lnTo>
                      <a:lnTo>
                        <a:pt x="412" y="487"/>
                      </a:lnTo>
                      <a:lnTo>
                        <a:pt x="412" y="487"/>
                      </a:lnTo>
                      <a:lnTo>
                        <a:pt x="412" y="488"/>
                      </a:lnTo>
                      <a:lnTo>
                        <a:pt x="411" y="488"/>
                      </a:lnTo>
                      <a:lnTo>
                        <a:pt x="411" y="487"/>
                      </a:lnTo>
                      <a:lnTo>
                        <a:pt x="411" y="487"/>
                      </a:lnTo>
                      <a:lnTo>
                        <a:pt x="410" y="486"/>
                      </a:lnTo>
                      <a:lnTo>
                        <a:pt x="410" y="486"/>
                      </a:lnTo>
                      <a:lnTo>
                        <a:pt x="410" y="485"/>
                      </a:lnTo>
                      <a:lnTo>
                        <a:pt x="409" y="485"/>
                      </a:lnTo>
                      <a:lnTo>
                        <a:pt x="409" y="485"/>
                      </a:lnTo>
                      <a:lnTo>
                        <a:pt x="408" y="485"/>
                      </a:lnTo>
                      <a:lnTo>
                        <a:pt x="408" y="485"/>
                      </a:lnTo>
                      <a:lnTo>
                        <a:pt x="407" y="485"/>
                      </a:lnTo>
                      <a:lnTo>
                        <a:pt x="407" y="484"/>
                      </a:lnTo>
                      <a:lnTo>
                        <a:pt x="406" y="484"/>
                      </a:lnTo>
                      <a:lnTo>
                        <a:pt x="406" y="485"/>
                      </a:lnTo>
                      <a:lnTo>
                        <a:pt x="405" y="485"/>
                      </a:lnTo>
                      <a:lnTo>
                        <a:pt x="405" y="485"/>
                      </a:lnTo>
                      <a:lnTo>
                        <a:pt x="405" y="484"/>
                      </a:lnTo>
                      <a:lnTo>
                        <a:pt x="404" y="484"/>
                      </a:lnTo>
                      <a:lnTo>
                        <a:pt x="403" y="484"/>
                      </a:lnTo>
                      <a:lnTo>
                        <a:pt x="403" y="483"/>
                      </a:lnTo>
                      <a:lnTo>
                        <a:pt x="403" y="483"/>
                      </a:lnTo>
                      <a:lnTo>
                        <a:pt x="403" y="482"/>
                      </a:lnTo>
                      <a:lnTo>
                        <a:pt x="402" y="482"/>
                      </a:lnTo>
                      <a:lnTo>
                        <a:pt x="401" y="482"/>
                      </a:lnTo>
                      <a:lnTo>
                        <a:pt x="401" y="482"/>
                      </a:lnTo>
                      <a:lnTo>
                        <a:pt x="401" y="481"/>
                      </a:lnTo>
                      <a:lnTo>
                        <a:pt x="400" y="481"/>
                      </a:lnTo>
                      <a:lnTo>
                        <a:pt x="400" y="481"/>
                      </a:lnTo>
                      <a:lnTo>
                        <a:pt x="399" y="481"/>
                      </a:lnTo>
                      <a:lnTo>
                        <a:pt x="395" y="478"/>
                      </a:lnTo>
                      <a:lnTo>
                        <a:pt x="392" y="476"/>
                      </a:lnTo>
                      <a:lnTo>
                        <a:pt x="387" y="476"/>
                      </a:lnTo>
                      <a:lnTo>
                        <a:pt x="384" y="474"/>
                      </a:lnTo>
                      <a:lnTo>
                        <a:pt x="374" y="469"/>
                      </a:lnTo>
                      <a:lnTo>
                        <a:pt x="374" y="470"/>
                      </a:lnTo>
                      <a:lnTo>
                        <a:pt x="374" y="470"/>
                      </a:lnTo>
                      <a:lnTo>
                        <a:pt x="374" y="471"/>
                      </a:lnTo>
                      <a:lnTo>
                        <a:pt x="374" y="472"/>
                      </a:lnTo>
                      <a:lnTo>
                        <a:pt x="374" y="472"/>
                      </a:lnTo>
                      <a:lnTo>
                        <a:pt x="373" y="473"/>
                      </a:lnTo>
                      <a:lnTo>
                        <a:pt x="372" y="473"/>
                      </a:lnTo>
                      <a:lnTo>
                        <a:pt x="372" y="473"/>
                      </a:lnTo>
                      <a:lnTo>
                        <a:pt x="371" y="474"/>
                      </a:lnTo>
                      <a:lnTo>
                        <a:pt x="370" y="474"/>
                      </a:lnTo>
                      <a:lnTo>
                        <a:pt x="370" y="474"/>
                      </a:lnTo>
                      <a:lnTo>
                        <a:pt x="370" y="474"/>
                      </a:lnTo>
                      <a:lnTo>
                        <a:pt x="369" y="474"/>
                      </a:lnTo>
                      <a:lnTo>
                        <a:pt x="369" y="474"/>
                      </a:lnTo>
                      <a:lnTo>
                        <a:pt x="369" y="473"/>
                      </a:lnTo>
                      <a:lnTo>
                        <a:pt x="368" y="472"/>
                      </a:lnTo>
                      <a:lnTo>
                        <a:pt x="367" y="472"/>
                      </a:lnTo>
                      <a:lnTo>
                        <a:pt x="367" y="472"/>
                      </a:lnTo>
                      <a:lnTo>
                        <a:pt x="367" y="472"/>
                      </a:lnTo>
                      <a:lnTo>
                        <a:pt x="366" y="471"/>
                      </a:lnTo>
                      <a:lnTo>
                        <a:pt x="365" y="470"/>
                      </a:lnTo>
                      <a:lnTo>
                        <a:pt x="365" y="470"/>
                      </a:lnTo>
                      <a:lnTo>
                        <a:pt x="365" y="470"/>
                      </a:lnTo>
                      <a:lnTo>
                        <a:pt x="364" y="469"/>
                      </a:lnTo>
                      <a:lnTo>
                        <a:pt x="364" y="470"/>
                      </a:lnTo>
                      <a:lnTo>
                        <a:pt x="363" y="470"/>
                      </a:lnTo>
                      <a:lnTo>
                        <a:pt x="363" y="469"/>
                      </a:lnTo>
                      <a:lnTo>
                        <a:pt x="363" y="469"/>
                      </a:lnTo>
                      <a:lnTo>
                        <a:pt x="363" y="468"/>
                      </a:lnTo>
                      <a:lnTo>
                        <a:pt x="363" y="468"/>
                      </a:lnTo>
                      <a:lnTo>
                        <a:pt x="358" y="468"/>
                      </a:lnTo>
                      <a:lnTo>
                        <a:pt x="357" y="468"/>
                      </a:lnTo>
                      <a:lnTo>
                        <a:pt x="353" y="470"/>
                      </a:lnTo>
                      <a:lnTo>
                        <a:pt x="348" y="469"/>
                      </a:lnTo>
                      <a:lnTo>
                        <a:pt x="342" y="466"/>
                      </a:lnTo>
                      <a:lnTo>
                        <a:pt x="338" y="460"/>
                      </a:lnTo>
                      <a:lnTo>
                        <a:pt x="334" y="458"/>
                      </a:lnTo>
                      <a:lnTo>
                        <a:pt x="334" y="457"/>
                      </a:lnTo>
                      <a:lnTo>
                        <a:pt x="327" y="456"/>
                      </a:lnTo>
                      <a:lnTo>
                        <a:pt x="324" y="452"/>
                      </a:lnTo>
                      <a:lnTo>
                        <a:pt x="319" y="450"/>
                      </a:lnTo>
                      <a:lnTo>
                        <a:pt x="316" y="449"/>
                      </a:lnTo>
                      <a:lnTo>
                        <a:pt x="313" y="449"/>
                      </a:lnTo>
                      <a:lnTo>
                        <a:pt x="313" y="448"/>
                      </a:lnTo>
                      <a:lnTo>
                        <a:pt x="309" y="443"/>
                      </a:lnTo>
                      <a:lnTo>
                        <a:pt x="304" y="438"/>
                      </a:lnTo>
                      <a:lnTo>
                        <a:pt x="302" y="433"/>
                      </a:lnTo>
                      <a:lnTo>
                        <a:pt x="298" y="428"/>
                      </a:lnTo>
                      <a:lnTo>
                        <a:pt x="296" y="424"/>
                      </a:lnTo>
                      <a:lnTo>
                        <a:pt x="294" y="421"/>
                      </a:lnTo>
                      <a:lnTo>
                        <a:pt x="292" y="420"/>
                      </a:lnTo>
                      <a:lnTo>
                        <a:pt x="291" y="420"/>
                      </a:lnTo>
                      <a:lnTo>
                        <a:pt x="289" y="419"/>
                      </a:lnTo>
                      <a:lnTo>
                        <a:pt x="288" y="418"/>
                      </a:lnTo>
                      <a:lnTo>
                        <a:pt x="287" y="418"/>
                      </a:lnTo>
                      <a:lnTo>
                        <a:pt x="287" y="417"/>
                      </a:lnTo>
                      <a:lnTo>
                        <a:pt x="287" y="417"/>
                      </a:lnTo>
                      <a:lnTo>
                        <a:pt x="287" y="417"/>
                      </a:lnTo>
                      <a:lnTo>
                        <a:pt x="287" y="416"/>
                      </a:lnTo>
                      <a:lnTo>
                        <a:pt x="287" y="415"/>
                      </a:lnTo>
                      <a:lnTo>
                        <a:pt x="286" y="415"/>
                      </a:lnTo>
                      <a:lnTo>
                        <a:pt x="287" y="415"/>
                      </a:lnTo>
                      <a:lnTo>
                        <a:pt x="286" y="415"/>
                      </a:lnTo>
                      <a:lnTo>
                        <a:pt x="286" y="414"/>
                      </a:lnTo>
                      <a:lnTo>
                        <a:pt x="285" y="414"/>
                      </a:lnTo>
                      <a:lnTo>
                        <a:pt x="285" y="413"/>
                      </a:lnTo>
                      <a:lnTo>
                        <a:pt x="284" y="413"/>
                      </a:lnTo>
                      <a:lnTo>
                        <a:pt x="283" y="413"/>
                      </a:lnTo>
                      <a:lnTo>
                        <a:pt x="283" y="413"/>
                      </a:lnTo>
                      <a:lnTo>
                        <a:pt x="283" y="413"/>
                      </a:lnTo>
                      <a:lnTo>
                        <a:pt x="282" y="413"/>
                      </a:lnTo>
                      <a:lnTo>
                        <a:pt x="282" y="412"/>
                      </a:lnTo>
                      <a:lnTo>
                        <a:pt x="281" y="412"/>
                      </a:lnTo>
                      <a:lnTo>
                        <a:pt x="281" y="411"/>
                      </a:lnTo>
                      <a:lnTo>
                        <a:pt x="281" y="411"/>
                      </a:lnTo>
                      <a:lnTo>
                        <a:pt x="279" y="409"/>
                      </a:lnTo>
                      <a:lnTo>
                        <a:pt x="279" y="410"/>
                      </a:lnTo>
                      <a:lnTo>
                        <a:pt x="278" y="411"/>
                      </a:lnTo>
                      <a:lnTo>
                        <a:pt x="278" y="411"/>
                      </a:lnTo>
                      <a:lnTo>
                        <a:pt x="278" y="412"/>
                      </a:lnTo>
                      <a:lnTo>
                        <a:pt x="277" y="412"/>
                      </a:lnTo>
                      <a:lnTo>
                        <a:pt x="277" y="413"/>
                      </a:lnTo>
                      <a:lnTo>
                        <a:pt x="277" y="413"/>
                      </a:lnTo>
                      <a:lnTo>
                        <a:pt x="277" y="413"/>
                      </a:lnTo>
                      <a:lnTo>
                        <a:pt x="276" y="413"/>
                      </a:lnTo>
                      <a:lnTo>
                        <a:pt x="275" y="413"/>
                      </a:lnTo>
                      <a:lnTo>
                        <a:pt x="275" y="413"/>
                      </a:lnTo>
                      <a:lnTo>
                        <a:pt x="275" y="413"/>
                      </a:lnTo>
                      <a:lnTo>
                        <a:pt x="274" y="413"/>
                      </a:lnTo>
                      <a:lnTo>
                        <a:pt x="273" y="413"/>
                      </a:lnTo>
                      <a:lnTo>
                        <a:pt x="273" y="413"/>
                      </a:lnTo>
                      <a:lnTo>
                        <a:pt x="272" y="413"/>
                      </a:lnTo>
                      <a:lnTo>
                        <a:pt x="272" y="413"/>
                      </a:lnTo>
                      <a:lnTo>
                        <a:pt x="272" y="413"/>
                      </a:lnTo>
                      <a:lnTo>
                        <a:pt x="272" y="413"/>
                      </a:lnTo>
                      <a:lnTo>
                        <a:pt x="272" y="414"/>
                      </a:lnTo>
                      <a:lnTo>
                        <a:pt x="272" y="415"/>
                      </a:lnTo>
                      <a:lnTo>
                        <a:pt x="272" y="415"/>
                      </a:lnTo>
                      <a:lnTo>
                        <a:pt x="271" y="415"/>
                      </a:lnTo>
                      <a:lnTo>
                        <a:pt x="270" y="415"/>
                      </a:lnTo>
                      <a:lnTo>
                        <a:pt x="270" y="415"/>
                      </a:lnTo>
                      <a:lnTo>
                        <a:pt x="270" y="415"/>
                      </a:lnTo>
                      <a:lnTo>
                        <a:pt x="269" y="415"/>
                      </a:lnTo>
                      <a:lnTo>
                        <a:pt x="269" y="416"/>
                      </a:lnTo>
                      <a:lnTo>
                        <a:pt x="268" y="416"/>
                      </a:lnTo>
                      <a:lnTo>
                        <a:pt x="268" y="417"/>
                      </a:lnTo>
                      <a:lnTo>
                        <a:pt x="267" y="417"/>
                      </a:lnTo>
                      <a:lnTo>
                        <a:pt x="266" y="417"/>
                      </a:lnTo>
                      <a:lnTo>
                        <a:pt x="266" y="417"/>
                      </a:lnTo>
                      <a:lnTo>
                        <a:pt x="265" y="417"/>
                      </a:lnTo>
                      <a:lnTo>
                        <a:pt x="264" y="417"/>
                      </a:lnTo>
                      <a:lnTo>
                        <a:pt x="264" y="417"/>
                      </a:lnTo>
                      <a:lnTo>
                        <a:pt x="263" y="418"/>
                      </a:lnTo>
                      <a:lnTo>
                        <a:pt x="262" y="419"/>
                      </a:lnTo>
                      <a:lnTo>
                        <a:pt x="262" y="420"/>
                      </a:lnTo>
                      <a:lnTo>
                        <a:pt x="261" y="420"/>
                      </a:lnTo>
                      <a:lnTo>
                        <a:pt x="260" y="420"/>
                      </a:lnTo>
                      <a:lnTo>
                        <a:pt x="260" y="420"/>
                      </a:lnTo>
                      <a:lnTo>
                        <a:pt x="260" y="420"/>
                      </a:lnTo>
                      <a:lnTo>
                        <a:pt x="259" y="420"/>
                      </a:lnTo>
                      <a:lnTo>
                        <a:pt x="260" y="420"/>
                      </a:lnTo>
                      <a:lnTo>
                        <a:pt x="260" y="419"/>
                      </a:lnTo>
                      <a:lnTo>
                        <a:pt x="259" y="419"/>
                      </a:lnTo>
                      <a:lnTo>
                        <a:pt x="259" y="418"/>
                      </a:lnTo>
                      <a:lnTo>
                        <a:pt x="258" y="417"/>
                      </a:lnTo>
                      <a:lnTo>
                        <a:pt x="258" y="417"/>
                      </a:lnTo>
                      <a:lnTo>
                        <a:pt x="258" y="416"/>
                      </a:lnTo>
                      <a:lnTo>
                        <a:pt x="257" y="416"/>
                      </a:lnTo>
                      <a:lnTo>
                        <a:pt x="256" y="416"/>
                      </a:lnTo>
                      <a:lnTo>
                        <a:pt x="255" y="416"/>
                      </a:lnTo>
                      <a:lnTo>
                        <a:pt x="255" y="416"/>
                      </a:lnTo>
                      <a:lnTo>
                        <a:pt x="254" y="416"/>
                      </a:lnTo>
                      <a:lnTo>
                        <a:pt x="254" y="415"/>
                      </a:lnTo>
                      <a:lnTo>
                        <a:pt x="253" y="415"/>
                      </a:lnTo>
                      <a:lnTo>
                        <a:pt x="253" y="415"/>
                      </a:lnTo>
                      <a:lnTo>
                        <a:pt x="252" y="415"/>
                      </a:lnTo>
                      <a:lnTo>
                        <a:pt x="251" y="415"/>
                      </a:lnTo>
                      <a:lnTo>
                        <a:pt x="251" y="415"/>
                      </a:lnTo>
                      <a:lnTo>
                        <a:pt x="251" y="415"/>
                      </a:lnTo>
                      <a:lnTo>
                        <a:pt x="251" y="414"/>
                      </a:lnTo>
                      <a:lnTo>
                        <a:pt x="250" y="414"/>
                      </a:lnTo>
                      <a:lnTo>
                        <a:pt x="250" y="413"/>
                      </a:lnTo>
                      <a:lnTo>
                        <a:pt x="249" y="413"/>
                      </a:lnTo>
                      <a:lnTo>
                        <a:pt x="249" y="413"/>
                      </a:lnTo>
                      <a:lnTo>
                        <a:pt x="249" y="413"/>
                      </a:lnTo>
                      <a:lnTo>
                        <a:pt x="249" y="413"/>
                      </a:lnTo>
                      <a:lnTo>
                        <a:pt x="249" y="412"/>
                      </a:lnTo>
                      <a:lnTo>
                        <a:pt x="249" y="412"/>
                      </a:lnTo>
                      <a:lnTo>
                        <a:pt x="248" y="412"/>
                      </a:lnTo>
                      <a:lnTo>
                        <a:pt x="248" y="413"/>
                      </a:lnTo>
                      <a:lnTo>
                        <a:pt x="248" y="412"/>
                      </a:lnTo>
                      <a:lnTo>
                        <a:pt x="247" y="412"/>
                      </a:lnTo>
                      <a:lnTo>
                        <a:pt x="247" y="412"/>
                      </a:lnTo>
                      <a:lnTo>
                        <a:pt x="246" y="412"/>
                      </a:lnTo>
                      <a:lnTo>
                        <a:pt x="245" y="412"/>
                      </a:lnTo>
                      <a:lnTo>
                        <a:pt x="245" y="411"/>
                      </a:lnTo>
                      <a:lnTo>
                        <a:pt x="245" y="411"/>
                      </a:lnTo>
                      <a:lnTo>
                        <a:pt x="245" y="411"/>
                      </a:lnTo>
                      <a:lnTo>
                        <a:pt x="244" y="411"/>
                      </a:lnTo>
                      <a:lnTo>
                        <a:pt x="245" y="411"/>
                      </a:lnTo>
                      <a:lnTo>
                        <a:pt x="244" y="411"/>
                      </a:lnTo>
                      <a:lnTo>
                        <a:pt x="243" y="411"/>
                      </a:lnTo>
                      <a:lnTo>
                        <a:pt x="243" y="411"/>
                      </a:lnTo>
                      <a:lnTo>
                        <a:pt x="243" y="411"/>
                      </a:lnTo>
                      <a:lnTo>
                        <a:pt x="243" y="410"/>
                      </a:lnTo>
                      <a:lnTo>
                        <a:pt x="243" y="409"/>
                      </a:lnTo>
                      <a:lnTo>
                        <a:pt x="242" y="409"/>
                      </a:lnTo>
                      <a:lnTo>
                        <a:pt x="242" y="409"/>
                      </a:lnTo>
                      <a:lnTo>
                        <a:pt x="242" y="408"/>
                      </a:lnTo>
                      <a:lnTo>
                        <a:pt x="241" y="408"/>
                      </a:lnTo>
                      <a:lnTo>
                        <a:pt x="241" y="407"/>
                      </a:lnTo>
                      <a:lnTo>
                        <a:pt x="240" y="407"/>
                      </a:lnTo>
                      <a:lnTo>
                        <a:pt x="239" y="407"/>
                      </a:lnTo>
                      <a:lnTo>
                        <a:pt x="239" y="407"/>
                      </a:lnTo>
                      <a:lnTo>
                        <a:pt x="238" y="407"/>
                      </a:lnTo>
                      <a:lnTo>
                        <a:pt x="238" y="407"/>
                      </a:lnTo>
                      <a:lnTo>
                        <a:pt x="237" y="407"/>
                      </a:lnTo>
                      <a:lnTo>
                        <a:pt x="236" y="407"/>
                      </a:lnTo>
                      <a:lnTo>
                        <a:pt x="236" y="407"/>
                      </a:lnTo>
                      <a:lnTo>
                        <a:pt x="236" y="406"/>
                      </a:lnTo>
                      <a:lnTo>
                        <a:pt x="235" y="406"/>
                      </a:lnTo>
                      <a:lnTo>
                        <a:pt x="235" y="405"/>
                      </a:lnTo>
                      <a:lnTo>
                        <a:pt x="234" y="405"/>
                      </a:lnTo>
                      <a:lnTo>
                        <a:pt x="234" y="405"/>
                      </a:lnTo>
                      <a:lnTo>
                        <a:pt x="233" y="405"/>
                      </a:lnTo>
                      <a:lnTo>
                        <a:pt x="232" y="405"/>
                      </a:lnTo>
                      <a:lnTo>
                        <a:pt x="232" y="404"/>
                      </a:lnTo>
                      <a:lnTo>
                        <a:pt x="231" y="404"/>
                      </a:lnTo>
                      <a:lnTo>
                        <a:pt x="230" y="404"/>
                      </a:lnTo>
                      <a:lnTo>
                        <a:pt x="230" y="404"/>
                      </a:lnTo>
                      <a:lnTo>
                        <a:pt x="229" y="404"/>
                      </a:lnTo>
                      <a:lnTo>
                        <a:pt x="228" y="404"/>
                      </a:lnTo>
                      <a:lnTo>
                        <a:pt x="228" y="403"/>
                      </a:lnTo>
                      <a:lnTo>
                        <a:pt x="228" y="403"/>
                      </a:lnTo>
                      <a:lnTo>
                        <a:pt x="227" y="403"/>
                      </a:lnTo>
                      <a:lnTo>
                        <a:pt x="227" y="403"/>
                      </a:lnTo>
                      <a:lnTo>
                        <a:pt x="226" y="403"/>
                      </a:lnTo>
                      <a:lnTo>
                        <a:pt x="226" y="402"/>
                      </a:lnTo>
                      <a:lnTo>
                        <a:pt x="226" y="401"/>
                      </a:lnTo>
                      <a:lnTo>
                        <a:pt x="227" y="401"/>
                      </a:lnTo>
                      <a:lnTo>
                        <a:pt x="227" y="401"/>
                      </a:lnTo>
                      <a:lnTo>
                        <a:pt x="228" y="401"/>
                      </a:lnTo>
                      <a:lnTo>
                        <a:pt x="228" y="400"/>
                      </a:lnTo>
                      <a:lnTo>
                        <a:pt x="228" y="399"/>
                      </a:lnTo>
                      <a:lnTo>
                        <a:pt x="228" y="399"/>
                      </a:lnTo>
                      <a:lnTo>
                        <a:pt x="228" y="399"/>
                      </a:lnTo>
                      <a:lnTo>
                        <a:pt x="228" y="398"/>
                      </a:lnTo>
                      <a:lnTo>
                        <a:pt x="227" y="398"/>
                      </a:lnTo>
                      <a:lnTo>
                        <a:pt x="227" y="397"/>
                      </a:lnTo>
                      <a:lnTo>
                        <a:pt x="228" y="397"/>
                      </a:lnTo>
                      <a:lnTo>
                        <a:pt x="227" y="397"/>
                      </a:lnTo>
                      <a:lnTo>
                        <a:pt x="226" y="398"/>
                      </a:lnTo>
                      <a:lnTo>
                        <a:pt x="226" y="397"/>
                      </a:lnTo>
                      <a:lnTo>
                        <a:pt x="226" y="398"/>
                      </a:lnTo>
                      <a:lnTo>
                        <a:pt x="225" y="398"/>
                      </a:lnTo>
                      <a:lnTo>
                        <a:pt x="225" y="397"/>
                      </a:lnTo>
                      <a:lnTo>
                        <a:pt x="224" y="397"/>
                      </a:lnTo>
                      <a:lnTo>
                        <a:pt x="224" y="398"/>
                      </a:lnTo>
                      <a:lnTo>
                        <a:pt x="224" y="397"/>
                      </a:lnTo>
                      <a:lnTo>
                        <a:pt x="223" y="397"/>
                      </a:lnTo>
                      <a:lnTo>
                        <a:pt x="222" y="397"/>
                      </a:lnTo>
                      <a:lnTo>
                        <a:pt x="222" y="397"/>
                      </a:lnTo>
                      <a:lnTo>
                        <a:pt x="221" y="396"/>
                      </a:lnTo>
                      <a:lnTo>
                        <a:pt x="220" y="396"/>
                      </a:lnTo>
                      <a:lnTo>
                        <a:pt x="220" y="396"/>
                      </a:lnTo>
                      <a:lnTo>
                        <a:pt x="220" y="396"/>
                      </a:lnTo>
                      <a:lnTo>
                        <a:pt x="219" y="396"/>
                      </a:lnTo>
                      <a:lnTo>
                        <a:pt x="218" y="396"/>
                      </a:lnTo>
                      <a:lnTo>
                        <a:pt x="217" y="395"/>
                      </a:lnTo>
                      <a:lnTo>
                        <a:pt x="217" y="395"/>
                      </a:lnTo>
                      <a:lnTo>
                        <a:pt x="216" y="395"/>
                      </a:lnTo>
                      <a:lnTo>
                        <a:pt x="215" y="395"/>
                      </a:lnTo>
                      <a:lnTo>
                        <a:pt x="215" y="395"/>
                      </a:lnTo>
                      <a:lnTo>
                        <a:pt x="215" y="396"/>
                      </a:lnTo>
                      <a:lnTo>
                        <a:pt x="214" y="396"/>
                      </a:lnTo>
                      <a:lnTo>
                        <a:pt x="213" y="396"/>
                      </a:lnTo>
                      <a:lnTo>
                        <a:pt x="213" y="396"/>
                      </a:lnTo>
                      <a:lnTo>
                        <a:pt x="213" y="396"/>
                      </a:lnTo>
                      <a:lnTo>
                        <a:pt x="213" y="396"/>
                      </a:lnTo>
                      <a:lnTo>
                        <a:pt x="212" y="396"/>
                      </a:lnTo>
                      <a:lnTo>
                        <a:pt x="211" y="396"/>
                      </a:lnTo>
                      <a:lnTo>
                        <a:pt x="211" y="395"/>
                      </a:lnTo>
                      <a:lnTo>
                        <a:pt x="210" y="394"/>
                      </a:lnTo>
                      <a:lnTo>
                        <a:pt x="209" y="394"/>
                      </a:lnTo>
                      <a:lnTo>
                        <a:pt x="209" y="394"/>
                      </a:lnTo>
                      <a:lnTo>
                        <a:pt x="209" y="393"/>
                      </a:lnTo>
                      <a:lnTo>
                        <a:pt x="208" y="393"/>
                      </a:lnTo>
                      <a:lnTo>
                        <a:pt x="208" y="392"/>
                      </a:lnTo>
                      <a:lnTo>
                        <a:pt x="207" y="392"/>
                      </a:lnTo>
                      <a:lnTo>
                        <a:pt x="207" y="392"/>
                      </a:lnTo>
                      <a:lnTo>
                        <a:pt x="206" y="392"/>
                      </a:lnTo>
                      <a:lnTo>
                        <a:pt x="205" y="391"/>
                      </a:lnTo>
                      <a:lnTo>
                        <a:pt x="205" y="390"/>
                      </a:lnTo>
                      <a:lnTo>
                        <a:pt x="204" y="390"/>
                      </a:lnTo>
                      <a:lnTo>
                        <a:pt x="203" y="389"/>
                      </a:lnTo>
                      <a:lnTo>
                        <a:pt x="203" y="388"/>
                      </a:lnTo>
                      <a:lnTo>
                        <a:pt x="203" y="388"/>
                      </a:lnTo>
                      <a:lnTo>
                        <a:pt x="202" y="388"/>
                      </a:lnTo>
                      <a:lnTo>
                        <a:pt x="201" y="387"/>
                      </a:lnTo>
                      <a:lnTo>
                        <a:pt x="201" y="386"/>
                      </a:lnTo>
                      <a:lnTo>
                        <a:pt x="200" y="386"/>
                      </a:lnTo>
                      <a:lnTo>
                        <a:pt x="200" y="385"/>
                      </a:lnTo>
                      <a:lnTo>
                        <a:pt x="200" y="384"/>
                      </a:lnTo>
                      <a:lnTo>
                        <a:pt x="199" y="384"/>
                      </a:lnTo>
                      <a:lnTo>
                        <a:pt x="198" y="384"/>
                      </a:lnTo>
                      <a:lnTo>
                        <a:pt x="198" y="384"/>
                      </a:lnTo>
                      <a:lnTo>
                        <a:pt x="198" y="383"/>
                      </a:lnTo>
                      <a:lnTo>
                        <a:pt x="198" y="382"/>
                      </a:lnTo>
                      <a:lnTo>
                        <a:pt x="198" y="382"/>
                      </a:lnTo>
                      <a:lnTo>
                        <a:pt x="198" y="382"/>
                      </a:lnTo>
                      <a:lnTo>
                        <a:pt x="198" y="381"/>
                      </a:lnTo>
                      <a:lnTo>
                        <a:pt x="197" y="381"/>
                      </a:lnTo>
                      <a:lnTo>
                        <a:pt x="197" y="380"/>
                      </a:lnTo>
                      <a:lnTo>
                        <a:pt x="196" y="380"/>
                      </a:lnTo>
                      <a:lnTo>
                        <a:pt x="196" y="379"/>
                      </a:lnTo>
                      <a:lnTo>
                        <a:pt x="196" y="379"/>
                      </a:lnTo>
                      <a:lnTo>
                        <a:pt x="196" y="378"/>
                      </a:lnTo>
                      <a:lnTo>
                        <a:pt x="196" y="377"/>
                      </a:lnTo>
                      <a:lnTo>
                        <a:pt x="196" y="377"/>
                      </a:lnTo>
                      <a:lnTo>
                        <a:pt x="196" y="376"/>
                      </a:lnTo>
                      <a:lnTo>
                        <a:pt x="196" y="376"/>
                      </a:lnTo>
                      <a:lnTo>
                        <a:pt x="196" y="375"/>
                      </a:lnTo>
                      <a:lnTo>
                        <a:pt x="196" y="375"/>
                      </a:lnTo>
                      <a:lnTo>
                        <a:pt x="195" y="375"/>
                      </a:lnTo>
                      <a:lnTo>
                        <a:pt x="195" y="375"/>
                      </a:lnTo>
                      <a:lnTo>
                        <a:pt x="194" y="375"/>
                      </a:lnTo>
                      <a:lnTo>
                        <a:pt x="194" y="375"/>
                      </a:lnTo>
                      <a:lnTo>
                        <a:pt x="193" y="375"/>
                      </a:lnTo>
                      <a:lnTo>
                        <a:pt x="192" y="375"/>
                      </a:lnTo>
                      <a:lnTo>
                        <a:pt x="193" y="374"/>
                      </a:lnTo>
                      <a:lnTo>
                        <a:pt x="194" y="374"/>
                      </a:lnTo>
                      <a:lnTo>
                        <a:pt x="194" y="373"/>
                      </a:lnTo>
                      <a:lnTo>
                        <a:pt x="195" y="373"/>
                      </a:lnTo>
                      <a:lnTo>
                        <a:pt x="196" y="373"/>
                      </a:lnTo>
                      <a:lnTo>
                        <a:pt x="196" y="371"/>
                      </a:lnTo>
                      <a:lnTo>
                        <a:pt x="197" y="370"/>
                      </a:lnTo>
                      <a:lnTo>
                        <a:pt x="197" y="369"/>
                      </a:lnTo>
                      <a:lnTo>
                        <a:pt x="198" y="369"/>
                      </a:lnTo>
                      <a:lnTo>
                        <a:pt x="198" y="369"/>
                      </a:lnTo>
                      <a:lnTo>
                        <a:pt x="186" y="357"/>
                      </a:lnTo>
                      <a:lnTo>
                        <a:pt x="186" y="356"/>
                      </a:lnTo>
                      <a:lnTo>
                        <a:pt x="180" y="352"/>
                      </a:lnTo>
                      <a:lnTo>
                        <a:pt x="179" y="352"/>
                      </a:lnTo>
                      <a:lnTo>
                        <a:pt x="162" y="339"/>
                      </a:lnTo>
                      <a:lnTo>
                        <a:pt x="158" y="337"/>
                      </a:lnTo>
                      <a:lnTo>
                        <a:pt x="144" y="334"/>
                      </a:lnTo>
                      <a:lnTo>
                        <a:pt x="142" y="334"/>
                      </a:lnTo>
                      <a:lnTo>
                        <a:pt x="142" y="333"/>
                      </a:lnTo>
                      <a:lnTo>
                        <a:pt x="140" y="327"/>
                      </a:lnTo>
                      <a:lnTo>
                        <a:pt x="139" y="326"/>
                      </a:lnTo>
                      <a:lnTo>
                        <a:pt x="133" y="321"/>
                      </a:lnTo>
                      <a:lnTo>
                        <a:pt x="127" y="315"/>
                      </a:lnTo>
                      <a:lnTo>
                        <a:pt x="125" y="313"/>
                      </a:lnTo>
                      <a:lnTo>
                        <a:pt x="123" y="312"/>
                      </a:lnTo>
                      <a:lnTo>
                        <a:pt x="118" y="306"/>
                      </a:lnTo>
                      <a:lnTo>
                        <a:pt x="112" y="303"/>
                      </a:lnTo>
                      <a:lnTo>
                        <a:pt x="108" y="297"/>
                      </a:lnTo>
                      <a:lnTo>
                        <a:pt x="100" y="291"/>
                      </a:lnTo>
                      <a:lnTo>
                        <a:pt x="94" y="284"/>
                      </a:lnTo>
                      <a:lnTo>
                        <a:pt x="93" y="284"/>
                      </a:lnTo>
                      <a:lnTo>
                        <a:pt x="82" y="279"/>
                      </a:lnTo>
                      <a:lnTo>
                        <a:pt x="77" y="278"/>
                      </a:lnTo>
                      <a:lnTo>
                        <a:pt x="72" y="274"/>
                      </a:lnTo>
                      <a:lnTo>
                        <a:pt x="64" y="257"/>
                      </a:lnTo>
                      <a:lnTo>
                        <a:pt x="60" y="251"/>
                      </a:lnTo>
                      <a:lnTo>
                        <a:pt x="56" y="247"/>
                      </a:lnTo>
                      <a:lnTo>
                        <a:pt x="58" y="243"/>
                      </a:lnTo>
                      <a:lnTo>
                        <a:pt x="65" y="234"/>
                      </a:lnTo>
                      <a:lnTo>
                        <a:pt x="61" y="222"/>
                      </a:lnTo>
                      <a:lnTo>
                        <a:pt x="55" y="208"/>
                      </a:lnTo>
                      <a:lnTo>
                        <a:pt x="45" y="197"/>
                      </a:lnTo>
                      <a:lnTo>
                        <a:pt x="46" y="196"/>
                      </a:lnTo>
                      <a:lnTo>
                        <a:pt x="46" y="194"/>
                      </a:lnTo>
                      <a:lnTo>
                        <a:pt x="49" y="194"/>
                      </a:lnTo>
                      <a:lnTo>
                        <a:pt x="49" y="192"/>
                      </a:lnTo>
                      <a:lnTo>
                        <a:pt x="47" y="190"/>
                      </a:lnTo>
                      <a:lnTo>
                        <a:pt x="47" y="190"/>
                      </a:lnTo>
                      <a:lnTo>
                        <a:pt x="47" y="188"/>
                      </a:lnTo>
                      <a:lnTo>
                        <a:pt x="46" y="188"/>
                      </a:lnTo>
                      <a:lnTo>
                        <a:pt x="46" y="188"/>
                      </a:lnTo>
                      <a:lnTo>
                        <a:pt x="45" y="187"/>
                      </a:lnTo>
                      <a:lnTo>
                        <a:pt x="44" y="186"/>
                      </a:lnTo>
                      <a:lnTo>
                        <a:pt x="44" y="186"/>
                      </a:lnTo>
                      <a:lnTo>
                        <a:pt x="44" y="184"/>
                      </a:lnTo>
                      <a:lnTo>
                        <a:pt x="45" y="184"/>
                      </a:lnTo>
                      <a:lnTo>
                        <a:pt x="45" y="182"/>
                      </a:lnTo>
                      <a:lnTo>
                        <a:pt x="44" y="179"/>
                      </a:lnTo>
                      <a:lnTo>
                        <a:pt x="44" y="177"/>
                      </a:lnTo>
                      <a:lnTo>
                        <a:pt x="40" y="171"/>
                      </a:lnTo>
                      <a:lnTo>
                        <a:pt x="38" y="170"/>
                      </a:lnTo>
                      <a:lnTo>
                        <a:pt x="37" y="167"/>
                      </a:lnTo>
                      <a:lnTo>
                        <a:pt x="37" y="166"/>
                      </a:lnTo>
                      <a:lnTo>
                        <a:pt x="35" y="166"/>
                      </a:lnTo>
                      <a:lnTo>
                        <a:pt x="32" y="165"/>
                      </a:lnTo>
                      <a:lnTo>
                        <a:pt x="31" y="161"/>
                      </a:lnTo>
                      <a:lnTo>
                        <a:pt x="32" y="160"/>
                      </a:lnTo>
                      <a:lnTo>
                        <a:pt x="33" y="159"/>
                      </a:lnTo>
                      <a:lnTo>
                        <a:pt x="33" y="158"/>
                      </a:lnTo>
                      <a:lnTo>
                        <a:pt x="34" y="157"/>
                      </a:lnTo>
                      <a:lnTo>
                        <a:pt x="35" y="157"/>
                      </a:lnTo>
                      <a:lnTo>
                        <a:pt x="36" y="157"/>
                      </a:lnTo>
                      <a:lnTo>
                        <a:pt x="38" y="158"/>
                      </a:lnTo>
                      <a:lnTo>
                        <a:pt x="40" y="154"/>
                      </a:lnTo>
                      <a:lnTo>
                        <a:pt x="38" y="152"/>
                      </a:lnTo>
                      <a:lnTo>
                        <a:pt x="36" y="150"/>
                      </a:lnTo>
                      <a:lnTo>
                        <a:pt x="37" y="141"/>
                      </a:lnTo>
                      <a:lnTo>
                        <a:pt x="34" y="132"/>
                      </a:lnTo>
                      <a:lnTo>
                        <a:pt x="32" y="123"/>
                      </a:lnTo>
                      <a:lnTo>
                        <a:pt x="32" y="123"/>
                      </a:lnTo>
                      <a:lnTo>
                        <a:pt x="32" y="122"/>
                      </a:lnTo>
                      <a:lnTo>
                        <a:pt x="32" y="121"/>
                      </a:lnTo>
                      <a:lnTo>
                        <a:pt x="32" y="121"/>
                      </a:lnTo>
                      <a:lnTo>
                        <a:pt x="33" y="120"/>
                      </a:lnTo>
                      <a:lnTo>
                        <a:pt x="29" y="116"/>
                      </a:lnTo>
                      <a:lnTo>
                        <a:pt x="29" y="114"/>
                      </a:lnTo>
                      <a:lnTo>
                        <a:pt x="27" y="107"/>
                      </a:lnTo>
                      <a:lnTo>
                        <a:pt x="26" y="100"/>
                      </a:lnTo>
                      <a:lnTo>
                        <a:pt x="25" y="99"/>
                      </a:lnTo>
                      <a:lnTo>
                        <a:pt x="24" y="98"/>
                      </a:lnTo>
                      <a:lnTo>
                        <a:pt x="25" y="97"/>
                      </a:lnTo>
                      <a:lnTo>
                        <a:pt x="26" y="95"/>
                      </a:lnTo>
                      <a:lnTo>
                        <a:pt x="25" y="94"/>
                      </a:lnTo>
                      <a:lnTo>
                        <a:pt x="25" y="93"/>
                      </a:lnTo>
                      <a:lnTo>
                        <a:pt x="25" y="93"/>
                      </a:lnTo>
                      <a:lnTo>
                        <a:pt x="25" y="92"/>
                      </a:lnTo>
                      <a:lnTo>
                        <a:pt x="24" y="91"/>
                      </a:lnTo>
                      <a:lnTo>
                        <a:pt x="25" y="90"/>
                      </a:lnTo>
                      <a:lnTo>
                        <a:pt x="25" y="89"/>
                      </a:lnTo>
                      <a:lnTo>
                        <a:pt x="25" y="88"/>
                      </a:lnTo>
                      <a:lnTo>
                        <a:pt x="25" y="88"/>
                      </a:lnTo>
                      <a:lnTo>
                        <a:pt x="25" y="87"/>
                      </a:lnTo>
                      <a:lnTo>
                        <a:pt x="26" y="87"/>
                      </a:lnTo>
                      <a:lnTo>
                        <a:pt x="27" y="85"/>
                      </a:lnTo>
                      <a:lnTo>
                        <a:pt x="28" y="84"/>
                      </a:lnTo>
                      <a:lnTo>
                        <a:pt x="27" y="84"/>
                      </a:lnTo>
                      <a:lnTo>
                        <a:pt x="27" y="83"/>
                      </a:lnTo>
                      <a:lnTo>
                        <a:pt x="27" y="83"/>
                      </a:lnTo>
                      <a:lnTo>
                        <a:pt x="27" y="82"/>
                      </a:lnTo>
                      <a:lnTo>
                        <a:pt x="26" y="82"/>
                      </a:lnTo>
                      <a:lnTo>
                        <a:pt x="26" y="81"/>
                      </a:lnTo>
                      <a:lnTo>
                        <a:pt x="25" y="81"/>
                      </a:lnTo>
                      <a:lnTo>
                        <a:pt x="25" y="81"/>
                      </a:lnTo>
                      <a:lnTo>
                        <a:pt x="24" y="81"/>
                      </a:lnTo>
                      <a:lnTo>
                        <a:pt x="24" y="80"/>
                      </a:lnTo>
                      <a:lnTo>
                        <a:pt x="23" y="80"/>
                      </a:lnTo>
                      <a:lnTo>
                        <a:pt x="23" y="80"/>
                      </a:lnTo>
                      <a:lnTo>
                        <a:pt x="23" y="80"/>
                      </a:lnTo>
                      <a:lnTo>
                        <a:pt x="22" y="80"/>
                      </a:lnTo>
                      <a:lnTo>
                        <a:pt x="22" y="79"/>
                      </a:lnTo>
                      <a:lnTo>
                        <a:pt x="21" y="79"/>
                      </a:lnTo>
                      <a:lnTo>
                        <a:pt x="21" y="78"/>
                      </a:lnTo>
                      <a:lnTo>
                        <a:pt x="21" y="78"/>
                      </a:lnTo>
                      <a:lnTo>
                        <a:pt x="20" y="78"/>
                      </a:lnTo>
                      <a:lnTo>
                        <a:pt x="20" y="78"/>
                      </a:lnTo>
                      <a:lnTo>
                        <a:pt x="19" y="78"/>
                      </a:lnTo>
                      <a:lnTo>
                        <a:pt x="19" y="77"/>
                      </a:lnTo>
                      <a:lnTo>
                        <a:pt x="19" y="76"/>
                      </a:lnTo>
                      <a:lnTo>
                        <a:pt x="19" y="76"/>
                      </a:lnTo>
                      <a:lnTo>
                        <a:pt x="19" y="74"/>
                      </a:lnTo>
                      <a:lnTo>
                        <a:pt x="19" y="72"/>
                      </a:lnTo>
                      <a:lnTo>
                        <a:pt x="19" y="67"/>
                      </a:lnTo>
                      <a:lnTo>
                        <a:pt x="19" y="66"/>
                      </a:lnTo>
                      <a:lnTo>
                        <a:pt x="21" y="62"/>
                      </a:lnTo>
                      <a:lnTo>
                        <a:pt x="15" y="57"/>
                      </a:lnTo>
                      <a:lnTo>
                        <a:pt x="13" y="57"/>
                      </a:lnTo>
                      <a:lnTo>
                        <a:pt x="11" y="55"/>
                      </a:lnTo>
                      <a:lnTo>
                        <a:pt x="11" y="55"/>
                      </a:lnTo>
                      <a:lnTo>
                        <a:pt x="0" y="43"/>
                      </a:lnTo>
                      <a:lnTo>
                        <a:pt x="4" y="33"/>
                      </a:lnTo>
                      <a:lnTo>
                        <a:pt x="15" y="23"/>
                      </a:lnTo>
                      <a:lnTo>
                        <a:pt x="17" y="18"/>
                      </a:lnTo>
                      <a:lnTo>
                        <a:pt x="15" y="11"/>
                      </a:lnTo>
                      <a:lnTo>
                        <a:pt x="17" y="9"/>
                      </a:lnTo>
                      <a:lnTo>
                        <a:pt x="21" y="7"/>
                      </a:lnTo>
                      <a:lnTo>
                        <a:pt x="23" y="6"/>
                      </a:lnTo>
                      <a:lnTo>
                        <a:pt x="26" y="2"/>
                      </a:lnTo>
                      <a:lnTo>
                        <a:pt x="29" y="0"/>
                      </a:lnTo>
                      <a:lnTo>
                        <a:pt x="32"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49" name="Freeform 59">
                  <a:extLst>
                    <a:ext uri="{FF2B5EF4-FFF2-40B4-BE49-F238E27FC236}">
                      <a16:creationId xmlns:a16="http://schemas.microsoft.com/office/drawing/2014/main" xmlns="" id="{23C9E48A-36F7-93FC-4892-057AD3D39EB5}"/>
                    </a:ext>
                  </a:extLst>
                </p:cNvPr>
                <p:cNvSpPr>
                  <a:spLocks/>
                </p:cNvSpPr>
                <p:nvPr/>
              </p:nvSpPr>
              <p:spPr bwMode="auto">
                <a:xfrm>
                  <a:off x="2141" y="2757"/>
                  <a:ext cx="444" cy="193"/>
                </a:xfrm>
                <a:custGeom>
                  <a:avLst/>
                  <a:gdLst>
                    <a:gd name="T0" fmla="*/ 42 w 444"/>
                    <a:gd name="T1" fmla="*/ 174 h 193"/>
                    <a:gd name="T2" fmla="*/ 48 w 444"/>
                    <a:gd name="T3" fmla="*/ 171 h 193"/>
                    <a:gd name="T4" fmla="*/ 57 w 444"/>
                    <a:gd name="T5" fmla="*/ 170 h 193"/>
                    <a:gd name="T6" fmla="*/ 63 w 444"/>
                    <a:gd name="T7" fmla="*/ 166 h 193"/>
                    <a:gd name="T8" fmla="*/ 65 w 444"/>
                    <a:gd name="T9" fmla="*/ 162 h 193"/>
                    <a:gd name="T10" fmla="*/ 72 w 444"/>
                    <a:gd name="T11" fmla="*/ 159 h 193"/>
                    <a:gd name="T12" fmla="*/ 80 w 444"/>
                    <a:gd name="T13" fmla="*/ 159 h 193"/>
                    <a:gd name="T14" fmla="*/ 86 w 444"/>
                    <a:gd name="T15" fmla="*/ 156 h 193"/>
                    <a:gd name="T16" fmla="*/ 92 w 444"/>
                    <a:gd name="T17" fmla="*/ 153 h 193"/>
                    <a:gd name="T18" fmla="*/ 97 w 444"/>
                    <a:gd name="T19" fmla="*/ 148 h 193"/>
                    <a:gd name="T20" fmla="*/ 101 w 444"/>
                    <a:gd name="T21" fmla="*/ 145 h 193"/>
                    <a:gd name="T22" fmla="*/ 106 w 444"/>
                    <a:gd name="T23" fmla="*/ 140 h 193"/>
                    <a:gd name="T24" fmla="*/ 113 w 444"/>
                    <a:gd name="T25" fmla="*/ 139 h 193"/>
                    <a:gd name="T26" fmla="*/ 120 w 444"/>
                    <a:gd name="T27" fmla="*/ 136 h 193"/>
                    <a:gd name="T28" fmla="*/ 118 w 444"/>
                    <a:gd name="T29" fmla="*/ 116 h 193"/>
                    <a:gd name="T30" fmla="*/ 122 w 444"/>
                    <a:gd name="T31" fmla="*/ 108 h 193"/>
                    <a:gd name="T32" fmla="*/ 128 w 444"/>
                    <a:gd name="T33" fmla="*/ 107 h 193"/>
                    <a:gd name="T34" fmla="*/ 135 w 444"/>
                    <a:gd name="T35" fmla="*/ 103 h 193"/>
                    <a:gd name="T36" fmla="*/ 141 w 444"/>
                    <a:gd name="T37" fmla="*/ 97 h 193"/>
                    <a:gd name="T38" fmla="*/ 147 w 444"/>
                    <a:gd name="T39" fmla="*/ 91 h 193"/>
                    <a:gd name="T40" fmla="*/ 151 w 444"/>
                    <a:gd name="T41" fmla="*/ 86 h 193"/>
                    <a:gd name="T42" fmla="*/ 156 w 444"/>
                    <a:gd name="T43" fmla="*/ 82 h 193"/>
                    <a:gd name="T44" fmla="*/ 164 w 444"/>
                    <a:gd name="T45" fmla="*/ 78 h 193"/>
                    <a:gd name="T46" fmla="*/ 173 w 444"/>
                    <a:gd name="T47" fmla="*/ 79 h 193"/>
                    <a:gd name="T48" fmla="*/ 178 w 444"/>
                    <a:gd name="T49" fmla="*/ 80 h 193"/>
                    <a:gd name="T50" fmla="*/ 185 w 444"/>
                    <a:gd name="T51" fmla="*/ 88 h 193"/>
                    <a:gd name="T52" fmla="*/ 192 w 444"/>
                    <a:gd name="T53" fmla="*/ 90 h 193"/>
                    <a:gd name="T54" fmla="*/ 202 w 444"/>
                    <a:gd name="T55" fmla="*/ 97 h 193"/>
                    <a:gd name="T56" fmla="*/ 206 w 444"/>
                    <a:gd name="T57" fmla="*/ 95 h 193"/>
                    <a:gd name="T58" fmla="*/ 228 w 444"/>
                    <a:gd name="T59" fmla="*/ 103 h 193"/>
                    <a:gd name="T60" fmla="*/ 257 w 444"/>
                    <a:gd name="T61" fmla="*/ 114 h 193"/>
                    <a:gd name="T62" fmla="*/ 263 w 444"/>
                    <a:gd name="T63" fmla="*/ 112 h 193"/>
                    <a:gd name="T64" fmla="*/ 281 w 444"/>
                    <a:gd name="T65" fmla="*/ 127 h 193"/>
                    <a:gd name="T66" fmla="*/ 291 w 444"/>
                    <a:gd name="T67" fmla="*/ 133 h 193"/>
                    <a:gd name="T68" fmla="*/ 295 w 444"/>
                    <a:gd name="T69" fmla="*/ 138 h 193"/>
                    <a:gd name="T70" fmla="*/ 301 w 444"/>
                    <a:gd name="T71" fmla="*/ 144 h 193"/>
                    <a:gd name="T72" fmla="*/ 304 w 444"/>
                    <a:gd name="T73" fmla="*/ 147 h 193"/>
                    <a:gd name="T74" fmla="*/ 311 w 444"/>
                    <a:gd name="T75" fmla="*/ 150 h 193"/>
                    <a:gd name="T76" fmla="*/ 322 w 444"/>
                    <a:gd name="T77" fmla="*/ 146 h 193"/>
                    <a:gd name="T78" fmla="*/ 361 w 444"/>
                    <a:gd name="T79" fmla="*/ 119 h 193"/>
                    <a:gd name="T80" fmla="*/ 380 w 444"/>
                    <a:gd name="T81" fmla="*/ 86 h 193"/>
                    <a:gd name="T82" fmla="*/ 374 w 444"/>
                    <a:gd name="T83" fmla="*/ 77 h 193"/>
                    <a:gd name="T84" fmla="*/ 369 w 444"/>
                    <a:gd name="T85" fmla="*/ 69 h 193"/>
                    <a:gd name="T86" fmla="*/ 374 w 444"/>
                    <a:gd name="T87" fmla="*/ 63 h 193"/>
                    <a:gd name="T88" fmla="*/ 377 w 444"/>
                    <a:gd name="T89" fmla="*/ 59 h 193"/>
                    <a:gd name="T90" fmla="*/ 382 w 444"/>
                    <a:gd name="T91" fmla="*/ 53 h 193"/>
                    <a:gd name="T92" fmla="*/ 388 w 444"/>
                    <a:gd name="T93" fmla="*/ 50 h 193"/>
                    <a:gd name="T94" fmla="*/ 392 w 444"/>
                    <a:gd name="T95" fmla="*/ 52 h 193"/>
                    <a:gd name="T96" fmla="*/ 395 w 444"/>
                    <a:gd name="T97" fmla="*/ 58 h 193"/>
                    <a:gd name="T98" fmla="*/ 405 w 444"/>
                    <a:gd name="T99" fmla="*/ 66 h 193"/>
                    <a:gd name="T100" fmla="*/ 411 w 444"/>
                    <a:gd name="T101" fmla="*/ 54 h 193"/>
                    <a:gd name="T102" fmla="*/ 412 w 444"/>
                    <a:gd name="T103" fmla="*/ 41 h 193"/>
                    <a:gd name="T104" fmla="*/ 420 w 444"/>
                    <a:gd name="T105" fmla="*/ 33 h 193"/>
                    <a:gd name="T106" fmla="*/ 422 w 444"/>
                    <a:gd name="T107" fmla="*/ 27 h 193"/>
                    <a:gd name="T108" fmla="*/ 428 w 444"/>
                    <a:gd name="T109" fmla="*/ 24 h 193"/>
                    <a:gd name="T110" fmla="*/ 428 w 444"/>
                    <a:gd name="T111" fmla="*/ 16 h 193"/>
                    <a:gd name="T112" fmla="*/ 433 w 444"/>
                    <a:gd name="T113" fmla="*/ 14 h 193"/>
                    <a:gd name="T114" fmla="*/ 435 w 444"/>
                    <a:gd name="T115" fmla="*/ 10 h 193"/>
                    <a:gd name="T116" fmla="*/ 437 w 444"/>
                    <a:gd name="T117" fmla="*/ 4 h 193"/>
                    <a:gd name="T118" fmla="*/ 443 w 444"/>
                    <a:gd name="T11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4" h="193">
                      <a:moveTo>
                        <a:pt x="0" y="193"/>
                      </a:moveTo>
                      <a:lnTo>
                        <a:pt x="2" y="190"/>
                      </a:lnTo>
                      <a:lnTo>
                        <a:pt x="5" y="189"/>
                      </a:lnTo>
                      <a:lnTo>
                        <a:pt x="6" y="189"/>
                      </a:lnTo>
                      <a:lnTo>
                        <a:pt x="12" y="186"/>
                      </a:lnTo>
                      <a:lnTo>
                        <a:pt x="20" y="181"/>
                      </a:lnTo>
                      <a:lnTo>
                        <a:pt x="25" y="177"/>
                      </a:lnTo>
                      <a:lnTo>
                        <a:pt x="36" y="175"/>
                      </a:lnTo>
                      <a:lnTo>
                        <a:pt x="40" y="173"/>
                      </a:lnTo>
                      <a:lnTo>
                        <a:pt x="41" y="173"/>
                      </a:lnTo>
                      <a:lnTo>
                        <a:pt x="42" y="174"/>
                      </a:lnTo>
                      <a:lnTo>
                        <a:pt x="42" y="174"/>
                      </a:lnTo>
                      <a:lnTo>
                        <a:pt x="43" y="174"/>
                      </a:lnTo>
                      <a:lnTo>
                        <a:pt x="44" y="174"/>
                      </a:lnTo>
                      <a:lnTo>
                        <a:pt x="44" y="174"/>
                      </a:lnTo>
                      <a:lnTo>
                        <a:pt x="44" y="174"/>
                      </a:lnTo>
                      <a:lnTo>
                        <a:pt x="44" y="173"/>
                      </a:lnTo>
                      <a:lnTo>
                        <a:pt x="45" y="172"/>
                      </a:lnTo>
                      <a:lnTo>
                        <a:pt x="46" y="172"/>
                      </a:lnTo>
                      <a:lnTo>
                        <a:pt x="46" y="172"/>
                      </a:lnTo>
                      <a:lnTo>
                        <a:pt x="46" y="172"/>
                      </a:lnTo>
                      <a:lnTo>
                        <a:pt x="47" y="172"/>
                      </a:lnTo>
                      <a:lnTo>
                        <a:pt x="48" y="172"/>
                      </a:lnTo>
                      <a:lnTo>
                        <a:pt x="48" y="171"/>
                      </a:lnTo>
                      <a:lnTo>
                        <a:pt x="48" y="171"/>
                      </a:lnTo>
                      <a:lnTo>
                        <a:pt x="49" y="171"/>
                      </a:lnTo>
                      <a:lnTo>
                        <a:pt x="50" y="171"/>
                      </a:lnTo>
                      <a:lnTo>
                        <a:pt x="50" y="171"/>
                      </a:lnTo>
                      <a:lnTo>
                        <a:pt x="52" y="170"/>
                      </a:lnTo>
                      <a:lnTo>
                        <a:pt x="52" y="170"/>
                      </a:lnTo>
                      <a:lnTo>
                        <a:pt x="53" y="170"/>
                      </a:lnTo>
                      <a:lnTo>
                        <a:pt x="54" y="170"/>
                      </a:lnTo>
                      <a:lnTo>
                        <a:pt x="55" y="170"/>
                      </a:lnTo>
                      <a:lnTo>
                        <a:pt x="55" y="170"/>
                      </a:lnTo>
                      <a:lnTo>
                        <a:pt x="57" y="170"/>
                      </a:lnTo>
                      <a:lnTo>
                        <a:pt x="57" y="170"/>
                      </a:lnTo>
                      <a:lnTo>
                        <a:pt x="58" y="170"/>
                      </a:lnTo>
                      <a:lnTo>
                        <a:pt x="59" y="170"/>
                      </a:lnTo>
                      <a:lnTo>
                        <a:pt x="59" y="169"/>
                      </a:lnTo>
                      <a:lnTo>
                        <a:pt x="59" y="168"/>
                      </a:lnTo>
                      <a:lnTo>
                        <a:pt x="60" y="168"/>
                      </a:lnTo>
                      <a:lnTo>
                        <a:pt x="61" y="168"/>
                      </a:lnTo>
                      <a:lnTo>
                        <a:pt x="61" y="168"/>
                      </a:lnTo>
                      <a:lnTo>
                        <a:pt x="61" y="167"/>
                      </a:lnTo>
                      <a:lnTo>
                        <a:pt x="62" y="167"/>
                      </a:lnTo>
                      <a:lnTo>
                        <a:pt x="63" y="167"/>
                      </a:lnTo>
                      <a:lnTo>
                        <a:pt x="63" y="166"/>
                      </a:lnTo>
                      <a:lnTo>
                        <a:pt x="63" y="166"/>
                      </a:lnTo>
                      <a:lnTo>
                        <a:pt x="63" y="166"/>
                      </a:lnTo>
                      <a:lnTo>
                        <a:pt x="63" y="165"/>
                      </a:lnTo>
                      <a:lnTo>
                        <a:pt x="64" y="165"/>
                      </a:lnTo>
                      <a:lnTo>
                        <a:pt x="64" y="164"/>
                      </a:lnTo>
                      <a:lnTo>
                        <a:pt x="63" y="164"/>
                      </a:lnTo>
                      <a:lnTo>
                        <a:pt x="63" y="164"/>
                      </a:lnTo>
                      <a:lnTo>
                        <a:pt x="63" y="163"/>
                      </a:lnTo>
                      <a:lnTo>
                        <a:pt x="64" y="163"/>
                      </a:lnTo>
                      <a:lnTo>
                        <a:pt x="64" y="162"/>
                      </a:lnTo>
                      <a:lnTo>
                        <a:pt x="65" y="162"/>
                      </a:lnTo>
                      <a:lnTo>
                        <a:pt x="65" y="162"/>
                      </a:lnTo>
                      <a:lnTo>
                        <a:pt x="65" y="162"/>
                      </a:lnTo>
                      <a:lnTo>
                        <a:pt x="66" y="161"/>
                      </a:lnTo>
                      <a:lnTo>
                        <a:pt x="67" y="161"/>
                      </a:lnTo>
                      <a:lnTo>
                        <a:pt x="67" y="160"/>
                      </a:lnTo>
                      <a:lnTo>
                        <a:pt x="67" y="160"/>
                      </a:lnTo>
                      <a:lnTo>
                        <a:pt x="68" y="160"/>
                      </a:lnTo>
                      <a:lnTo>
                        <a:pt x="68" y="159"/>
                      </a:lnTo>
                      <a:lnTo>
                        <a:pt x="69" y="158"/>
                      </a:lnTo>
                      <a:lnTo>
                        <a:pt x="70" y="158"/>
                      </a:lnTo>
                      <a:lnTo>
                        <a:pt x="71" y="158"/>
                      </a:lnTo>
                      <a:lnTo>
                        <a:pt x="71" y="158"/>
                      </a:lnTo>
                      <a:lnTo>
                        <a:pt x="71" y="159"/>
                      </a:lnTo>
                      <a:lnTo>
                        <a:pt x="72" y="159"/>
                      </a:lnTo>
                      <a:lnTo>
                        <a:pt x="73" y="160"/>
                      </a:lnTo>
                      <a:lnTo>
                        <a:pt x="74" y="160"/>
                      </a:lnTo>
                      <a:lnTo>
                        <a:pt x="74" y="159"/>
                      </a:lnTo>
                      <a:lnTo>
                        <a:pt x="74" y="159"/>
                      </a:lnTo>
                      <a:lnTo>
                        <a:pt x="75" y="159"/>
                      </a:lnTo>
                      <a:lnTo>
                        <a:pt x="76" y="159"/>
                      </a:lnTo>
                      <a:lnTo>
                        <a:pt x="76" y="159"/>
                      </a:lnTo>
                      <a:lnTo>
                        <a:pt x="77" y="159"/>
                      </a:lnTo>
                      <a:lnTo>
                        <a:pt x="78" y="159"/>
                      </a:lnTo>
                      <a:lnTo>
                        <a:pt x="78" y="159"/>
                      </a:lnTo>
                      <a:lnTo>
                        <a:pt x="79" y="159"/>
                      </a:lnTo>
                      <a:lnTo>
                        <a:pt x="80" y="159"/>
                      </a:lnTo>
                      <a:lnTo>
                        <a:pt x="80" y="158"/>
                      </a:lnTo>
                      <a:lnTo>
                        <a:pt x="80" y="158"/>
                      </a:lnTo>
                      <a:lnTo>
                        <a:pt x="80" y="158"/>
                      </a:lnTo>
                      <a:lnTo>
                        <a:pt x="80" y="157"/>
                      </a:lnTo>
                      <a:lnTo>
                        <a:pt x="81" y="156"/>
                      </a:lnTo>
                      <a:lnTo>
                        <a:pt x="82" y="156"/>
                      </a:lnTo>
                      <a:lnTo>
                        <a:pt x="82" y="156"/>
                      </a:lnTo>
                      <a:lnTo>
                        <a:pt x="83" y="156"/>
                      </a:lnTo>
                      <a:lnTo>
                        <a:pt x="84" y="156"/>
                      </a:lnTo>
                      <a:lnTo>
                        <a:pt x="84" y="156"/>
                      </a:lnTo>
                      <a:lnTo>
                        <a:pt x="85" y="156"/>
                      </a:lnTo>
                      <a:lnTo>
                        <a:pt x="86" y="156"/>
                      </a:lnTo>
                      <a:lnTo>
                        <a:pt x="86" y="156"/>
                      </a:lnTo>
                      <a:lnTo>
                        <a:pt x="86" y="155"/>
                      </a:lnTo>
                      <a:lnTo>
                        <a:pt x="87" y="155"/>
                      </a:lnTo>
                      <a:lnTo>
                        <a:pt x="87" y="155"/>
                      </a:lnTo>
                      <a:lnTo>
                        <a:pt x="88" y="154"/>
                      </a:lnTo>
                      <a:lnTo>
                        <a:pt x="88" y="153"/>
                      </a:lnTo>
                      <a:lnTo>
                        <a:pt x="88" y="153"/>
                      </a:lnTo>
                      <a:lnTo>
                        <a:pt x="89" y="153"/>
                      </a:lnTo>
                      <a:lnTo>
                        <a:pt x="90" y="153"/>
                      </a:lnTo>
                      <a:lnTo>
                        <a:pt x="90" y="153"/>
                      </a:lnTo>
                      <a:lnTo>
                        <a:pt x="91" y="153"/>
                      </a:lnTo>
                      <a:lnTo>
                        <a:pt x="92" y="153"/>
                      </a:lnTo>
                      <a:lnTo>
                        <a:pt x="92" y="152"/>
                      </a:lnTo>
                      <a:lnTo>
                        <a:pt x="93" y="152"/>
                      </a:lnTo>
                      <a:lnTo>
                        <a:pt x="93" y="151"/>
                      </a:lnTo>
                      <a:lnTo>
                        <a:pt x="93" y="152"/>
                      </a:lnTo>
                      <a:lnTo>
                        <a:pt x="93" y="151"/>
                      </a:lnTo>
                      <a:lnTo>
                        <a:pt x="94" y="151"/>
                      </a:lnTo>
                      <a:lnTo>
                        <a:pt x="94" y="151"/>
                      </a:lnTo>
                      <a:lnTo>
                        <a:pt x="95" y="150"/>
                      </a:lnTo>
                      <a:lnTo>
                        <a:pt x="95" y="149"/>
                      </a:lnTo>
                      <a:lnTo>
                        <a:pt x="95" y="149"/>
                      </a:lnTo>
                      <a:lnTo>
                        <a:pt x="97" y="148"/>
                      </a:lnTo>
                      <a:lnTo>
                        <a:pt x="97" y="148"/>
                      </a:lnTo>
                      <a:lnTo>
                        <a:pt x="98" y="148"/>
                      </a:lnTo>
                      <a:lnTo>
                        <a:pt x="98" y="147"/>
                      </a:lnTo>
                      <a:lnTo>
                        <a:pt x="98" y="147"/>
                      </a:lnTo>
                      <a:lnTo>
                        <a:pt x="98" y="146"/>
                      </a:lnTo>
                      <a:lnTo>
                        <a:pt x="99" y="146"/>
                      </a:lnTo>
                      <a:lnTo>
                        <a:pt x="99" y="145"/>
                      </a:lnTo>
                      <a:lnTo>
                        <a:pt x="99" y="145"/>
                      </a:lnTo>
                      <a:lnTo>
                        <a:pt x="99" y="145"/>
                      </a:lnTo>
                      <a:lnTo>
                        <a:pt x="100" y="145"/>
                      </a:lnTo>
                      <a:lnTo>
                        <a:pt x="100" y="144"/>
                      </a:lnTo>
                      <a:lnTo>
                        <a:pt x="101" y="144"/>
                      </a:lnTo>
                      <a:lnTo>
                        <a:pt x="101" y="145"/>
                      </a:lnTo>
                      <a:lnTo>
                        <a:pt x="101" y="145"/>
                      </a:lnTo>
                      <a:lnTo>
                        <a:pt x="101" y="144"/>
                      </a:lnTo>
                      <a:lnTo>
                        <a:pt x="102" y="144"/>
                      </a:lnTo>
                      <a:lnTo>
                        <a:pt x="102" y="143"/>
                      </a:lnTo>
                      <a:lnTo>
                        <a:pt x="103" y="143"/>
                      </a:lnTo>
                      <a:lnTo>
                        <a:pt x="103" y="143"/>
                      </a:lnTo>
                      <a:lnTo>
                        <a:pt x="104" y="142"/>
                      </a:lnTo>
                      <a:lnTo>
                        <a:pt x="105" y="142"/>
                      </a:lnTo>
                      <a:lnTo>
                        <a:pt x="105" y="141"/>
                      </a:lnTo>
                      <a:lnTo>
                        <a:pt x="105" y="141"/>
                      </a:lnTo>
                      <a:lnTo>
                        <a:pt x="106" y="141"/>
                      </a:lnTo>
                      <a:lnTo>
                        <a:pt x="106" y="140"/>
                      </a:lnTo>
                      <a:lnTo>
                        <a:pt x="107" y="140"/>
                      </a:lnTo>
                      <a:lnTo>
                        <a:pt x="107" y="140"/>
                      </a:lnTo>
                      <a:lnTo>
                        <a:pt x="107" y="139"/>
                      </a:lnTo>
                      <a:lnTo>
                        <a:pt x="108" y="139"/>
                      </a:lnTo>
                      <a:lnTo>
                        <a:pt x="109" y="139"/>
                      </a:lnTo>
                      <a:lnTo>
                        <a:pt x="109" y="139"/>
                      </a:lnTo>
                      <a:lnTo>
                        <a:pt x="110" y="139"/>
                      </a:lnTo>
                      <a:lnTo>
                        <a:pt x="111" y="139"/>
                      </a:lnTo>
                      <a:lnTo>
                        <a:pt x="112" y="139"/>
                      </a:lnTo>
                      <a:lnTo>
                        <a:pt x="112" y="139"/>
                      </a:lnTo>
                      <a:lnTo>
                        <a:pt x="112" y="139"/>
                      </a:lnTo>
                      <a:lnTo>
                        <a:pt x="113" y="139"/>
                      </a:lnTo>
                      <a:lnTo>
                        <a:pt x="114" y="139"/>
                      </a:lnTo>
                      <a:lnTo>
                        <a:pt x="114" y="139"/>
                      </a:lnTo>
                      <a:lnTo>
                        <a:pt x="115" y="139"/>
                      </a:lnTo>
                      <a:lnTo>
                        <a:pt x="115" y="139"/>
                      </a:lnTo>
                      <a:lnTo>
                        <a:pt x="116" y="139"/>
                      </a:lnTo>
                      <a:lnTo>
                        <a:pt x="116" y="138"/>
                      </a:lnTo>
                      <a:lnTo>
                        <a:pt x="117" y="138"/>
                      </a:lnTo>
                      <a:lnTo>
                        <a:pt x="118" y="137"/>
                      </a:lnTo>
                      <a:lnTo>
                        <a:pt x="118" y="137"/>
                      </a:lnTo>
                      <a:lnTo>
                        <a:pt x="119" y="137"/>
                      </a:lnTo>
                      <a:lnTo>
                        <a:pt x="120" y="136"/>
                      </a:lnTo>
                      <a:lnTo>
                        <a:pt x="120" y="136"/>
                      </a:lnTo>
                      <a:lnTo>
                        <a:pt x="119" y="134"/>
                      </a:lnTo>
                      <a:lnTo>
                        <a:pt x="118" y="134"/>
                      </a:lnTo>
                      <a:lnTo>
                        <a:pt x="118" y="133"/>
                      </a:lnTo>
                      <a:lnTo>
                        <a:pt x="117" y="133"/>
                      </a:lnTo>
                      <a:lnTo>
                        <a:pt x="117" y="132"/>
                      </a:lnTo>
                      <a:lnTo>
                        <a:pt x="118" y="131"/>
                      </a:lnTo>
                      <a:lnTo>
                        <a:pt x="118" y="130"/>
                      </a:lnTo>
                      <a:lnTo>
                        <a:pt x="118" y="128"/>
                      </a:lnTo>
                      <a:lnTo>
                        <a:pt x="117" y="126"/>
                      </a:lnTo>
                      <a:lnTo>
                        <a:pt x="117" y="124"/>
                      </a:lnTo>
                      <a:lnTo>
                        <a:pt x="118" y="118"/>
                      </a:lnTo>
                      <a:lnTo>
                        <a:pt x="118" y="116"/>
                      </a:lnTo>
                      <a:lnTo>
                        <a:pt x="118" y="114"/>
                      </a:lnTo>
                      <a:lnTo>
                        <a:pt x="118" y="113"/>
                      </a:lnTo>
                      <a:lnTo>
                        <a:pt x="118" y="112"/>
                      </a:lnTo>
                      <a:lnTo>
                        <a:pt x="118" y="111"/>
                      </a:lnTo>
                      <a:lnTo>
                        <a:pt x="118" y="111"/>
                      </a:lnTo>
                      <a:lnTo>
                        <a:pt x="119" y="110"/>
                      </a:lnTo>
                      <a:lnTo>
                        <a:pt x="119" y="109"/>
                      </a:lnTo>
                      <a:lnTo>
                        <a:pt x="120" y="108"/>
                      </a:lnTo>
                      <a:lnTo>
                        <a:pt x="120" y="108"/>
                      </a:lnTo>
                      <a:lnTo>
                        <a:pt x="121" y="108"/>
                      </a:lnTo>
                      <a:lnTo>
                        <a:pt x="122" y="108"/>
                      </a:lnTo>
                      <a:lnTo>
                        <a:pt x="122" y="108"/>
                      </a:lnTo>
                      <a:lnTo>
                        <a:pt x="123" y="108"/>
                      </a:lnTo>
                      <a:lnTo>
                        <a:pt x="124" y="109"/>
                      </a:lnTo>
                      <a:lnTo>
                        <a:pt x="124" y="109"/>
                      </a:lnTo>
                      <a:lnTo>
                        <a:pt x="125" y="109"/>
                      </a:lnTo>
                      <a:lnTo>
                        <a:pt x="126" y="109"/>
                      </a:lnTo>
                      <a:lnTo>
                        <a:pt x="126" y="109"/>
                      </a:lnTo>
                      <a:lnTo>
                        <a:pt x="126" y="109"/>
                      </a:lnTo>
                      <a:lnTo>
                        <a:pt x="127" y="109"/>
                      </a:lnTo>
                      <a:lnTo>
                        <a:pt x="127" y="108"/>
                      </a:lnTo>
                      <a:lnTo>
                        <a:pt x="128" y="107"/>
                      </a:lnTo>
                      <a:lnTo>
                        <a:pt x="128" y="107"/>
                      </a:lnTo>
                      <a:lnTo>
                        <a:pt x="128" y="107"/>
                      </a:lnTo>
                      <a:lnTo>
                        <a:pt x="128" y="106"/>
                      </a:lnTo>
                      <a:lnTo>
                        <a:pt x="128" y="105"/>
                      </a:lnTo>
                      <a:lnTo>
                        <a:pt x="128" y="105"/>
                      </a:lnTo>
                      <a:lnTo>
                        <a:pt x="129" y="105"/>
                      </a:lnTo>
                      <a:lnTo>
                        <a:pt x="130" y="104"/>
                      </a:lnTo>
                      <a:lnTo>
                        <a:pt x="131" y="104"/>
                      </a:lnTo>
                      <a:lnTo>
                        <a:pt x="133" y="103"/>
                      </a:lnTo>
                      <a:lnTo>
                        <a:pt x="133" y="103"/>
                      </a:lnTo>
                      <a:lnTo>
                        <a:pt x="133" y="103"/>
                      </a:lnTo>
                      <a:lnTo>
                        <a:pt x="134" y="104"/>
                      </a:lnTo>
                      <a:lnTo>
                        <a:pt x="135" y="104"/>
                      </a:lnTo>
                      <a:lnTo>
                        <a:pt x="135" y="103"/>
                      </a:lnTo>
                      <a:lnTo>
                        <a:pt x="136" y="102"/>
                      </a:lnTo>
                      <a:lnTo>
                        <a:pt x="137" y="101"/>
                      </a:lnTo>
                      <a:lnTo>
                        <a:pt x="137" y="100"/>
                      </a:lnTo>
                      <a:lnTo>
                        <a:pt x="137" y="99"/>
                      </a:lnTo>
                      <a:lnTo>
                        <a:pt x="137" y="99"/>
                      </a:lnTo>
                      <a:lnTo>
                        <a:pt x="137" y="99"/>
                      </a:lnTo>
                      <a:lnTo>
                        <a:pt x="138" y="99"/>
                      </a:lnTo>
                      <a:lnTo>
                        <a:pt x="139" y="99"/>
                      </a:lnTo>
                      <a:lnTo>
                        <a:pt x="139" y="98"/>
                      </a:lnTo>
                      <a:lnTo>
                        <a:pt x="139" y="97"/>
                      </a:lnTo>
                      <a:lnTo>
                        <a:pt x="140" y="97"/>
                      </a:lnTo>
                      <a:lnTo>
                        <a:pt x="141" y="97"/>
                      </a:lnTo>
                      <a:lnTo>
                        <a:pt x="141" y="98"/>
                      </a:lnTo>
                      <a:lnTo>
                        <a:pt x="142" y="98"/>
                      </a:lnTo>
                      <a:lnTo>
                        <a:pt x="143" y="99"/>
                      </a:lnTo>
                      <a:lnTo>
                        <a:pt x="143" y="99"/>
                      </a:lnTo>
                      <a:lnTo>
                        <a:pt x="144" y="99"/>
                      </a:lnTo>
                      <a:lnTo>
                        <a:pt x="144" y="98"/>
                      </a:lnTo>
                      <a:lnTo>
                        <a:pt x="144" y="97"/>
                      </a:lnTo>
                      <a:lnTo>
                        <a:pt x="144" y="96"/>
                      </a:lnTo>
                      <a:lnTo>
                        <a:pt x="146" y="93"/>
                      </a:lnTo>
                      <a:lnTo>
                        <a:pt x="147" y="92"/>
                      </a:lnTo>
                      <a:lnTo>
                        <a:pt x="147" y="92"/>
                      </a:lnTo>
                      <a:lnTo>
                        <a:pt x="147" y="91"/>
                      </a:lnTo>
                      <a:lnTo>
                        <a:pt x="148" y="91"/>
                      </a:lnTo>
                      <a:lnTo>
                        <a:pt x="148" y="90"/>
                      </a:lnTo>
                      <a:lnTo>
                        <a:pt x="148" y="90"/>
                      </a:lnTo>
                      <a:lnTo>
                        <a:pt x="149" y="90"/>
                      </a:lnTo>
                      <a:lnTo>
                        <a:pt x="149" y="89"/>
                      </a:lnTo>
                      <a:lnTo>
                        <a:pt x="149" y="88"/>
                      </a:lnTo>
                      <a:lnTo>
                        <a:pt x="149" y="88"/>
                      </a:lnTo>
                      <a:lnTo>
                        <a:pt x="149" y="87"/>
                      </a:lnTo>
                      <a:lnTo>
                        <a:pt x="150" y="87"/>
                      </a:lnTo>
                      <a:lnTo>
                        <a:pt x="150" y="86"/>
                      </a:lnTo>
                      <a:lnTo>
                        <a:pt x="150" y="86"/>
                      </a:lnTo>
                      <a:lnTo>
                        <a:pt x="151" y="86"/>
                      </a:lnTo>
                      <a:lnTo>
                        <a:pt x="152" y="86"/>
                      </a:lnTo>
                      <a:lnTo>
                        <a:pt x="152" y="86"/>
                      </a:lnTo>
                      <a:lnTo>
                        <a:pt x="152" y="86"/>
                      </a:lnTo>
                      <a:lnTo>
                        <a:pt x="153" y="85"/>
                      </a:lnTo>
                      <a:lnTo>
                        <a:pt x="154" y="85"/>
                      </a:lnTo>
                      <a:lnTo>
                        <a:pt x="154" y="85"/>
                      </a:lnTo>
                      <a:lnTo>
                        <a:pt x="155" y="85"/>
                      </a:lnTo>
                      <a:lnTo>
                        <a:pt x="156" y="85"/>
                      </a:lnTo>
                      <a:lnTo>
                        <a:pt x="156" y="84"/>
                      </a:lnTo>
                      <a:lnTo>
                        <a:pt x="156" y="84"/>
                      </a:lnTo>
                      <a:lnTo>
                        <a:pt x="156" y="83"/>
                      </a:lnTo>
                      <a:lnTo>
                        <a:pt x="156" y="82"/>
                      </a:lnTo>
                      <a:lnTo>
                        <a:pt x="156" y="82"/>
                      </a:lnTo>
                      <a:lnTo>
                        <a:pt x="156" y="81"/>
                      </a:lnTo>
                      <a:lnTo>
                        <a:pt x="156" y="80"/>
                      </a:lnTo>
                      <a:lnTo>
                        <a:pt x="156" y="80"/>
                      </a:lnTo>
                      <a:lnTo>
                        <a:pt x="157" y="80"/>
                      </a:lnTo>
                      <a:lnTo>
                        <a:pt x="158" y="79"/>
                      </a:lnTo>
                      <a:lnTo>
                        <a:pt x="158" y="78"/>
                      </a:lnTo>
                      <a:lnTo>
                        <a:pt x="159" y="78"/>
                      </a:lnTo>
                      <a:lnTo>
                        <a:pt x="160" y="78"/>
                      </a:lnTo>
                      <a:lnTo>
                        <a:pt x="162" y="78"/>
                      </a:lnTo>
                      <a:lnTo>
                        <a:pt x="163" y="78"/>
                      </a:lnTo>
                      <a:lnTo>
                        <a:pt x="164" y="78"/>
                      </a:lnTo>
                      <a:lnTo>
                        <a:pt x="166" y="78"/>
                      </a:lnTo>
                      <a:lnTo>
                        <a:pt x="166" y="79"/>
                      </a:lnTo>
                      <a:lnTo>
                        <a:pt x="170" y="82"/>
                      </a:lnTo>
                      <a:lnTo>
                        <a:pt x="170" y="81"/>
                      </a:lnTo>
                      <a:lnTo>
                        <a:pt x="171" y="81"/>
                      </a:lnTo>
                      <a:lnTo>
                        <a:pt x="171" y="80"/>
                      </a:lnTo>
                      <a:lnTo>
                        <a:pt x="171" y="80"/>
                      </a:lnTo>
                      <a:lnTo>
                        <a:pt x="171" y="80"/>
                      </a:lnTo>
                      <a:lnTo>
                        <a:pt x="172" y="80"/>
                      </a:lnTo>
                      <a:lnTo>
                        <a:pt x="172" y="79"/>
                      </a:lnTo>
                      <a:lnTo>
                        <a:pt x="173" y="79"/>
                      </a:lnTo>
                      <a:lnTo>
                        <a:pt x="173" y="79"/>
                      </a:lnTo>
                      <a:lnTo>
                        <a:pt x="174" y="79"/>
                      </a:lnTo>
                      <a:lnTo>
                        <a:pt x="175" y="79"/>
                      </a:lnTo>
                      <a:lnTo>
                        <a:pt x="175" y="78"/>
                      </a:lnTo>
                      <a:lnTo>
                        <a:pt x="175" y="78"/>
                      </a:lnTo>
                      <a:lnTo>
                        <a:pt x="175" y="78"/>
                      </a:lnTo>
                      <a:lnTo>
                        <a:pt x="175" y="78"/>
                      </a:lnTo>
                      <a:lnTo>
                        <a:pt x="176" y="78"/>
                      </a:lnTo>
                      <a:lnTo>
                        <a:pt x="176" y="79"/>
                      </a:lnTo>
                      <a:lnTo>
                        <a:pt x="177" y="80"/>
                      </a:lnTo>
                      <a:lnTo>
                        <a:pt x="177" y="80"/>
                      </a:lnTo>
                      <a:lnTo>
                        <a:pt x="178" y="80"/>
                      </a:lnTo>
                      <a:lnTo>
                        <a:pt x="178" y="80"/>
                      </a:lnTo>
                      <a:lnTo>
                        <a:pt x="179" y="80"/>
                      </a:lnTo>
                      <a:lnTo>
                        <a:pt x="179" y="81"/>
                      </a:lnTo>
                      <a:lnTo>
                        <a:pt x="179" y="82"/>
                      </a:lnTo>
                      <a:lnTo>
                        <a:pt x="180" y="83"/>
                      </a:lnTo>
                      <a:lnTo>
                        <a:pt x="181" y="83"/>
                      </a:lnTo>
                      <a:lnTo>
                        <a:pt x="181" y="84"/>
                      </a:lnTo>
                      <a:lnTo>
                        <a:pt x="181" y="84"/>
                      </a:lnTo>
                      <a:lnTo>
                        <a:pt x="181" y="84"/>
                      </a:lnTo>
                      <a:lnTo>
                        <a:pt x="182" y="85"/>
                      </a:lnTo>
                      <a:lnTo>
                        <a:pt x="183" y="86"/>
                      </a:lnTo>
                      <a:lnTo>
                        <a:pt x="184" y="87"/>
                      </a:lnTo>
                      <a:lnTo>
                        <a:pt x="185" y="88"/>
                      </a:lnTo>
                      <a:lnTo>
                        <a:pt x="185" y="89"/>
                      </a:lnTo>
                      <a:lnTo>
                        <a:pt x="185" y="90"/>
                      </a:lnTo>
                      <a:lnTo>
                        <a:pt x="185" y="90"/>
                      </a:lnTo>
                      <a:lnTo>
                        <a:pt x="186" y="90"/>
                      </a:lnTo>
                      <a:lnTo>
                        <a:pt x="187" y="90"/>
                      </a:lnTo>
                      <a:lnTo>
                        <a:pt x="188" y="90"/>
                      </a:lnTo>
                      <a:lnTo>
                        <a:pt x="188" y="90"/>
                      </a:lnTo>
                      <a:lnTo>
                        <a:pt x="189" y="89"/>
                      </a:lnTo>
                      <a:lnTo>
                        <a:pt x="190" y="89"/>
                      </a:lnTo>
                      <a:lnTo>
                        <a:pt x="190" y="89"/>
                      </a:lnTo>
                      <a:lnTo>
                        <a:pt x="191" y="89"/>
                      </a:lnTo>
                      <a:lnTo>
                        <a:pt x="192" y="90"/>
                      </a:lnTo>
                      <a:lnTo>
                        <a:pt x="192" y="90"/>
                      </a:lnTo>
                      <a:lnTo>
                        <a:pt x="193" y="91"/>
                      </a:lnTo>
                      <a:lnTo>
                        <a:pt x="194" y="92"/>
                      </a:lnTo>
                      <a:lnTo>
                        <a:pt x="195" y="92"/>
                      </a:lnTo>
                      <a:lnTo>
                        <a:pt x="196" y="92"/>
                      </a:lnTo>
                      <a:lnTo>
                        <a:pt x="197" y="92"/>
                      </a:lnTo>
                      <a:lnTo>
                        <a:pt x="198" y="92"/>
                      </a:lnTo>
                      <a:lnTo>
                        <a:pt x="198" y="92"/>
                      </a:lnTo>
                      <a:lnTo>
                        <a:pt x="199" y="94"/>
                      </a:lnTo>
                      <a:lnTo>
                        <a:pt x="200" y="96"/>
                      </a:lnTo>
                      <a:lnTo>
                        <a:pt x="201" y="96"/>
                      </a:lnTo>
                      <a:lnTo>
                        <a:pt x="202" y="97"/>
                      </a:lnTo>
                      <a:lnTo>
                        <a:pt x="202" y="97"/>
                      </a:lnTo>
                      <a:lnTo>
                        <a:pt x="203" y="98"/>
                      </a:lnTo>
                      <a:lnTo>
                        <a:pt x="204" y="98"/>
                      </a:lnTo>
                      <a:lnTo>
                        <a:pt x="204" y="97"/>
                      </a:lnTo>
                      <a:lnTo>
                        <a:pt x="204" y="96"/>
                      </a:lnTo>
                      <a:lnTo>
                        <a:pt x="204" y="96"/>
                      </a:lnTo>
                      <a:lnTo>
                        <a:pt x="204" y="96"/>
                      </a:lnTo>
                      <a:lnTo>
                        <a:pt x="205" y="96"/>
                      </a:lnTo>
                      <a:lnTo>
                        <a:pt x="205" y="95"/>
                      </a:lnTo>
                      <a:lnTo>
                        <a:pt x="206" y="95"/>
                      </a:lnTo>
                      <a:lnTo>
                        <a:pt x="206" y="96"/>
                      </a:lnTo>
                      <a:lnTo>
                        <a:pt x="206" y="95"/>
                      </a:lnTo>
                      <a:lnTo>
                        <a:pt x="207" y="95"/>
                      </a:lnTo>
                      <a:lnTo>
                        <a:pt x="207" y="94"/>
                      </a:lnTo>
                      <a:lnTo>
                        <a:pt x="207" y="94"/>
                      </a:lnTo>
                      <a:lnTo>
                        <a:pt x="207" y="93"/>
                      </a:lnTo>
                      <a:lnTo>
                        <a:pt x="208" y="94"/>
                      </a:lnTo>
                      <a:lnTo>
                        <a:pt x="210" y="94"/>
                      </a:lnTo>
                      <a:lnTo>
                        <a:pt x="213" y="95"/>
                      </a:lnTo>
                      <a:lnTo>
                        <a:pt x="218" y="96"/>
                      </a:lnTo>
                      <a:lnTo>
                        <a:pt x="220" y="99"/>
                      </a:lnTo>
                      <a:lnTo>
                        <a:pt x="223" y="100"/>
                      </a:lnTo>
                      <a:lnTo>
                        <a:pt x="224" y="101"/>
                      </a:lnTo>
                      <a:lnTo>
                        <a:pt x="228" y="103"/>
                      </a:lnTo>
                      <a:lnTo>
                        <a:pt x="230" y="104"/>
                      </a:lnTo>
                      <a:lnTo>
                        <a:pt x="231" y="105"/>
                      </a:lnTo>
                      <a:lnTo>
                        <a:pt x="234" y="108"/>
                      </a:lnTo>
                      <a:lnTo>
                        <a:pt x="236" y="109"/>
                      </a:lnTo>
                      <a:lnTo>
                        <a:pt x="241" y="109"/>
                      </a:lnTo>
                      <a:lnTo>
                        <a:pt x="251" y="113"/>
                      </a:lnTo>
                      <a:lnTo>
                        <a:pt x="251" y="113"/>
                      </a:lnTo>
                      <a:lnTo>
                        <a:pt x="255" y="114"/>
                      </a:lnTo>
                      <a:lnTo>
                        <a:pt x="255" y="115"/>
                      </a:lnTo>
                      <a:lnTo>
                        <a:pt x="255" y="114"/>
                      </a:lnTo>
                      <a:lnTo>
                        <a:pt x="256" y="114"/>
                      </a:lnTo>
                      <a:lnTo>
                        <a:pt x="257" y="114"/>
                      </a:lnTo>
                      <a:lnTo>
                        <a:pt x="257" y="114"/>
                      </a:lnTo>
                      <a:lnTo>
                        <a:pt x="258" y="114"/>
                      </a:lnTo>
                      <a:lnTo>
                        <a:pt x="258" y="115"/>
                      </a:lnTo>
                      <a:lnTo>
                        <a:pt x="259" y="115"/>
                      </a:lnTo>
                      <a:lnTo>
                        <a:pt x="259" y="115"/>
                      </a:lnTo>
                      <a:lnTo>
                        <a:pt x="260" y="115"/>
                      </a:lnTo>
                      <a:lnTo>
                        <a:pt x="260" y="114"/>
                      </a:lnTo>
                      <a:lnTo>
                        <a:pt x="261" y="114"/>
                      </a:lnTo>
                      <a:lnTo>
                        <a:pt x="262" y="113"/>
                      </a:lnTo>
                      <a:lnTo>
                        <a:pt x="262" y="113"/>
                      </a:lnTo>
                      <a:lnTo>
                        <a:pt x="263" y="113"/>
                      </a:lnTo>
                      <a:lnTo>
                        <a:pt x="263" y="112"/>
                      </a:lnTo>
                      <a:lnTo>
                        <a:pt x="264" y="112"/>
                      </a:lnTo>
                      <a:lnTo>
                        <a:pt x="264" y="113"/>
                      </a:lnTo>
                      <a:lnTo>
                        <a:pt x="264" y="113"/>
                      </a:lnTo>
                      <a:lnTo>
                        <a:pt x="264" y="114"/>
                      </a:lnTo>
                      <a:lnTo>
                        <a:pt x="264" y="115"/>
                      </a:lnTo>
                      <a:lnTo>
                        <a:pt x="264" y="115"/>
                      </a:lnTo>
                      <a:lnTo>
                        <a:pt x="264" y="116"/>
                      </a:lnTo>
                      <a:lnTo>
                        <a:pt x="265" y="118"/>
                      </a:lnTo>
                      <a:lnTo>
                        <a:pt x="266" y="120"/>
                      </a:lnTo>
                      <a:lnTo>
                        <a:pt x="271" y="123"/>
                      </a:lnTo>
                      <a:lnTo>
                        <a:pt x="274" y="125"/>
                      </a:lnTo>
                      <a:lnTo>
                        <a:pt x="281" y="127"/>
                      </a:lnTo>
                      <a:lnTo>
                        <a:pt x="285" y="131"/>
                      </a:lnTo>
                      <a:lnTo>
                        <a:pt x="286" y="131"/>
                      </a:lnTo>
                      <a:lnTo>
                        <a:pt x="287" y="131"/>
                      </a:lnTo>
                      <a:lnTo>
                        <a:pt x="287" y="132"/>
                      </a:lnTo>
                      <a:lnTo>
                        <a:pt x="287" y="132"/>
                      </a:lnTo>
                      <a:lnTo>
                        <a:pt x="288" y="132"/>
                      </a:lnTo>
                      <a:lnTo>
                        <a:pt x="289" y="132"/>
                      </a:lnTo>
                      <a:lnTo>
                        <a:pt x="289" y="132"/>
                      </a:lnTo>
                      <a:lnTo>
                        <a:pt x="290" y="132"/>
                      </a:lnTo>
                      <a:lnTo>
                        <a:pt x="290" y="133"/>
                      </a:lnTo>
                      <a:lnTo>
                        <a:pt x="291" y="133"/>
                      </a:lnTo>
                      <a:lnTo>
                        <a:pt x="291" y="133"/>
                      </a:lnTo>
                      <a:lnTo>
                        <a:pt x="291" y="134"/>
                      </a:lnTo>
                      <a:lnTo>
                        <a:pt x="291" y="134"/>
                      </a:lnTo>
                      <a:lnTo>
                        <a:pt x="291" y="135"/>
                      </a:lnTo>
                      <a:lnTo>
                        <a:pt x="292" y="135"/>
                      </a:lnTo>
                      <a:lnTo>
                        <a:pt x="293" y="135"/>
                      </a:lnTo>
                      <a:lnTo>
                        <a:pt x="293" y="136"/>
                      </a:lnTo>
                      <a:lnTo>
                        <a:pt x="293" y="136"/>
                      </a:lnTo>
                      <a:lnTo>
                        <a:pt x="293" y="136"/>
                      </a:lnTo>
                      <a:lnTo>
                        <a:pt x="293" y="137"/>
                      </a:lnTo>
                      <a:lnTo>
                        <a:pt x="294" y="137"/>
                      </a:lnTo>
                      <a:lnTo>
                        <a:pt x="295" y="137"/>
                      </a:lnTo>
                      <a:lnTo>
                        <a:pt x="295" y="138"/>
                      </a:lnTo>
                      <a:lnTo>
                        <a:pt x="295" y="139"/>
                      </a:lnTo>
                      <a:lnTo>
                        <a:pt x="296" y="139"/>
                      </a:lnTo>
                      <a:lnTo>
                        <a:pt x="296" y="139"/>
                      </a:lnTo>
                      <a:lnTo>
                        <a:pt x="297" y="140"/>
                      </a:lnTo>
                      <a:lnTo>
                        <a:pt x="298" y="142"/>
                      </a:lnTo>
                      <a:lnTo>
                        <a:pt x="299" y="142"/>
                      </a:lnTo>
                      <a:lnTo>
                        <a:pt x="300" y="142"/>
                      </a:lnTo>
                      <a:lnTo>
                        <a:pt x="300" y="143"/>
                      </a:lnTo>
                      <a:lnTo>
                        <a:pt x="300" y="143"/>
                      </a:lnTo>
                      <a:lnTo>
                        <a:pt x="300" y="143"/>
                      </a:lnTo>
                      <a:lnTo>
                        <a:pt x="300" y="144"/>
                      </a:lnTo>
                      <a:lnTo>
                        <a:pt x="301" y="144"/>
                      </a:lnTo>
                      <a:lnTo>
                        <a:pt x="301" y="145"/>
                      </a:lnTo>
                      <a:lnTo>
                        <a:pt x="302" y="145"/>
                      </a:lnTo>
                      <a:lnTo>
                        <a:pt x="302" y="145"/>
                      </a:lnTo>
                      <a:lnTo>
                        <a:pt x="301" y="145"/>
                      </a:lnTo>
                      <a:lnTo>
                        <a:pt x="302" y="145"/>
                      </a:lnTo>
                      <a:lnTo>
                        <a:pt x="302" y="145"/>
                      </a:lnTo>
                      <a:lnTo>
                        <a:pt x="302" y="146"/>
                      </a:lnTo>
                      <a:lnTo>
                        <a:pt x="303" y="146"/>
                      </a:lnTo>
                      <a:lnTo>
                        <a:pt x="303" y="147"/>
                      </a:lnTo>
                      <a:lnTo>
                        <a:pt x="304" y="147"/>
                      </a:lnTo>
                      <a:lnTo>
                        <a:pt x="304" y="147"/>
                      </a:lnTo>
                      <a:lnTo>
                        <a:pt x="304" y="147"/>
                      </a:lnTo>
                      <a:lnTo>
                        <a:pt x="305" y="147"/>
                      </a:lnTo>
                      <a:lnTo>
                        <a:pt x="305" y="148"/>
                      </a:lnTo>
                      <a:lnTo>
                        <a:pt x="305" y="149"/>
                      </a:lnTo>
                      <a:lnTo>
                        <a:pt x="306" y="148"/>
                      </a:lnTo>
                      <a:lnTo>
                        <a:pt x="306" y="149"/>
                      </a:lnTo>
                      <a:lnTo>
                        <a:pt x="306" y="149"/>
                      </a:lnTo>
                      <a:lnTo>
                        <a:pt x="307" y="149"/>
                      </a:lnTo>
                      <a:lnTo>
                        <a:pt x="308" y="149"/>
                      </a:lnTo>
                      <a:lnTo>
                        <a:pt x="308" y="149"/>
                      </a:lnTo>
                      <a:lnTo>
                        <a:pt x="310" y="150"/>
                      </a:lnTo>
                      <a:lnTo>
                        <a:pt x="310" y="150"/>
                      </a:lnTo>
                      <a:lnTo>
                        <a:pt x="311" y="150"/>
                      </a:lnTo>
                      <a:lnTo>
                        <a:pt x="312" y="150"/>
                      </a:lnTo>
                      <a:lnTo>
                        <a:pt x="313" y="149"/>
                      </a:lnTo>
                      <a:lnTo>
                        <a:pt x="314" y="149"/>
                      </a:lnTo>
                      <a:lnTo>
                        <a:pt x="316" y="149"/>
                      </a:lnTo>
                      <a:lnTo>
                        <a:pt x="317" y="149"/>
                      </a:lnTo>
                      <a:lnTo>
                        <a:pt x="318" y="148"/>
                      </a:lnTo>
                      <a:lnTo>
                        <a:pt x="319" y="148"/>
                      </a:lnTo>
                      <a:lnTo>
                        <a:pt x="319" y="148"/>
                      </a:lnTo>
                      <a:lnTo>
                        <a:pt x="319" y="147"/>
                      </a:lnTo>
                      <a:lnTo>
                        <a:pt x="320" y="147"/>
                      </a:lnTo>
                      <a:lnTo>
                        <a:pt x="320" y="147"/>
                      </a:lnTo>
                      <a:lnTo>
                        <a:pt x="322" y="146"/>
                      </a:lnTo>
                      <a:lnTo>
                        <a:pt x="325" y="145"/>
                      </a:lnTo>
                      <a:lnTo>
                        <a:pt x="325" y="144"/>
                      </a:lnTo>
                      <a:lnTo>
                        <a:pt x="326" y="143"/>
                      </a:lnTo>
                      <a:lnTo>
                        <a:pt x="328" y="142"/>
                      </a:lnTo>
                      <a:lnTo>
                        <a:pt x="331" y="141"/>
                      </a:lnTo>
                      <a:lnTo>
                        <a:pt x="331" y="129"/>
                      </a:lnTo>
                      <a:lnTo>
                        <a:pt x="337" y="122"/>
                      </a:lnTo>
                      <a:lnTo>
                        <a:pt x="338" y="119"/>
                      </a:lnTo>
                      <a:lnTo>
                        <a:pt x="346" y="117"/>
                      </a:lnTo>
                      <a:lnTo>
                        <a:pt x="348" y="118"/>
                      </a:lnTo>
                      <a:lnTo>
                        <a:pt x="349" y="119"/>
                      </a:lnTo>
                      <a:lnTo>
                        <a:pt x="361" y="119"/>
                      </a:lnTo>
                      <a:lnTo>
                        <a:pt x="361" y="115"/>
                      </a:lnTo>
                      <a:lnTo>
                        <a:pt x="361" y="104"/>
                      </a:lnTo>
                      <a:lnTo>
                        <a:pt x="367" y="102"/>
                      </a:lnTo>
                      <a:lnTo>
                        <a:pt x="374" y="94"/>
                      </a:lnTo>
                      <a:lnTo>
                        <a:pt x="378" y="93"/>
                      </a:lnTo>
                      <a:lnTo>
                        <a:pt x="378" y="92"/>
                      </a:lnTo>
                      <a:lnTo>
                        <a:pt x="379" y="91"/>
                      </a:lnTo>
                      <a:lnTo>
                        <a:pt x="379" y="90"/>
                      </a:lnTo>
                      <a:lnTo>
                        <a:pt x="379" y="90"/>
                      </a:lnTo>
                      <a:lnTo>
                        <a:pt x="380" y="88"/>
                      </a:lnTo>
                      <a:lnTo>
                        <a:pt x="380" y="88"/>
                      </a:lnTo>
                      <a:lnTo>
                        <a:pt x="380" y="86"/>
                      </a:lnTo>
                      <a:lnTo>
                        <a:pt x="380" y="86"/>
                      </a:lnTo>
                      <a:lnTo>
                        <a:pt x="380" y="85"/>
                      </a:lnTo>
                      <a:lnTo>
                        <a:pt x="379" y="84"/>
                      </a:lnTo>
                      <a:lnTo>
                        <a:pt x="378" y="84"/>
                      </a:lnTo>
                      <a:lnTo>
                        <a:pt x="378" y="83"/>
                      </a:lnTo>
                      <a:lnTo>
                        <a:pt x="378" y="82"/>
                      </a:lnTo>
                      <a:lnTo>
                        <a:pt x="377" y="82"/>
                      </a:lnTo>
                      <a:lnTo>
                        <a:pt x="376" y="80"/>
                      </a:lnTo>
                      <a:lnTo>
                        <a:pt x="375" y="79"/>
                      </a:lnTo>
                      <a:lnTo>
                        <a:pt x="375" y="78"/>
                      </a:lnTo>
                      <a:lnTo>
                        <a:pt x="374" y="78"/>
                      </a:lnTo>
                      <a:lnTo>
                        <a:pt x="374" y="77"/>
                      </a:lnTo>
                      <a:lnTo>
                        <a:pt x="374" y="76"/>
                      </a:lnTo>
                      <a:lnTo>
                        <a:pt x="374" y="75"/>
                      </a:lnTo>
                      <a:lnTo>
                        <a:pt x="375" y="74"/>
                      </a:lnTo>
                      <a:lnTo>
                        <a:pt x="374" y="73"/>
                      </a:lnTo>
                      <a:lnTo>
                        <a:pt x="373" y="73"/>
                      </a:lnTo>
                      <a:lnTo>
                        <a:pt x="373" y="73"/>
                      </a:lnTo>
                      <a:lnTo>
                        <a:pt x="372" y="73"/>
                      </a:lnTo>
                      <a:lnTo>
                        <a:pt x="371" y="72"/>
                      </a:lnTo>
                      <a:lnTo>
                        <a:pt x="369" y="71"/>
                      </a:lnTo>
                      <a:lnTo>
                        <a:pt x="369" y="71"/>
                      </a:lnTo>
                      <a:lnTo>
                        <a:pt x="369" y="69"/>
                      </a:lnTo>
                      <a:lnTo>
                        <a:pt x="369" y="69"/>
                      </a:lnTo>
                      <a:lnTo>
                        <a:pt x="369" y="69"/>
                      </a:lnTo>
                      <a:lnTo>
                        <a:pt x="369" y="68"/>
                      </a:lnTo>
                      <a:lnTo>
                        <a:pt x="370" y="67"/>
                      </a:lnTo>
                      <a:lnTo>
                        <a:pt x="371" y="67"/>
                      </a:lnTo>
                      <a:lnTo>
                        <a:pt x="371" y="66"/>
                      </a:lnTo>
                      <a:lnTo>
                        <a:pt x="372" y="65"/>
                      </a:lnTo>
                      <a:lnTo>
                        <a:pt x="372" y="65"/>
                      </a:lnTo>
                      <a:lnTo>
                        <a:pt x="373" y="65"/>
                      </a:lnTo>
                      <a:lnTo>
                        <a:pt x="373" y="64"/>
                      </a:lnTo>
                      <a:lnTo>
                        <a:pt x="373" y="64"/>
                      </a:lnTo>
                      <a:lnTo>
                        <a:pt x="373" y="63"/>
                      </a:lnTo>
                      <a:lnTo>
                        <a:pt x="374" y="63"/>
                      </a:lnTo>
                      <a:lnTo>
                        <a:pt x="375" y="63"/>
                      </a:lnTo>
                      <a:lnTo>
                        <a:pt x="375" y="63"/>
                      </a:lnTo>
                      <a:lnTo>
                        <a:pt x="376" y="63"/>
                      </a:lnTo>
                      <a:lnTo>
                        <a:pt x="376" y="62"/>
                      </a:lnTo>
                      <a:lnTo>
                        <a:pt x="376" y="62"/>
                      </a:lnTo>
                      <a:lnTo>
                        <a:pt x="376" y="61"/>
                      </a:lnTo>
                      <a:lnTo>
                        <a:pt x="376" y="61"/>
                      </a:lnTo>
                      <a:lnTo>
                        <a:pt x="376" y="61"/>
                      </a:lnTo>
                      <a:lnTo>
                        <a:pt x="376" y="60"/>
                      </a:lnTo>
                      <a:lnTo>
                        <a:pt x="376" y="59"/>
                      </a:lnTo>
                      <a:lnTo>
                        <a:pt x="376" y="59"/>
                      </a:lnTo>
                      <a:lnTo>
                        <a:pt x="377" y="59"/>
                      </a:lnTo>
                      <a:lnTo>
                        <a:pt x="377" y="59"/>
                      </a:lnTo>
                      <a:lnTo>
                        <a:pt x="378" y="58"/>
                      </a:lnTo>
                      <a:lnTo>
                        <a:pt x="378" y="57"/>
                      </a:lnTo>
                      <a:lnTo>
                        <a:pt x="378" y="56"/>
                      </a:lnTo>
                      <a:lnTo>
                        <a:pt x="378" y="56"/>
                      </a:lnTo>
                      <a:lnTo>
                        <a:pt x="378" y="56"/>
                      </a:lnTo>
                      <a:lnTo>
                        <a:pt x="380" y="53"/>
                      </a:lnTo>
                      <a:lnTo>
                        <a:pt x="380" y="52"/>
                      </a:lnTo>
                      <a:lnTo>
                        <a:pt x="380" y="52"/>
                      </a:lnTo>
                      <a:lnTo>
                        <a:pt x="381" y="52"/>
                      </a:lnTo>
                      <a:lnTo>
                        <a:pt x="382" y="53"/>
                      </a:lnTo>
                      <a:lnTo>
                        <a:pt x="382" y="53"/>
                      </a:lnTo>
                      <a:lnTo>
                        <a:pt x="384" y="53"/>
                      </a:lnTo>
                      <a:lnTo>
                        <a:pt x="384" y="53"/>
                      </a:lnTo>
                      <a:lnTo>
                        <a:pt x="385" y="53"/>
                      </a:lnTo>
                      <a:lnTo>
                        <a:pt x="386" y="53"/>
                      </a:lnTo>
                      <a:lnTo>
                        <a:pt x="386" y="53"/>
                      </a:lnTo>
                      <a:lnTo>
                        <a:pt x="386" y="52"/>
                      </a:lnTo>
                      <a:lnTo>
                        <a:pt x="387" y="52"/>
                      </a:lnTo>
                      <a:lnTo>
                        <a:pt x="387" y="52"/>
                      </a:lnTo>
                      <a:lnTo>
                        <a:pt x="388" y="52"/>
                      </a:lnTo>
                      <a:lnTo>
                        <a:pt x="388" y="51"/>
                      </a:lnTo>
                      <a:lnTo>
                        <a:pt x="388" y="50"/>
                      </a:lnTo>
                      <a:lnTo>
                        <a:pt x="388" y="50"/>
                      </a:lnTo>
                      <a:lnTo>
                        <a:pt x="388" y="50"/>
                      </a:lnTo>
                      <a:lnTo>
                        <a:pt x="388" y="49"/>
                      </a:lnTo>
                      <a:lnTo>
                        <a:pt x="389" y="49"/>
                      </a:lnTo>
                      <a:lnTo>
                        <a:pt x="390" y="49"/>
                      </a:lnTo>
                      <a:lnTo>
                        <a:pt x="390" y="50"/>
                      </a:lnTo>
                      <a:lnTo>
                        <a:pt x="390" y="50"/>
                      </a:lnTo>
                      <a:lnTo>
                        <a:pt x="390" y="50"/>
                      </a:lnTo>
                      <a:lnTo>
                        <a:pt x="390" y="51"/>
                      </a:lnTo>
                      <a:lnTo>
                        <a:pt x="391" y="51"/>
                      </a:lnTo>
                      <a:lnTo>
                        <a:pt x="392" y="51"/>
                      </a:lnTo>
                      <a:lnTo>
                        <a:pt x="392" y="52"/>
                      </a:lnTo>
                      <a:lnTo>
                        <a:pt x="392" y="52"/>
                      </a:lnTo>
                      <a:lnTo>
                        <a:pt x="392" y="52"/>
                      </a:lnTo>
                      <a:lnTo>
                        <a:pt x="392" y="53"/>
                      </a:lnTo>
                      <a:lnTo>
                        <a:pt x="393" y="53"/>
                      </a:lnTo>
                      <a:lnTo>
                        <a:pt x="394" y="53"/>
                      </a:lnTo>
                      <a:lnTo>
                        <a:pt x="394" y="54"/>
                      </a:lnTo>
                      <a:lnTo>
                        <a:pt x="395" y="54"/>
                      </a:lnTo>
                      <a:lnTo>
                        <a:pt x="395" y="54"/>
                      </a:lnTo>
                      <a:lnTo>
                        <a:pt x="395" y="55"/>
                      </a:lnTo>
                      <a:lnTo>
                        <a:pt x="395" y="56"/>
                      </a:lnTo>
                      <a:lnTo>
                        <a:pt x="395" y="56"/>
                      </a:lnTo>
                      <a:lnTo>
                        <a:pt x="395" y="57"/>
                      </a:lnTo>
                      <a:lnTo>
                        <a:pt x="395" y="58"/>
                      </a:lnTo>
                      <a:lnTo>
                        <a:pt x="396" y="58"/>
                      </a:lnTo>
                      <a:lnTo>
                        <a:pt x="396" y="59"/>
                      </a:lnTo>
                      <a:lnTo>
                        <a:pt x="397" y="60"/>
                      </a:lnTo>
                      <a:lnTo>
                        <a:pt x="397" y="61"/>
                      </a:lnTo>
                      <a:lnTo>
                        <a:pt x="399" y="63"/>
                      </a:lnTo>
                      <a:lnTo>
                        <a:pt x="399" y="63"/>
                      </a:lnTo>
                      <a:lnTo>
                        <a:pt x="401" y="63"/>
                      </a:lnTo>
                      <a:lnTo>
                        <a:pt x="402" y="64"/>
                      </a:lnTo>
                      <a:lnTo>
                        <a:pt x="403" y="65"/>
                      </a:lnTo>
                      <a:lnTo>
                        <a:pt x="403" y="65"/>
                      </a:lnTo>
                      <a:lnTo>
                        <a:pt x="404" y="66"/>
                      </a:lnTo>
                      <a:lnTo>
                        <a:pt x="405" y="66"/>
                      </a:lnTo>
                      <a:lnTo>
                        <a:pt x="406" y="67"/>
                      </a:lnTo>
                      <a:lnTo>
                        <a:pt x="409" y="63"/>
                      </a:lnTo>
                      <a:lnTo>
                        <a:pt x="409" y="60"/>
                      </a:lnTo>
                      <a:lnTo>
                        <a:pt x="410" y="59"/>
                      </a:lnTo>
                      <a:lnTo>
                        <a:pt x="411" y="58"/>
                      </a:lnTo>
                      <a:lnTo>
                        <a:pt x="411" y="57"/>
                      </a:lnTo>
                      <a:lnTo>
                        <a:pt x="412" y="57"/>
                      </a:lnTo>
                      <a:lnTo>
                        <a:pt x="412" y="56"/>
                      </a:lnTo>
                      <a:lnTo>
                        <a:pt x="411" y="56"/>
                      </a:lnTo>
                      <a:lnTo>
                        <a:pt x="411" y="55"/>
                      </a:lnTo>
                      <a:lnTo>
                        <a:pt x="411" y="54"/>
                      </a:lnTo>
                      <a:lnTo>
                        <a:pt x="411" y="54"/>
                      </a:lnTo>
                      <a:lnTo>
                        <a:pt x="411" y="52"/>
                      </a:lnTo>
                      <a:lnTo>
                        <a:pt x="410" y="52"/>
                      </a:lnTo>
                      <a:lnTo>
                        <a:pt x="409" y="51"/>
                      </a:lnTo>
                      <a:lnTo>
                        <a:pt x="411" y="50"/>
                      </a:lnTo>
                      <a:lnTo>
                        <a:pt x="411" y="49"/>
                      </a:lnTo>
                      <a:lnTo>
                        <a:pt x="411" y="48"/>
                      </a:lnTo>
                      <a:lnTo>
                        <a:pt x="411" y="47"/>
                      </a:lnTo>
                      <a:lnTo>
                        <a:pt x="412" y="46"/>
                      </a:lnTo>
                      <a:lnTo>
                        <a:pt x="412" y="45"/>
                      </a:lnTo>
                      <a:lnTo>
                        <a:pt x="413" y="44"/>
                      </a:lnTo>
                      <a:lnTo>
                        <a:pt x="412" y="44"/>
                      </a:lnTo>
                      <a:lnTo>
                        <a:pt x="412" y="41"/>
                      </a:lnTo>
                      <a:lnTo>
                        <a:pt x="412" y="40"/>
                      </a:lnTo>
                      <a:lnTo>
                        <a:pt x="413" y="38"/>
                      </a:lnTo>
                      <a:lnTo>
                        <a:pt x="413" y="37"/>
                      </a:lnTo>
                      <a:lnTo>
                        <a:pt x="414" y="35"/>
                      </a:lnTo>
                      <a:lnTo>
                        <a:pt x="415" y="34"/>
                      </a:lnTo>
                      <a:lnTo>
                        <a:pt x="416" y="34"/>
                      </a:lnTo>
                      <a:lnTo>
                        <a:pt x="417" y="34"/>
                      </a:lnTo>
                      <a:lnTo>
                        <a:pt x="418" y="34"/>
                      </a:lnTo>
                      <a:lnTo>
                        <a:pt x="418" y="34"/>
                      </a:lnTo>
                      <a:lnTo>
                        <a:pt x="419" y="34"/>
                      </a:lnTo>
                      <a:lnTo>
                        <a:pt x="420" y="33"/>
                      </a:lnTo>
                      <a:lnTo>
                        <a:pt x="420" y="33"/>
                      </a:lnTo>
                      <a:lnTo>
                        <a:pt x="420" y="33"/>
                      </a:lnTo>
                      <a:lnTo>
                        <a:pt x="421" y="33"/>
                      </a:lnTo>
                      <a:lnTo>
                        <a:pt x="422" y="33"/>
                      </a:lnTo>
                      <a:lnTo>
                        <a:pt x="422" y="32"/>
                      </a:lnTo>
                      <a:lnTo>
                        <a:pt x="422" y="31"/>
                      </a:lnTo>
                      <a:lnTo>
                        <a:pt x="422" y="31"/>
                      </a:lnTo>
                      <a:lnTo>
                        <a:pt x="422" y="30"/>
                      </a:lnTo>
                      <a:lnTo>
                        <a:pt x="422" y="29"/>
                      </a:lnTo>
                      <a:lnTo>
                        <a:pt x="422" y="29"/>
                      </a:lnTo>
                      <a:lnTo>
                        <a:pt x="422" y="28"/>
                      </a:lnTo>
                      <a:lnTo>
                        <a:pt x="422" y="28"/>
                      </a:lnTo>
                      <a:lnTo>
                        <a:pt x="422" y="27"/>
                      </a:lnTo>
                      <a:lnTo>
                        <a:pt x="423" y="27"/>
                      </a:lnTo>
                      <a:lnTo>
                        <a:pt x="424" y="27"/>
                      </a:lnTo>
                      <a:lnTo>
                        <a:pt x="424" y="27"/>
                      </a:lnTo>
                      <a:lnTo>
                        <a:pt x="425" y="27"/>
                      </a:lnTo>
                      <a:lnTo>
                        <a:pt x="426" y="27"/>
                      </a:lnTo>
                      <a:lnTo>
                        <a:pt x="426" y="27"/>
                      </a:lnTo>
                      <a:lnTo>
                        <a:pt x="426" y="26"/>
                      </a:lnTo>
                      <a:lnTo>
                        <a:pt x="426" y="25"/>
                      </a:lnTo>
                      <a:lnTo>
                        <a:pt x="427" y="25"/>
                      </a:lnTo>
                      <a:lnTo>
                        <a:pt x="427" y="25"/>
                      </a:lnTo>
                      <a:lnTo>
                        <a:pt x="427" y="24"/>
                      </a:lnTo>
                      <a:lnTo>
                        <a:pt x="428" y="24"/>
                      </a:lnTo>
                      <a:lnTo>
                        <a:pt x="428" y="23"/>
                      </a:lnTo>
                      <a:lnTo>
                        <a:pt x="428" y="22"/>
                      </a:lnTo>
                      <a:lnTo>
                        <a:pt x="427" y="21"/>
                      </a:lnTo>
                      <a:lnTo>
                        <a:pt x="426" y="21"/>
                      </a:lnTo>
                      <a:lnTo>
                        <a:pt x="426" y="20"/>
                      </a:lnTo>
                      <a:lnTo>
                        <a:pt x="426" y="19"/>
                      </a:lnTo>
                      <a:lnTo>
                        <a:pt x="426" y="18"/>
                      </a:lnTo>
                      <a:lnTo>
                        <a:pt x="427" y="18"/>
                      </a:lnTo>
                      <a:lnTo>
                        <a:pt x="428" y="18"/>
                      </a:lnTo>
                      <a:lnTo>
                        <a:pt x="428" y="17"/>
                      </a:lnTo>
                      <a:lnTo>
                        <a:pt x="428" y="16"/>
                      </a:lnTo>
                      <a:lnTo>
                        <a:pt x="428" y="16"/>
                      </a:lnTo>
                      <a:lnTo>
                        <a:pt x="428" y="15"/>
                      </a:lnTo>
                      <a:lnTo>
                        <a:pt x="428" y="15"/>
                      </a:lnTo>
                      <a:lnTo>
                        <a:pt x="428" y="14"/>
                      </a:lnTo>
                      <a:lnTo>
                        <a:pt x="429" y="14"/>
                      </a:lnTo>
                      <a:lnTo>
                        <a:pt x="429" y="15"/>
                      </a:lnTo>
                      <a:lnTo>
                        <a:pt x="430" y="15"/>
                      </a:lnTo>
                      <a:lnTo>
                        <a:pt x="430" y="15"/>
                      </a:lnTo>
                      <a:lnTo>
                        <a:pt x="431" y="15"/>
                      </a:lnTo>
                      <a:lnTo>
                        <a:pt x="432" y="16"/>
                      </a:lnTo>
                      <a:lnTo>
                        <a:pt x="432" y="15"/>
                      </a:lnTo>
                      <a:lnTo>
                        <a:pt x="433" y="15"/>
                      </a:lnTo>
                      <a:lnTo>
                        <a:pt x="433" y="14"/>
                      </a:lnTo>
                      <a:lnTo>
                        <a:pt x="433" y="14"/>
                      </a:lnTo>
                      <a:lnTo>
                        <a:pt x="433" y="13"/>
                      </a:lnTo>
                      <a:lnTo>
                        <a:pt x="433" y="13"/>
                      </a:lnTo>
                      <a:lnTo>
                        <a:pt x="433" y="12"/>
                      </a:lnTo>
                      <a:lnTo>
                        <a:pt x="434" y="12"/>
                      </a:lnTo>
                      <a:lnTo>
                        <a:pt x="434" y="12"/>
                      </a:lnTo>
                      <a:lnTo>
                        <a:pt x="435" y="12"/>
                      </a:lnTo>
                      <a:lnTo>
                        <a:pt x="435" y="11"/>
                      </a:lnTo>
                      <a:lnTo>
                        <a:pt x="435" y="10"/>
                      </a:lnTo>
                      <a:lnTo>
                        <a:pt x="435" y="10"/>
                      </a:lnTo>
                      <a:lnTo>
                        <a:pt x="435" y="10"/>
                      </a:lnTo>
                      <a:lnTo>
                        <a:pt x="435" y="10"/>
                      </a:lnTo>
                      <a:lnTo>
                        <a:pt x="435" y="9"/>
                      </a:lnTo>
                      <a:lnTo>
                        <a:pt x="435" y="8"/>
                      </a:lnTo>
                      <a:lnTo>
                        <a:pt x="435" y="8"/>
                      </a:lnTo>
                      <a:lnTo>
                        <a:pt x="435" y="8"/>
                      </a:lnTo>
                      <a:lnTo>
                        <a:pt x="435" y="7"/>
                      </a:lnTo>
                      <a:lnTo>
                        <a:pt x="436" y="7"/>
                      </a:lnTo>
                      <a:lnTo>
                        <a:pt x="436" y="6"/>
                      </a:lnTo>
                      <a:lnTo>
                        <a:pt x="437" y="6"/>
                      </a:lnTo>
                      <a:lnTo>
                        <a:pt x="437" y="6"/>
                      </a:lnTo>
                      <a:lnTo>
                        <a:pt x="437" y="5"/>
                      </a:lnTo>
                      <a:lnTo>
                        <a:pt x="437" y="5"/>
                      </a:lnTo>
                      <a:lnTo>
                        <a:pt x="437" y="4"/>
                      </a:lnTo>
                      <a:lnTo>
                        <a:pt x="438" y="4"/>
                      </a:lnTo>
                      <a:lnTo>
                        <a:pt x="438" y="4"/>
                      </a:lnTo>
                      <a:lnTo>
                        <a:pt x="439" y="4"/>
                      </a:lnTo>
                      <a:lnTo>
                        <a:pt x="439" y="4"/>
                      </a:lnTo>
                      <a:lnTo>
                        <a:pt x="440" y="3"/>
                      </a:lnTo>
                      <a:lnTo>
                        <a:pt x="441" y="3"/>
                      </a:lnTo>
                      <a:lnTo>
                        <a:pt x="441" y="2"/>
                      </a:lnTo>
                      <a:lnTo>
                        <a:pt x="442" y="2"/>
                      </a:lnTo>
                      <a:lnTo>
                        <a:pt x="442" y="2"/>
                      </a:lnTo>
                      <a:lnTo>
                        <a:pt x="443" y="1"/>
                      </a:lnTo>
                      <a:lnTo>
                        <a:pt x="443" y="0"/>
                      </a:lnTo>
                      <a:lnTo>
                        <a:pt x="443" y="0"/>
                      </a:lnTo>
                      <a:lnTo>
                        <a:pt x="443" y="0"/>
                      </a:lnTo>
                      <a:lnTo>
                        <a:pt x="444"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0" name="Freeform 60">
                  <a:extLst>
                    <a:ext uri="{FF2B5EF4-FFF2-40B4-BE49-F238E27FC236}">
                      <a16:creationId xmlns:a16="http://schemas.microsoft.com/office/drawing/2014/main" xmlns="" id="{BAEC395C-8CFB-D2AC-0119-99A7E2049436}"/>
                    </a:ext>
                  </a:extLst>
                </p:cNvPr>
                <p:cNvSpPr>
                  <a:spLocks/>
                </p:cNvSpPr>
                <p:nvPr/>
              </p:nvSpPr>
              <p:spPr bwMode="auto">
                <a:xfrm>
                  <a:off x="2316" y="734"/>
                  <a:ext cx="750" cy="740"/>
                </a:xfrm>
                <a:custGeom>
                  <a:avLst/>
                  <a:gdLst>
                    <a:gd name="T0" fmla="*/ 749 w 750"/>
                    <a:gd name="T1" fmla="*/ 34 h 740"/>
                    <a:gd name="T2" fmla="*/ 741 w 750"/>
                    <a:gd name="T3" fmla="*/ 74 h 740"/>
                    <a:gd name="T4" fmla="*/ 746 w 750"/>
                    <a:gd name="T5" fmla="*/ 116 h 740"/>
                    <a:gd name="T6" fmla="*/ 745 w 750"/>
                    <a:gd name="T7" fmla="*/ 143 h 740"/>
                    <a:gd name="T8" fmla="*/ 729 w 750"/>
                    <a:gd name="T9" fmla="*/ 170 h 740"/>
                    <a:gd name="T10" fmla="*/ 722 w 750"/>
                    <a:gd name="T11" fmla="*/ 183 h 740"/>
                    <a:gd name="T12" fmla="*/ 700 w 750"/>
                    <a:gd name="T13" fmla="*/ 192 h 740"/>
                    <a:gd name="T14" fmla="*/ 682 w 750"/>
                    <a:gd name="T15" fmla="*/ 211 h 740"/>
                    <a:gd name="T16" fmla="*/ 663 w 750"/>
                    <a:gd name="T17" fmla="*/ 221 h 740"/>
                    <a:gd name="T18" fmla="*/ 634 w 750"/>
                    <a:gd name="T19" fmla="*/ 230 h 740"/>
                    <a:gd name="T20" fmla="*/ 617 w 750"/>
                    <a:gd name="T21" fmla="*/ 272 h 740"/>
                    <a:gd name="T22" fmla="*/ 589 w 750"/>
                    <a:gd name="T23" fmla="*/ 272 h 740"/>
                    <a:gd name="T24" fmla="*/ 587 w 750"/>
                    <a:gd name="T25" fmla="*/ 296 h 740"/>
                    <a:gd name="T26" fmla="*/ 545 w 750"/>
                    <a:gd name="T27" fmla="*/ 304 h 740"/>
                    <a:gd name="T28" fmla="*/ 553 w 750"/>
                    <a:gd name="T29" fmla="*/ 320 h 740"/>
                    <a:gd name="T30" fmla="*/ 537 w 750"/>
                    <a:gd name="T31" fmla="*/ 351 h 740"/>
                    <a:gd name="T32" fmla="*/ 529 w 750"/>
                    <a:gd name="T33" fmla="*/ 357 h 740"/>
                    <a:gd name="T34" fmla="*/ 523 w 750"/>
                    <a:gd name="T35" fmla="*/ 372 h 740"/>
                    <a:gd name="T36" fmla="*/ 515 w 750"/>
                    <a:gd name="T37" fmla="*/ 377 h 740"/>
                    <a:gd name="T38" fmla="*/ 501 w 750"/>
                    <a:gd name="T39" fmla="*/ 399 h 740"/>
                    <a:gd name="T40" fmla="*/ 499 w 750"/>
                    <a:gd name="T41" fmla="*/ 415 h 740"/>
                    <a:gd name="T42" fmla="*/ 507 w 750"/>
                    <a:gd name="T43" fmla="*/ 430 h 740"/>
                    <a:gd name="T44" fmla="*/ 481 w 750"/>
                    <a:gd name="T45" fmla="*/ 428 h 740"/>
                    <a:gd name="T46" fmla="*/ 481 w 750"/>
                    <a:gd name="T47" fmla="*/ 439 h 740"/>
                    <a:gd name="T48" fmla="*/ 449 w 750"/>
                    <a:gd name="T49" fmla="*/ 445 h 740"/>
                    <a:gd name="T50" fmla="*/ 439 w 750"/>
                    <a:gd name="T51" fmla="*/ 458 h 740"/>
                    <a:gd name="T52" fmla="*/ 425 w 750"/>
                    <a:gd name="T53" fmla="*/ 454 h 740"/>
                    <a:gd name="T54" fmla="*/ 401 w 750"/>
                    <a:gd name="T55" fmla="*/ 464 h 740"/>
                    <a:gd name="T56" fmla="*/ 381 w 750"/>
                    <a:gd name="T57" fmla="*/ 464 h 740"/>
                    <a:gd name="T58" fmla="*/ 390 w 750"/>
                    <a:gd name="T59" fmla="*/ 487 h 740"/>
                    <a:gd name="T60" fmla="*/ 369 w 750"/>
                    <a:gd name="T61" fmla="*/ 499 h 740"/>
                    <a:gd name="T62" fmla="*/ 380 w 750"/>
                    <a:gd name="T63" fmla="*/ 510 h 740"/>
                    <a:gd name="T64" fmla="*/ 383 w 750"/>
                    <a:gd name="T65" fmla="*/ 521 h 740"/>
                    <a:gd name="T66" fmla="*/ 366 w 750"/>
                    <a:gd name="T67" fmla="*/ 541 h 740"/>
                    <a:gd name="T68" fmla="*/ 364 w 750"/>
                    <a:gd name="T69" fmla="*/ 528 h 740"/>
                    <a:gd name="T70" fmla="*/ 346 w 750"/>
                    <a:gd name="T71" fmla="*/ 548 h 740"/>
                    <a:gd name="T72" fmla="*/ 328 w 750"/>
                    <a:gd name="T73" fmla="*/ 552 h 740"/>
                    <a:gd name="T74" fmla="*/ 342 w 750"/>
                    <a:gd name="T75" fmla="*/ 561 h 740"/>
                    <a:gd name="T76" fmla="*/ 323 w 750"/>
                    <a:gd name="T77" fmla="*/ 577 h 740"/>
                    <a:gd name="T78" fmla="*/ 313 w 750"/>
                    <a:gd name="T79" fmla="*/ 586 h 740"/>
                    <a:gd name="T80" fmla="*/ 324 w 750"/>
                    <a:gd name="T81" fmla="*/ 588 h 740"/>
                    <a:gd name="T82" fmla="*/ 331 w 750"/>
                    <a:gd name="T83" fmla="*/ 596 h 740"/>
                    <a:gd name="T84" fmla="*/ 334 w 750"/>
                    <a:gd name="T85" fmla="*/ 615 h 740"/>
                    <a:gd name="T86" fmla="*/ 331 w 750"/>
                    <a:gd name="T87" fmla="*/ 624 h 740"/>
                    <a:gd name="T88" fmla="*/ 338 w 750"/>
                    <a:gd name="T89" fmla="*/ 629 h 740"/>
                    <a:gd name="T90" fmla="*/ 340 w 750"/>
                    <a:gd name="T91" fmla="*/ 640 h 740"/>
                    <a:gd name="T92" fmla="*/ 330 w 750"/>
                    <a:gd name="T93" fmla="*/ 649 h 740"/>
                    <a:gd name="T94" fmla="*/ 329 w 750"/>
                    <a:gd name="T95" fmla="*/ 660 h 740"/>
                    <a:gd name="T96" fmla="*/ 338 w 750"/>
                    <a:gd name="T97" fmla="*/ 666 h 740"/>
                    <a:gd name="T98" fmla="*/ 336 w 750"/>
                    <a:gd name="T99" fmla="*/ 679 h 740"/>
                    <a:gd name="T100" fmla="*/ 327 w 750"/>
                    <a:gd name="T101" fmla="*/ 687 h 740"/>
                    <a:gd name="T102" fmla="*/ 323 w 750"/>
                    <a:gd name="T103" fmla="*/ 697 h 740"/>
                    <a:gd name="T104" fmla="*/ 334 w 750"/>
                    <a:gd name="T105" fmla="*/ 702 h 740"/>
                    <a:gd name="T106" fmla="*/ 331 w 750"/>
                    <a:gd name="T107" fmla="*/ 710 h 740"/>
                    <a:gd name="T108" fmla="*/ 321 w 750"/>
                    <a:gd name="T109" fmla="*/ 719 h 740"/>
                    <a:gd name="T110" fmla="*/ 321 w 750"/>
                    <a:gd name="T111" fmla="*/ 728 h 740"/>
                    <a:gd name="T112" fmla="*/ 323 w 750"/>
                    <a:gd name="T113" fmla="*/ 735 h 740"/>
                    <a:gd name="T114" fmla="*/ 48 w 750"/>
                    <a:gd name="T115" fmla="*/ 581 h 740"/>
                    <a:gd name="T116" fmla="*/ 36 w 750"/>
                    <a:gd name="T117" fmla="*/ 611 h 740"/>
                    <a:gd name="T118" fmla="*/ 6 w 750"/>
                    <a:gd name="T119" fmla="*/ 622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0" h="740">
                      <a:moveTo>
                        <a:pt x="730" y="0"/>
                      </a:moveTo>
                      <a:lnTo>
                        <a:pt x="731" y="2"/>
                      </a:lnTo>
                      <a:lnTo>
                        <a:pt x="733" y="6"/>
                      </a:lnTo>
                      <a:lnTo>
                        <a:pt x="734" y="9"/>
                      </a:lnTo>
                      <a:lnTo>
                        <a:pt x="735" y="11"/>
                      </a:lnTo>
                      <a:lnTo>
                        <a:pt x="736" y="14"/>
                      </a:lnTo>
                      <a:lnTo>
                        <a:pt x="737" y="15"/>
                      </a:lnTo>
                      <a:lnTo>
                        <a:pt x="739" y="18"/>
                      </a:lnTo>
                      <a:lnTo>
                        <a:pt x="739" y="19"/>
                      </a:lnTo>
                      <a:lnTo>
                        <a:pt x="739" y="21"/>
                      </a:lnTo>
                      <a:lnTo>
                        <a:pt x="739" y="23"/>
                      </a:lnTo>
                      <a:lnTo>
                        <a:pt x="740" y="26"/>
                      </a:lnTo>
                      <a:lnTo>
                        <a:pt x="740" y="28"/>
                      </a:lnTo>
                      <a:lnTo>
                        <a:pt x="741" y="29"/>
                      </a:lnTo>
                      <a:lnTo>
                        <a:pt x="743" y="30"/>
                      </a:lnTo>
                      <a:lnTo>
                        <a:pt x="748" y="32"/>
                      </a:lnTo>
                      <a:lnTo>
                        <a:pt x="749" y="34"/>
                      </a:lnTo>
                      <a:lnTo>
                        <a:pt x="750" y="36"/>
                      </a:lnTo>
                      <a:lnTo>
                        <a:pt x="750" y="38"/>
                      </a:lnTo>
                      <a:lnTo>
                        <a:pt x="750" y="40"/>
                      </a:lnTo>
                      <a:lnTo>
                        <a:pt x="750" y="41"/>
                      </a:lnTo>
                      <a:lnTo>
                        <a:pt x="748" y="43"/>
                      </a:lnTo>
                      <a:lnTo>
                        <a:pt x="747" y="45"/>
                      </a:lnTo>
                      <a:lnTo>
                        <a:pt x="744" y="48"/>
                      </a:lnTo>
                      <a:lnTo>
                        <a:pt x="741" y="51"/>
                      </a:lnTo>
                      <a:lnTo>
                        <a:pt x="739" y="55"/>
                      </a:lnTo>
                      <a:lnTo>
                        <a:pt x="738" y="57"/>
                      </a:lnTo>
                      <a:lnTo>
                        <a:pt x="737" y="59"/>
                      </a:lnTo>
                      <a:lnTo>
                        <a:pt x="737" y="63"/>
                      </a:lnTo>
                      <a:lnTo>
                        <a:pt x="738" y="68"/>
                      </a:lnTo>
                      <a:lnTo>
                        <a:pt x="738" y="69"/>
                      </a:lnTo>
                      <a:lnTo>
                        <a:pt x="738" y="70"/>
                      </a:lnTo>
                      <a:lnTo>
                        <a:pt x="740" y="73"/>
                      </a:lnTo>
                      <a:lnTo>
                        <a:pt x="741" y="74"/>
                      </a:lnTo>
                      <a:lnTo>
                        <a:pt x="741" y="77"/>
                      </a:lnTo>
                      <a:lnTo>
                        <a:pt x="741" y="80"/>
                      </a:lnTo>
                      <a:lnTo>
                        <a:pt x="739" y="89"/>
                      </a:lnTo>
                      <a:lnTo>
                        <a:pt x="739" y="93"/>
                      </a:lnTo>
                      <a:lnTo>
                        <a:pt x="739" y="94"/>
                      </a:lnTo>
                      <a:lnTo>
                        <a:pt x="741" y="97"/>
                      </a:lnTo>
                      <a:lnTo>
                        <a:pt x="743" y="99"/>
                      </a:lnTo>
                      <a:lnTo>
                        <a:pt x="744" y="101"/>
                      </a:lnTo>
                      <a:lnTo>
                        <a:pt x="745" y="101"/>
                      </a:lnTo>
                      <a:lnTo>
                        <a:pt x="745" y="102"/>
                      </a:lnTo>
                      <a:lnTo>
                        <a:pt x="746" y="104"/>
                      </a:lnTo>
                      <a:lnTo>
                        <a:pt x="746" y="108"/>
                      </a:lnTo>
                      <a:lnTo>
                        <a:pt x="745" y="109"/>
                      </a:lnTo>
                      <a:lnTo>
                        <a:pt x="745" y="111"/>
                      </a:lnTo>
                      <a:lnTo>
                        <a:pt x="746" y="113"/>
                      </a:lnTo>
                      <a:lnTo>
                        <a:pt x="746" y="114"/>
                      </a:lnTo>
                      <a:lnTo>
                        <a:pt x="746" y="116"/>
                      </a:lnTo>
                      <a:lnTo>
                        <a:pt x="745" y="120"/>
                      </a:lnTo>
                      <a:lnTo>
                        <a:pt x="745" y="122"/>
                      </a:lnTo>
                      <a:lnTo>
                        <a:pt x="745" y="124"/>
                      </a:lnTo>
                      <a:lnTo>
                        <a:pt x="746" y="126"/>
                      </a:lnTo>
                      <a:lnTo>
                        <a:pt x="748" y="127"/>
                      </a:lnTo>
                      <a:lnTo>
                        <a:pt x="748" y="128"/>
                      </a:lnTo>
                      <a:lnTo>
                        <a:pt x="748" y="129"/>
                      </a:lnTo>
                      <a:lnTo>
                        <a:pt x="749" y="131"/>
                      </a:lnTo>
                      <a:lnTo>
                        <a:pt x="749" y="132"/>
                      </a:lnTo>
                      <a:lnTo>
                        <a:pt x="749" y="133"/>
                      </a:lnTo>
                      <a:lnTo>
                        <a:pt x="749" y="134"/>
                      </a:lnTo>
                      <a:lnTo>
                        <a:pt x="750" y="135"/>
                      </a:lnTo>
                      <a:lnTo>
                        <a:pt x="749" y="136"/>
                      </a:lnTo>
                      <a:lnTo>
                        <a:pt x="748" y="138"/>
                      </a:lnTo>
                      <a:lnTo>
                        <a:pt x="747" y="140"/>
                      </a:lnTo>
                      <a:lnTo>
                        <a:pt x="746" y="141"/>
                      </a:lnTo>
                      <a:lnTo>
                        <a:pt x="745" y="143"/>
                      </a:lnTo>
                      <a:lnTo>
                        <a:pt x="744" y="143"/>
                      </a:lnTo>
                      <a:lnTo>
                        <a:pt x="744" y="143"/>
                      </a:lnTo>
                      <a:lnTo>
                        <a:pt x="744" y="145"/>
                      </a:lnTo>
                      <a:lnTo>
                        <a:pt x="744" y="146"/>
                      </a:lnTo>
                      <a:lnTo>
                        <a:pt x="743" y="148"/>
                      </a:lnTo>
                      <a:lnTo>
                        <a:pt x="743" y="150"/>
                      </a:lnTo>
                      <a:lnTo>
                        <a:pt x="741" y="154"/>
                      </a:lnTo>
                      <a:lnTo>
                        <a:pt x="741" y="156"/>
                      </a:lnTo>
                      <a:lnTo>
                        <a:pt x="740" y="157"/>
                      </a:lnTo>
                      <a:lnTo>
                        <a:pt x="739" y="158"/>
                      </a:lnTo>
                      <a:lnTo>
                        <a:pt x="736" y="160"/>
                      </a:lnTo>
                      <a:lnTo>
                        <a:pt x="734" y="161"/>
                      </a:lnTo>
                      <a:lnTo>
                        <a:pt x="732" y="164"/>
                      </a:lnTo>
                      <a:lnTo>
                        <a:pt x="731" y="167"/>
                      </a:lnTo>
                      <a:lnTo>
                        <a:pt x="730" y="168"/>
                      </a:lnTo>
                      <a:lnTo>
                        <a:pt x="729" y="169"/>
                      </a:lnTo>
                      <a:lnTo>
                        <a:pt x="729" y="170"/>
                      </a:lnTo>
                      <a:lnTo>
                        <a:pt x="728" y="171"/>
                      </a:lnTo>
                      <a:lnTo>
                        <a:pt x="726" y="171"/>
                      </a:lnTo>
                      <a:lnTo>
                        <a:pt x="726" y="172"/>
                      </a:lnTo>
                      <a:lnTo>
                        <a:pt x="725" y="172"/>
                      </a:lnTo>
                      <a:lnTo>
                        <a:pt x="724" y="173"/>
                      </a:lnTo>
                      <a:lnTo>
                        <a:pt x="724" y="175"/>
                      </a:lnTo>
                      <a:lnTo>
                        <a:pt x="723" y="175"/>
                      </a:lnTo>
                      <a:lnTo>
                        <a:pt x="723" y="177"/>
                      </a:lnTo>
                      <a:lnTo>
                        <a:pt x="724" y="177"/>
                      </a:lnTo>
                      <a:lnTo>
                        <a:pt x="723" y="177"/>
                      </a:lnTo>
                      <a:lnTo>
                        <a:pt x="722" y="179"/>
                      </a:lnTo>
                      <a:lnTo>
                        <a:pt x="722" y="179"/>
                      </a:lnTo>
                      <a:lnTo>
                        <a:pt x="722" y="180"/>
                      </a:lnTo>
                      <a:lnTo>
                        <a:pt x="722" y="181"/>
                      </a:lnTo>
                      <a:lnTo>
                        <a:pt x="722" y="181"/>
                      </a:lnTo>
                      <a:lnTo>
                        <a:pt x="722" y="182"/>
                      </a:lnTo>
                      <a:lnTo>
                        <a:pt x="722" y="183"/>
                      </a:lnTo>
                      <a:lnTo>
                        <a:pt x="721" y="184"/>
                      </a:lnTo>
                      <a:lnTo>
                        <a:pt x="720" y="185"/>
                      </a:lnTo>
                      <a:lnTo>
                        <a:pt x="719" y="186"/>
                      </a:lnTo>
                      <a:lnTo>
                        <a:pt x="718" y="186"/>
                      </a:lnTo>
                      <a:lnTo>
                        <a:pt x="716" y="186"/>
                      </a:lnTo>
                      <a:lnTo>
                        <a:pt x="715" y="187"/>
                      </a:lnTo>
                      <a:lnTo>
                        <a:pt x="714" y="186"/>
                      </a:lnTo>
                      <a:lnTo>
                        <a:pt x="712" y="186"/>
                      </a:lnTo>
                      <a:lnTo>
                        <a:pt x="712" y="186"/>
                      </a:lnTo>
                      <a:lnTo>
                        <a:pt x="710" y="186"/>
                      </a:lnTo>
                      <a:lnTo>
                        <a:pt x="709" y="186"/>
                      </a:lnTo>
                      <a:lnTo>
                        <a:pt x="707" y="187"/>
                      </a:lnTo>
                      <a:lnTo>
                        <a:pt x="705" y="188"/>
                      </a:lnTo>
                      <a:lnTo>
                        <a:pt x="703" y="189"/>
                      </a:lnTo>
                      <a:lnTo>
                        <a:pt x="703" y="190"/>
                      </a:lnTo>
                      <a:lnTo>
                        <a:pt x="701" y="190"/>
                      </a:lnTo>
                      <a:lnTo>
                        <a:pt x="700" y="192"/>
                      </a:lnTo>
                      <a:lnTo>
                        <a:pt x="699" y="192"/>
                      </a:lnTo>
                      <a:lnTo>
                        <a:pt x="699" y="193"/>
                      </a:lnTo>
                      <a:lnTo>
                        <a:pt x="699" y="194"/>
                      </a:lnTo>
                      <a:lnTo>
                        <a:pt x="699" y="198"/>
                      </a:lnTo>
                      <a:lnTo>
                        <a:pt x="697" y="201"/>
                      </a:lnTo>
                      <a:lnTo>
                        <a:pt x="697" y="203"/>
                      </a:lnTo>
                      <a:lnTo>
                        <a:pt x="696" y="204"/>
                      </a:lnTo>
                      <a:lnTo>
                        <a:pt x="695" y="207"/>
                      </a:lnTo>
                      <a:lnTo>
                        <a:pt x="693" y="208"/>
                      </a:lnTo>
                      <a:lnTo>
                        <a:pt x="690" y="209"/>
                      </a:lnTo>
                      <a:lnTo>
                        <a:pt x="687" y="209"/>
                      </a:lnTo>
                      <a:lnTo>
                        <a:pt x="686" y="209"/>
                      </a:lnTo>
                      <a:lnTo>
                        <a:pt x="686" y="210"/>
                      </a:lnTo>
                      <a:lnTo>
                        <a:pt x="685" y="210"/>
                      </a:lnTo>
                      <a:lnTo>
                        <a:pt x="684" y="210"/>
                      </a:lnTo>
                      <a:lnTo>
                        <a:pt x="683" y="210"/>
                      </a:lnTo>
                      <a:lnTo>
                        <a:pt x="682" y="211"/>
                      </a:lnTo>
                      <a:lnTo>
                        <a:pt x="681" y="211"/>
                      </a:lnTo>
                      <a:lnTo>
                        <a:pt x="680" y="211"/>
                      </a:lnTo>
                      <a:lnTo>
                        <a:pt x="677" y="213"/>
                      </a:lnTo>
                      <a:lnTo>
                        <a:pt x="676" y="214"/>
                      </a:lnTo>
                      <a:lnTo>
                        <a:pt x="676" y="214"/>
                      </a:lnTo>
                      <a:lnTo>
                        <a:pt x="676" y="215"/>
                      </a:lnTo>
                      <a:lnTo>
                        <a:pt x="674" y="217"/>
                      </a:lnTo>
                      <a:lnTo>
                        <a:pt x="674" y="218"/>
                      </a:lnTo>
                      <a:lnTo>
                        <a:pt x="673" y="218"/>
                      </a:lnTo>
                      <a:lnTo>
                        <a:pt x="672" y="219"/>
                      </a:lnTo>
                      <a:lnTo>
                        <a:pt x="671" y="219"/>
                      </a:lnTo>
                      <a:lnTo>
                        <a:pt x="669" y="219"/>
                      </a:lnTo>
                      <a:lnTo>
                        <a:pt x="665" y="219"/>
                      </a:lnTo>
                      <a:lnTo>
                        <a:pt x="665" y="219"/>
                      </a:lnTo>
                      <a:lnTo>
                        <a:pt x="664" y="220"/>
                      </a:lnTo>
                      <a:lnTo>
                        <a:pt x="663" y="221"/>
                      </a:lnTo>
                      <a:lnTo>
                        <a:pt x="663" y="221"/>
                      </a:lnTo>
                      <a:lnTo>
                        <a:pt x="663" y="221"/>
                      </a:lnTo>
                      <a:lnTo>
                        <a:pt x="663" y="223"/>
                      </a:lnTo>
                      <a:lnTo>
                        <a:pt x="663" y="224"/>
                      </a:lnTo>
                      <a:lnTo>
                        <a:pt x="663" y="225"/>
                      </a:lnTo>
                      <a:lnTo>
                        <a:pt x="662" y="225"/>
                      </a:lnTo>
                      <a:lnTo>
                        <a:pt x="661" y="226"/>
                      </a:lnTo>
                      <a:lnTo>
                        <a:pt x="661" y="226"/>
                      </a:lnTo>
                      <a:lnTo>
                        <a:pt x="657" y="226"/>
                      </a:lnTo>
                      <a:lnTo>
                        <a:pt x="651" y="226"/>
                      </a:lnTo>
                      <a:lnTo>
                        <a:pt x="647" y="226"/>
                      </a:lnTo>
                      <a:lnTo>
                        <a:pt x="646" y="226"/>
                      </a:lnTo>
                      <a:lnTo>
                        <a:pt x="640" y="226"/>
                      </a:lnTo>
                      <a:lnTo>
                        <a:pt x="638" y="226"/>
                      </a:lnTo>
                      <a:lnTo>
                        <a:pt x="637" y="226"/>
                      </a:lnTo>
                      <a:lnTo>
                        <a:pt x="636" y="227"/>
                      </a:lnTo>
                      <a:lnTo>
                        <a:pt x="635" y="228"/>
                      </a:lnTo>
                      <a:lnTo>
                        <a:pt x="634" y="230"/>
                      </a:lnTo>
                      <a:lnTo>
                        <a:pt x="634" y="230"/>
                      </a:lnTo>
                      <a:lnTo>
                        <a:pt x="634" y="231"/>
                      </a:lnTo>
                      <a:lnTo>
                        <a:pt x="634" y="232"/>
                      </a:lnTo>
                      <a:lnTo>
                        <a:pt x="634" y="234"/>
                      </a:lnTo>
                      <a:lnTo>
                        <a:pt x="634" y="234"/>
                      </a:lnTo>
                      <a:lnTo>
                        <a:pt x="637" y="239"/>
                      </a:lnTo>
                      <a:lnTo>
                        <a:pt x="640" y="243"/>
                      </a:lnTo>
                      <a:lnTo>
                        <a:pt x="641" y="245"/>
                      </a:lnTo>
                      <a:lnTo>
                        <a:pt x="642" y="247"/>
                      </a:lnTo>
                      <a:lnTo>
                        <a:pt x="643" y="249"/>
                      </a:lnTo>
                      <a:lnTo>
                        <a:pt x="640" y="257"/>
                      </a:lnTo>
                      <a:lnTo>
                        <a:pt x="638" y="261"/>
                      </a:lnTo>
                      <a:lnTo>
                        <a:pt x="635" y="264"/>
                      </a:lnTo>
                      <a:lnTo>
                        <a:pt x="629" y="267"/>
                      </a:lnTo>
                      <a:lnTo>
                        <a:pt x="625" y="268"/>
                      </a:lnTo>
                      <a:lnTo>
                        <a:pt x="621" y="270"/>
                      </a:lnTo>
                      <a:lnTo>
                        <a:pt x="617" y="272"/>
                      </a:lnTo>
                      <a:lnTo>
                        <a:pt x="614" y="274"/>
                      </a:lnTo>
                      <a:lnTo>
                        <a:pt x="612" y="274"/>
                      </a:lnTo>
                      <a:lnTo>
                        <a:pt x="610" y="274"/>
                      </a:lnTo>
                      <a:lnTo>
                        <a:pt x="609" y="272"/>
                      </a:lnTo>
                      <a:lnTo>
                        <a:pt x="608" y="270"/>
                      </a:lnTo>
                      <a:lnTo>
                        <a:pt x="606" y="267"/>
                      </a:lnTo>
                      <a:lnTo>
                        <a:pt x="605" y="264"/>
                      </a:lnTo>
                      <a:lnTo>
                        <a:pt x="603" y="262"/>
                      </a:lnTo>
                      <a:lnTo>
                        <a:pt x="602" y="261"/>
                      </a:lnTo>
                      <a:lnTo>
                        <a:pt x="600" y="259"/>
                      </a:lnTo>
                      <a:lnTo>
                        <a:pt x="599" y="259"/>
                      </a:lnTo>
                      <a:lnTo>
                        <a:pt x="598" y="260"/>
                      </a:lnTo>
                      <a:lnTo>
                        <a:pt x="596" y="261"/>
                      </a:lnTo>
                      <a:lnTo>
                        <a:pt x="594" y="263"/>
                      </a:lnTo>
                      <a:lnTo>
                        <a:pt x="592" y="266"/>
                      </a:lnTo>
                      <a:lnTo>
                        <a:pt x="590" y="270"/>
                      </a:lnTo>
                      <a:lnTo>
                        <a:pt x="589" y="272"/>
                      </a:lnTo>
                      <a:lnTo>
                        <a:pt x="589" y="274"/>
                      </a:lnTo>
                      <a:lnTo>
                        <a:pt x="590" y="274"/>
                      </a:lnTo>
                      <a:lnTo>
                        <a:pt x="593" y="276"/>
                      </a:lnTo>
                      <a:lnTo>
                        <a:pt x="596" y="278"/>
                      </a:lnTo>
                      <a:lnTo>
                        <a:pt x="600" y="280"/>
                      </a:lnTo>
                      <a:lnTo>
                        <a:pt x="604" y="285"/>
                      </a:lnTo>
                      <a:lnTo>
                        <a:pt x="604" y="287"/>
                      </a:lnTo>
                      <a:lnTo>
                        <a:pt x="604" y="290"/>
                      </a:lnTo>
                      <a:lnTo>
                        <a:pt x="604" y="295"/>
                      </a:lnTo>
                      <a:lnTo>
                        <a:pt x="604" y="297"/>
                      </a:lnTo>
                      <a:lnTo>
                        <a:pt x="604" y="298"/>
                      </a:lnTo>
                      <a:lnTo>
                        <a:pt x="602" y="298"/>
                      </a:lnTo>
                      <a:lnTo>
                        <a:pt x="600" y="298"/>
                      </a:lnTo>
                      <a:lnTo>
                        <a:pt x="596" y="297"/>
                      </a:lnTo>
                      <a:lnTo>
                        <a:pt x="593" y="297"/>
                      </a:lnTo>
                      <a:lnTo>
                        <a:pt x="590" y="297"/>
                      </a:lnTo>
                      <a:lnTo>
                        <a:pt x="587" y="296"/>
                      </a:lnTo>
                      <a:lnTo>
                        <a:pt x="585" y="295"/>
                      </a:lnTo>
                      <a:lnTo>
                        <a:pt x="582" y="293"/>
                      </a:lnTo>
                      <a:lnTo>
                        <a:pt x="579" y="291"/>
                      </a:lnTo>
                      <a:lnTo>
                        <a:pt x="575" y="289"/>
                      </a:lnTo>
                      <a:lnTo>
                        <a:pt x="573" y="289"/>
                      </a:lnTo>
                      <a:lnTo>
                        <a:pt x="571" y="289"/>
                      </a:lnTo>
                      <a:lnTo>
                        <a:pt x="570" y="289"/>
                      </a:lnTo>
                      <a:lnTo>
                        <a:pt x="568" y="290"/>
                      </a:lnTo>
                      <a:lnTo>
                        <a:pt x="565" y="292"/>
                      </a:lnTo>
                      <a:lnTo>
                        <a:pt x="562" y="293"/>
                      </a:lnTo>
                      <a:lnTo>
                        <a:pt x="557" y="296"/>
                      </a:lnTo>
                      <a:lnTo>
                        <a:pt x="553" y="297"/>
                      </a:lnTo>
                      <a:lnTo>
                        <a:pt x="551" y="299"/>
                      </a:lnTo>
                      <a:lnTo>
                        <a:pt x="548" y="301"/>
                      </a:lnTo>
                      <a:lnTo>
                        <a:pt x="547" y="302"/>
                      </a:lnTo>
                      <a:lnTo>
                        <a:pt x="545" y="303"/>
                      </a:lnTo>
                      <a:lnTo>
                        <a:pt x="545" y="304"/>
                      </a:lnTo>
                      <a:lnTo>
                        <a:pt x="547" y="306"/>
                      </a:lnTo>
                      <a:lnTo>
                        <a:pt x="549" y="307"/>
                      </a:lnTo>
                      <a:lnTo>
                        <a:pt x="551" y="307"/>
                      </a:lnTo>
                      <a:lnTo>
                        <a:pt x="553" y="307"/>
                      </a:lnTo>
                      <a:lnTo>
                        <a:pt x="554" y="306"/>
                      </a:lnTo>
                      <a:lnTo>
                        <a:pt x="556" y="305"/>
                      </a:lnTo>
                      <a:lnTo>
                        <a:pt x="557" y="304"/>
                      </a:lnTo>
                      <a:lnTo>
                        <a:pt x="560" y="304"/>
                      </a:lnTo>
                      <a:lnTo>
                        <a:pt x="561" y="305"/>
                      </a:lnTo>
                      <a:lnTo>
                        <a:pt x="562" y="306"/>
                      </a:lnTo>
                      <a:lnTo>
                        <a:pt x="561" y="308"/>
                      </a:lnTo>
                      <a:lnTo>
                        <a:pt x="560" y="310"/>
                      </a:lnTo>
                      <a:lnTo>
                        <a:pt x="557" y="312"/>
                      </a:lnTo>
                      <a:lnTo>
                        <a:pt x="555" y="313"/>
                      </a:lnTo>
                      <a:lnTo>
                        <a:pt x="554" y="314"/>
                      </a:lnTo>
                      <a:lnTo>
                        <a:pt x="553" y="316"/>
                      </a:lnTo>
                      <a:lnTo>
                        <a:pt x="553" y="320"/>
                      </a:lnTo>
                      <a:lnTo>
                        <a:pt x="553" y="323"/>
                      </a:lnTo>
                      <a:lnTo>
                        <a:pt x="553" y="327"/>
                      </a:lnTo>
                      <a:lnTo>
                        <a:pt x="552" y="331"/>
                      </a:lnTo>
                      <a:lnTo>
                        <a:pt x="551" y="336"/>
                      </a:lnTo>
                      <a:lnTo>
                        <a:pt x="551" y="337"/>
                      </a:lnTo>
                      <a:lnTo>
                        <a:pt x="550" y="339"/>
                      </a:lnTo>
                      <a:lnTo>
                        <a:pt x="549" y="339"/>
                      </a:lnTo>
                      <a:lnTo>
                        <a:pt x="548" y="340"/>
                      </a:lnTo>
                      <a:lnTo>
                        <a:pt x="547" y="340"/>
                      </a:lnTo>
                      <a:lnTo>
                        <a:pt x="545" y="340"/>
                      </a:lnTo>
                      <a:lnTo>
                        <a:pt x="544" y="340"/>
                      </a:lnTo>
                      <a:lnTo>
                        <a:pt x="543" y="340"/>
                      </a:lnTo>
                      <a:lnTo>
                        <a:pt x="541" y="340"/>
                      </a:lnTo>
                      <a:lnTo>
                        <a:pt x="540" y="344"/>
                      </a:lnTo>
                      <a:lnTo>
                        <a:pt x="539" y="346"/>
                      </a:lnTo>
                      <a:lnTo>
                        <a:pt x="538" y="348"/>
                      </a:lnTo>
                      <a:lnTo>
                        <a:pt x="537" y="351"/>
                      </a:lnTo>
                      <a:lnTo>
                        <a:pt x="538" y="353"/>
                      </a:lnTo>
                      <a:lnTo>
                        <a:pt x="538" y="354"/>
                      </a:lnTo>
                      <a:lnTo>
                        <a:pt x="540" y="354"/>
                      </a:lnTo>
                      <a:lnTo>
                        <a:pt x="541" y="354"/>
                      </a:lnTo>
                      <a:lnTo>
                        <a:pt x="542" y="355"/>
                      </a:lnTo>
                      <a:lnTo>
                        <a:pt x="541" y="356"/>
                      </a:lnTo>
                      <a:lnTo>
                        <a:pt x="540" y="356"/>
                      </a:lnTo>
                      <a:lnTo>
                        <a:pt x="538" y="356"/>
                      </a:lnTo>
                      <a:lnTo>
                        <a:pt x="537" y="356"/>
                      </a:lnTo>
                      <a:lnTo>
                        <a:pt x="536" y="355"/>
                      </a:lnTo>
                      <a:lnTo>
                        <a:pt x="534" y="355"/>
                      </a:lnTo>
                      <a:lnTo>
                        <a:pt x="531" y="354"/>
                      </a:lnTo>
                      <a:lnTo>
                        <a:pt x="530" y="354"/>
                      </a:lnTo>
                      <a:lnTo>
                        <a:pt x="528" y="354"/>
                      </a:lnTo>
                      <a:lnTo>
                        <a:pt x="528" y="355"/>
                      </a:lnTo>
                      <a:lnTo>
                        <a:pt x="528" y="356"/>
                      </a:lnTo>
                      <a:lnTo>
                        <a:pt x="529" y="357"/>
                      </a:lnTo>
                      <a:lnTo>
                        <a:pt x="530" y="359"/>
                      </a:lnTo>
                      <a:lnTo>
                        <a:pt x="532" y="361"/>
                      </a:lnTo>
                      <a:lnTo>
                        <a:pt x="532" y="363"/>
                      </a:lnTo>
                      <a:lnTo>
                        <a:pt x="534" y="365"/>
                      </a:lnTo>
                      <a:lnTo>
                        <a:pt x="534" y="367"/>
                      </a:lnTo>
                      <a:lnTo>
                        <a:pt x="534" y="369"/>
                      </a:lnTo>
                      <a:lnTo>
                        <a:pt x="534" y="371"/>
                      </a:lnTo>
                      <a:lnTo>
                        <a:pt x="533" y="374"/>
                      </a:lnTo>
                      <a:lnTo>
                        <a:pt x="532" y="375"/>
                      </a:lnTo>
                      <a:lnTo>
                        <a:pt x="530" y="377"/>
                      </a:lnTo>
                      <a:lnTo>
                        <a:pt x="528" y="378"/>
                      </a:lnTo>
                      <a:lnTo>
                        <a:pt x="526" y="379"/>
                      </a:lnTo>
                      <a:lnTo>
                        <a:pt x="525" y="378"/>
                      </a:lnTo>
                      <a:lnTo>
                        <a:pt x="524" y="377"/>
                      </a:lnTo>
                      <a:lnTo>
                        <a:pt x="524" y="376"/>
                      </a:lnTo>
                      <a:lnTo>
                        <a:pt x="524" y="375"/>
                      </a:lnTo>
                      <a:lnTo>
                        <a:pt x="523" y="372"/>
                      </a:lnTo>
                      <a:lnTo>
                        <a:pt x="522" y="369"/>
                      </a:lnTo>
                      <a:lnTo>
                        <a:pt x="519" y="365"/>
                      </a:lnTo>
                      <a:lnTo>
                        <a:pt x="517" y="363"/>
                      </a:lnTo>
                      <a:lnTo>
                        <a:pt x="517" y="363"/>
                      </a:lnTo>
                      <a:lnTo>
                        <a:pt x="515" y="363"/>
                      </a:lnTo>
                      <a:lnTo>
                        <a:pt x="515" y="363"/>
                      </a:lnTo>
                      <a:lnTo>
                        <a:pt x="515" y="363"/>
                      </a:lnTo>
                      <a:lnTo>
                        <a:pt x="514" y="365"/>
                      </a:lnTo>
                      <a:lnTo>
                        <a:pt x="513" y="366"/>
                      </a:lnTo>
                      <a:lnTo>
                        <a:pt x="512" y="369"/>
                      </a:lnTo>
                      <a:lnTo>
                        <a:pt x="510" y="373"/>
                      </a:lnTo>
                      <a:lnTo>
                        <a:pt x="510" y="374"/>
                      </a:lnTo>
                      <a:lnTo>
                        <a:pt x="510" y="375"/>
                      </a:lnTo>
                      <a:lnTo>
                        <a:pt x="511" y="375"/>
                      </a:lnTo>
                      <a:lnTo>
                        <a:pt x="512" y="376"/>
                      </a:lnTo>
                      <a:lnTo>
                        <a:pt x="513" y="377"/>
                      </a:lnTo>
                      <a:lnTo>
                        <a:pt x="515" y="377"/>
                      </a:lnTo>
                      <a:lnTo>
                        <a:pt x="515" y="379"/>
                      </a:lnTo>
                      <a:lnTo>
                        <a:pt x="516" y="381"/>
                      </a:lnTo>
                      <a:lnTo>
                        <a:pt x="517" y="384"/>
                      </a:lnTo>
                      <a:lnTo>
                        <a:pt x="517" y="388"/>
                      </a:lnTo>
                      <a:lnTo>
                        <a:pt x="517" y="390"/>
                      </a:lnTo>
                      <a:lnTo>
                        <a:pt x="517" y="391"/>
                      </a:lnTo>
                      <a:lnTo>
                        <a:pt x="517" y="392"/>
                      </a:lnTo>
                      <a:lnTo>
                        <a:pt x="515" y="394"/>
                      </a:lnTo>
                      <a:lnTo>
                        <a:pt x="513" y="396"/>
                      </a:lnTo>
                      <a:lnTo>
                        <a:pt x="511" y="398"/>
                      </a:lnTo>
                      <a:lnTo>
                        <a:pt x="509" y="398"/>
                      </a:lnTo>
                      <a:lnTo>
                        <a:pt x="507" y="400"/>
                      </a:lnTo>
                      <a:lnTo>
                        <a:pt x="504" y="401"/>
                      </a:lnTo>
                      <a:lnTo>
                        <a:pt x="503" y="401"/>
                      </a:lnTo>
                      <a:lnTo>
                        <a:pt x="503" y="401"/>
                      </a:lnTo>
                      <a:lnTo>
                        <a:pt x="501" y="400"/>
                      </a:lnTo>
                      <a:lnTo>
                        <a:pt x="501" y="399"/>
                      </a:lnTo>
                      <a:lnTo>
                        <a:pt x="500" y="398"/>
                      </a:lnTo>
                      <a:lnTo>
                        <a:pt x="500" y="398"/>
                      </a:lnTo>
                      <a:lnTo>
                        <a:pt x="498" y="398"/>
                      </a:lnTo>
                      <a:lnTo>
                        <a:pt x="498" y="398"/>
                      </a:lnTo>
                      <a:lnTo>
                        <a:pt x="497" y="399"/>
                      </a:lnTo>
                      <a:lnTo>
                        <a:pt x="496" y="400"/>
                      </a:lnTo>
                      <a:lnTo>
                        <a:pt x="496" y="403"/>
                      </a:lnTo>
                      <a:lnTo>
                        <a:pt x="496" y="405"/>
                      </a:lnTo>
                      <a:lnTo>
                        <a:pt x="496" y="407"/>
                      </a:lnTo>
                      <a:lnTo>
                        <a:pt x="496" y="408"/>
                      </a:lnTo>
                      <a:lnTo>
                        <a:pt x="497" y="409"/>
                      </a:lnTo>
                      <a:lnTo>
                        <a:pt x="498" y="410"/>
                      </a:lnTo>
                      <a:lnTo>
                        <a:pt x="500" y="411"/>
                      </a:lnTo>
                      <a:lnTo>
                        <a:pt x="500" y="412"/>
                      </a:lnTo>
                      <a:lnTo>
                        <a:pt x="500" y="413"/>
                      </a:lnTo>
                      <a:lnTo>
                        <a:pt x="500" y="414"/>
                      </a:lnTo>
                      <a:lnTo>
                        <a:pt x="499" y="415"/>
                      </a:lnTo>
                      <a:lnTo>
                        <a:pt x="498" y="415"/>
                      </a:lnTo>
                      <a:lnTo>
                        <a:pt x="496" y="415"/>
                      </a:lnTo>
                      <a:lnTo>
                        <a:pt x="495" y="415"/>
                      </a:lnTo>
                      <a:lnTo>
                        <a:pt x="494" y="415"/>
                      </a:lnTo>
                      <a:lnTo>
                        <a:pt x="494" y="415"/>
                      </a:lnTo>
                      <a:lnTo>
                        <a:pt x="494" y="417"/>
                      </a:lnTo>
                      <a:lnTo>
                        <a:pt x="495" y="418"/>
                      </a:lnTo>
                      <a:lnTo>
                        <a:pt x="496" y="419"/>
                      </a:lnTo>
                      <a:lnTo>
                        <a:pt x="497" y="421"/>
                      </a:lnTo>
                      <a:lnTo>
                        <a:pt x="499" y="421"/>
                      </a:lnTo>
                      <a:lnTo>
                        <a:pt x="501" y="422"/>
                      </a:lnTo>
                      <a:lnTo>
                        <a:pt x="503" y="423"/>
                      </a:lnTo>
                      <a:lnTo>
                        <a:pt x="504" y="424"/>
                      </a:lnTo>
                      <a:lnTo>
                        <a:pt x="505" y="426"/>
                      </a:lnTo>
                      <a:lnTo>
                        <a:pt x="506" y="428"/>
                      </a:lnTo>
                      <a:lnTo>
                        <a:pt x="507" y="429"/>
                      </a:lnTo>
                      <a:lnTo>
                        <a:pt x="507" y="430"/>
                      </a:lnTo>
                      <a:lnTo>
                        <a:pt x="507" y="431"/>
                      </a:lnTo>
                      <a:lnTo>
                        <a:pt x="507" y="432"/>
                      </a:lnTo>
                      <a:lnTo>
                        <a:pt x="507" y="433"/>
                      </a:lnTo>
                      <a:lnTo>
                        <a:pt x="505" y="434"/>
                      </a:lnTo>
                      <a:lnTo>
                        <a:pt x="504" y="434"/>
                      </a:lnTo>
                      <a:lnTo>
                        <a:pt x="503" y="433"/>
                      </a:lnTo>
                      <a:lnTo>
                        <a:pt x="501" y="432"/>
                      </a:lnTo>
                      <a:lnTo>
                        <a:pt x="500" y="431"/>
                      </a:lnTo>
                      <a:lnTo>
                        <a:pt x="498" y="430"/>
                      </a:lnTo>
                      <a:lnTo>
                        <a:pt x="495" y="428"/>
                      </a:lnTo>
                      <a:lnTo>
                        <a:pt x="492" y="428"/>
                      </a:lnTo>
                      <a:lnTo>
                        <a:pt x="490" y="426"/>
                      </a:lnTo>
                      <a:lnTo>
                        <a:pt x="489" y="426"/>
                      </a:lnTo>
                      <a:lnTo>
                        <a:pt x="487" y="426"/>
                      </a:lnTo>
                      <a:lnTo>
                        <a:pt x="485" y="427"/>
                      </a:lnTo>
                      <a:lnTo>
                        <a:pt x="484" y="427"/>
                      </a:lnTo>
                      <a:lnTo>
                        <a:pt x="481" y="428"/>
                      </a:lnTo>
                      <a:lnTo>
                        <a:pt x="479" y="429"/>
                      </a:lnTo>
                      <a:lnTo>
                        <a:pt x="479" y="430"/>
                      </a:lnTo>
                      <a:lnTo>
                        <a:pt x="478" y="431"/>
                      </a:lnTo>
                      <a:lnTo>
                        <a:pt x="478" y="432"/>
                      </a:lnTo>
                      <a:lnTo>
                        <a:pt x="478" y="433"/>
                      </a:lnTo>
                      <a:lnTo>
                        <a:pt x="478" y="434"/>
                      </a:lnTo>
                      <a:lnTo>
                        <a:pt x="479" y="434"/>
                      </a:lnTo>
                      <a:lnTo>
                        <a:pt x="479" y="435"/>
                      </a:lnTo>
                      <a:lnTo>
                        <a:pt x="480" y="436"/>
                      </a:lnTo>
                      <a:lnTo>
                        <a:pt x="481" y="436"/>
                      </a:lnTo>
                      <a:lnTo>
                        <a:pt x="482" y="436"/>
                      </a:lnTo>
                      <a:lnTo>
                        <a:pt x="483" y="436"/>
                      </a:lnTo>
                      <a:lnTo>
                        <a:pt x="484" y="436"/>
                      </a:lnTo>
                      <a:lnTo>
                        <a:pt x="484" y="437"/>
                      </a:lnTo>
                      <a:lnTo>
                        <a:pt x="484" y="438"/>
                      </a:lnTo>
                      <a:lnTo>
                        <a:pt x="483" y="438"/>
                      </a:lnTo>
                      <a:lnTo>
                        <a:pt x="481" y="439"/>
                      </a:lnTo>
                      <a:lnTo>
                        <a:pt x="479" y="439"/>
                      </a:lnTo>
                      <a:lnTo>
                        <a:pt x="477" y="440"/>
                      </a:lnTo>
                      <a:lnTo>
                        <a:pt x="474" y="440"/>
                      </a:lnTo>
                      <a:lnTo>
                        <a:pt x="473" y="440"/>
                      </a:lnTo>
                      <a:lnTo>
                        <a:pt x="471" y="441"/>
                      </a:lnTo>
                      <a:lnTo>
                        <a:pt x="469" y="443"/>
                      </a:lnTo>
                      <a:lnTo>
                        <a:pt x="467" y="443"/>
                      </a:lnTo>
                      <a:lnTo>
                        <a:pt x="465" y="443"/>
                      </a:lnTo>
                      <a:lnTo>
                        <a:pt x="462" y="443"/>
                      </a:lnTo>
                      <a:lnTo>
                        <a:pt x="460" y="443"/>
                      </a:lnTo>
                      <a:lnTo>
                        <a:pt x="458" y="443"/>
                      </a:lnTo>
                      <a:lnTo>
                        <a:pt x="456" y="443"/>
                      </a:lnTo>
                      <a:lnTo>
                        <a:pt x="454" y="443"/>
                      </a:lnTo>
                      <a:lnTo>
                        <a:pt x="452" y="443"/>
                      </a:lnTo>
                      <a:lnTo>
                        <a:pt x="452" y="443"/>
                      </a:lnTo>
                      <a:lnTo>
                        <a:pt x="450" y="444"/>
                      </a:lnTo>
                      <a:lnTo>
                        <a:pt x="449" y="445"/>
                      </a:lnTo>
                      <a:lnTo>
                        <a:pt x="448" y="446"/>
                      </a:lnTo>
                      <a:lnTo>
                        <a:pt x="448" y="447"/>
                      </a:lnTo>
                      <a:lnTo>
                        <a:pt x="446" y="447"/>
                      </a:lnTo>
                      <a:lnTo>
                        <a:pt x="445" y="449"/>
                      </a:lnTo>
                      <a:lnTo>
                        <a:pt x="445" y="450"/>
                      </a:lnTo>
                      <a:lnTo>
                        <a:pt x="445" y="451"/>
                      </a:lnTo>
                      <a:lnTo>
                        <a:pt x="445" y="452"/>
                      </a:lnTo>
                      <a:lnTo>
                        <a:pt x="446" y="453"/>
                      </a:lnTo>
                      <a:lnTo>
                        <a:pt x="446" y="454"/>
                      </a:lnTo>
                      <a:lnTo>
                        <a:pt x="446" y="455"/>
                      </a:lnTo>
                      <a:lnTo>
                        <a:pt x="446" y="455"/>
                      </a:lnTo>
                      <a:lnTo>
                        <a:pt x="445" y="456"/>
                      </a:lnTo>
                      <a:lnTo>
                        <a:pt x="443" y="457"/>
                      </a:lnTo>
                      <a:lnTo>
                        <a:pt x="443" y="457"/>
                      </a:lnTo>
                      <a:lnTo>
                        <a:pt x="441" y="457"/>
                      </a:lnTo>
                      <a:lnTo>
                        <a:pt x="441" y="457"/>
                      </a:lnTo>
                      <a:lnTo>
                        <a:pt x="439" y="458"/>
                      </a:lnTo>
                      <a:lnTo>
                        <a:pt x="439" y="459"/>
                      </a:lnTo>
                      <a:lnTo>
                        <a:pt x="437" y="460"/>
                      </a:lnTo>
                      <a:lnTo>
                        <a:pt x="437" y="461"/>
                      </a:lnTo>
                      <a:lnTo>
                        <a:pt x="435" y="461"/>
                      </a:lnTo>
                      <a:lnTo>
                        <a:pt x="435" y="461"/>
                      </a:lnTo>
                      <a:lnTo>
                        <a:pt x="434" y="461"/>
                      </a:lnTo>
                      <a:lnTo>
                        <a:pt x="433" y="460"/>
                      </a:lnTo>
                      <a:lnTo>
                        <a:pt x="433" y="459"/>
                      </a:lnTo>
                      <a:lnTo>
                        <a:pt x="433" y="459"/>
                      </a:lnTo>
                      <a:lnTo>
                        <a:pt x="433" y="457"/>
                      </a:lnTo>
                      <a:lnTo>
                        <a:pt x="433" y="456"/>
                      </a:lnTo>
                      <a:lnTo>
                        <a:pt x="432" y="455"/>
                      </a:lnTo>
                      <a:lnTo>
                        <a:pt x="431" y="455"/>
                      </a:lnTo>
                      <a:lnTo>
                        <a:pt x="430" y="455"/>
                      </a:lnTo>
                      <a:lnTo>
                        <a:pt x="429" y="455"/>
                      </a:lnTo>
                      <a:lnTo>
                        <a:pt x="427" y="455"/>
                      </a:lnTo>
                      <a:lnTo>
                        <a:pt x="425" y="454"/>
                      </a:lnTo>
                      <a:lnTo>
                        <a:pt x="424" y="453"/>
                      </a:lnTo>
                      <a:lnTo>
                        <a:pt x="422" y="453"/>
                      </a:lnTo>
                      <a:lnTo>
                        <a:pt x="420" y="454"/>
                      </a:lnTo>
                      <a:lnTo>
                        <a:pt x="419" y="455"/>
                      </a:lnTo>
                      <a:lnTo>
                        <a:pt x="416" y="456"/>
                      </a:lnTo>
                      <a:lnTo>
                        <a:pt x="414" y="457"/>
                      </a:lnTo>
                      <a:lnTo>
                        <a:pt x="412" y="457"/>
                      </a:lnTo>
                      <a:lnTo>
                        <a:pt x="409" y="457"/>
                      </a:lnTo>
                      <a:lnTo>
                        <a:pt x="406" y="457"/>
                      </a:lnTo>
                      <a:lnTo>
                        <a:pt x="403" y="457"/>
                      </a:lnTo>
                      <a:lnTo>
                        <a:pt x="401" y="456"/>
                      </a:lnTo>
                      <a:lnTo>
                        <a:pt x="401" y="457"/>
                      </a:lnTo>
                      <a:lnTo>
                        <a:pt x="400" y="457"/>
                      </a:lnTo>
                      <a:lnTo>
                        <a:pt x="399" y="457"/>
                      </a:lnTo>
                      <a:lnTo>
                        <a:pt x="399" y="458"/>
                      </a:lnTo>
                      <a:lnTo>
                        <a:pt x="400" y="459"/>
                      </a:lnTo>
                      <a:lnTo>
                        <a:pt x="401" y="464"/>
                      </a:lnTo>
                      <a:lnTo>
                        <a:pt x="401" y="466"/>
                      </a:lnTo>
                      <a:lnTo>
                        <a:pt x="401" y="468"/>
                      </a:lnTo>
                      <a:lnTo>
                        <a:pt x="401" y="469"/>
                      </a:lnTo>
                      <a:lnTo>
                        <a:pt x="399" y="470"/>
                      </a:lnTo>
                      <a:lnTo>
                        <a:pt x="399" y="469"/>
                      </a:lnTo>
                      <a:lnTo>
                        <a:pt x="398" y="468"/>
                      </a:lnTo>
                      <a:lnTo>
                        <a:pt x="397" y="468"/>
                      </a:lnTo>
                      <a:lnTo>
                        <a:pt x="395" y="466"/>
                      </a:lnTo>
                      <a:lnTo>
                        <a:pt x="394" y="466"/>
                      </a:lnTo>
                      <a:lnTo>
                        <a:pt x="393" y="464"/>
                      </a:lnTo>
                      <a:lnTo>
                        <a:pt x="391" y="463"/>
                      </a:lnTo>
                      <a:lnTo>
                        <a:pt x="389" y="462"/>
                      </a:lnTo>
                      <a:lnTo>
                        <a:pt x="386" y="462"/>
                      </a:lnTo>
                      <a:lnTo>
                        <a:pt x="385" y="462"/>
                      </a:lnTo>
                      <a:lnTo>
                        <a:pt x="384" y="462"/>
                      </a:lnTo>
                      <a:lnTo>
                        <a:pt x="382" y="462"/>
                      </a:lnTo>
                      <a:lnTo>
                        <a:pt x="381" y="464"/>
                      </a:lnTo>
                      <a:lnTo>
                        <a:pt x="379" y="466"/>
                      </a:lnTo>
                      <a:lnTo>
                        <a:pt x="377" y="469"/>
                      </a:lnTo>
                      <a:lnTo>
                        <a:pt x="375" y="472"/>
                      </a:lnTo>
                      <a:lnTo>
                        <a:pt x="375" y="472"/>
                      </a:lnTo>
                      <a:lnTo>
                        <a:pt x="376" y="473"/>
                      </a:lnTo>
                      <a:lnTo>
                        <a:pt x="376" y="474"/>
                      </a:lnTo>
                      <a:lnTo>
                        <a:pt x="377" y="473"/>
                      </a:lnTo>
                      <a:lnTo>
                        <a:pt x="379" y="473"/>
                      </a:lnTo>
                      <a:lnTo>
                        <a:pt x="380" y="473"/>
                      </a:lnTo>
                      <a:lnTo>
                        <a:pt x="382" y="474"/>
                      </a:lnTo>
                      <a:lnTo>
                        <a:pt x="384" y="474"/>
                      </a:lnTo>
                      <a:lnTo>
                        <a:pt x="385" y="476"/>
                      </a:lnTo>
                      <a:lnTo>
                        <a:pt x="386" y="478"/>
                      </a:lnTo>
                      <a:lnTo>
                        <a:pt x="388" y="480"/>
                      </a:lnTo>
                      <a:lnTo>
                        <a:pt x="389" y="482"/>
                      </a:lnTo>
                      <a:lnTo>
                        <a:pt x="389" y="485"/>
                      </a:lnTo>
                      <a:lnTo>
                        <a:pt x="390" y="487"/>
                      </a:lnTo>
                      <a:lnTo>
                        <a:pt x="391" y="489"/>
                      </a:lnTo>
                      <a:lnTo>
                        <a:pt x="391" y="491"/>
                      </a:lnTo>
                      <a:lnTo>
                        <a:pt x="391" y="493"/>
                      </a:lnTo>
                      <a:lnTo>
                        <a:pt x="390" y="494"/>
                      </a:lnTo>
                      <a:lnTo>
                        <a:pt x="389" y="494"/>
                      </a:lnTo>
                      <a:lnTo>
                        <a:pt x="389" y="493"/>
                      </a:lnTo>
                      <a:lnTo>
                        <a:pt x="387" y="493"/>
                      </a:lnTo>
                      <a:lnTo>
                        <a:pt x="386" y="493"/>
                      </a:lnTo>
                      <a:lnTo>
                        <a:pt x="385" y="493"/>
                      </a:lnTo>
                      <a:lnTo>
                        <a:pt x="383" y="493"/>
                      </a:lnTo>
                      <a:lnTo>
                        <a:pt x="380" y="493"/>
                      </a:lnTo>
                      <a:lnTo>
                        <a:pt x="378" y="494"/>
                      </a:lnTo>
                      <a:lnTo>
                        <a:pt x="376" y="495"/>
                      </a:lnTo>
                      <a:lnTo>
                        <a:pt x="374" y="496"/>
                      </a:lnTo>
                      <a:lnTo>
                        <a:pt x="372" y="497"/>
                      </a:lnTo>
                      <a:lnTo>
                        <a:pt x="370" y="498"/>
                      </a:lnTo>
                      <a:lnTo>
                        <a:pt x="369" y="499"/>
                      </a:lnTo>
                      <a:lnTo>
                        <a:pt x="368" y="500"/>
                      </a:lnTo>
                      <a:lnTo>
                        <a:pt x="367" y="501"/>
                      </a:lnTo>
                      <a:lnTo>
                        <a:pt x="368" y="502"/>
                      </a:lnTo>
                      <a:lnTo>
                        <a:pt x="370" y="502"/>
                      </a:lnTo>
                      <a:lnTo>
                        <a:pt x="371" y="503"/>
                      </a:lnTo>
                      <a:lnTo>
                        <a:pt x="372" y="504"/>
                      </a:lnTo>
                      <a:lnTo>
                        <a:pt x="374" y="504"/>
                      </a:lnTo>
                      <a:lnTo>
                        <a:pt x="376" y="506"/>
                      </a:lnTo>
                      <a:lnTo>
                        <a:pt x="377" y="506"/>
                      </a:lnTo>
                      <a:lnTo>
                        <a:pt x="378" y="505"/>
                      </a:lnTo>
                      <a:lnTo>
                        <a:pt x="379" y="505"/>
                      </a:lnTo>
                      <a:lnTo>
                        <a:pt x="380" y="505"/>
                      </a:lnTo>
                      <a:lnTo>
                        <a:pt x="381" y="506"/>
                      </a:lnTo>
                      <a:lnTo>
                        <a:pt x="382" y="507"/>
                      </a:lnTo>
                      <a:lnTo>
                        <a:pt x="382" y="508"/>
                      </a:lnTo>
                      <a:lnTo>
                        <a:pt x="381" y="508"/>
                      </a:lnTo>
                      <a:lnTo>
                        <a:pt x="380" y="510"/>
                      </a:lnTo>
                      <a:lnTo>
                        <a:pt x="378" y="511"/>
                      </a:lnTo>
                      <a:lnTo>
                        <a:pt x="378" y="512"/>
                      </a:lnTo>
                      <a:lnTo>
                        <a:pt x="378" y="514"/>
                      </a:lnTo>
                      <a:lnTo>
                        <a:pt x="378" y="515"/>
                      </a:lnTo>
                      <a:lnTo>
                        <a:pt x="377" y="516"/>
                      </a:lnTo>
                      <a:lnTo>
                        <a:pt x="376" y="516"/>
                      </a:lnTo>
                      <a:lnTo>
                        <a:pt x="375" y="517"/>
                      </a:lnTo>
                      <a:lnTo>
                        <a:pt x="375" y="518"/>
                      </a:lnTo>
                      <a:lnTo>
                        <a:pt x="376" y="518"/>
                      </a:lnTo>
                      <a:lnTo>
                        <a:pt x="377" y="518"/>
                      </a:lnTo>
                      <a:lnTo>
                        <a:pt x="378" y="518"/>
                      </a:lnTo>
                      <a:lnTo>
                        <a:pt x="379" y="518"/>
                      </a:lnTo>
                      <a:lnTo>
                        <a:pt x="380" y="518"/>
                      </a:lnTo>
                      <a:lnTo>
                        <a:pt x="381" y="518"/>
                      </a:lnTo>
                      <a:lnTo>
                        <a:pt x="382" y="518"/>
                      </a:lnTo>
                      <a:lnTo>
                        <a:pt x="382" y="519"/>
                      </a:lnTo>
                      <a:lnTo>
                        <a:pt x="383" y="521"/>
                      </a:lnTo>
                      <a:lnTo>
                        <a:pt x="383" y="522"/>
                      </a:lnTo>
                      <a:lnTo>
                        <a:pt x="382" y="523"/>
                      </a:lnTo>
                      <a:lnTo>
                        <a:pt x="382" y="525"/>
                      </a:lnTo>
                      <a:lnTo>
                        <a:pt x="380" y="526"/>
                      </a:lnTo>
                      <a:lnTo>
                        <a:pt x="378" y="527"/>
                      </a:lnTo>
                      <a:lnTo>
                        <a:pt x="375" y="529"/>
                      </a:lnTo>
                      <a:lnTo>
                        <a:pt x="373" y="530"/>
                      </a:lnTo>
                      <a:lnTo>
                        <a:pt x="372" y="531"/>
                      </a:lnTo>
                      <a:lnTo>
                        <a:pt x="370" y="531"/>
                      </a:lnTo>
                      <a:lnTo>
                        <a:pt x="368" y="532"/>
                      </a:lnTo>
                      <a:lnTo>
                        <a:pt x="368" y="533"/>
                      </a:lnTo>
                      <a:lnTo>
                        <a:pt x="368" y="534"/>
                      </a:lnTo>
                      <a:lnTo>
                        <a:pt x="368" y="537"/>
                      </a:lnTo>
                      <a:lnTo>
                        <a:pt x="368" y="538"/>
                      </a:lnTo>
                      <a:lnTo>
                        <a:pt x="367" y="539"/>
                      </a:lnTo>
                      <a:lnTo>
                        <a:pt x="367" y="540"/>
                      </a:lnTo>
                      <a:lnTo>
                        <a:pt x="366" y="541"/>
                      </a:lnTo>
                      <a:lnTo>
                        <a:pt x="365" y="542"/>
                      </a:lnTo>
                      <a:lnTo>
                        <a:pt x="363" y="542"/>
                      </a:lnTo>
                      <a:lnTo>
                        <a:pt x="363" y="542"/>
                      </a:lnTo>
                      <a:lnTo>
                        <a:pt x="361" y="542"/>
                      </a:lnTo>
                      <a:lnTo>
                        <a:pt x="360" y="541"/>
                      </a:lnTo>
                      <a:lnTo>
                        <a:pt x="359" y="539"/>
                      </a:lnTo>
                      <a:lnTo>
                        <a:pt x="359" y="538"/>
                      </a:lnTo>
                      <a:lnTo>
                        <a:pt x="360" y="537"/>
                      </a:lnTo>
                      <a:lnTo>
                        <a:pt x="361" y="536"/>
                      </a:lnTo>
                      <a:lnTo>
                        <a:pt x="363" y="535"/>
                      </a:lnTo>
                      <a:lnTo>
                        <a:pt x="365" y="535"/>
                      </a:lnTo>
                      <a:lnTo>
                        <a:pt x="365" y="533"/>
                      </a:lnTo>
                      <a:lnTo>
                        <a:pt x="366" y="532"/>
                      </a:lnTo>
                      <a:lnTo>
                        <a:pt x="366" y="531"/>
                      </a:lnTo>
                      <a:lnTo>
                        <a:pt x="366" y="529"/>
                      </a:lnTo>
                      <a:lnTo>
                        <a:pt x="365" y="529"/>
                      </a:lnTo>
                      <a:lnTo>
                        <a:pt x="364" y="528"/>
                      </a:lnTo>
                      <a:lnTo>
                        <a:pt x="362" y="528"/>
                      </a:lnTo>
                      <a:lnTo>
                        <a:pt x="360" y="529"/>
                      </a:lnTo>
                      <a:lnTo>
                        <a:pt x="357" y="529"/>
                      </a:lnTo>
                      <a:lnTo>
                        <a:pt x="355" y="529"/>
                      </a:lnTo>
                      <a:lnTo>
                        <a:pt x="354" y="529"/>
                      </a:lnTo>
                      <a:lnTo>
                        <a:pt x="353" y="530"/>
                      </a:lnTo>
                      <a:lnTo>
                        <a:pt x="352" y="532"/>
                      </a:lnTo>
                      <a:lnTo>
                        <a:pt x="351" y="533"/>
                      </a:lnTo>
                      <a:lnTo>
                        <a:pt x="351" y="535"/>
                      </a:lnTo>
                      <a:lnTo>
                        <a:pt x="351" y="537"/>
                      </a:lnTo>
                      <a:lnTo>
                        <a:pt x="349" y="541"/>
                      </a:lnTo>
                      <a:lnTo>
                        <a:pt x="349" y="543"/>
                      </a:lnTo>
                      <a:lnTo>
                        <a:pt x="349" y="546"/>
                      </a:lnTo>
                      <a:lnTo>
                        <a:pt x="349" y="547"/>
                      </a:lnTo>
                      <a:lnTo>
                        <a:pt x="348" y="548"/>
                      </a:lnTo>
                      <a:lnTo>
                        <a:pt x="348" y="548"/>
                      </a:lnTo>
                      <a:lnTo>
                        <a:pt x="346" y="548"/>
                      </a:lnTo>
                      <a:lnTo>
                        <a:pt x="345" y="547"/>
                      </a:lnTo>
                      <a:lnTo>
                        <a:pt x="344" y="546"/>
                      </a:lnTo>
                      <a:lnTo>
                        <a:pt x="343" y="545"/>
                      </a:lnTo>
                      <a:lnTo>
                        <a:pt x="342" y="543"/>
                      </a:lnTo>
                      <a:lnTo>
                        <a:pt x="341" y="542"/>
                      </a:lnTo>
                      <a:lnTo>
                        <a:pt x="340" y="542"/>
                      </a:lnTo>
                      <a:lnTo>
                        <a:pt x="339" y="542"/>
                      </a:lnTo>
                      <a:lnTo>
                        <a:pt x="338" y="542"/>
                      </a:lnTo>
                      <a:lnTo>
                        <a:pt x="336" y="542"/>
                      </a:lnTo>
                      <a:lnTo>
                        <a:pt x="334" y="542"/>
                      </a:lnTo>
                      <a:lnTo>
                        <a:pt x="332" y="542"/>
                      </a:lnTo>
                      <a:lnTo>
                        <a:pt x="331" y="542"/>
                      </a:lnTo>
                      <a:lnTo>
                        <a:pt x="329" y="543"/>
                      </a:lnTo>
                      <a:lnTo>
                        <a:pt x="329" y="545"/>
                      </a:lnTo>
                      <a:lnTo>
                        <a:pt x="328" y="548"/>
                      </a:lnTo>
                      <a:lnTo>
                        <a:pt x="327" y="551"/>
                      </a:lnTo>
                      <a:lnTo>
                        <a:pt x="328" y="552"/>
                      </a:lnTo>
                      <a:lnTo>
                        <a:pt x="329" y="552"/>
                      </a:lnTo>
                      <a:lnTo>
                        <a:pt x="330" y="552"/>
                      </a:lnTo>
                      <a:lnTo>
                        <a:pt x="332" y="552"/>
                      </a:lnTo>
                      <a:lnTo>
                        <a:pt x="334" y="550"/>
                      </a:lnTo>
                      <a:lnTo>
                        <a:pt x="336" y="550"/>
                      </a:lnTo>
                      <a:lnTo>
                        <a:pt x="337" y="550"/>
                      </a:lnTo>
                      <a:lnTo>
                        <a:pt x="338" y="550"/>
                      </a:lnTo>
                      <a:lnTo>
                        <a:pt x="338" y="550"/>
                      </a:lnTo>
                      <a:lnTo>
                        <a:pt x="340" y="552"/>
                      </a:lnTo>
                      <a:lnTo>
                        <a:pt x="340" y="554"/>
                      </a:lnTo>
                      <a:lnTo>
                        <a:pt x="340" y="555"/>
                      </a:lnTo>
                      <a:lnTo>
                        <a:pt x="340" y="556"/>
                      </a:lnTo>
                      <a:lnTo>
                        <a:pt x="340" y="557"/>
                      </a:lnTo>
                      <a:lnTo>
                        <a:pt x="340" y="558"/>
                      </a:lnTo>
                      <a:lnTo>
                        <a:pt x="340" y="559"/>
                      </a:lnTo>
                      <a:lnTo>
                        <a:pt x="341" y="560"/>
                      </a:lnTo>
                      <a:lnTo>
                        <a:pt x="342" y="561"/>
                      </a:lnTo>
                      <a:lnTo>
                        <a:pt x="344" y="561"/>
                      </a:lnTo>
                      <a:lnTo>
                        <a:pt x="344" y="561"/>
                      </a:lnTo>
                      <a:lnTo>
                        <a:pt x="344" y="562"/>
                      </a:lnTo>
                      <a:lnTo>
                        <a:pt x="344" y="563"/>
                      </a:lnTo>
                      <a:lnTo>
                        <a:pt x="343" y="564"/>
                      </a:lnTo>
                      <a:lnTo>
                        <a:pt x="341" y="565"/>
                      </a:lnTo>
                      <a:lnTo>
                        <a:pt x="339" y="568"/>
                      </a:lnTo>
                      <a:lnTo>
                        <a:pt x="336" y="571"/>
                      </a:lnTo>
                      <a:lnTo>
                        <a:pt x="335" y="572"/>
                      </a:lnTo>
                      <a:lnTo>
                        <a:pt x="333" y="573"/>
                      </a:lnTo>
                      <a:lnTo>
                        <a:pt x="332" y="573"/>
                      </a:lnTo>
                      <a:lnTo>
                        <a:pt x="331" y="573"/>
                      </a:lnTo>
                      <a:lnTo>
                        <a:pt x="329" y="573"/>
                      </a:lnTo>
                      <a:lnTo>
                        <a:pt x="328" y="574"/>
                      </a:lnTo>
                      <a:lnTo>
                        <a:pt x="326" y="575"/>
                      </a:lnTo>
                      <a:lnTo>
                        <a:pt x="325" y="577"/>
                      </a:lnTo>
                      <a:lnTo>
                        <a:pt x="323" y="577"/>
                      </a:lnTo>
                      <a:lnTo>
                        <a:pt x="322" y="577"/>
                      </a:lnTo>
                      <a:lnTo>
                        <a:pt x="321" y="577"/>
                      </a:lnTo>
                      <a:lnTo>
                        <a:pt x="321" y="577"/>
                      </a:lnTo>
                      <a:lnTo>
                        <a:pt x="320" y="577"/>
                      </a:lnTo>
                      <a:lnTo>
                        <a:pt x="319" y="577"/>
                      </a:lnTo>
                      <a:lnTo>
                        <a:pt x="319" y="578"/>
                      </a:lnTo>
                      <a:lnTo>
                        <a:pt x="318" y="579"/>
                      </a:lnTo>
                      <a:lnTo>
                        <a:pt x="319" y="581"/>
                      </a:lnTo>
                      <a:lnTo>
                        <a:pt x="319" y="582"/>
                      </a:lnTo>
                      <a:lnTo>
                        <a:pt x="318" y="582"/>
                      </a:lnTo>
                      <a:lnTo>
                        <a:pt x="317" y="583"/>
                      </a:lnTo>
                      <a:lnTo>
                        <a:pt x="316" y="583"/>
                      </a:lnTo>
                      <a:lnTo>
                        <a:pt x="315" y="582"/>
                      </a:lnTo>
                      <a:lnTo>
                        <a:pt x="315" y="582"/>
                      </a:lnTo>
                      <a:lnTo>
                        <a:pt x="313" y="582"/>
                      </a:lnTo>
                      <a:lnTo>
                        <a:pt x="313" y="584"/>
                      </a:lnTo>
                      <a:lnTo>
                        <a:pt x="313" y="586"/>
                      </a:lnTo>
                      <a:lnTo>
                        <a:pt x="313" y="588"/>
                      </a:lnTo>
                      <a:lnTo>
                        <a:pt x="314" y="590"/>
                      </a:lnTo>
                      <a:lnTo>
                        <a:pt x="315" y="591"/>
                      </a:lnTo>
                      <a:lnTo>
                        <a:pt x="317" y="592"/>
                      </a:lnTo>
                      <a:lnTo>
                        <a:pt x="319" y="594"/>
                      </a:lnTo>
                      <a:lnTo>
                        <a:pt x="319" y="594"/>
                      </a:lnTo>
                      <a:lnTo>
                        <a:pt x="320" y="593"/>
                      </a:lnTo>
                      <a:lnTo>
                        <a:pt x="320" y="592"/>
                      </a:lnTo>
                      <a:lnTo>
                        <a:pt x="319" y="591"/>
                      </a:lnTo>
                      <a:lnTo>
                        <a:pt x="319" y="589"/>
                      </a:lnTo>
                      <a:lnTo>
                        <a:pt x="318" y="588"/>
                      </a:lnTo>
                      <a:lnTo>
                        <a:pt x="319" y="587"/>
                      </a:lnTo>
                      <a:lnTo>
                        <a:pt x="319" y="586"/>
                      </a:lnTo>
                      <a:lnTo>
                        <a:pt x="320" y="586"/>
                      </a:lnTo>
                      <a:lnTo>
                        <a:pt x="321" y="586"/>
                      </a:lnTo>
                      <a:lnTo>
                        <a:pt x="323" y="586"/>
                      </a:lnTo>
                      <a:lnTo>
                        <a:pt x="324" y="588"/>
                      </a:lnTo>
                      <a:lnTo>
                        <a:pt x="325" y="589"/>
                      </a:lnTo>
                      <a:lnTo>
                        <a:pt x="326" y="590"/>
                      </a:lnTo>
                      <a:lnTo>
                        <a:pt x="326" y="591"/>
                      </a:lnTo>
                      <a:lnTo>
                        <a:pt x="326" y="592"/>
                      </a:lnTo>
                      <a:lnTo>
                        <a:pt x="326" y="592"/>
                      </a:lnTo>
                      <a:lnTo>
                        <a:pt x="326" y="593"/>
                      </a:lnTo>
                      <a:lnTo>
                        <a:pt x="325" y="594"/>
                      </a:lnTo>
                      <a:lnTo>
                        <a:pt x="325" y="595"/>
                      </a:lnTo>
                      <a:lnTo>
                        <a:pt x="325" y="596"/>
                      </a:lnTo>
                      <a:lnTo>
                        <a:pt x="326" y="597"/>
                      </a:lnTo>
                      <a:lnTo>
                        <a:pt x="327" y="598"/>
                      </a:lnTo>
                      <a:lnTo>
                        <a:pt x="327" y="598"/>
                      </a:lnTo>
                      <a:lnTo>
                        <a:pt x="328" y="597"/>
                      </a:lnTo>
                      <a:lnTo>
                        <a:pt x="329" y="597"/>
                      </a:lnTo>
                      <a:lnTo>
                        <a:pt x="329" y="596"/>
                      </a:lnTo>
                      <a:lnTo>
                        <a:pt x="330" y="596"/>
                      </a:lnTo>
                      <a:lnTo>
                        <a:pt x="331" y="596"/>
                      </a:lnTo>
                      <a:lnTo>
                        <a:pt x="332" y="597"/>
                      </a:lnTo>
                      <a:lnTo>
                        <a:pt x="332" y="598"/>
                      </a:lnTo>
                      <a:lnTo>
                        <a:pt x="332" y="600"/>
                      </a:lnTo>
                      <a:lnTo>
                        <a:pt x="332" y="601"/>
                      </a:lnTo>
                      <a:lnTo>
                        <a:pt x="333" y="603"/>
                      </a:lnTo>
                      <a:lnTo>
                        <a:pt x="333" y="605"/>
                      </a:lnTo>
                      <a:lnTo>
                        <a:pt x="334" y="606"/>
                      </a:lnTo>
                      <a:lnTo>
                        <a:pt x="334" y="608"/>
                      </a:lnTo>
                      <a:lnTo>
                        <a:pt x="335" y="611"/>
                      </a:lnTo>
                      <a:lnTo>
                        <a:pt x="335" y="611"/>
                      </a:lnTo>
                      <a:lnTo>
                        <a:pt x="335" y="612"/>
                      </a:lnTo>
                      <a:lnTo>
                        <a:pt x="335" y="613"/>
                      </a:lnTo>
                      <a:lnTo>
                        <a:pt x="335" y="613"/>
                      </a:lnTo>
                      <a:lnTo>
                        <a:pt x="335" y="614"/>
                      </a:lnTo>
                      <a:lnTo>
                        <a:pt x="334" y="614"/>
                      </a:lnTo>
                      <a:lnTo>
                        <a:pt x="334" y="615"/>
                      </a:lnTo>
                      <a:lnTo>
                        <a:pt x="334" y="615"/>
                      </a:lnTo>
                      <a:lnTo>
                        <a:pt x="334" y="616"/>
                      </a:lnTo>
                      <a:lnTo>
                        <a:pt x="334" y="616"/>
                      </a:lnTo>
                      <a:lnTo>
                        <a:pt x="334" y="617"/>
                      </a:lnTo>
                      <a:lnTo>
                        <a:pt x="334" y="617"/>
                      </a:lnTo>
                      <a:lnTo>
                        <a:pt x="333" y="617"/>
                      </a:lnTo>
                      <a:lnTo>
                        <a:pt x="333" y="618"/>
                      </a:lnTo>
                      <a:lnTo>
                        <a:pt x="333" y="619"/>
                      </a:lnTo>
                      <a:lnTo>
                        <a:pt x="332" y="619"/>
                      </a:lnTo>
                      <a:lnTo>
                        <a:pt x="332" y="620"/>
                      </a:lnTo>
                      <a:lnTo>
                        <a:pt x="332" y="620"/>
                      </a:lnTo>
                      <a:lnTo>
                        <a:pt x="332" y="621"/>
                      </a:lnTo>
                      <a:lnTo>
                        <a:pt x="332" y="622"/>
                      </a:lnTo>
                      <a:lnTo>
                        <a:pt x="332" y="622"/>
                      </a:lnTo>
                      <a:lnTo>
                        <a:pt x="331" y="622"/>
                      </a:lnTo>
                      <a:lnTo>
                        <a:pt x="331" y="623"/>
                      </a:lnTo>
                      <a:lnTo>
                        <a:pt x="331" y="624"/>
                      </a:lnTo>
                      <a:lnTo>
                        <a:pt x="331" y="624"/>
                      </a:lnTo>
                      <a:lnTo>
                        <a:pt x="331" y="625"/>
                      </a:lnTo>
                      <a:lnTo>
                        <a:pt x="332" y="625"/>
                      </a:lnTo>
                      <a:lnTo>
                        <a:pt x="332" y="625"/>
                      </a:lnTo>
                      <a:lnTo>
                        <a:pt x="333" y="625"/>
                      </a:lnTo>
                      <a:lnTo>
                        <a:pt x="334" y="625"/>
                      </a:lnTo>
                      <a:lnTo>
                        <a:pt x="334" y="624"/>
                      </a:lnTo>
                      <a:lnTo>
                        <a:pt x="334" y="624"/>
                      </a:lnTo>
                      <a:lnTo>
                        <a:pt x="335" y="624"/>
                      </a:lnTo>
                      <a:lnTo>
                        <a:pt x="336" y="624"/>
                      </a:lnTo>
                      <a:lnTo>
                        <a:pt x="336" y="625"/>
                      </a:lnTo>
                      <a:lnTo>
                        <a:pt x="337" y="625"/>
                      </a:lnTo>
                      <a:lnTo>
                        <a:pt x="337" y="626"/>
                      </a:lnTo>
                      <a:lnTo>
                        <a:pt x="337" y="626"/>
                      </a:lnTo>
                      <a:lnTo>
                        <a:pt x="338" y="627"/>
                      </a:lnTo>
                      <a:lnTo>
                        <a:pt x="338" y="628"/>
                      </a:lnTo>
                      <a:lnTo>
                        <a:pt x="338" y="628"/>
                      </a:lnTo>
                      <a:lnTo>
                        <a:pt x="338" y="629"/>
                      </a:lnTo>
                      <a:lnTo>
                        <a:pt x="338" y="630"/>
                      </a:lnTo>
                      <a:lnTo>
                        <a:pt x="338" y="630"/>
                      </a:lnTo>
                      <a:lnTo>
                        <a:pt x="338" y="631"/>
                      </a:lnTo>
                      <a:lnTo>
                        <a:pt x="338" y="632"/>
                      </a:lnTo>
                      <a:lnTo>
                        <a:pt x="339" y="632"/>
                      </a:lnTo>
                      <a:lnTo>
                        <a:pt x="339" y="633"/>
                      </a:lnTo>
                      <a:lnTo>
                        <a:pt x="340" y="634"/>
                      </a:lnTo>
                      <a:lnTo>
                        <a:pt x="340" y="634"/>
                      </a:lnTo>
                      <a:lnTo>
                        <a:pt x="340" y="635"/>
                      </a:lnTo>
                      <a:lnTo>
                        <a:pt x="340" y="636"/>
                      </a:lnTo>
                      <a:lnTo>
                        <a:pt x="340" y="636"/>
                      </a:lnTo>
                      <a:lnTo>
                        <a:pt x="340" y="637"/>
                      </a:lnTo>
                      <a:lnTo>
                        <a:pt x="341" y="637"/>
                      </a:lnTo>
                      <a:lnTo>
                        <a:pt x="341" y="638"/>
                      </a:lnTo>
                      <a:lnTo>
                        <a:pt x="341" y="638"/>
                      </a:lnTo>
                      <a:lnTo>
                        <a:pt x="340" y="639"/>
                      </a:lnTo>
                      <a:lnTo>
                        <a:pt x="340" y="640"/>
                      </a:lnTo>
                      <a:lnTo>
                        <a:pt x="340" y="640"/>
                      </a:lnTo>
                      <a:lnTo>
                        <a:pt x="339" y="641"/>
                      </a:lnTo>
                      <a:lnTo>
                        <a:pt x="338" y="641"/>
                      </a:lnTo>
                      <a:lnTo>
                        <a:pt x="338" y="642"/>
                      </a:lnTo>
                      <a:lnTo>
                        <a:pt x="337" y="643"/>
                      </a:lnTo>
                      <a:lnTo>
                        <a:pt x="336" y="643"/>
                      </a:lnTo>
                      <a:lnTo>
                        <a:pt x="336" y="643"/>
                      </a:lnTo>
                      <a:lnTo>
                        <a:pt x="336" y="644"/>
                      </a:lnTo>
                      <a:lnTo>
                        <a:pt x="335" y="644"/>
                      </a:lnTo>
                      <a:lnTo>
                        <a:pt x="335" y="645"/>
                      </a:lnTo>
                      <a:lnTo>
                        <a:pt x="334" y="645"/>
                      </a:lnTo>
                      <a:lnTo>
                        <a:pt x="333" y="647"/>
                      </a:lnTo>
                      <a:lnTo>
                        <a:pt x="332" y="647"/>
                      </a:lnTo>
                      <a:lnTo>
                        <a:pt x="332" y="647"/>
                      </a:lnTo>
                      <a:lnTo>
                        <a:pt x="332" y="648"/>
                      </a:lnTo>
                      <a:lnTo>
                        <a:pt x="331" y="649"/>
                      </a:lnTo>
                      <a:lnTo>
                        <a:pt x="330" y="649"/>
                      </a:lnTo>
                      <a:lnTo>
                        <a:pt x="329" y="649"/>
                      </a:lnTo>
                      <a:lnTo>
                        <a:pt x="329" y="650"/>
                      </a:lnTo>
                      <a:lnTo>
                        <a:pt x="328" y="651"/>
                      </a:lnTo>
                      <a:lnTo>
                        <a:pt x="328" y="651"/>
                      </a:lnTo>
                      <a:lnTo>
                        <a:pt x="327" y="652"/>
                      </a:lnTo>
                      <a:lnTo>
                        <a:pt x="327" y="653"/>
                      </a:lnTo>
                      <a:lnTo>
                        <a:pt x="327" y="653"/>
                      </a:lnTo>
                      <a:lnTo>
                        <a:pt x="327" y="654"/>
                      </a:lnTo>
                      <a:lnTo>
                        <a:pt x="327" y="655"/>
                      </a:lnTo>
                      <a:lnTo>
                        <a:pt x="328" y="655"/>
                      </a:lnTo>
                      <a:lnTo>
                        <a:pt x="328" y="656"/>
                      </a:lnTo>
                      <a:lnTo>
                        <a:pt x="328" y="657"/>
                      </a:lnTo>
                      <a:lnTo>
                        <a:pt x="328" y="657"/>
                      </a:lnTo>
                      <a:lnTo>
                        <a:pt x="329" y="658"/>
                      </a:lnTo>
                      <a:lnTo>
                        <a:pt x="329" y="659"/>
                      </a:lnTo>
                      <a:lnTo>
                        <a:pt x="329" y="659"/>
                      </a:lnTo>
                      <a:lnTo>
                        <a:pt x="329" y="660"/>
                      </a:lnTo>
                      <a:lnTo>
                        <a:pt x="330" y="660"/>
                      </a:lnTo>
                      <a:lnTo>
                        <a:pt x="331" y="660"/>
                      </a:lnTo>
                      <a:lnTo>
                        <a:pt x="332" y="660"/>
                      </a:lnTo>
                      <a:lnTo>
                        <a:pt x="332" y="660"/>
                      </a:lnTo>
                      <a:lnTo>
                        <a:pt x="333" y="660"/>
                      </a:lnTo>
                      <a:lnTo>
                        <a:pt x="334" y="660"/>
                      </a:lnTo>
                      <a:lnTo>
                        <a:pt x="334" y="660"/>
                      </a:lnTo>
                      <a:lnTo>
                        <a:pt x="335" y="660"/>
                      </a:lnTo>
                      <a:lnTo>
                        <a:pt x="336" y="661"/>
                      </a:lnTo>
                      <a:lnTo>
                        <a:pt x="336" y="661"/>
                      </a:lnTo>
                      <a:lnTo>
                        <a:pt x="336" y="662"/>
                      </a:lnTo>
                      <a:lnTo>
                        <a:pt x="337" y="662"/>
                      </a:lnTo>
                      <a:lnTo>
                        <a:pt x="337" y="663"/>
                      </a:lnTo>
                      <a:lnTo>
                        <a:pt x="338" y="664"/>
                      </a:lnTo>
                      <a:lnTo>
                        <a:pt x="338" y="665"/>
                      </a:lnTo>
                      <a:lnTo>
                        <a:pt x="338" y="666"/>
                      </a:lnTo>
                      <a:lnTo>
                        <a:pt x="338" y="666"/>
                      </a:lnTo>
                      <a:lnTo>
                        <a:pt x="338" y="668"/>
                      </a:lnTo>
                      <a:lnTo>
                        <a:pt x="338" y="668"/>
                      </a:lnTo>
                      <a:lnTo>
                        <a:pt x="338" y="670"/>
                      </a:lnTo>
                      <a:lnTo>
                        <a:pt x="338" y="670"/>
                      </a:lnTo>
                      <a:lnTo>
                        <a:pt x="338" y="671"/>
                      </a:lnTo>
                      <a:lnTo>
                        <a:pt x="338" y="672"/>
                      </a:lnTo>
                      <a:lnTo>
                        <a:pt x="338" y="672"/>
                      </a:lnTo>
                      <a:lnTo>
                        <a:pt x="338" y="673"/>
                      </a:lnTo>
                      <a:lnTo>
                        <a:pt x="338" y="674"/>
                      </a:lnTo>
                      <a:lnTo>
                        <a:pt x="338" y="675"/>
                      </a:lnTo>
                      <a:lnTo>
                        <a:pt x="338" y="676"/>
                      </a:lnTo>
                      <a:lnTo>
                        <a:pt x="338" y="676"/>
                      </a:lnTo>
                      <a:lnTo>
                        <a:pt x="338" y="677"/>
                      </a:lnTo>
                      <a:lnTo>
                        <a:pt x="337" y="677"/>
                      </a:lnTo>
                      <a:lnTo>
                        <a:pt x="337" y="678"/>
                      </a:lnTo>
                      <a:lnTo>
                        <a:pt x="336" y="678"/>
                      </a:lnTo>
                      <a:lnTo>
                        <a:pt x="336" y="679"/>
                      </a:lnTo>
                      <a:lnTo>
                        <a:pt x="336" y="679"/>
                      </a:lnTo>
                      <a:lnTo>
                        <a:pt x="335" y="681"/>
                      </a:lnTo>
                      <a:lnTo>
                        <a:pt x="334" y="681"/>
                      </a:lnTo>
                      <a:lnTo>
                        <a:pt x="334" y="682"/>
                      </a:lnTo>
                      <a:lnTo>
                        <a:pt x="334" y="683"/>
                      </a:lnTo>
                      <a:lnTo>
                        <a:pt x="333" y="683"/>
                      </a:lnTo>
                      <a:lnTo>
                        <a:pt x="333" y="684"/>
                      </a:lnTo>
                      <a:lnTo>
                        <a:pt x="332" y="684"/>
                      </a:lnTo>
                      <a:lnTo>
                        <a:pt x="332" y="685"/>
                      </a:lnTo>
                      <a:lnTo>
                        <a:pt x="332" y="685"/>
                      </a:lnTo>
                      <a:lnTo>
                        <a:pt x="332" y="686"/>
                      </a:lnTo>
                      <a:lnTo>
                        <a:pt x="331" y="686"/>
                      </a:lnTo>
                      <a:lnTo>
                        <a:pt x="330" y="686"/>
                      </a:lnTo>
                      <a:lnTo>
                        <a:pt x="329" y="687"/>
                      </a:lnTo>
                      <a:lnTo>
                        <a:pt x="329" y="687"/>
                      </a:lnTo>
                      <a:lnTo>
                        <a:pt x="328" y="687"/>
                      </a:lnTo>
                      <a:lnTo>
                        <a:pt x="327" y="687"/>
                      </a:lnTo>
                      <a:lnTo>
                        <a:pt x="326" y="687"/>
                      </a:lnTo>
                      <a:lnTo>
                        <a:pt x="325" y="688"/>
                      </a:lnTo>
                      <a:lnTo>
                        <a:pt x="324" y="688"/>
                      </a:lnTo>
                      <a:lnTo>
                        <a:pt x="323" y="689"/>
                      </a:lnTo>
                      <a:lnTo>
                        <a:pt x="323" y="689"/>
                      </a:lnTo>
                      <a:lnTo>
                        <a:pt x="323" y="689"/>
                      </a:lnTo>
                      <a:lnTo>
                        <a:pt x="322" y="689"/>
                      </a:lnTo>
                      <a:lnTo>
                        <a:pt x="322" y="690"/>
                      </a:lnTo>
                      <a:lnTo>
                        <a:pt x="322" y="691"/>
                      </a:lnTo>
                      <a:lnTo>
                        <a:pt x="322" y="692"/>
                      </a:lnTo>
                      <a:lnTo>
                        <a:pt x="322" y="693"/>
                      </a:lnTo>
                      <a:lnTo>
                        <a:pt x="322" y="693"/>
                      </a:lnTo>
                      <a:lnTo>
                        <a:pt x="323" y="694"/>
                      </a:lnTo>
                      <a:lnTo>
                        <a:pt x="323" y="695"/>
                      </a:lnTo>
                      <a:lnTo>
                        <a:pt x="323" y="695"/>
                      </a:lnTo>
                      <a:lnTo>
                        <a:pt x="323" y="696"/>
                      </a:lnTo>
                      <a:lnTo>
                        <a:pt x="323" y="697"/>
                      </a:lnTo>
                      <a:lnTo>
                        <a:pt x="323" y="697"/>
                      </a:lnTo>
                      <a:lnTo>
                        <a:pt x="323" y="697"/>
                      </a:lnTo>
                      <a:lnTo>
                        <a:pt x="324" y="697"/>
                      </a:lnTo>
                      <a:lnTo>
                        <a:pt x="325" y="698"/>
                      </a:lnTo>
                      <a:lnTo>
                        <a:pt x="325" y="698"/>
                      </a:lnTo>
                      <a:lnTo>
                        <a:pt x="326" y="698"/>
                      </a:lnTo>
                      <a:lnTo>
                        <a:pt x="327" y="698"/>
                      </a:lnTo>
                      <a:lnTo>
                        <a:pt x="328" y="698"/>
                      </a:lnTo>
                      <a:lnTo>
                        <a:pt x="329" y="698"/>
                      </a:lnTo>
                      <a:lnTo>
                        <a:pt x="329" y="698"/>
                      </a:lnTo>
                      <a:lnTo>
                        <a:pt x="330" y="699"/>
                      </a:lnTo>
                      <a:lnTo>
                        <a:pt x="331" y="699"/>
                      </a:lnTo>
                      <a:lnTo>
                        <a:pt x="332" y="700"/>
                      </a:lnTo>
                      <a:lnTo>
                        <a:pt x="332" y="700"/>
                      </a:lnTo>
                      <a:lnTo>
                        <a:pt x="333" y="700"/>
                      </a:lnTo>
                      <a:lnTo>
                        <a:pt x="334" y="701"/>
                      </a:lnTo>
                      <a:lnTo>
                        <a:pt x="334" y="702"/>
                      </a:lnTo>
                      <a:lnTo>
                        <a:pt x="335" y="703"/>
                      </a:lnTo>
                      <a:lnTo>
                        <a:pt x="335" y="704"/>
                      </a:lnTo>
                      <a:lnTo>
                        <a:pt x="336" y="704"/>
                      </a:lnTo>
                      <a:lnTo>
                        <a:pt x="336" y="705"/>
                      </a:lnTo>
                      <a:lnTo>
                        <a:pt x="336" y="706"/>
                      </a:lnTo>
                      <a:lnTo>
                        <a:pt x="336" y="706"/>
                      </a:lnTo>
                      <a:lnTo>
                        <a:pt x="336" y="707"/>
                      </a:lnTo>
                      <a:lnTo>
                        <a:pt x="336" y="708"/>
                      </a:lnTo>
                      <a:lnTo>
                        <a:pt x="336" y="708"/>
                      </a:lnTo>
                      <a:lnTo>
                        <a:pt x="335" y="708"/>
                      </a:lnTo>
                      <a:lnTo>
                        <a:pt x="335" y="709"/>
                      </a:lnTo>
                      <a:lnTo>
                        <a:pt x="334" y="709"/>
                      </a:lnTo>
                      <a:lnTo>
                        <a:pt x="334" y="709"/>
                      </a:lnTo>
                      <a:lnTo>
                        <a:pt x="333" y="709"/>
                      </a:lnTo>
                      <a:lnTo>
                        <a:pt x="332" y="709"/>
                      </a:lnTo>
                      <a:lnTo>
                        <a:pt x="332" y="710"/>
                      </a:lnTo>
                      <a:lnTo>
                        <a:pt x="331" y="710"/>
                      </a:lnTo>
                      <a:lnTo>
                        <a:pt x="330" y="710"/>
                      </a:lnTo>
                      <a:lnTo>
                        <a:pt x="330" y="710"/>
                      </a:lnTo>
                      <a:lnTo>
                        <a:pt x="329" y="710"/>
                      </a:lnTo>
                      <a:lnTo>
                        <a:pt x="329" y="711"/>
                      </a:lnTo>
                      <a:lnTo>
                        <a:pt x="328" y="712"/>
                      </a:lnTo>
                      <a:lnTo>
                        <a:pt x="328" y="712"/>
                      </a:lnTo>
                      <a:lnTo>
                        <a:pt x="327" y="712"/>
                      </a:lnTo>
                      <a:lnTo>
                        <a:pt x="327" y="713"/>
                      </a:lnTo>
                      <a:lnTo>
                        <a:pt x="327" y="714"/>
                      </a:lnTo>
                      <a:lnTo>
                        <a:pt x="326" y="714"/>
                      </a:lnTo>
                      <a:lnTo>
                        <a:pt x="325" y="715"/>
                      </a:lnTo>
                      <a:lnTo>
                        <a:pt x="325" y="716"/>
                      </a:lnTo>
                      <a:lnTo>
                        <a:pt x="323" y="716"/>
                      </a:lnTo>
                      <a:lnTo>
                        <a:pt x="323" y="717"/>
                      </a:lnTo>
                      <a:lnTo>
                        <a:pt x="322" y="718"/>
                      </a:lnTo>
                      <a:lnTo>
                        <a:pt x="321" y="718"/>
                      </a:lnTo>
                      <a:lnTo>
                        <a:pt x="321" y="719"/>
                      </a:lnTo>
                      <a:lnTo>
                        <a:pt x="321" y="719"/>
                      </a:lnTo>
                      <a:lnTo>
                        <a:pt x="320" y="719"/>
                      </a:lnTo>
                      <a:lnTo>
                        <a:pt x="319" y="719"/>
                      </a:lnTo>
                      <a:lnTo>
                        <a:pt x="319" y="720"/>
                      </a:lnTo>
                      <a:lnTo>
                        <a:pt x="318" y="720"/>
                      </a:lnTo>
                      <a:lnTo>
                        <a:pt x="317" y="721"/>
                      </a:lnTo>
                      <a:lnTo>
                        <a:pt x="317" y="721"/>
                      </a:lnTo>
                      <a:lnTo>
                        <a:pt x="317" y="722"/>
                      </a:lnTo>
                      <a:lnTo>
                        <a:pt x="317" y="723"/>
                      </a:lnTo>
                      <a:lnTo>
                        <a:pt x="317" y="723"/>
                      </a:lnTo>
                      <a:lnTo>
                        <a:pt x="318" y="724"/>
                      </a:lnTo>
                      <a:lnTo>
                        <a:pt x="319" y="725"/>
                      </a:lnTo>
                      <a:lnTo>
                        <a:pt x="319" y="725"/>
                      </a:lnTo>
                      <a:lnTo>
                        <a:pt x="320" y="726"/>
                      </a:lnTo>
                      <a:lnTo>
                        <a:pt x="320" y="727"/>
                      </a:lnTo>
                      <a:lnTo>
                        <a:pt x="321" y="727"/>
                      </a:lnTo>
                      <a:lnTo>
                        <a:pt x="321" y="728"/>
                      </a:lnTo>
                      <a:lnTo>
                        <a:pt x="322" y="729"/>
                      </a:lnTo>
                      <a:lnTo>
                        <a:pt x="323" y="730"/>
                      </a:lnTo>
                      <a:lnTo>
                        <a:pt x="323" y="731"/>
                      </a:lnTo>
                      <a:lnTo>
                        <a:pt x="324" y="731"/>
                      </a:lnTo>
                      <a:lnTo>
                        <a:pt x="325" y="731"/>
                      </a:lnTo>
                      <a:lnTo>
                        <a:pt x="325" y="732"/>
                      </a:lnTo>
                      <a:lnTo>
                        <a:pt x="325" y="733"/>
                      </a:lnTo>
                      <a:lnTo>
                        <a:pt x="326" y="733"/>
                      </a:lnTo>
                      <a:lnTo>
                        <a:pt x="327" y="734"/>
                      </a:lnTo>
                      <a:lnTo>
                        <a:pt x="327" y="735"/>
                      </a:lnTo>
                      <a:lnTo>
                        <a:pt x="327" y="735"/>
                      </a:lnTo>
                      <a:lnTo>
                        <a:pt x="326" y="735"/>
                      </a:lnTo>
                      <a:lnTo>
                        <a:pt x="326" y="736"/>
                      </a:lnTo>
                      <a:lnTo>
                        <a:pt x="325" y="736"/>
                      </a:lnTo>
                      <a:lnTo>
                        <a:pt x="325" y="736"/>
                      </a:lnTo>
                      <a:lnTo>
                        <a:pt x="324" y="735"/>
                      </a:lnTo>
                      <a:lnTo>
                        <a:pt x="323" y="735"/>
                      </a:lnTo>
                      <a:lnTo>
                        <a:pt x="323" y="735"/>
                      </a:lnTo>
                      <a:lnTo>
                        <a:pt x="322" y="735"/>
                      </a:lnTo>
                      <a:lnTo>
                        <a:pt x="322" y="736"/>
                      </a:lnTo>
                      <a:lnTo>
                        <a:pt x="321" y="736"/>
                      </a:lnTo>
                      <a:lnTo>
                        <a:pt x="321" y="736"/>
                      </a:lnTo>
                      <a:lnTo>
                        <a:pt x="320" y="737"/>
                      </a:lnTo>
                      <a:lnTo>
                        <a:pt x="319" y="737"/>
                      </a:lnTo>
                      <a:lnTo>
                        <a:pt x="319" y="737"/>
                      </a:lnTo>
                      <a:lnTo>
                        <a:pt x="318" y="738"/>
                      </a:lnTo>
                      <a:lnTo>
                        <a:pt x="318" y="739"/>
                      </a:lnTo>
                      <a:lnTo>
                        <a:pt x="318" y="740"/>
                      </a:lnTo>
                      <a:lnTo>
                        <a:pt x="309" y="735"/>
                      </a:lnTo>
                      <a:lnTo>
                        <a:pt x="46" y="575"/>
                      </a:lnTo>
                      <a:lnTo>
                        <a:pt x="46" y="575"/>
                      </a:lnTo>
                      <a:lnTo>
                        <a:pt x="46" y="577"/>
                      </a:lnTo>
                      <a:lnTo>
                        <a:pt x="47" y="579"/>
                      </a:lnTo>
                      <a:lnTo>
                        <a:pt x="48" y="581"/>
                      </a:lnTo>
                      <a:lnTo>
                        <a:pt x="50" y="583"/>
                      </a:lnTo>
                      <a:lnTo>
                        <a:pt x="51" y="585"/>
                      </a:lnTo>
                      <a:lnTo>
                        <a:pt x="51" y="588"/>
                      </a:lnTo>
                      <a:lnTo>
                        <a:pt x="52" y="590"/>
                      </a:lnTo>
                      <a:lnTo>
                        <a:pt x="53" y="593"/>
                      </a:lnTo>
                      <a:lnTo>
                        <a:pt x="52" y="596"/>
                      </a:lnTo>
                      <a:lnTo>
                        <a:pt x="52" y="597"/>
                      </a:lnTo>
                      <a:lnTo>
                        <a:pt x="51" y="599"/>
                      </a:lnTo>
                      <a:lnTo>
                        <a:pt x="49" y="601"/>
                      </a:lnTo>
                      <a:lnTo>
                        <a:pt x="47" y="603"/>
                      </a:lnTo>
                      <a:lnTo>
                        <a:pt x="46" y="604"/>
                      </a:lnTo>
                      <a:lnTo>
                        <a:pt x="44" y="606"/>
                      </a:lnTo>
                      <a:lnTo>
                        <a:pt x="42" y="607"/>
                      </a:lnTo>
                      <a:lnTo>
                        <a:pt x="42" y="609"/>
                      </a:lnTo>
                      <a:lnTo>
                        <a:pt x="40" y="609"/>
                      </a:lnTo>
                      <a:lnTo>
                        <a:pt x="38" y="610"/>
                      </a:lnTo>
                      <a:lnTo>
                        <a:pt x="36" y="611"/>
                      </a:lnTo>
                      <a:lnTo>
                        <a:pt x="34" y="611"/>
                      </a:lnTo>
                      <a:lnTo>
                        <a:pt x="32" y="613"/>
                      </a:lnTo>
                      <a:lnTo>
                        <a:pt x="30" y="614"/>
                      </a:lnTo>
                      <a:lnTo>
                        <a:pt x="29" y="616"/>
                      </a:lnTo>
                      <a:lnTo>
                        <a:pt x="27" y="618"/>
                      </a:lnTo>
                      <a:lnTo>
                        <a:pt x="24" y="621"/>
                      </a:lnTo>
                      <a:lnTo>
                        <a:pt x="22" y="622"/>
                      </a:lnTo>
                      <a:lnTo>
                        <a:pt x="21" y="624"/>
                      </a:lnTo>
                      <a:lnTo>
                        <a:pt x="19" y="625"/>
                      </a:lnTo>
                      <a:lnTo>
                        <a:pt x="17" y="625"/>
                      </a:lnTo>
                      <a:lnTo>
                        <a:pt x="16" y="624"/>
                      </a:lnTo>
                      <a:lnTo>
                        <a:pt x="15" y="623"/>
                      </a:lnTo>
                      <a:lnTo>
                        <a:pt x="13" y="622"/>
                      </a:lnTo>
                      <a:lnTo>
                        <a:pt x="11" y="621"/>
                      </a:lnTo>
                      <a:lnTo>
                        <a:pt x="10" y="621"/>
                      </a:lnTo>
                      <a:lnTo>
                        <a:pt x="8" y="622"/>
                      </a:lnTo>
                      <a:lnTo>
                        <a:pt x="6" y="622"/>
                      </a:lnTo>
                      <a:lnTo>
                        <a:pt x="5" y="621"/>
                      </a:lnTo>
                      <a:lnTo>
                        <a:pt x="4" y="620"/>
                      </a:lnTo>
                      <a:lnTo>
                        <a:pt x="2" y="620"/>
                      </a:lnTo>
                      <a:lnTo>
                        <a:pt x="0" y="619"/>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1" name="Freeform 61">
                  <a:extLst>
                    <a:ext uri="{FF2B5EF4-FFF2-40B4-BE49-F238E27FC236}">
                      <a16:creationId xmlns:a16="http://schemas.microsoft.com/office/drawing/2014/main" xmlns="" id="{2FBECFC7-CB33-ABB9-F060-8DAA7A7440EB}"/>
                    </a:ext>
                  </a:extLst>
                </p:cNvPr>
                <p:cNvSpPr>
                  <a:spLocks/>
                </p:cNvSpPr>
                <p:nvPr/>
              </p:nvSpPr>
              <p:spPr bwMode="auto">
                <a:xfrm>
                  <a:off x="1944" y="1071"/>
                  <a:ext cx="372" cy="413"/>
                </a:xfrm>
                <a:custGeom>
                  <a:avLst/>
                  <a:gdLst>
                    <a:gd name="T0" fmla="*/ 358 w 372"/>
                    <a:gd name="T1" fmla="*/ 293 h 413"/>
                    <a:gd name="T2" fmla="*/ 350 w 372"/>
                    <a:gd name="T3" fmla="*/ 332 h 413"/>
                    <a:gd name="T4" fmla="*/ 316 w 372"/>
                    <a:gd name="T5" fmla="*/ 345 h 413"/>
                    <a:gd name="T6" fmla="*/ 300 w 372"/>
                    <a:gd name="T7" fmla="*/ 391 h 413"/>
                    <a:gd name="T8" fmla="*/ 277 w 372"/>
                    <a:gd name="T9" fmla="*/ 384 h 413"/>
                    <a:gd name="T10" fmla="*/ 266 w 372"/>
                    <a:gd name="T11" fmla="*/ 386 h 413"/>
                    <a:gd name="T12" fmla="*/ 274 w 372"/>
                    <a:gd name="T13" fmla="*/ 398 h 413"/>
                    <a:gd name="T14" fmla="*/ 254 w 372"/>
                    <a:gd name="T15" fmla="*/ 413 h 413"/>
                    <a:gd name="T16" fmla="*/ 48 w 372"/>
                    <a:gd name="T17" fmla="*/ 82 h 413"/>
                    <a:gd name="T18" fmla="*/ 4 w 372"/>
                    <a:gd name="T19" fmla="*/ 7 h 413"/>
                    <a:gd name="T20" fmla="*/ 9 w 372"/>
                    <a:gd name="T21" fmla="*/ 4 h 413"/>
                    <a:gd name="T22" fmla="*/ 17 w 372"/>
                    <a:gd name="T23" fmla="*/ 4 h 413"/>
                    <a:gd name="T24" fmla="*/ 24 w 372"/>
                    <a:gd name="T25" fmla="*/ 7 h 413"/>
                    <a:gd name="T26" fmla="*/ 29 w 372"/>
                    <a:gd name="T27" fmla="*/ 7 h 413"/>
                    <a:gd name="T28" fmla="*/ 35 w 372"/>
                    <a:gd name="T29" fmla="*/ 2 h 413"/>
                    <a:gd name="T30" fmla="*/ 42 w 372"/>
                    <a:gd name="T31" fmla="*/ 0 h 413"/>
                    <a:gd name="T32" fmla="*/ 47 w 372"/>
                    <a:gd name="T33" fmla="*/ 4 h 413"/>
                    <a:gd name="T34" fmla="*/ 49 w 372"/>
                    <a:gd name="T35" fmla="*/ 4 h 413"/>
                    <a:gd name="T36" fmla="*/ 53 w 372"/>
                    <a:gd name="T37" fmla="*/ 3 h 413"/>
                    <a:gd name="T38" fmla="*/ 58 w 372"/>
                    <a:gd name="T39" fmla="*/ 2 h 413"/>
                    <a:gd name="T40" fmla="*/ 62 w 372"/>
                    <a:gd name="T41" fmla="*/ 3 h 413"/>
                    <a:gd name="T42" fmla="*/ 66 w 372"/>
                    <a:gd name="T43" fmla="*/ 3 h 413"/>
                    <a:gd name="T44" fmla="*/ 74 w 372"/>
                    <a:gd name="T45" fmla="*/ 5 h 413"/>
                    <a:gd name="T46" fmla="*/ 80 w 372"/>
                    <a:gd name="T47" fmla="*/ 5 h 413"/>
                    <a:gd name="T48" fmla="*/ 85 w 372"/>
                    <a:gd name="T49" fmla="*/ 3 h 413"/>
                    <a:gd name="T50" fmla="*/ 89 w 372"/>
                    <a:gd name="T51" fmla="*/ 3 h 413"/>
                    <a:gd name="T52" fmla="*/ 96 w 372"/>
                    <a:gd name="T53" fmla="*/ 6 h 413"/>
                    <a:gd name="T54" fmla="*/ 104 w 372"/>
                    <a:gd name="T55" fmla="*/ 7 h 413"/>
                    <a:gd name="T56" fmla="*/ 111 w 372"/>
                    <a:gd name="T57" fmla="*/ 7 h 413"/>
                    <a:gd name="T58" fmla="*/ 112 w 372"/>
                    <a:gd name="T59" fmla="*/ 11 h 413"/>
                    <a:gd name="T60" fmla="*/ 118 w 372"/>
                    <a:gd name="T61" fmla="*/ 9 h 413"/>
                    <a:gd name="T62" fmla="*/ 123 w 372"/>
                    <a:gd name="T63" fmla="*/ 11 h 413"/>
                    <a:gd name="T64" fmla="*/ 130 w 372"/>
                    <a:gd name="T65" fmla="*/ 11 h 413"/>
                    <a:gd name="T66" fmla="*/ 135 w 372"/>
                    <a:gd name="T67" fmla="*/ 13 h 413"/>
                    <a:gd name="T68" fmla="*/ 140 w 372"/>
                    <a:gd name="T69" fmla="*/ 11 h 413"/>
                    <a:gd name="T70" fmla="*/ 144 w 372"/>
                    <a:gd name="T71" fmla="*/ 15 h 413"/>
                    <a:gd name="T72" fmla="*/ 150 w 372"/>
                    <a:gd name="T73" fmla="*/ 18 h 413"/>
                    <a:gd name="T74" fmla="*/ 154 w 372"/>
                    <a:gd name="T75" fmla="*/ 19 h 413"/>
                    <a:gd name="T76" fmla="*/ 161 w 372"/>
                    <a:gd name="T77" fmla="*/ 15 h 413"/>
                    <a:gd name="T78" fmla="*/ 165 w 372"/>
                    <a:gd name="T79" fmla="*/ 19 h 413"/>
                    <a:gd name="T80" fmla="*/ 171 w 372"/>
                    <a:gd name="T81" fmla="*/ 21 h 413"/>
                    <a:gd name="T82" fmla="*/ 176 w 372"/>
                    <a:gd name="T83" fmla="*/ 20 h 413"/>
                    <a:gd name="T84" fmla="*/ 184 w 372"/>
                    <a:gd name="T85" fmla="*/ 22 h 413"/>
                    <a:gd name="T86" fmla="*/ 183 w 372"/>
                    <a:gd name="T87" fmla="*/ 19 h 413"/>
                    <a:gd name="T88" fmla="*/ 188 w 372"/>
                    <a:gd name="T89" fmla="*/ 17 h 413"/>
                    <a:gd name="T90" fmla="*/ 192 w 372"/>
                    <a:gd name="T91" fmla="*/ 17 h 413"/>
                    <a:gd name="T92" fmla="*/ 195 w 372"/>
                    <a:gd name="T93" fmla="*/ 17 h 413"/>
                    <a:gd name="T94" fmla="*/ 202 w 372"/>
                    <a:gd name="T95" fmla="*/ 16 h 413"/>
                    <a:gd name="T96" fmla="*/ 205 w 372"/>
                    <a:gd name="T97" fmla="*/ 15 h 413"/>
                    <a:gd name="T98" fmla="*/ 207 w 372"/>
                    <a:gd name="T99" fmla="*/ 18 h 413"/>
                    <a:gd name="T100" fmla="*/ 211 w 372"/>
                    <a:gd name="T101" fmla="*/ 17 h 413"/>
                    <a:gd name="T102" fmla="*/ 214 w 372"/>
                    <a:gd name="T103" fmla="*/ 20 h 413"/>
                    <a:gd name="T104" fmla="*/ 216 w 372"/>
                    <a:gd name="T105" fmla="*/ 21 h 413"/>
                    <a:gd name="T106" fmla="*/ 214 w 372"/>
                    <a:gd name="T107" fmla="*/ 27 h 413"/>
                    <a:gd name="T108" fmla="*/ 214 w 372"/>
                    <a:gd name="T109" fmla="*/ 36 h 413"/>
                    <a:gd name="T110" fmla="*/ 221 w 372"/>
                    <a:gd name="T111" fmla="*/ 41 h 413"/>
                    <a:gd name="T112" fmla="*/ 226 w 372"/>
                    <a:gd name="T113" fmla="*/ 48 h 413"/>
                    <a:gd name="T114" fmla="*/ 239 w 372"/>
                    <a:gd name="T115" fmla="*/ 52 h 413"/>
                    <a:gd name="T116" fmla="*/ 275 w 372"/>
                    <a:gd name="T117" fmla="*/ 39 h 413"/>
                    <a:gd name="T118" fmla="*/ 283 w 372"/>
                    <a:gd name="T119" fmla="*/ 3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413">
                      <a:moveTo>
                        <a:pt x="372" y="282"/>
                      </a:moveTo>
                      <a:lnTo>
                        <a:pt x="370" y="281"/>
                      </a:lnTo>
                      <a:lnTo>
                        <a:pt x="368" y="281"/>
                      </a:lnTo>
                      <a:lnTo>
                        <a:pt x="366" y="281"/>
                      </a:lnTo>
                      <a:lnTo>
                        <a:pt x="363" y="281"/>
                      </a:lnTo>
                      <a:lnTo>
                        <a:pt x="361" y="281"/>
                      </a:lnTo>
                      <a:lnTo>
                        <a:pt x="359" y="281"/>
                      </a:lnTo>
                      <a:lnTo>
                        <a:pt x="358" y="281"/>
                      </a:lnTo>
                      <a:lnTo>
                        <a:pt x="357" y="281"/>
                      </a:lnTo>
                      <a:lnTo>
                        <a:pt x="356" y="282"/>
                      </a:lnTo>
                      <a:lnTo>
                        <a:pt x="356" y="283"/>
                      </a:lnTo>
                      <a:lnTo>
                        <a:pt x="356" y="285"/>
                      </a:lnTo>
                      <a:lnTo>
                        <a:pt x="356" y="286"/>
                      </a:lnTo>
                      <a:lnTo>
                        <a:pt x="357" y="288"/>
                      </a:lnTo>
                      <a:lnTo>
                        <a:pt x="358" y="289"/>
                      </a:lnTo>
                      <a:lnTo>
                        <a:pt x="358" y="291"/>
                      </a:lnTo>
                      <a:lnTo>
                        <a:pt x="358" y="293"/>
                      </a:lnTo>
                      <a:lnTo>
                        <a:pt x="359" y="296"/>
                      </a:lnTo>
                      <a:lnTo>
                        <a:pt x="359" y="299"/>
                      </a:lnTo>
                      <a:lnTo>
                        <a:pt x="359" y="301"/>
                      </a:lnTo>
                      <a:lnTo>
                        <a:pt x="359" y="303"/>
                      </a:lnTo>
                      <a:lnTo>
                        <a:pt x="358" y="305"/>
                      </a:lnTo>
                      <a:lnTo>
                        <a:pt x="358" y="306"/>
                      </a:lnTo>
                      <a:lnTo>
                        <a:pt x="359" y="308"/>
                      </a:lnTo>
                      <a:lnTo>
                        <a:pt x="360" y="312"/>
                      </a:lnTo>
                      <a:lnTo>
                        <a:pt x="360" y="315"/>
                      </a:lnTo>
                      <a:lnTo>
                        <a:pt x="359" y="318"/>
                      </a:lnTo>
                      <a:lnTo>
                        <a:pt x="359" y="321"/>
                      </a:lnTo>
                      <a:lnTo>
                        <a:pt x="358" y="324"/>
                      </a:lnTo>
                      <a:lnTo>
                        <a:pt x="356" y="327"/>
                      </a:lnTo>
                      <a:lnTo>
                        <a:pt x="355" y="329"/>
                      </a:lnTo>
                      <a:lnTo>
                        <a:pt x="354" y="330"/>
                      </a:lnTo>
                      <a:lnTo>
                        <a:pt x="351" y="331"/>
                      </a:lnTo>
                      <a:lnTo>
                        <a:pt x="350" y="332"/>
                      </a:lnTo>
                      <a:lnTo>
                        <a:pt x="349" y="333"/>
                      </a:lnTo>
                      <a:lnTo>
                        <a:pt x="347" y="335"/>
                      </a:lnTo>
                      <a:lnTo>
                        <a:pt x="345" y="337"/>
                      </a:lnTo>
                      <a:lnTo>
                        <a:pt x="342" y="339"/>
                      </a:lnTo>
                      <a:lnTo>
                        <a:pt x="340" y="339"/>
                      </a:lnTo>
                      <a:lnTo>
                        <a:pt x="338" y="339"/>
                      </a:lnTo>
                      <a:lnTo>
                        <a:pt x="336" y="339"/>
                      </a:lnTo>
                      <a:lnTo>
                        <a:pt x="334" y="339"/>
                      </a:lnTo>
                      <a:lnTo>
                        <a:pt x="333" y="338"/>
                      </a:lnTo>
                      <a:lnTo>
                        <a:pt x="332" y="338"/>
                      </a:lnTo>
                      <a:lnTo>
                        <a:pt x="331" y="337"/>
                      </a:lnTo>
                      <a:lnTo>
                        <a:pt x="328" y="338"/>
                      </a:lnTo>
                      <a:lnTo>
                        <a:pt x="325" y="338"/>
                      </a:lnTo>
                      <a:lnTo>
                        <a:pt x="323" y="339"/>
                      </a:lnTo>
                      <a:lnTo>
                        <a:pt x="321" y="341"/>
                      </a:lnTo>
                      <a:lnTo>
                        <a:pt x="318" y="343"/>
                      </a:lnTo>
                      <a:lnTo>
                        <a:pt x="316" y="345"/>
                      </a:lnTo>
                      <a:lnTo>
                        <a:pt x="314" y="347"/>
                      </a:lnTo>
                      <a:lnTo>
                        <a:pt x="312" y="350"/>
                      </a:lnTo>
                      <a:lnTo>
                        <a:pt x="311" y="352"/>
                      </a:lnTo>
                      <a:lnTo>
                        <a:pt x="311" y="354"/>
                      </a:lnTo>
                      <a:lnTo>
                        <a:pt x="313" y="356"/>
                      </a:lnTo>
                      <a:lnTo>
                        <a:pt x="315" y="360"/>
                      </a:lnTo>
                      <a:lnTo>
                        <a:pt x="315" y="368"/>
                      </a:lnTo>
                      <a:lnTo>
                        <a:pt x="315" y="372"/>
                      </a:lnTo>
                      <a:lnTo>
                        <a:pt x="314" y="376"/>
                      </a:lnTo>
                      <a:lnTo>
                        <a:pt x="313" y="378"/>
                      </a:lnTo>
                      <a:lnTo>
                        <a:pt x="311" y="381"/>
                      </a:lnTo>
                      <a:lnTo>
                        <a:pt x="309" y="384"/>
                      </a:lnTo>
                      <a:lnTo>
                        <a:pt x="306" y="385"/>
                      </a:lnTo>
                      <a:lnTo>
                        <a:pt x="304" y="387"/>
                      </a:lnTo>
                      <a:lnTo>
                        <a:pt x="302" y="389"/>
                      </a:lnTo>
                      <a:lnTo>
                        <a:pt x="301" y="390"/>
                      </a:lnTo>
                      <a:lnTo>
                        <a:pt x="300" y="391"/>
                      </a:lnTo>
                      <a:lnTo>
                        <a:pt x="299" y="392"/>
                      </a:lnTo>
                      <a:lnTo>
                        <a:pt x="297" y="392"/>
                      </a:lnTo>
                      <a:lnTo>
                        <a:pt x="295" y="392"/>
                      </a:lnTo>
                      <a:lnTo>
                        <a:pt x="294" y="392"/>
                      </a:lnTo>
                      <a:lnTo>
                        <a:pt x="292" y="390"/>
                      </a:lnTo>
                      <a:lnTo>
                        <a:pt x="290" y="389"/>
                      </a:lnTo>
                      <a:lnTo>
                        <a:pt x="289" y="387"/>
                      </a:lnTo>
                      <a:lnTo>
                        <a:pt x="287" y="386"/>
                      </a:lnTo>
                      <a:lnTo>
                        <a:pt x="286" y="386"/>
                      </a:lnTo>
                      <a:lnTo>
                        <a:pt x="285" y="385"/>
                      </a:lnTo>
                      <a:lnTo>
                        <a:pt x="283" y="385"/>
                      </a:lnTo>
                      <a:lnTo>
                        <a:pt x="282" y="385"/>
                      </a:lnTo>
                      <a:lnTo>
                        <a:pt x="281" y="385"/>
                      </a:lnTo>
                      <a:lnTo>
                        <a:pt x="279" y="384"/>
                      </a:lnTo>
                      <a:lnTo>
                        <a:pt x="278" y="384"/>
                      </a:lnTo>
                      <a:lnTo>
                        <a:pt x="277" y="384"/>
                      </a:lnTo>
                      <a:lnTo>
                        <a:pt x="277" y="384"/>
                      </a:lnTo>
                      <a:lnTo>
                        <a:pt x="276" y="384"/>
                      </a:lnTo>
                      <a:lnTo>
                        <a:pt x="275" y="384"/>
                      </a:lnTo>
                      <a:lnTo>
                        <a:pt x="274" y="384"/>
                      </a:lnTo>
                      <a:lnTo>
                        <a:pt x="273" y="384"/>
                      </a:lnTo>
                      <a:lnTo>
                        <a:pt x="272" y="384"/>
                      </a:lnTo>
                      <a:lnTo>
                        <a:pt x="271" y="384"/>
                      </a:lnTo>
                      <a:lnTo>
                        <a:pt x="271" y="384"/>
                      </a:lnTo>
                      <a:lnTo>
                        <a:pt x="271" y="384"/>
                      </a:lnTo>
                      <a:lnTo>
                        <a:pt x="270" y="384"/>
                      </a:lnTo>
                      <a:lnTo>
                        <a:pt x="269" y="384"/>
                      </a:lnTo>
                      <a:lnTo>
                        <a:pt x="268" y="384"/>
                      </a:lnTo>
                      <a:lnTo>
                        <a:pt x="268" y="385"/>
                      </a:lnTo>
                      <a:lnTo>
                        <a:pt x="267" y="385"/>
                      </a:lnTo>
                      <a:lnTo>
                        <a:pt x="267" y="386"/>
                      </a:lnTo>
                      <a:lnTo>
                        <a:pt x="266" y="386"/>
                      </a:lnTo>
                      <a:lnTo>
                        <a:pt x="266" y="386"/>
                      </a:lnTo>
                      <a:lnTo>
                        <a:pt x="266" y="386"/>
                      </a:lnTo>
                      <a:lnTo>
                        <a:pt x="266" y="387"/>
                      </a:lnTo>
                      <a:lnTo>
                        <a:pt x="266" y="388"/>
                      </a:lnTo>
                      <a:lnTo>
                        <a:pt x="266" y="388"/>
                      </a:lnTo>
                      <a:lnTo>
                        <a:pt x="266" y="389"/>
                      </a:lnTo>
                      <a:lnTo>
                        <a:pt x="267" y="390"/>
                      </a:lnTo>
                      <a:lnTo>
                        <a:pt x="267" y="390"/>
                      </a:lnTo>
                      <a:lnTo>
                        <a:pt x="268" y="391"/>
                      </a:lnTo>
                      <a:lnTo>
                        <a:pt x="268" y="392"/>
                      </a:lnTo>
                      <a:lnTo>
                        <a:pt x="268" y="392"/>
                      </a:lnTo>
                      <a:lnTo>
                        <a:pt x="268" y="392"/>
                      </a:lnTo>
                      <a:lnTo>
                        <a:pt x="269" y="392"/>
                      </a:lnTo>
                      <a:lnTo>
                        <a:pt x="270" y="393"/>
                      </a:lnTo>
                      <a:lnTo>
                        <a:pt x="271" y="394"/>
                      </a:lnTo>
                      <a:lnTo>
                        <a:pt x="272" y="396"/>
                      </a:lnTo>
                      <a:lnTo>
                        <a:pt x="273" y="396"/>
                      </a:lnTo>
                      <a:lnTo>
                        <a:pt x="273" y="397"/>
                      </a:lnTo>
                      <a:lnTo>
                        <a:pt x="274" y="398"/>
                      </a:lnTo>
                      <a:lnTo>
                        <a:pt x="275" y="399"/>
                      </a:lnTo>
                      <a:lnTo>
                        <a:pt x="275" y="400"/>
                      </a:lnTo>
                      <a:lnTo>
                        <a:pt x="275" y="400"/>
                      </a:lnTo>
                      <a:lnTo>
                        <a:pt x="275" y="401"/>
                      </a:lnTo>
                      <a:lnTo>
                        <a:pt x="274" y="402"/>
                      </a:lnTo>
                      <a:lnTo>
                        <a:pt x="273" y="403"/>
                      </a:lnTo>
                      <a:lnTo>
                        <a:pt x="273" y="403"/>
                      </a:lnTo>
                      <a:lnTo>
                        <a:pt x="270" y="405"/>
                      </a:lnTo>
                      <a:lnTo>
                        <a:pt x="269" y="405"/>
                      </a:lnTo>
                      <a:lnTo>
                        <a:pt x="268" y="406"/>
                      </a:lnTo>
                      <a:lnTo>
                        <a:pt x="266" y="407"/>
                      </a:lnTo>
                      <a:lnTo>
                        <a:pt x="265" y="408"/>
                      </a:lnTo>
                      <a:lnTo>
                        <a:pt x="263" y="409"/>
                      </a:lnTo>
                      <a:lnTo>
                        <a:pt x="261" y="411"/>
                      </a:lnTo>
                      <a:lnTo>
                        <a:pt x="259" y="412"/>
                      </a:lnTo>
                      <a:lnTo>
                        <a:pt x="257" y="413"/>
                      </a:lnTo>
                      <a:lnTo>
                        <a:pt x="254" y="413"/>
                      </a:lnTo>
                      <a:lnTo>
                        <a:pt x="250" y="413"/>
                      </a:lnTo>
                      <a:lnTo>
                        <a:pt x="249" y="411"/>
                      </a:lnTo>
                      <a:lnTo>
                        <a:pt x="195" y="313"/>
                      </a:lnTo>
                      <a:lnTo>
                        <a:pt x="194" y="313"/>
                      </a:lnTo>
                      <a:lnTo>
                        <a:pt x="164" y="259"/>
                      </a:lnTo>
                      <a:lnTo>
                        <a:pt x="159" y="251"/>
                      </a:lnTo>
                      <a:lnTo>
                        <a:pt x="158" y="251"/>
                      </a:lnTo>
                      <a:lnTo>
                        <a:pt x="156" y="248"/>
                      </a:lnTo>
                      <a:lnTo>
                        <a:pt x="116" y="187"/>
                      </a:lnTo>
                      <a:lnTo>
                        <a:pt x="101" y="163"/>
                      </a:lnTo>
                      <a:lnTo>
                        <a:pt x="87" y="140"/>
                      </a:lnTo>
                      <a:lnTo>
                        <a:pt x="68" y="113"/>
                      </a:lnTo>
                      <a:lnTo>
                        <a:pt x="65" y="108"/>
                      </a:lnTo>
                      <a:lnTo>
                        <a:pt x="61" y="103"/>
                      </a:lnTo>
                      <a:lnTo>
                        <a:pt x="58" y="98"/>
                      </a:lnTo>
                      <a:lnTo>
                        <a:pt x="51" y="87"/>
                      </a:lnTo>
                      <a:lnTo>
                        <a:pt x="48" y="82"/>
                      </a:lnTo>
                      <a:lnTo>
                        <a:pt x="45" y="76"/>
                      </a:lnTo>
                      <a:lnTo>
                        <a:pt x="40" y="70"/>
                      </a:lnTo>
                      <a:lnTo>
                        <a:pt x="36" y="63"/>
                      </a:lnTo>
                      <a:lnTo>
                        <a:pt x="33" y="57"/>
                      </a:lnTo>
                      <a:lnTo>
                        <a:pt x="29" y="51"/>
                      </a:lnTo>
                      <a:lnTo>
                        <a:pt x="27" y="48"/>
                      </a:lnTo>
                      <a:lnTo>
                        <a:pt x="3" y="11"/>
                      </a:lnTo>
                      <a:lnTo>
                        <a:pt x="0" y="6"/>
                      </a:lnTo>
                      <a:lnTo>
                        <a:pt x="0" y="6"/>
                      </a:lnTo>
                      <a:lnTo>
                        <a:pt x="1" y="6"/>
                      </a:lnTo>
                      <a:lnTo>
                        <a:pt x="1" y="5"/>
                      </a:lnTo>
                      <a:lnTo>
                        <a:pt x="2" y="5"/>
                      </a:lnTo>
                      <a:lnTo>
                        <a:pt x="2" y="6"/>
                      </a:lnTo>
                      <a:lnTo>
                        <a:pt x="3" y="6"/>
                      </a:lnTo>
                      <a:lnTo>
                        <a:pt x="4" y="6"/>
                      </a:lnTo>
                      <a:lnTo>
                        <a:pt x="4" y="7"/>
                      </a:lnTo>
                      <a:lnTo>
                        <a:pt x="4" y="7"/>
                      </a:lnTo>
                      <a:lnTo>
                        <a:pt x="5" y="7"/>
                      </a:lnTo>
                      <a:lnTo>
                        <a:pt x="5" y="6"/>
                      </a:lnTo>
                      <a:lnTo>
                        <a:pt x="6" y="6"/>
                      </a:lnTo>
                      <a:lnTo>
                        <a:pt x="6" y="7"/>
                      </a:lnTo>
                      <a:lnTo>
                        <a:pt x="6" y="7"/>
                      </a:lnTo>
                      <a:lnTo>
                        <a:pt x="6" y="8"/>
                      </a:lnTo>
                      <a:lnTo>
                        <a:pt x="7" y="8"/>
                      </a:lnTo>
                      <a:lnTo>
                        <a:pt x="7" y="8"/>
                      </a:lnTo>
                      <a:lnTo>
                        <a:pt x="8" y="7"/>
                      </a:lnTo>
                      <a:lnTo>
                        <a:pt x="9" y="7"/>
                      </a:lnTo>
                      <a:lnTo>
                        <a:pt x="9" y="7"/>
                      </a:lnTo>
                      <a:lnTo>
                        <a:pt x="9" y="6"/>
                      </a:lnTo>
                      <a:lnTo>
                        <a:pt x="8" y="6"/>
                      </a:lnTo>
                      <a:lnTo>
                        <a:pt x="8" y="5"/>
                      </a:lnTo>
                      <a:lnTo>
                        <a:pt x="8" y="4"/>
                      </a:lnTo>
                      <a:lnTo>
                        <a:pt x="8" y="4"/>
                      </a:lnTo>
                      <a:lnTo>
                        <a:pt x="9" y="4"/>
                      </a:lnTo>
                      <a:lnTo>
                        <a:pt x="9" y="3"/>
                      </a:lnTo>
                      <a:lnTo>
                        <a:pt x="9" y="3"/>
                      </a:lnTo>
                      <a:lnTo>
                        <a:pt x="10" y="3"/>
                      </a:lnTo>
                      <a:lnTo>
                        <a:pt x="11" y="3"/>
                      </a:lnTo>
                      <a:lnTo>
                        <a:pt x="11" y="3"/>
                      </a:lnTo>
                      <a:lnTo>
                        <a:pt x="12" y="3"/>
                      </a:lnTo>
                      <a:lnTo>
                        <a:pt x="13" y="3"/>
                      </a:lnTo>
                      <a:lnTo>
                        <a:pt x="13" y="3"/>
                      </a:lnTo>
                      <a:lnTo>
                        <a:pt x="14" y="3"/>
                      </a:lnTo>
                      <a:lnTo>
                        <a:pt x="15" y="4"/>
                      </a:lnTo>
                      <a:lnTo>
                        <a:pt x="15" y="4"/>
                      </a:lnTo>
                      <a:lnTo>
                        <a:pt x="16" y="4"/>
                      </a:lnTo>
                      <a:lnTo>
                        <a:pt x="16" y="4"/>
                      </a:lnTo>
                      <a:lnTo>
                        <a:pt x="17" y="4"/>
                      </a:lnTo>
                      <a:lnTo>
                        <a:pt x="17" y="5"/>
                      </a:lnTo>
                      <a:lnTo>
                        <a:pt x="17" y="5"/>
                      </a:lnTo>
                      <a:lnTo>
                        <a:pt x="17" y="4"/>
                      </a:lnTo>
                      <a:lnTo>
                        <a:pt x="18" y="4"/>
                      </a:lnTo>
                      <a:lnTo>
                        <a:pt x="19" y="4"/>
                      </a:lnTo>
                      <a:lnTo>
                        <a:pt x="19" y="3"/>
                      </a:lnTo>
                      <a:lnTo>
                        <a:pt x="19" y="3"/>
                      </a:lnTo>
                      <a:lnTo>
                        <a:pt x="19" y="4"/>
                      </a:lnTo>
                      <a:lnTo>
                        <a:pt x="19" y="4"/>
                      </a:lnTo>
                      <a:lnTo>
                        <a:pt x="19" y="5"/>
                      </a:lnTo>
                      <a:lnTo>
                        <a:pt x="20" y="5"/>
                      </a:lnTo>
                      <a:lnTo>
                        <a:pt x="20" y="6"/>
                      </a:lnTo>
                      <a:lnTo>
                        <a:pt x="21" y="6"/>
                      </a:lnTo>
                      <a:lnTo>
                        <a:pt x="21" y="7"/>
                      </a:lnTo>
                      <a:lnTo>
                        <a:pt x="21" y="7"/>
                      </a:lnTo>
                      <a:lnTo>
                        <a:pt x="22" y="7"/>
                      </a:lnTo>
                      <a:lnTo>
                        <a:pt x="23" y="7"/>
                      </a:lnTo>
                      <a:lnTo>
                        <a:pt x="23" y="7"/>
                      </a:lnTo>
                      <a:lnTo>
                        <a:pt x="24" y="7"/>
                      </a:lnTo>
                      <a:lnTo>
                        <a:pt x="24" y="7"/>
                      </a:lnTo>
                      <a:lnTo>
                        <a:pt x="25" y="7"/>
                      </a:lnTo>
                      <a:lnTo>
                        <a:pt x="25" y="8"/>
                      </a:lnTo>
                      <a:lnTo>
                        <a:pt x="26" y="7"/>
                      </a:lnTo>
                      <a:lnTo>
                        <a:pt x="26" y="7"/>
                      </a:lnTo>
                      <a:lnTo>
                        <a:pt x="26" y="6"/>
                      </a:lnTo>
                      <a:lnTo>
                        <a:pt x="25" y="6"/>
                      </a:lnTo>
                      <a:lnTo>
                        <a:pt x="25" y="5"/>
                      </a:lnTo>
                      <a:lnTo>
                        <a:pt x="26" y="5"/>
                      </a:lnTo>
                      <a:lnTo>
                        <a:pt x="26" y="5"/>
                      </a:lnTo>
                      <a:lnTo>
                        <a:pt x="26" y="4"/>
                      </a:lnTo>
                      <a:lnTo>
                        <a:pt x="26" y="5"/>
                      </a:lnTo>
                      <a:lnTo>
                        <a:pt x="27" y="5"/>
                      </a:lnTo>
                      <a:lnTo>
                        <a:pt x="27" y="6"/>
                      </a:lnTo>
                      <a:lnTo>
                        <a:pt x="28" y="6"/>
                      </a:lnTo>
                      <a:lnTo>
                        <a:pt x="28" y="7"/>
                      </a:lnTo>
                      <a:lnTo>
                        <a:pt x="28" y="7"/>
                      </a:lnTo>
                      <a:lnTo>
                        <a:pt x="29" y="7"/>
                      </a:lnTo>
                      <a:lnTo>
                        <a:pt x="30" y="7"/>
                      </a:lnTo>
                      <a:lnTo>
                        <a:pt x="30" y="6"/>
                      </a:lnTo>
                      <a:lnTo>
                        <a:pt x="30" y="6"/>
                      </a:lnTo>
                      <a:lnTo>
                        <a:pt x="30" y="5"/>
                      </a:lnTo>
                      <a:lnTo>
                        <a:pt x="31" y="5"/>
                      </a:lnTo>
                      <a:lnTo>
                        <a:pt x="31" y="6"/>
                      </a:lnTo>
                      <a:lnTo>
                        <a:pt x="32" y="6"/>
                      </a:lnTo>
                      <a:lnTo>
                        <a:pt x="32" y="5"/>
                      </a:lnTo>
                      <a:lnTo>
                        <a:pt x="32" y="4"/>
                      </a:lnTo>
                      <a:lnTo>
                        <a:pt x="32" y="4"/>
                      </a:lnTo>
                      <a:lnTo>
                        <a:pt x="32" y="3"/>
                      </a:lnTo>
                      <a:lnTo>
                        <a:pt x="32" y="2"/>
                      </a:lnTo>
                      <a:lnTo>
                        <a:pt x="32" y="2"/>
                      </a:lnTo>
                      <a:lnTo>
                        <a:pt x="33" y="2"/>
                      </a:lnTo>
                      <a:lnTo>
                        <a:pt x="34" y="2"/>
                      </a:lnTo>
                      <a:lnTo>
                        <a:pt x="34" y="2"/>
                      </a:lnTo>
                      <a:lnTo>
                        <a:pt x="35" y="2"/>
                      </a:lnTo>
                      <a:lnTo>
                        <a:pt x="36" y="2"/>
                      </a:lnTo>
                      <a:lnTo>
                        <a:pt x="36" y="2"/>
                      </a:lnTo>
                      <a:lnTo>
                        <a:pt x="36" y="2"/>
                      </a:lnTo>
                      <a:lnTo>
                        <a:pt x="37" y="2"/>
                      </a:lnTo>
                      <a:lnTo>
                        <a:pt x="38" y="2"/>
                      </a:lnTo>
                      <a:lnTo>
                        <a:pt x="38" y="3"/>
                      </a:lnTo>
                      <a:lnTo>
                        <a:pt x="38" y="2"/>
                      </a:lnTo>
                      <a:lnTo>
                        <a:pt x="39" y="2"/>
                      </a:lnTo>
                      <a:lnTo>
                        <a:pt x="39" y="2"/>
                      </a:lnTo>
                      <a:lnTo>
                        <a:pt x="39" y="1"/>
                      </a:lnTo>
                      <a:lnTo>
                        <a:pt x="38" y="1"/>
                      </a:lnTo>
                      <a:lnTo>
                        <a:pt x="38" y="0"/>
                      </a:lnTo>
                      <a:lnTo>
                        <a:pt x="39" y="0"/>
                      </a:lnTo>
                      <a:lnTo>
                        <a:pt x="40" y="0"/>
                      </a:lnTo>
                      <a:lnTo>
                        <a:pt x="40" y="0"/>
                      </a:lnTo>
                      <a:lnTo>
                        <a:pt x="41" y="0"/>
                      </a:lnTo>
                      <a:lnTo>
                        <a:pt x="42" y="0"/>
                      </a:lnTo>
                      <a:lnTo>
                        <a:pt x="42" y="0"/>
                      </a:lnTo>
                      <a:lnTo>
                        <a:pt x="42" y="1"/>
                      </a:lnTo>
                      <a:lnTo>
                        <a:pt x="42" y="2"/>
                      </a:lnTo>
                      <a:lnTo>
                        <a:pt x="42" y="2"/>
                      </a:lnTo>
                      <a:lnTo>
                        <a:pt x="42" y="2"/>
                      </a:lnTo>
                      <a:lnTo>
                        <a:pt x="43" y="2"/>
                      </a:lnTo>
                      <a:lnTo>
                        <a:pt x="43" y="1"/>
                      </a:lnTo>
                      <a:lnTo>
                        <a:pt x="44" y="1"/>
                      </a:lnTo>
                      <a:lnTo>
                        <a:pt x="44" y="0"/>
                      </a:lnTo>
                      <a:lnTo>
                        <a:pt x="45" y="0"/>
                      </a:lnTo>
                      <a:lnTo>
                        <a:pt x="45" y="0"/>
                      </a:lnTo>
                      <a:lnTo>
                        <a:pt x="45" y="1"/>
                      </a:lnTo>
                      <a:lnTo>
                        <a:pt x="46" y="2"/>
                      </a:lnTo>
                      <a:lnTo>
                        <a:pt x="46" y="2"/>
                      </a:lnTo>
                      <a:lnTo>
                        <a:pt x="46" y="3"/>
                      </a:lnTo>
                      <a:lnTo>
                        <a:pt x="46" y="4"/>
                      </a:lnTo>
                      <a:lnTo>
                        <a:pt x="47" y="4"/>
                      </a:lnTo>
                      <a:lnTo>
                        <a:pt x="47" y="4"/>
                      </a:lnTo>
                      <a:lnTo>
                        <a:pt x="47" y="4"/>
                      </a:lnTo>
                      <a:lnTo>
                        <a:pt x="48" y="4"/>
                      </a:lnTo>
                      <a:lnTo>
                        <a:pt x="48" y="4"/>
                      </a:lnTo>
                      <a:lnTo>
                        <a:pt x="47" y="4"/>
                      </a:lnTo>
                      <a:lnTo>
                        <a:pt x="47" y="3"/>
                      </a:lnTo>
                      <a:lnTo>
                        <a:pt x="47" y="3"/>
                      </a:lnTo>
                      <a:lnTo>
                        <a:pt x="47" y="2"/>
                      </a:lnTo>
                      <a:lnTo>
                        <a:pt x="47" y="2"/>
                      </a:lnTo>
                      <a:lnTo>
                        <a:pt x="47" y="2"/>
                      </a:lnTo>
                      <a:lnTo>
                        <a:pt x="48" y="2"/>
                      </a:lnTo>
                      <a:lnTo>
                        <a:pt x="49" y="2"/>
                      </a:lnTo>
                      <a:lnTo>
                        <a:pt x="49" y="2"/>
                      </a:lnTo>
                      <a:lnTo>
                        <a:pt x="49" y="2"/>
                      </a:lnTo>
                      <a:lnTo>
                        <a:pt x="49" y="3"/>
                      </a:lnTo>
                      <a:lnTo>
                        <a:pt x="49" y="3"/>
                      </a:lnTo>
                      <a:lnTo>
                        <a:pt x="49" y="4"/>
                      </a:lnTo>
                      <a:lnTo>
                        <a:pt x="50" y="4"/>
                      </a:lnTo>
                      <a:lnTo>
                        <a:pt x="51" y="3"/>
                      </a:lnTo>
                      <a:lnTo>
                        <a:pt x="51" y="3"/>
                      </a:lnTo>
                      <a:lnTo>
                        <a:pt x="51" y="4"/>
                      </a:lnTo>
                      <a:lnTo>
                        <a:pt x="51" y="4"/>
                      </a:lnTo>
                      <a:lnTo>
                        <a:pt x="51" y="5"/>
                      </a:lnTo>
                      <a:lnTo>
                        <a:pt x="51" y="6"/>
                      </a:lnTo>
                      <a:lnTo>
                        <a:pt x="51" y="7"/>
                      </a:lnTo>
                      <a:lnTo>
                        <a:pt x="51" y="7"/>
                      </a:lnTo>
                      <a:lnTo>
                        <a:pt x="52" y="7"/>
                      </a:lnTo>
                      <a:lnTo>
                        <a:pt x="53" y="7"/>
                      </a:lnTo>
                      <a:lnTo>
                        <a:pt x="53" y="7"/>
                      </a:lnTo>
                      <a:lnTo>
                        <a:pt x="53" y="6"/>
                      </a:lnTo>
                      <a:lnTo>
                        <a:pt x="53" y="5"/>
                      </a:lnTo>
                      <a:lnTo>
                        <a:pt x="53" y="4"/>
                      </a:lnTo>
                      <a:lnTo>
                        <a:pt x="53" y="4"/>
                      </a:lnTo>
                      <a:lnTo>
                        <a:pt x="53" y="3"/>
                      </a:lnTo>
                      <a:lnTo>
                        <a:pt x="53" y="3"/>
                      </a:lnTo>
                      <a:lnTo>
                        <a:pt x="53" y="2"/>
                      </a:lnTo>
                      <a:lnTo>
                        <a:pt x="54" y="2"/>
                      </a:lnTo>
                      <a:lnTo>
                        <a:pt x="54" y="3"/>
                      </a:lnTo>
                      <a:lnTo>
                        <a:pt x="55" y="3"/>
                      </a:lnTo>
                      <a:lnTo>
                        <a:pt x="55" y="3"/>
                      </a:lnTo>
                      <a:lnTo>
                        <a:pt x="56" y="4"/>
                      </a:lnTo>
                      <a:lnTo>
                        <a:pt x="57" y="4"/>
                      </a:lnTo>
                      <a:lnTo>
                        <a:pt x="57" y="4"/>
                      </a:lnTo>
                      <a:lnTo>
                        <a:pt x="57" y="4"/>
                      </a:lnTo>
                      <a:lnTo>
                        <a:pt x="57" y="4"/>
                      </a:lnTo>
                      <a:lnTo>
                        <a:pt x="57" y="3"/>
                      </a:lnTo>
                      <a:lnTo>
                        <a:pt x="57" y="3"/>
                      </a:lnTo>
                      <a:lnTo>
                        <a:pt x="57" y="2"/>
                      </a:lnTo>
                      <a:lnTo>
                        <a:pt x="57" y="2"/>
                      </a:lnTo>
                      <a:lnTo>
                        <a:pt x="57" y="2"/>
                      </a:lnTo>
                      <a:lnTo>
                        <a:pt x="58" y="2"/>
                      </a:lnTo>
                      <a:lnTo>
                        <a:pt x="58" y="2"/>
                      </a:lnTo>
                      <a:lnTo>
                        <a:pt x="59" y="2"/>
                      </a:lnTo>
                      <a:lnTo>
                        <a:pt x="59" y="2"/>
                      </a:lnTo>
                      <a:lnTo>
                        <a:pt x="60" y="2"/>
                      </a:lnTo>
                      <a:lnTo>
                        <a:pt x="60" y="3"/>
                      </a:lnTo>
                      <a:lnTo>
                        <a:pt x="59" y="4"/>
                      </a:lnTo>
                      <a:lnTo>
                        <a:pt x="59" y="4"/>
                      </a:lnTo>
                      <a:lnTo>
                        <a:pt x="59" y="5"/>
                      </a:lnTo>
                      <a:lnTo>
                        <a:pt x="60" y="5"/>
                      </a:lnTo>
                      <a:lnTo>
                        <a:pt x="60" y="6"/>
                      </a:lnTo>
                      <a:lnTo>
                        <a:pt x="61" y="6"/>
                      </a:lnTo>
                      <a:lnTo>
                        <a:pt x="61" y="5"/>
                      </a:lnTo>
                      <a:lnTo>
                        <a:pt x="61" y="4"/>
                      </a:lnTo>
                      <a:lnTo>
                        <a:pt x="61" y="4"/>
                      </a:lnTo>
                      <a:lnTo>
                        <a:pt x="61" y="4"/>
                      </a:lnTo>
                      <a:lnTo>
                        <a:pt x="61" y="3"/>
                      </a:lnTo>
                      <a:lnTo>
                        <a:pt x="62" y="3"/>
                      </a:lnTo>
                      <a:lnTo>
                        <a:pt x="63" y="3"/>
                      </a:lnTo>
                      <a:lnTo>
                        <a:pt x="63" y="4"/>
                      </a:lnTo>
                      <a:lnTo>
                        <a:pt x="63" y="4"/>
                      </a:lnTo>
                      <a:lnTo>
                        <a:pt x="63" y="5"/>
                      </a:lnTo>
                      <a:lnTo>
                        <a:pt x="64" y="5"/>
                      </a:lnTo>
                      <a:lnTo>
                        <a:pt x="64" y="6"/>
                      </a:lnTo>
                      <a:lnTo>
                        <a:pt x="64" y="6"/>
                      </a:lnTo>
                      <a:lnTo>
                        <a:pt x="64" y="5"/>
                      </a:lnTo>
                      <a:lnTo>
                        <a:pt x="65" y="5"/>
                      </a:lnTo>
                      <a:lnTo>
                        <a:pt x="65" y="4"/>
                      </a:lnTo>
                      <a:lnTo>
                        <a:pt x="65" y="4"/>
                      </a:lnTo>
                      <a:lnTo>
                        <a:pt x="65" y="3"/>
                      </a:lnTo>
                      <a:lnTo>
                        <a:pt x="65" y="2"/>
                      </a:lnTo>
                      <a:lnTo>
                        <a:pt x="65" y="2"/>
                      </a:lnTo>
                      <a:lnTo>
                        <a:pt x="66" y="2"/>
                      </a:lnTo>
                      <a:lnTo>
                        <a:pt x="66" y="2"/>
                      </a:lnTo>
                      <a:lnTo>
                        <a:pt x="66" y="3"/>
                      </a:lnTo>
                      <a:lnTo>
                        <a:pt x="66" y="4"/>
                      </a:lnTo>
                      <a:lnTo>
                        <a:pt x="67" y="4"/>
                      </a:lnTo>
                      <a:lnTo>
                        <a:pt x="68" y="4"/>
                      </a:lnTo>
                      <a:lnTo>
                        <a:pt x="68" y="4"/>
                      </a:lnTo>
                      <a:lnTo>
                        <a:pt x="69" y="4"/>
                      </a:lnTo>
                      <a:lnTo>
                        <a:pt x="70" y="4"/>
                      </a:lnTo>
                      <a:lnTo>
                        <a:pt x="70" y="4"/>
                      </a:lnTo>
                      <a:lnTo>
                        <a:pt x="70" y="4"/>
                      </a:lnTo>
                      <a:lnTo>
                        <a:pt x="70" y="5"/>
                      </a:lnTo>
                      <a:lnTo>
                        <a:pt x="71" y="5"/>
                      </a:lnTo>
                      <a:lnTo>
                        <a:pt x="72" y="5"/>
                      </a:lnTo>
                      <a:lnTo>
                        <a:pt x="72" y="4"/>
                      </a:lnTo>
                      <a:lnTo>
                        <a:pt x="72" y="5"/>
                      </a:lnTo>
                      <a:lnTo>
                        <a:pt x="72" y="4"/>
                      </a:lnTo>
                      <a:lnTo>
                        <a:pt x="73" y="4"/>
                      </a:lnTo>
                      <a:lnTo>
                        <a:pt x="73" y="5"/>
                      </a:lnTo>
                      <a:lnTo>
                        <a:pt x="74" y="5"/>
                      </a:lnTo>
                      <a:lnTo>
                        <a:pt x="74" y="5"/>
                      </a:lnTo>
                      <a:lnTo>
                        <a:pt x="75" y="5"/>
                      </a:lnTo>
                      <a:lnTo>
                        <a:pt x="76" y="5"/>
                      </a:lnTo>
                      <a:lnTo>
                        <a:pt x="76" y="4"/>
                      </a:lnTo>
                      <a:lnTo>
                        <a:pt x="75" y="4"/>
                      </a:lnTo>
                      <a:lnTo>
                        <a:pt x="76" y="4"/>
                      </a:lnTo>
                      <a:lnTo>
                        <a:pt x="76" y="4"/>
                      </a:lnTo>
                      <a:lnTo>
                        <a:pt x="77" y="4"/>
                      </a:lnTo>
                      <a:lnTo>
                        <a:pt x="77" y="4"/>
                      </a:lnTo>
                      <a:lnTo>
                        <a:pt x="78" y="4"/>
                      </a:lnTo>
                      <a:lnTo>
                        <a:pt x="78" y="5"/>
                      </a:lnTo>
                      <a:lnTo>
                        <a:pt x="78" y="6"/>
                      </a:lnTo>
                      <a:lnTo>
                        <a:pt x="78" y="7"/>
                      </a:lnTo>
                      <a:lnTo>
                        <a:pt x="79" y="7"/>
                      </a:lnTo>
                      <a:lnTo>
                        <a:pt x="79" y="6"/>
                      </a:lnTo>
                      <a:lnTo>
                        <a:pt x="80" y="6"/>
                      </a:lnTo>
                      <a:lnTo>
                        <a:pt x="80" y="5"/>
                      </a:lnTo>
                      <a:lnTo>
                        <a:pt x="79" y="5"/>
                      </a:lnTo>
                      <a:lnTo>
                        <a:pt x="78" y="5"/>
                      </a:lnTo>
                      <a:lnTo>
                        <a:pt x="78" y="4"/>
                      </a:lnTo>
                      <a:lnTo>
                        <a:pt x="78" y="4"/>
                      </a:lnTo>
                      <a:lnTo>
                        <a:pt x="79" y="3"/>
                      </a:lnTo>
                      <a:lnTo>
                        <a:pt x="80" y="3"/>
                      </a:lnTo>
                      <a:lnTo>
                        <a:pt x="80" y="3"/>
                      </a:lnTo>
                      <a:lnTo>
                        <a:pt x="81" y="3"/>
                      </a:lnTo>
                      <a:lnTo>
                        <a:pt x="81" y="2"/>
                      </a:lnTo>
                      <a:lnTo>
                        <a:pt x="82" y="3"/>
                      </a:lnTo>
                      <a:lnTo>
                        <a:pt x="83" y="3"/>
                      </a:lnTo>
                      <a:lnTo>
                        <a:pt x="83" y="3"/>
                      </a:lnTo>
                      <a:lnTo>
                        <a:pt x="84" y="2"/>
                      </a:lnTo>
                      <a:lnTo>
                        <a:pt x="85" y="2"/>
                      </a:lnTo>
                      <a:lnTo>
                        <a:pt x="85" y="2"/>
                      </a:lnTo>
                      <a:lnTo>
                        <a:pt x="85" y="3"/>
                      </a:lnTo>
                      <a:lnTo>
                        <a:pt x="85" y="3"/>
                      </a:lnTo>
                      <a:lnTo>
                        <a:pt x="85" y="4"/>
                      </a:lnTo>
                      <a:lnTo>
                        <a:pt x="84" y="4"/>
                      </a:lnTo>
                      <a:lnTo>
                        <a:pt x="83" y="4"/>
                      </a:lnTo>
                      <a:lnTo>
                        <a:pt x="83" y="4"/>
                      </a:lnTo>
                      <a:lnTo>
                        <a:pt x="83" y="4"/>
                      </a:lnTo>
                      <a:lnTo>
                        <a:pt x="83" y="4"/>
                      </a:lnTo>
                      <a:lnTo>
                        <a:pt x="84" y="4"/>
                      </a:lnTo>
                      <a:lnTo>
                        <a:pt x="84" y="5"/>
                      </a:lnTo>
                      <a:lnTo>
                        <a:pt x="85" y="5"/>
                      </a:lnTo>
                      <a:lnTo>
                        <a:pt x="85" y="5"/>
                      </a:lnTo>
                      <a:lnTo>
                        <a:pt x="86" y="5"/>
                      </a:lnTo>
                      <a:lnTo>
                        <a:pt x="87" y="5"/>
                      </a:lnTo>
                      <a:lnTo>
                        <a:pt x="87" y="5"/>
                      </a:lnTo>
                      <a:lnTo>
                        <a:pt x="88" y="5"/>
                      </a:lnTo>
                      <a:lnTo>
                        <a:pt x="89" y="4"/>
                      </a:lnTo>
                      <a:lnTo>
                        <a:pt x="89" y="4"/>
                      </a:lnTo>
                      <a:lnTo>
                        <a:pt x="89" y="3"/>
                      </a:lnTo>
                      <a:lnTo>
                        <a:pt x="89" y="2"/>
                      </a:lnTo>
                      <a:lnTo>
                        <a:pt x="90" y="2"/>
                      </a:lnTo>
                      <a:lnTo>
                        <a:pt x="90" y="3"/>
                      </a:lnTo>
                      <a:lnTo>
                        <a:pt x="91" y="4"/>
                      </a:lnTo>
                      <a:lnTo>
                        <a:pt x="91" y="4"/>
                      </a:lnTo>
                      <a:lnTo>
                        <a:pt x="91" y="4"/>
                      </a:lnTo>
                      <a:lnTo>
                        <a:pt x="92" y="4"/>
                      </a:lnTo>
                      <a:lnTo>
                        <a:pt x="93" y="4"/>
                      </a:lnTo>
                      <a:lnTo>
                        <a:pt x="93" y="5"/>
                      </a:lnTo>
                      <a:lnTo>
                        <a:pt x="93" y="6"/>
                      </a:lnTo>
                      <a:lnTo>
                        <a:pt x="93" y="7"/>
                      </a:lnTo>
                      <a:lnTo>
                        <a:pt x="94" y="7"/>
                      </a:lnTo>
                      <a:lnTo>
                        <a:pt x="94" y="7"/>
                      </a:lnTo>
                      <a:lnTo>
                        <a:pt x="95" y="7"/>
                      </a:lnTo>
                      <a:lnTo>
                        <a:pt x="95" y="7"/>
                      </a:lnTo>
                      <a:lnTo>
                        <a:pt x="95" y="7"/>
                      </a:lnTo>
                      <a:lnTo>
                        <a:pt x="96" y="6"/>
                      </a:lnTo>
                      <a:lnTo>
                        <a:pt x="96" y="5"/>
                      </a:lnTo>
                      <a:lnTo>
                        <a:pt x="97" y="5"/>
                      </a:lnTo>
                      <a:lnTo>
                        <a:pt x="97" y="5"/>
                      </a:lnTo>
                      <a:lnTo>
                        <a:pt x="97" y="4"/>
                      </a:lnTo>
                      <a:lnTo>
                        <a:pt x="98" y="4"/>
                      </a:lnTo>
                      <a:lnTo>
                        <a:pt x="99" y="4"/>
                      </a:lnTo>
                      <a:lnTo>
                        <a:pt x="99" y="4"/>
                      </a:lnTo>
                      <a:lnTo>
                        <a:pt x="100" y="4"/>
                      </a:lnTo>
                      <a:lnTo>
                        <a:pt x="101" y="5"/>
                      </a:lnTo>
                      <a:lnTo>
                        <a:pt x="102" y="4"/>
                      </a:lnTo>
                      <a:lnTo>
                        <a:pt x="102" y="4"/>
                      </a:lnTo>
                      <a:lnTo>
                        <a:pt x="102" y="5"/>
                      </a:lnTo>
                      <a:lnTo>
                        <a:pt x="102" y="6"/>
                      </a:lnTo>
                      <a:lnTo>
                        <a:pt x="103" y="6"/>
                      </a:lnTo>
                      <a:lnTo>
                        <a:pt x="103" y="7"/>
                      </a:lnTo>
                      <a:lnTo>
                        <a:pt x="104" y="7"/>
                      </a:lnTo>
                      <a:lnTo>
                        <a:pt x="104" y="7"/>
                      </a:lnTo>
                      <a:lnTo>
                        <a:pt x="105" y="7"/>
                      </a:lnTo>
                      <a:lnTo>
                        <a:pt x="106" y="7"/>
                      </a:lnTo>
                      <a:lnTo>
                        <a:pt x="106" y="7"/>
                      </a:lnTo>
                      <a:lnTo>
                        <a:pt x="106" y="8"/>
                      </a:lnTo>
                      <a:lnTo>
                        <a:pt x="106" y="9"/>
                      </a:lnTo>
                      <a:lnTo>
                        <a:pt x="107" y="9"/>
                      </a:lnTo>
                      <a:lnTo>
                        <a:pt x="108" y="9"/>
                      </a:lnTo>
                      <a:lnTo>
                        <a:pt x="108" y="9"/>
                      </a:lnTo>
                      <a:lnTo>
                        <a:pt x="108" y="9"/>
                      </a:lnTo>
                      <a:lnTo>
                        <a:pt x="109" y="9"/>
                      </a:lnTo>
                      <a:lnTo>
                        <a:pt x="109" y="8"/>
                      </a:lnTo>
                      <a:lnTo>
                        <a:pt x="109" y="7"/>
                      </a:lnTo>
                      <a:lnTo>
                        <a:pt x="110" y="7"/>
                      </a:lnTo>
                      <a:lnTo>
                        <a:pt x="110" y="7"/>
                      </a:lnTo>
                      <a:lnTo>
                        <a:pt x="110" y="6"/>
                      </a:lnTo>
                      <a:lnTo>
                        <a:pt x="111" y="6"/>
                      </a:lnTo>
                      <a:lnTo>
                        <a:pt x="111" y="7"/>
                      </a:lnTo>
                      <a:lnTo>
                        <a:pt x="111" y="7"/>
                      </a:lnTo>
                      <a:lnTo>
                        <a:pt x="110" y="7"/>
                      </a:lnTo>
                      <a:lnTo>
                        <a:pt x="110" y="8"/>
                      </a:lnTo>
                      <a:lnTo>
                        <a:pt x="110" y="9"/>
                      </a:lnTo>
                      <a:lnTo>
                        <a:pt x="110" y="9"/>
                      </a:lnTo>
                      <a:lnTo>
                        <a:pt x="111" y="9"/>
                      </a:lnTo>
                      <a:lnTo>
                        <a:pt x="112" y="9"/>
                      </a:lnTo>
                      <a:lnTo>
                        <a:pt x="112" y="8"/>
                      </a:lnTo>
                      <a:lnTo>
                        <a:pt x="112" y="8"/>
                      </a:lnTo>
                      <a:lnTo>
                        <a:pt x="113" y="8"/>
                      </a:lnTo>
                      <a:lnTo>
                        <a:pt x="113" y="9"/>
                      </a:lnTo>
                      <a:lnTo>
                        <a:pt x="112" y="9"/>
                      </a:lnTo>
                      <a:lnTo>
                        <a:pt x="112" y="9"/>
                      </a:lnTo>
                      <a:lnTo>
                        <a:pt x="111" y="10"/>
                      </a:lnTo>
                      <a:lnTo>
                        <a:pt x="111" y="11"/>
                      </a:lnTo>
                      <a:lnTo>
                        <a:pt x="112" y="11"/>
                      </a:lnTo>
                      <a:lnTo>
                        <a:pt x="112" y="11"/>
                      </a:lnTo>
                      <a:lnTo>
                        <a:pt x="113" y="10"/>
                      </a:lnTo>
                      <a:lnTo>
                        <a:pt x="114" y="10"/>
                      </a:lnTo>
                      <a:lnTo>
                        <a:pt x="114" y="9"/>
                      </a:lnTo>
                      <a:lnTo>
                        <a:pt x="115" y="10"/>
                      </a:lnTo>
                      <a:lnTo>
                        <a:pt x="115" y="11"/>
                      </a:lnTo>
                      <a:lnTo>
                        <a:pt x="114" y="11"/>
                      </a:lnTo>
                      <a:lnTo>
                        <a:pt x="114" y="11"/>
                      </a:lnTo>
                      <a:lnTo>
                        <a:pt x="115" y="11"/>
                      </a:lnTo>
                      <a:lnTo>
                        <a:pt x="115" y="11"/>
                      </a:lnTo>
                      <a:lnTo>
                        <a:pt x="116" y="11"/>
                      </a:lnTo>
                      <a:lnTo>
                        <a:pt x="116" y="10"/>
                      </a:lnTo>
                      <a:lnTo>
                        <a:pt x="116" y="10"/>
                      </a:lnTo>
                      <a:lnTo>
                        <a:pt x="117" y="9"/>
                      </a:lnTo>
                      <a:lnTo>
                        <a:pt x="118" y="9"/>
                      </a:lnTo>
                      <a:lnTo>
                        <a:pt x="118" y="9"/>
                      </a:lnTo>
                      <a:lnTo>
                        <a:pt x="118" y="9"/>
                      </a:lnTo>
                      <a:lnTo>
                        <a:pt x="118" y="9"/>
                      </a:lnTo>
                      <a:lnTo>
                        <a:pt x="119" y="9"/>
                      </a:lnTo>
                      <a:lnTo>
                        <a:pt x="119" y="10"/>
                      </a:lnTo>
                      <a:lnTo>
                        <a:pt x="119" y="11"/>
                      </a:lnTo>
                      <a:lnTo>
                        <a:pt x="119" y="11"/>
                      </a:lnTo>
                      <a:lnTo>
                        <a:pt x="119" y="12"/>
                      </a:lnTo>
                      <a:lnTo>
                        <a:pt x="119" y="13"/>
                      </a:lnTo>
                      <a:lnTo>
                        <a:pt x="120" y="13"/>
                      </a:lnTo>
                      <a:lnTo>
                        <a:pt x="120" y="12"/>
                      </a:lnTo>
                      <a:lnTo>
                        <a:pt x="121" y="12"/>
                      </a:lnTo>
                      <a:lnTo>
                        <a:pt x="121" y="11"/>
                      </a:lnTo>
                      <a:lnTo>
                        <a:pt x="121" y="11"/>
                      </a:lnTo>
                      <a:lnTo>
                        <a:pt x="121" y="11"/>
                      </a:lnTo>
                      <a:lnTo>
                        <a:pt x="121" y="10"/>
                      </a:lnTo>
                      <a:lnTo>
                        <a:pt x="122" y="10"/>
                      </a:lnTo>
                      <a:lnTo>
                        <a:pt x="122" y="11"/>
                      </a:lnTo>
                      <a:lnTo>
                        <a:pt x="123" y="11"/>
                      </a:lnTo>
                      <a:lnTo>
                        <a:pt x="123" y="11"/>
                      </a:lnTo>
                      <a:lnTo>
                        <a:pt x="123" y="12"/>
                      </a:lnTo>
                      <a:lnTo>
                        <a:pt x="123" y="13"/>
                      </a:lnTo>
                      <a:lnTo>
                        <a:pt x="124" y="13"/>
                      </a:lnTo>
                      <a:lnTo>
                        <a:pt x="125" y="13"/>
                      </a:lnTo>
                      <a:lnTo>
                        <a:pt x="125" y="13"/>
                      </a:lnTo>
                      <a:lnTo>
                        <a:pt x="125" y="12"/>
                      </a:lnTo>
                      <a:lnTo>
                        <a:pt x="126" y="12"/>
                      </a:lnTo>
                      <a:lnTo>
                        <a:pt x="127" y="11"/>
                      </a:lnTo>
                      <a:lnTo>
                        <a:pt x="127" y="11"/>
                      </a:lnTo>
                      <a:lnTo>
                        <a:pt x="127" y="11"/>
                      </a:lnTo>
                      <a:lnTo>
                        <a:pt x="127" y="10"/>
                      </a:lnTo>
                      <a:lnTo>
                        <a:pt x="128" y="10"/>
                      </a:lnTo>
                      <a:lnTo>
                        <a:pt x="129" y="10"/>
                      </a:lnTo>
                      <a:lnTo>
                        <a:pt x="129" y="10"/>
                      </a:lnTo>
                      <a:lnTo>
                        <a:pt x="129" y="11"/>
                      </a:lnTo>
                      <a:lnTo>
                        <a:pt x="130" y="11"/>
                      </a:lnTo>
                      <a:lnTo>
                        <a:pt x="130" y="11"/>
                      </a:lnTo>
                      <a:lnTo>
                        <a:pt x="131" y="11"/>
                      </a:lnTo>
                      <a:lnTo>
                        <a:pt x="131" y="11"/>
                      </a:lnTo>
                      <a:lnTo>
                        <a:pt x="131" y="10"/>
                      </a:lnTo>
                      <a:lnTo>
                        <a:pt x="131" y="10"/>
                      </a:lnTo>
                      <a:lnTo>
                        <a:pt x="131" y="9"/>
                      </a:lnTo>
                      <a:lnTo>
                        <a:pt x="132" y="9"/>
                      </a:lnTo>
                      <a:lnTo>
                        <a:pt x="132" y="9"/>
                      </a:lnTo>
                      <a:lnTo>
                        <a:pt x="133" y="9"/>
                      </a:lnTo>
                      <a:lnTo>
                        <a:pt x="133" y="10"/>
                      </a:lnTo>
                      <a:lnTo>
                        <a:pt x="133" y="11"/>
                      </a:lnTo>
                      <a:lnTo>
                        <a:pt x="133" y="11"/>
                      </a:lnTo>
                      <a:lnTo>
                        <a:pt x="133" y="11"/>
                      </a:lnTo>
                      <a:lnTo>
                        <a:pt x="133" y="12"/>
                      </a:lnTo>
                      <a:lnTo>
                        <a:pt x="134" y="12"/>
                      </a:lnTo>
                      <a:lnTo>
                        <a:pt x="134" y="13"/>
                      </a:lnTo>
                      <a:lnTo>
                        <a:pt x="135" y="13"/>
                      </a:lnTo>
                      <a:lnTo>
                        <a:pt x="135" y="13"/>
                      </a:lnTo>
                      <a:lnTo>
                        <a:pt x="135" y="14"/>
                      </a:lnTo>
                      <a:lnTo>
                        <a:pt x="135" y="13"/>
                      </a:lnTo>
                      <a:lnTo>
                        <a:pt x="136" y="13"/>
                      </a:lnTo>
                      <a:lnTo>
                        <a:pt x="136" y="13"/>
                      </a:lnTo>
                      <a:lnTo>
                        <a:pt x="137" y="13"/>
                      </a:lnTo>
                      <a:lnTo>
                        <a:pt x="137" y="12"/>
                      </a:lnTo>
                      <a:lnTo>
                        <a:pt x="137" y="11"/>
                      </a:lnTo>
                      <a:lnTo>
                        <a:pt x="137" y="11"/>
                      </a:lnTo>
                      <a:lnTo>
                        <a:pt x="138" y="11"/>
                      </a:lnTo>
                      <a:lnTo>
                        <a:pt x="138" y="11"/>
                      </a:lnTo>
                      <a:lnTo>
                        <a:pt x="137" y="12"/>
                      </a:lnTo>
                      <a:lnTo>
                        <a:pt x="138" y="13"/>
                      </a:lnTo>
                      <a:lnTo>
                        <a:pt x="139" y="13"/>
                      </a:lnTo>
                      <a:lnTo>
                        <a:pt x="140" y="13"/>
                      </a:lnTo>
                      <a:lnTo>
                        <a:pt x="140" y="12"/>
                      </a:lnTo>
                      <a:lnTo>
                        <a:pt x="140" y="12"/>
                      </a:lnTo>
                      <a:lnTo>
                        <a:pt x="140" y="11"/>
                      </a:lnTo>
                      <a:lnTo>
                        <a:pt x="141" y="11"/>
                      </a:lnTo>
                      <a:lnTo>
                        <a:pt x="141" y="12"/>
                      </a:lnTo>
                      <a:lnTo>
                        <a:pt x="141" y="13"/>
                      </a:lnTo>
                      <a:lnTo>
                        <a:pt x="142" y="13"/>
                      </a:lnTo>
                      <a:lnTo>
                        <a:pt x="142" y="13"/>
                      </a:lnTo>
                      <a:lnTo>
                        <a:pt x="142" y="14"/>
                      </a:lnTo>
                      <a:lnTo>
                        <a:pt x="143" y="14"/>
                      </a:lnTo>
                      <a:lnTo>
                        <a:pt x="143" y="13"/>
                      </a:lnTo>
                      <a:lnTo>
                        <a:pt x="144" y="13"/>
                      </a:lnTo>
                      <a:lnTo>
                        <a:pt x="144" y="13"/>
                      </a:lnTo>
                      <a:lnTo>
                        <a:pt x="144" y="13"/>
                      </a:lnTo>
                      <a:lnTo>
                        <a:pt x="144" y="13"/>
                      </a:lnTo>
                      <a:lnTo>
                        <a:pt x="144" y="14"/>
                      </a:lnTo>
                      <a:lnTo>
                        <a:pt x="144" y="14"/>
                      </a:lnTo>
                      <a:lnTo>
                        <a:pt x="144" y="15"/>
                      </a:lnTo>
                      <a:lnTo>
                        <a:pt x="144" y="15"/>
                      </a:lnTo>
                      <a:lnTo>
                        <a:pt x="144" y="15"/>
                      </a:lnTo>
                      <a:lnTo>
                        <a:pt x="145" y="15"/>
                      </a:lnTo>
                      <a:lnTo>
                        <a:pt x="146" y="15"/>
                      </a:lnTo>
                      <a:lnTo>
                        <a:pt x="146" y="15"/>
                      </a:lnTo>
                      <a:lnTo>
                        <a:pt x="146" y="15"/>
                      </a:lnTo>
                      <a:lnTo>
                        <a:pt x="147" y="15"/>
                      </a:lnTo>
                      <a:lnTo>
                        <a:pt x="148" y="15"/>
                      </a:lnTo>
                      <a:lnTo>
                        <a:pt x="148" y="15"/>
                      </a:lnTo>
                      <a:lnTo>
                        <a:pt x="148" y="15"/>
                      </a:lnTo>
                      <a:lnTo>
                        <a:pt x="148" y="16"/>
                      </a:lnTo>
                      <a:lnTo>
                        <a:pt x="148" y="17"/>
                      </a:lnTo>
                      <a:lnTo>
                        <a:pt x="147" y="17"/>
                      </a:lnTo>
                      <a:lnTo>
                        <a:pt x="147" y="18"/>
                      </a:lnTo>
                      <a:lnTo>
                        <a:pt x="148" y="18"/>
                      </a:lnTo>
                      <a:lnTo>
                        <a:pt x="148" y="18"/>
                      </a:lnTo>
                      <a:lnTo>
                        <a:pt x="149" y="17"/>
                      </a:lnTo>
                      <a:lnTo>
                        <a:pt x="149" y="18"/>
                      </a:lnTo>
                      <a:lnTo>
                        <a:pt x="150" y="18"/>
                      </a:lnTo>
                      <a:lnTo>
                        <a:pt x="150" y="19"/>
                      </a:lnTo>
                      <a:lnTo>
                        <a:pt x="150" y="19"/>
                      </a:lnTo>
                      <a:lnTo>
                        <a:pt x="150" y="19"/>
                      </a:lnTo>
                      <a:lnTo>
                        <a:pt x="151" y="19"/>
                      </a:lnTo>
                      <a:lnTo>
                        <a:pt x="151" y="19"/>
                      </a:lnTo>
                      <a:lnTo>
                        <a:pt x="151" y="18"/>
                      </a:lnTo>
                      <a:lnTo>
                        <a:pt x="152" y="18"/>
                      </a:lnTo>
                      <a:lnTo>
                        <a:pt x="152" y="18"/>
                      </a:lnTo>
                      <a:lnTo>
                        <a:pt x="152" y="19"/>
                      </a:lnTo>
                      <a:lnTo>
                        <a:pt x="152" y="19"/>
                      </a:lnTo>
                      <a:lnTo>
                        <a:pt x="152" y="20"/>
                      </a:lnTo>
                      <a:lnTo>
                        <a:pt x="153" y="20"/>
                      </a:lnTo>
                      <a:lnTo>
                        <a:pt x="154" y="20"/>
                      </a:lnTo>
                      <a:lnTo>
                        <a:pt x="154" y="20"/>
                      </a:lnTo>
                      <a:lnTo>
                        <a:pt x="155" y="19"/>
                      </a:lnTo>
                      <a:lnTo>
                        <a:pt x="155" y="19"/>
                      </a:lnTo>
                      <a:lnTo>
                        <a:pt x="154" y="19"/>
                      </a:lnTo>
                      <a:lnTo>
                        <a:pt x="154" y="18"/>
                      </a:lnTo>
                      <a:lnTo>
                        <a:pt x="154" y="17"/>
                      </a:lnTo>
                      <a:lnTo>
                        <a:pt x="154" y="17"/>
                      </a:lnTo>
                      <a:lnTo>
                        <a:pt x="155" y="17"/>
                      </a:lnTo>
                      <a:lnTo>
                        <a:pt x="155" y="16"/>
                      </a:lnTo>
                      <a:lnTo>
                        <a:pt x="156" y="16"/>
                      </a:lnTo>
                      <a:lnTo>
                        <a:pt x="156" y="16"/>
                      </a:lnTo>
                      <a:lnTo>
                        <a:pt x="156" y="15"/>
                      </a:lnTo>
                      <a:lnTo>
                        <a:pt x="157" y="15"/>
                      </a:lnTo>
                      <a:lnTo>
                        <a:pt x="157" y="15"/>
                      </a:lnTo>
                      <a:lnTo>
                        <a:pt x="158" y="14"/>
                      </a:lnTo>
                      <a:lnTo>
                        <a:pt x="159" y="14"/>
                      </a:lnTo>
                      <a:lnTo>
                        <a:pt x="159" y="14"/>
                      </a:lnTo>
                      <a:lnTo>
                        <a:pt x="159" y="13"/>
                      </a:lnTo>
                      <a:lnTo>
                        <a:pt x="160" y="13"/>
                      </a:lnTo>
                      <a:lnTo>
                        <a:pt x="160" y="14"/>
                      </a:lnTo>
                      <a:lnTo>
                        <a:pt x="161" y="15"/>
                      </a:lnTo>
                      <a:lnTo>
                        <a:pt x="161" y="15"/>
                      </a:lnTo>
                      <a:lnTo>
                        <a:pt x="161" y="15"/>
                      </a:lnTo>
                      <a:lnTo>
                        <a:pt x="162" y="15"/>
                      </a:lnTo>
                      <a:lnTo>
                        <a:pt x="163" y="15"/>
                      </a:lnTo>
                      <a:lnTo>
                        <a:pt x="163" y="14"/>
                      </a:lnTo>
                      <a:lnTo>
                        <a:pt x="163" y="14"/>
                      </a:lnTo>
                      <a:lnTo>
                        <a:pt x="163" y="15"/>
                      </a:lnTo>
                      <a:lnTo>
                        <a:pt x="163" y="15"/>
                      </a:lnTo>
                      <a:lnTo>
                        <a:pt x="163" y="16"/>
                      </a:lnTo>
                      <a:lnTo>
                        <a:pt x="163" y="17"/>
                      </a:lnTo>
                      <a:lnTo>
                        <a:pt x="162" y="17"/>
                      </a:lnTo>
                      <a:lnTo>
                        <a:pt x="163" y="17"/>
                      </a:lnTo>
                      <a:lnTo>
                        <a:pt x="163" y="18"/>
                      </a:lnTo>
                      <a:lnTo>
                        <a:pt x="163" y="18"/>
                      </a:lnTo>
                      <a:lnTo>
                        <a:pt x="164" y="18"/>
                      </a:lnTo>
                      <a:lnTo>
                        <a:pt x="165" y="18"/>
                      </a:lnTo>
                      <a:lnTo>
                        <a:pt x="165" y="19"/>
                      </a:lnTo>
                      <a:lnTo>
                        <a:pt x="165" y="19"/>
                      </a:lnTo>
                      <a:lnTo>
                        <a:pt x="165" y="20"/>
                      </a:lnTo>
                      <a:lnTo>
                        <a:pt x="165" y="20"/>
                      </a:lnTo>
                      <a:lnTo>
                        <a:pt x="166" y="20"/>
                      </a:lnTo>
                      <a:lnTo>
                        <a:pt x="166" y="19"/>
                      </a:lnTo>
                      <a:lnTo>
                        <a:pt x="167" y="19"/>
                      </a:lnTo>
                      <a:lnTo>
                        <a:pt x="167" y="19"/>
                      </a:lnTo>
                      <a:lnTo>
                        <a:pt x="167" y="18"/>
                      </a:lnTo>
                      <a:lnTo>
                        <a:pt x="168" y="18"/>
                      </a:lnTo>
                      <a:lnTo>
                        <a:pt x="169" y="18"/>
                      </a:lnTo>
                      <a:lnTo>
                        <a:pt x="169" y="19"/>
                      </a:lnTo>
                      <a:lnTo>
                        <a:pt x="169" y="19"/>
                      </a:lnTo>
                      <a:lnTo>
                        <a:pt x="169" y="20"/>
                      </a:lnTo>
                      <a:lnTo>
                        <a:pt x="169" y="20"/>
                      </a:lnTo>
                      <a:lnTo>
                        <a:pt x="170" y="20"/>
                      </a:lnTo>
                      <a:lnTo>
                        <a:pt x="171" y="20"/>
                      </a:lnTo>
                      <a:lnTo>
                        <a:pt x="171" y="21"/>
                      </a:lnTo>
                      <a:lnTo>
                        <a:pt x="171" y="21"/>
                      </a:lnTo>
                      <a:lnTo>
                        <a:pt x="171" y="21"/>
                      </a:lnTo>
                      <a:lnTo>
                        <a:pt x="171" y="21"/>
                      </a:lnTo>
                      <a:lnTo>
                        <a:pt x="171" y="20"/>
                      </a:lnTo>
                      <a:lnTo>
                        <a:pt x="172" y="20"/>
                      </a:lnTo>
                      <a:lnTo>
                        <a:pt x="172" y="21"/>
                      </a:lnTo>
                      <a:lnTo>
                        <a:pt x="173" y="21"/>
                      </a:lnTo>
                      <a:lnTo>
                        <a:pt x="173" y="21"/>
                      </a:lnTo>
                      <a:lnTo>
                        <a:pt x="173" y="21"/>
                      </a:lnTo>
                      <a:lnTo>
                        <a:pt x="174" y="22"/>
                      </a:lnTo>
                      <a:lnTo>
                        <a:pt x="174" y="23"/>
                      </a:lnTo>
                      <a:lnTo>
                        <a:pt x="175" y="23"/>
                      </a:lnTo>
                      <a:lnTo>
                        <a:pt x="176" y="22"/>
                      </a:lnTo>
                      <a:lnTo>
                        <a:pt x="176" y="21"/>
                      </a:lnTo>
                      <a:lnTo>
                        <a:pt x="176" y="21"/>
                      </a:lnTo>
                      <a:lnTo>
                        <a:pt x="176" y="21"/>
                      </a:lnTo>
                      <a:lnTo>
                        <a:pt x="176" y="20"/>
                      </a:lnTo>
                      <a:lnTo>
                        <a:pt x="177" y="19"/>
                      </a:lnTo>
                      <a:lnTo>
                        <a:pt x="178" y="19"/>
                      </a:lnTo>
                      <a:lnTo>
                        <a:pt x="178" y="19"/>
                      </a:lnTo>
                      <a:lnTo>
                        <a:pt x="178" y="19"/>
                      </a:lnTo>
                      <a:lnTo>
                        <a:pt x="178" y="18"/>
                      </a:lnTo>
                      <a:lnTo>
                        <a:pt x="179" y="18"/>
                      </a:lnTo>
                      <a:lnTo>
                        <a:pt x="179" y="19"/>
                      </a:lnTo>
                      <a:lnTo>
                        <a:pt x="180" y="19"/>
                      </a:lnTo>
                      <a:lnTo>
                        <a:pt x="180" y="19"/>
                      </a:lnTo>
                      <a:lnTo>
                        <a:pt x="180" y="20"/>
                      </a:lnTo>
                      <a:lnTo>
                        <a:pt x="180" y="21"/>
                      </a:lnTo>
                      <a:lnTo>
                        <a:pt x="181" y="21"/>
                      </a:lnTo>
                      <a:lnTo>
                        <a:pt x="181" y="21"/>
                      </a:lnTo>
                      <a:lnTo>
                        <a:pt x="182" y="21"/>
                      </a:lnTo>
                      <a:lnTo>
                        <a:pt x="182" y="22"/>
                      </a:lnTo>
                      <a:lnTo>
                        <a:pt x="183" y="22"/>
                      </a:lnTo>
                      <a:lnTo>
                        <a:pt x="184" y="22"/>
                      </a:lnTo>
                      <a:lnTo>
                        <a:pt x="184" y="21"/>
                      </a:lnTo>
                      <a:lnTo>
                        <a:pt x="184" y="21"/>
                      </a:lnTo>
                      <a:lnTo>
                        <a:pt x="184" y="20"/>
                      </a:lnTo>
                      <a:lnTo>
                        <a:pt x="183" y="20"/>
                      </a:lnTo>
                      <a:lnTo>
                        <a:pt x="183" y="19"/>
                      </a:lnTo>
                      <a:lnTo>
                        <a:pt x="182" y="19"/>
                      </a:lnTo>
                      <a:lnTo>
                        <a:pt x="182" y="20"/>
                      </a:lnTo>
                      <a:lnTo>
                        <a:pt x="182" y="21"/>
                      </a:lnTo>
                      <a:lnTo>
                        <a:pt x="182" y="21"/>
                      </a:lnTo>
                      <a:lnTo>
                        <a:pt x="182" y="21"/>
                      </a:lnTo>
                      <a:lnTo>
                        <a:pt x="182" y="21"/>
                      </a:lnTo>
                      <a:lnTo>
                        <a:pt x="181" y="20"/>
                      </a:lnTo>
                      <a:lnTo>
                        <a:pt x="181" y="19"/>
                      </a:lnTo>
                      <a:lnTo>
                        <a:pt x="182" y="19"/>
                      </a:lnTo>
                      <a:lnTo>
                        <a:pt x="182" y="19"/>
                      </a:lnTo>
                      <a:lnTo>
                        <a:pt x="182" y="19"/>
                      </a:lnTo>
                      <a:lnTo>
                        <a:pt x="183" y="19"/>
                      </a:lnTo>
                      <a:lnTo>
                        <a:pt x="184" y="19"/>
                      </a:lnTo>
                      <a:lnTo>
                        <a:pt x="184" y="19"/>
                      </a:lnTo>
                      <a:lnTo>
                        <a:pt x="185" y="19"/>
                      </a:lnTo>
                      <a:lnTo>
                        <a:pt x="185" y="19"/>
                      </a:lnTo>
                      <a:lnTo>
                        <a:pt x="184" y="19"/>
                      </a:lnTo>
                      <a:lnTo>
                        <a:pt x="185" y="20"/>
                      </a:lnTo>
                      <a:lnTo>
                        <a:pt x="186" y="20"/>
                      </a:lnTo>
                      <a:lnTo>
                        <a:pt x="186" y="20"/>
                      </a:lnTo>
                      <a:lnTo>
                        <a:pt x="187" y="21"/>
                      </a:lnTo>
                      <a:lnTo>
                        <a:pt x="188" y="21"/>
                      </a:lnTo>
                      <a:lnTo>
                        <a:pt x="188" y="21"/>
                      </a:lnTo>
                      <a:lnTo>
                        <a:pt x="188" y="20"/>
                      </a:lnTo>
                      <a:lnTo>
                        <a:pt x="188" y="19"/>
                      </a:lnTo>
                      <a:lnTo>
                        <a:pt x="188" y="19"/>
                      </a:lnTo>
                      <a:lnTo>
                        <a:pt x="188" y="19"/>
                      </a:lnTo>
                      <a:lnTo>
                        <a:pt x="188" y="18"/>
                      </a:lnTo>
                      <a:lnTo>
                        <a:pt x="188" y="17"/>
                      </a:lnTo>
                      <a:lnTo>
                        <a:pt x="188" y="17"/>
                      </a:lnTo>
                      <a:lnTo>
                        <a:pt x="189" y="17"/>
                      </a:lnTo>
                      <a:lnTo>
                        <a:pt x="190" y="17"/>
                      </a:lnTo>
                      <a:lnTo>
                        <a:pt x="190" y="16"/>
                      </a:lnTo>
                      <a:lnTo>
                        <a:pt x="190" y="15"/>
                      </a:lnTo>
                      <a:lnTo>
                        <a:pt x="190" y="15"/>
                      </a:lnTo>
                      <a:lnTo>
                        <a:pt x="191" y="14"/>
                      </a:lnTo>
                      <a:lnTo>
                        <a:pt x="192" y="14"/>
                      </a:lnTo>
                      <a:lnTo>
                        <a:pt x="192" y="14"/>
                      </a:lnTo>
                      <a:lnTo>
                        <a:pt x="192" y="15"/>
                      </a:lnTo>
                      <a:lnTo>
                        <a:pt x="192" y="15"/>
                      </a:lnTo>
                      <a:lnTo>
                        <a:pt x="193" y="15"/>
                      </a:lnTo>
                      <a:lnTo>
                        <a:pt x="193" y="16"/>
                      </a:lnTo>
                      <a:lnTo>
                        <a:pt x="192" y="16"/>
                      </a:lnTo>
                      <a:lnTo>
                        <a:pt x="192" y="16"/>
                      </a:lnTo>
                      <a:lnTo>
                        <a:pt x="192" y="17"/>
                      </a:lnTo>
                      <a:lnTo>
                        <a:pt x="192" y="17"/>
                      </a:lnTo>
                      <a:lnTo>
                        <a:pt x="193" y="17"/>
                      </a:lnTo>
                      <a:lnTo>
                        <a:pt x="194" y="17"/>
                      </a:lnTo>
                      <a:lnTo>
                        <a:pt x="194" y="16"/>
                      </a:lnTo>
                      <a:lnTo>
                        <a:pt x="194" y="15"/>
                      </a:lnTo>
                      <a:lnTo>
                        <a:pt x="195" y="15"/>
                      </a:lnTo>
                      <a:lnTo>
                        <a:pt x="195" y="15"/>
                      </a:lnTo>
                      <a:lnTo>
                        <a:pt x="195" y="14"/>
                      </a:lnTo>
                      <a:lnTo>
                        <a:pt x="195" y="15"/>
                      </a:lnTo>
                      <a:lnTo>
                        <a:pt x="196" y="15"/>
                      </a:lnTo>
                      <a:lnTo>
                        <a:pt x="196" y="15"/>
                      </a:lnTo>
                      <a:lnTo>
                        <a:pt x="197" y="15"/>
                      </a:lnTo>
                      <a:lnTo>
                        <a:pt x="197" y="16"/>
                      </a:lnTo>
                      <a:lnTo>
                        <a:pt x="197" y="17"/>
                      </a:lnTo>
                      <a:lnTo>
                        <a:pt x="196" y="17"/>
                      </a:lnTo>
                      <a:lnTo>
                        <a:pt x="196" y="16"/>
                      </a:lnTo>
                      <a:lnTo>
                        <a:pt x="195" y="16"/>
                      </a:lnTo>
                      <a:lnTo>
                        <a:pt x="195" y="17"/>
                      </a:lnTo>
                      <a:lnTo>
                        <a:pt x="195" y="17"/>
                      </a:lnTo>
                      <a:lnTo>
                        <a:pt x="196" y="17"/>
                      </a:lnTo>
                      <a:lnTo>
                        <a:pt x="196" y="18"/>
                      </a:lnTo>
                      <a:lnTo>
                        <a:pt x="197" y="18"/>
                      </a:lnTo>
                      <a:lnTo>
                        <a:pt x="197" y="18"/>
                      </a:lnTo>
                      <a:lnTo>
                        <a:pt x="197" y="17"/>
                      </a:lnTo>
                      <a:lnTo>
                        <a:pt x="197" y="17"/>
                      </a:lnTo>
                      <a:lnTo>
                        <a:pt x="198" y="17"/>
                      </a:lnTo>
                      <a:lnTo>
                        <a:pt x="198" y="17"/>
                      </a:lnTo>
                      <a:lnTo>
                        <a:pt x="199" y="17"/>
                      </a:lnTo>
                      <a:lnTo>
                        <a:pt x="199" y="17"/>
                      </a:lnTo>
                      <a:lnTo>
                        <a:pt x="200" y="17"/>
                      </a:lnTo>
                      <a:lnTo>
                        <a:pt x="200" y="17"/>
                      </a:lnTo>
                      <a:lnTo>
                        <a:pt x="201" y="17"/>
                      </a:lnTo>
                      <a:lnTo>
                        <a:pt x="201" y="16"/>
                      </a:lnTo>
                      <a:lnTo>
                        <a:pt x="201" y="17"/>
                      </a:lnTo>
                      <a:lnTo>
                        <a:pt x="202" y="16"/>
                      </a:lnTo>
                      <a:lnTo>
                        <a:pt x="202" y="17"/>
                      </a:lnTo>
                      <a:lnTo>
                        <a:pt x="203" y="17"/>
                      </a:lnTo>
                      <a:lnTo>
                        <a:pt x="203" y="16"/>
                      </a:lnTo>
                      <a:lnTo>
                        <a:pt x="202" y="16"/>
                      </a:lnTo>
                      <a:lnTo>
                        <a:pt x="201" y="15"/>
                      </a:lnTo>
                      <a:lnTo>
                        <a:pt x="201" y="15"/>
                      </a:lnTo>
                      <a:lnTo>
                        <a:pt x="201" y="15"/>
                      </a:lnTo>
                      <a:lnTo>
                        <a:pt x="201" y="15"/>
                      </a:lnTo>
                      <a:lnTo>
                        <a:pt x="202" y="15"/>
                      </a:lnTo>
                      <a:lnTo>
                        <a:pt x="203" y="15"/>
                      </a:lnTo>
                      <a:lnTo>
                        <a:pt x="203" y="15"/>
                      </a:lnTo>
                      <a:lnTo>
                        <a:pt x="203" y="14"/>
                      </a:lnTo>
                      <a:lnTo>
                        <a:pt x="204" y="13"/>
                      </a:lnTo>
                      <a:lnTo>
                        <a:pt x="205" y="13"/>
                      </a:lnTo>
                      <a:lnTo>
                        <a:pt x="205" y="13"/>
                      </a:lnTo>
                      <a:lnTo>
                        <a:pt x="205" y="14"/>
                      </a:lnTo>
                      <a:lnTo>
                        <a:pt x="205" y="15"/>
                      </a:lnTo>
                      <a:lnTo>
                        <a:pt x="204" y="15"/>
                      </a:lnTo>
                      <a:lnTo>
                        <a:pt x="204" y="15"/>
                      </a:lnTo>
                      <a:lnTo>
                        <a:pt x="204" y="16"/>
                      </a:lnTo>
                      <a:lnTo>
                        <a:pt x="205" y="16"/>
                      </a:lnTo>
                      <a:lnTo>
                        <a:pt x="205" y="16"/>
                      </a:lnTo>
                      <a:lnTo>
                        <a:pt x="206" y="16"/>
                      </a:lnTo>
                      <a:lnTo>
                        <a:pt x="207" y="17"/>
                      </a:lnTo>
                      <a:lnTo>
                        <a:pt x="206" y="17"/>
                      </a:lnTo>
                      <a:lnTo>
                        <a:pt x="206" y="17"/>
                      </a:lnTo>
                      <a:lnTo>
                        <a:pt x="206" y="18"/>
                      </a:lnTo>
                      <a:lnTo>
                        <a:pt x="206" y="19"/>
                      </a:lnTo>
                      <a:lnTo>
                        <a:pt x="206" y="19"/>
                      </a:lnTo>
                      <a:lnTo>
                        <a:pt x="207" y="20"/>
                      </a:lnTo>
                      <a:lnTo>
                        <a:pt x="207" y="19"/>
                      </a:lnTo>
                      <a:lnTo>
                        <a:pt x="207" y="19"/>
                      </a:lnTo>
                      <a:lnTo>
                        <a:pt x="207" y="19"/>
                      </a:lnTo>
                      <a:lnTo>
                        <a:pt x="207" y="18"/>
                      </a:lnTo>
                      <a:lnTo>
                        <a:pt x="207" y="17"/>
                      </a:lnTo>
                      <a:lnTo>
                        <a:pt x="207" y="17"/>
                      </a:lnTo>
                      <a:lnTo>
                        <a:pt x="208" y="17"/>
                      </a:lnTo>
                      <a:lnTo>
                        <a:pt x="208" y="16"/>
                      </a:lnTo>
                      <a:lnTo>
                        <a:pt x="208" y="15"/>
                      </a:lnTo>
                      <a:lnTo>
                        <a:pt x="209" y="15"/>
                      </a:lnTo>
                      <a:lnTo>
                        <a:pt x="209" y="15"/>
                      </a:lnTo>
                      <a:lnTo>
                        <a:pt x="209" y="16"/>
                      </a:lnTo>
                      <a:lnTo>
                        <a:pt x="209" y="16"/>
                      </a:lnTo>
                      <a:lnTo>
                        <a:pt x="209" y="17"/>
                      </a:lnTo>
                      <a:lnTo>
                        <a:pt x="209" y="17"/>
                      </a:lnTo>
                      <a:lnTo>
                        <a:pt x="209" y="17"/>
                      </a:lnTo>
                      <a:lnTo>
                        <a:pt x="210" y="17"/>
                      </a:lnTo>
                      <a:lnTo>
                        <a:pt x="211" y="17"/>
                      </a:lnTo>
                      <a:lnTo>
                        <a:pt x="211" y="17"/>
                      </a:lnTo>
                      <a:lnTo>
                        <a:pt x="211" y="18"/>
                      </a:lnTo>
                      <a:lnTo>
                        <a:pt x="211" y="17"/>
                      </a:lnTo>
                      <a:lnTo>
                        <a:pt x="212" y="17"/>
                      </a:lnTo>
                      <a:lnTo>
                        <a:pt x="213" y="17"/>
                      </a:lnTo>
                      <a:lnTo>
                        <a:pt x="214" y="17"/>
                      </a:lnTo>
                      <a:lnTo>
                        <a:pt x="214" y="16"/>
                      </a:lnTo>
                      <a:lnTo>
                        <a:pt x="214" y="16"/>
                      </a:lnTo>
                      <a:lnTo>
                        <a:pt x="215" y="16"/>
                      </a:lnTo>
                      <a:lnTo>
                        <a:pt x="214" y="17"/>
                      </a:lnTo>
                      <a:lnTo>
                        <a:pt x="214" y="17"/>
                      </a:lnTo>
                      <a:lnTo>
                        <a:pt x="215" y="17"/>
                      </a:lnTo>
                      <a:lnTo>
                        <a:pt x="215" y="18"/>
                      </a:lnTo>
                      <a:lnTo>
                        <a:pt x="215" y="19"/>
                      </a:lnTo>
                      <a:lnTo>
                        <a:pt x="214" y="19"/>
                      </a:lnTo>
                      <a:lnTo>
                        <a:pt x="214" y="19"/>
                      </a:lnTo>
                      <a:lnTo>
                        <a:pt x="214" y="19"/>
                      </a:lnTo>
                      <a:lnTo>
                        <a:pt x="213" y="19"/>
                      </a:lnTo>
                      <a:lnTo>
                        <a:pt x="213" y="20"/>
                      </a:lnTo>
                      <a:lnTo>
                        <a:pt x="214" y="20"/>
                      </a:lnTo>
                      <a:lnTo>
                        <a:pt x="214" y="21"/>
                      </a:lnTo>
                      <a:lnTo>
                        <a:pt x="214" y="21"/>
                      </a:lnTo>
                      <a:lnTo>
                        <a:pt x="214" y="20"/>
                      </a:lnTo>
                      <a:lnTo>
                        <a:pt x="214" y="19"/>
                      </a:lnTo>
                      <a:lnTo>
                        <a:pt x="215" y="19"/>
                      </a:lnTo>
                      <a:lnTo>
                        <a:pt x="216" y="18"/>
                      </a:lnTo>
                      <a:lnTo>
                        <a:pt x="216" y="18"/>
                      </a:lnTo>
                      <a:lnTo>
                        <a:pt x="217" y="18"/>
                      </a:lnTo>
                      <a:lnTo>
                        <a:pt x="218" y="18"/>
                      </a:lnTo>
                      <a:lnTo>
                        <a:pt x="218" y="19"/>
                      </a:lnTo>
                      <a:lnTo>
                        <a:pt x="217" y="19"/>
                      </a:lnTo>
                      <a:lnTo>
                        <a:pt x="217" y="19"/>
                      </a:lnTo>
                      <a:lnTo>
                        <a:pt x="216" y="20"/>
                      </a:lnTo>
                      <a:lnTo>
                        <a:pt x="216" y="21"/>
                      </a:lnTo>
                      <a:lnTo>
                        <a:pt x="217" y="21"/>
                      </a:lnTo>
                      <a:lnTo>
                        <a:pt x="217" y="21"/>
                      </a:lnTo>
                      <a:lnTo>
                        <a:pt x="216" y="21"/>
                      </a:lnTo>
                      <a:lnTo>
                        <a:pt x="216" y="21"/>
                      </a:lnTo>
                      <a:lnTo>
                        <a:pt x="216" y="22"/>
                      </a:lnTo>
                      <a:lnTo>
                        <a:pt x="216" y="22"/>
                      </a:lnTo>
                      <a:lnTo>
                        <a:pt x="216" y="23"/>
                      </a:lnTo>
                      <a:lnTo>
                        <a:pt x="216" y="23"/>
                      </a:lnTo>
                      <a:lnTo>
                        <a:pt x="216" y="24"/>
                      </a:lnTo>
                      <a:lnTo>
                        <a:pt x="216" y="25"/>
                      </a:lnTo>
                      <a:lnTo>
                        <a:pt x="217" y="25"/>
                      </a:lnTo>
                      <a:lnTo>
                        <a:pt x="216" y="25"/>
                      </a:lnTo>
                      <a:lnTo>
                        <a:pt x="217" y="25"/>
                      </a:lnTo>
                      <a:lnTo>
                        <a:pt x="217" y="26"/>
                      </a:lnTo>
                      <a:lnTo>
                        <a:pt x="216" y="26"/>
                      </a:lnTo>
                      <a:lnTo>
                        <a:pt x="216" y="26"/>
                      </a:lnTo>
                      <a:lnTo>
                        <a:pt x="216" y="26"/>
                      </a:lnTo>
                      <a:lnTo>
                        <a:pt x="216" y="27"/>
                      </a:lnTo>
                      <a:lnTo>
                        <a:pt x="215" y="27"/>
                      </a:lnTo>
                      <a:lnTo>
                        <a:pt x="214" y="27"/>
                      </a:lnTo>
                      <a:lnTo>
                        <a:pt x="214" y="28"/>
                      </a:lnTo>
                      <a:lnTo>
                        <a:pt x="214" y="28"/>
                      </a:lnTo>
                      <a:lnTo>
                        <a:pt x="214" y="29"/>
                      </a:lnTo>
                      <a:lnTo>
                        <a:pt x="214" y="29"/>
                      </a:lnTo>
                      <a:lnTo>
                        <a:pt x="213" y="30"/>
                      </a:lnTo>
                      <a:lnTo>
                        <a:pt x="213" y="30"/>
                      </a:lnTo>
                      <a:lnTo>
                        <a:pt x="213" y="31"/>
                      </a:lnTo>
                      <a:lnTo>
                        <a:pt x="213" y="32"/>
                      </a:lnTo>
                      <a:lnTo>
                        <a:pt x="214" y="32"/>
                      </a:lnTo>
                      <a:lnTo>
                        <a:pt x="214" y="32"/>
                      </a:lnTo>
                      <a:lnTo>
                        <a:pt x="214" y="33"/>
                      </a:lnTo>
                      <a:lnTo>
                        <a:pt x="213" y="34"/>
                      </a:lnTo>
                      <a:lnTo>
                        <a:pt x="213" y="34"/>
                      </a:lnTo>
                      <a:lnTo>
                        <a:pt x="213" y="35"/>
                      </a:lnTo>
                      <a:lnTo>
                        <a:pt x="214" y="36"/>
                      </a:lnTo>
                      <a:lnTo>
                        <a:pt x="214" y="36"/>
                      </a:lnTo>
                      <a:lnTo>
                        <a:pt x="214" y="36"/>
                      </a:lnTo>
                      <a:lnTo>
                        <a:pt x="215" y="36"/>
                      </a:lnTo>
                      <a:lnTo>
                        <a:pt x="215" y="37"/>
                      </a:lnTo>
                      <a:lnTo>
                        <a:pt x="215" y="38"/>
                      </a:lnTo>
                      <a:lnTo>
                        <a:pt x="215" y="38"/>
                      </a:lnTo>
                      <a:lnTo>
                        <a:pt x="215" y="39"/>
                      </a:lnTo>
                      <a:lnTo>
                        <a:pt x="216" y="39"/>
                      </a:lnTo>
                      <a:lnTo>
                        <a:pt x="216" y="39"/>
                      </a:lnTo>
                      <a:lnTo>
                        <a:pt x="216" y="40"/>
                      </a:lnTo>
                      <a:lnTo>
                        <a:pt x="217" y="40"/>
                      </a:lnTo>
                      <a:lnTo>
                        <a:pt x="217" y="41"/>
                      </a:lnTo>
                      <a:lnTo>
                        <a:pt x="218" y="41"/>
                      </a:lnTo>
                      <a:lnTo>
                        <a:pt x="218" y="41"/>
                      </a:lnTo>
                      <a:lnTo>
                        <a:pt x="219" y="41"/>
                      </a:lnTo>
                      <a:lnTo>
                        <a:pt x="220" y="42"/>
                      </a:lnTo>
                      <a:lnTo>
                        <a:pt x="220" y="41"/>
                      </a:lnTo>
                      <a:lnTo>
                        <a:pt x="220" y="41"/>
                      </a:lnTo>
                      <a:lnTo>
                        <a:pt x="221" y="41"/>
                      </a:lnTo>
                      <a:lnTo>
                        <a:pt x="222" y="41"/>
                      </a:lnTo>
                      <a:lnTo>
                        <a:pt x="222" y="42"/>
                      </a:lnTo>
                      <a:lnTo>
                        <a:pt x="222" y="42"/>
                      </a:lnTo>
                      <a:lnTo>
                        <a:pt x="222" y="42"/>
                      </a:lnTo>
                      <a:lnTo>
                        <a:pt x="223" y="42"/>
                      </a:lnTo>
                      <a:lnTo>
                        <a:pt x="223" y="43"/>
                      </a:lnTo>
                      <a:lnTo>
                        <a:pt x="224" y="43"/>
                      </a:lnTo>
                      <a:lnTo>
                        <a:pt x="224" y="44"/>
                      </a:lnTo>
                      <a:lnTo>
                        <a:pt x="224" y="44"/>
                      </a:lnTo>
                      <a:lnTo>
                        <a:pt x="225" y="44"/>
                      </a:lnTo>
                      <a:lnTo>
                        <a:pt x="225" y="45"/>
                      </a:lnTo>
                      <a:lnTo>
                        <a:pt x="225" y="46"/>
                      </a:lnTo>
                      <a:lnTo>
                        <a:pt x="225" y="47"/>
                      </a:lnTo>
                      <a:lnTo>
                        <a:pt x="225" y="47"/>
                      </a:lnTo>
                      <a:lnTo>
                        <a:pt x="226" y="47"/>
                      </a:lnTo>
                      <a:lnTo>
                        <a:pt x="226" y="48"/>
                      </a:lnTo>
                      <a:lnTo>
                        <a:pt x="226" y="48"/>
                      </a:lnTo>
                      <a:lnTo>
                        <a:pt x="226" y="49"/>
                      </a:lnTo>
                      <a:lnTo>
                        <a:pt x="226" y="49"/>
                      </a:lnTo>
                      <a:lnTo>
                        <a:pt x="227" y="50"/>
                      </a:lnTo>
                      <a:lnTo>
                        <a:pt x="227" y="51"/>
                      </a:lnTo>
                      <a:lnTo>
                        <a:pt x="227" y="51"/>
                      </a:lnTo>
                      <a:lnTo>
                        <a:pt x="228" y="51"/>
                      </a:lnTo>
                      <a:lnTo>
                        <a:pt x="228" y="52"/>
                      </a:lnTo>
                      <a:lnTo>
                        <a:pt x="228" y="53"/>
                      </a:lnTo>
                      <a:lnTo>
                        <a:pt x="227" y="53"/>
                      </a:lnTo>
                      <a:lnTo>
                        <a:pt x="227" y="53"/>
                      </a:lnTo>
                      <a:lnTo>
                        <a:pt x="227" y="54"/>
                      </a:lnTo>
                      <a:lnTo>
                        <a:pt x="226" y="54"/>
                      </a:lnTo>
                      <a:lnTo>
                        <a:pt x="226" y="55"/>
                      </a:lnTo>
                      <a:lnTo>
                        <a:pt x="230" y="54"/>
                      </a:lnTo>
                      <a:lnTo>
                        <a:pt x="233" y="53"/>
                      </a:lnTo>
                      <a:lnTo>
                        <a:pt x="237" y="53"/>
                      </a:lnTo>
                      <a:lnTo>
                        <a:pt x="239" y="52"/>
                      </a:lnTo>
                      <a:lnTo>
                        <a:pt x="244" y="51"/>
                      </a:lnTo>
                      <a:lnTo>
                        <a:pt x="246" y="50"/>
                      </a:lnTo>
                      <a:lnTo>
                        <a:pt x="249" y="49"/>
                      </a:lnTo>
                      <a:lnTo>
                        <a:pt x="254" y="47"/>
                      </a:lnTo>
                      <a:lnTo>
                        <a:pt x="259" y="46"/>
                      </a:lnTo>
                      <a:lnTo>
                        <a:pt x="262" y="45"/>
                      </a:lnTo>
                      <a:lnTo>
                        <a:pt x="265" y="44"/>
                      </a:lnTo>
                      <a:lnTo>
                        <a:pt x="270" y="44"/>
                      </a:lnTo>
                      <a:lnTo>
                        <a:pt x="271" y="44"/>
                      </a:lnTo>
                      <a:lnTo>
                        <a:pt x="271" y="44"/>
                      </a:lnTo>
                      <a:lnTo>
                        <a:pt x="271" y="42"/>
                      </a:lnTo>
                      <a:lnTo>
                        <a:pt x="271" y="42"/>
                      </a:lnTo>
                      <a:lnTo>
                        <a:pt x="271" y="41"/>
                      </a:lnTo>
                      <a:lnTo>
                        <a:pt x="272" y="40"/>
                      </a:lnTo>
                      <a:lnTo>
                        <a:pt x="273" y="40"/>
                      </a:lnTo>
                      <a:lnTo>
                        <a:pt x="273" y="40"/>
                      </a:lnTo>
                      <a:lnTo>
                        <a:pt x="275" y="39"/>
                      </a:lnTo>
                      <a:lnTo>
                        <a:pt x="275" y="39"/>
                      </a:lnTo>
                      <a:lnTo>
                        <a:pt x="277" y="38"/>
                      </a:lnTo>
                      <a:lnTo>
                        <a:pt x="277" y="38"/>
                      </a:lnTo>
                      <a:lnTo>
                        <a:pt x="277" y="38"/>
                      </a:lnTo>
                      <a:lnTo>
                        <a:pt x="278" y="37"/>
                      </a:lnTo>
                      <a:lnTo>
                        <a:pt x="278" y="36"/>
                      </a:lnTo>
                      <a:lnTo>
                        <a:pt x="279" y="36"/>
                      </a:lnTo>
                      <a:lnTo>
                        <a:pt x="279" y="35"/>
                      </a:lnTo>
                      <a:lnTo>
                        <a:pt x="280" y="34"/>
                      </a:lnTo>
                      <a:lnTo>
                        <a:pt x="280" y="34"/>
                      </a:lnTo>
                      <a:lnTo>
                        <a:pt x="281" y="33"/>
                      </a:lnTo>
                      <a:lnTo>
                        <a:pt x="281" y="33"/>
                      </a:lnTo>
                      <a:lnTo>
                        <a:pt x="281" y="32"/>
                      </a:lnTo>
                      <a:lnTo>
                        <a:pt x="282" y="32"/>
                      </a:lnTo>
                      <a:lnTo>
                        <a:pt x="283" y="32"/>
                      </a:lnTo>
                      <a:lnTo>
                        <a:pt x="283" y="31"/>
                      </a:lnTo>
                      <a:lnTo>
                        <a:pt x="283" y="31"/>
                      </a:lnTo>
                      <a:lnTo>
                        <a:pt x="284" y="31"/>
                      </a:lnTo>
                      <a:lnTo>
                        <a:pt x="284" y="30"/>
                      </a:lnTo>
                      <a:lnTo>
                        <a:pt x="284" y="30"/>
                      </a:lnTo>
                      <a:lnTo>
                        <a:pt x="285" y="3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2" name="Freeform 62">
                  <a:extLst>
                    <a:ext uri="{FF2B5EF4-FFF2-40B4-BE49-F238E27FC236}">
                      <a16:creationId xmlns:a16="http://schemas.microsoft.com/office/drawing/2014/main" xmlns="" id="{0BCC9927-D574-12B1-A554-1929034C6382}"/>
                    </a:ext>
                  </a:extLst>
                </p:cNvPr>
                <p:cNvSpPr>
                  <a:spLocks/>
                </p:cNvSpPr>
                <p:nvPr/>
              </p:nvSpPr>
              <p:spPr bwMode="auto">
                <a:xfrm>
                  <a:off x="2229" y="915"/>
                  <a:ext cx="300" cy="186"/>
                </a:xfrm>
                <a:custGeom>
                  <a:avLst/>
                  <a:gdLst>
                    <a:gd name="T0" fmla="*/ 9 w 300"/>
                    <a:gd name="T1" fmla="*/ 184 h 186"/>
                    <a:gd name="T2" fmla="*/ 15 w 300"/>
                    <a:gd name="T3" fmla="*/ 179 h 186"/>
                    <a:gd name="T4" fmla="*/ 21 w 300"/>
                    <a:gd name="T5" fmla="*/ 184 h 186"/>
                    <a:gd name="T6" fmla="*/ 27 w 300"/>
                    <a:gd name="T7" fmla="*/ 181 h 186"/>
                    <a:gd name="T8" fmla="*/ 32 w 300"/>
                    <a:gd name="T9" fmla="*/ 173 h 186"/>
                    <a:gd name="T10" fmla="*/ 40 w 300"/>
                    <a:gd name="T11" fmla="*/ 172 h 186"/>
                    <a:gd name="T12" fmla="*/ 47 w 300"/>
                    <a:gd name="T13" fmla="*/ 169 h 186"/>
                    <a:gd name="T14" fmla="*/ 56 w 300"/>
                    <a:gd name="T15" fmla="*/ 167 h 186"/>
                    <a:gd name="T16" fmla="*/ 60 w 300"/>
                    <a:gd name="T17" fmla="*/ 162 h 186"/>
                    <a:gd name="T18" fmla="*/ 66 w 300"/>
                    <a:gd name="T19" fmla="*/ 157 h 186"/>
                    <a:gd name="T20" fmla="*/ 68 w 300"/>
                    <a:gd name="T21" fmla="*/ 149 h 186"/>
                    <a:gd name="T22" fmla="*/ 74 w 300"/>
                    <a:gd name="T23" fmla="*/ 143 h 186"/>
                    <a:gd name="T24" fmla="*/ 76 w 300"/>
                    <a:gd name="T25" fmla="*/ 134 h 186"/>
                    <a:gd name="T26" fmla="*/ 81 w 300"/>
                    <a:gd name="T27" fmla="*/ 129 h 186"/>
                    <a:gd name="T28" fmla="*/ 87 w 300"/>
                    <a:gd name="T29" fmla="*/ 123 h 186"/>
                    <a:gd name="T30" fmla="*/ 91 w 300"/>
                    <a:gd name="T31" fmla="*/ 118 h 186"/>
                    <a:gd name="T32" fmla="*/ 97 w 300"/>
                    <a:gd name="T33" fmla="*/ 112 h 186"/>
                    <a:gd name="T34" fmla="*/ 100 w 300"/>
                    <a:gd name="T35" fmla="*/ 105 h 186"/>
                    <a:gd name="T36" fmla="*/ 99 w 300"/>
                    <a:gd name="T37" fmla="*/ 98 h 186"/>
                    <a:gd name="T38" fmla="*/ 100 w 300"/>
                    <a:gd name="T39" fmla="*/ 93 h 186"/>
                    <a:gd name="T40" fmla="*/ 104 w 300"/>
                    <a:gd name="T41" fmla="*/ 89 h 186"/>
                    <a:gd name="T42" fmla="*/ 109 w 300"/>
                    <a:gd name="T43" fmla="*/ 85 h 186"/>
                    <a:gd name="T44" fmla="*/ 114 w 300"/>
                    <a:gd name="T45" fmla="*/ 81 h 186"/>
                    <a:gd name="T46" fmla="*/ 119 w 300"/>
                    <a:gd name="T47" fmla="*/ 77 h 186"/>
                    <a:gd name="T48" fmla="*/ 125 w 300"/>
                    <a:gd name="T49" fmla="*/ 75 h 186"/>
                    <a:gd name="T50" fmla="*/ 130 w 300"/>
                    <a:gd name="T51" fmla="*/ 77 h 186"/>
                    <a:gd name="T52" fmla="*/ 135 w 300"/>
                    <a:gd name="T53" fmla="*/ 76 h 186"/>
                    <a:gd name="T54" fmla="*/ 140 w 300"/>
                    <a:gd name="T55" fmla="*/ 75 h 186"/>
                    <a:gd name="T56" fmla="*/ 144 w 300"/>
                    <a:gd name="T57" fmla="*/ 76 h 186"/>
                    <a:gd name="T58" fmla="*/ 148 w 300"/>
                    <a:gd name="T59" fmla="*/ 76 h 186"/>
                    <a:gd name="T60" fmla="*/ 153 w 300"/>
                    <a:gd name="T61" fmla="*/ 73 h 186"/>
                    <a:gd name="T62" fmla="*/ 157 w 300"/>
                    <a:gd name="T63" fmla="*/ 72 h 186"/>
                    <a:gd name="T64" fmla="*/ 162 w 300"/>
                    <a:gd name="T65" fmla="*/ 72 h 186"/>
                    <a:gd name="T66" fmla="*/ 167 w 300"/>
                    <a:gd name="T67" fmla="*/ 74 h 186"/>
                    <a:gd name="T68" fmla="*/ 173 w 300"/>
                    <a:gd name="T69" fmla="*/ 74 h 186"/>
                    <a:gd name="T70" fmla="*/ 176 w 300"/>
                    <a:gd name="T71" fmla="*/ 77 h 186"/>
                    <a:gd name="T72" fmla="*/ 180 w 300"/>
                    <a:gd name="T73" fmla="*/ 80 h 186"/>
                    <a:gd name="T74" fmla="*/ 186 w 300"/>
                    <a:gd name="T75" fmla="*/ 82 h 186"/>
                    <a:gd name="T76" fmla="*/ 190 w 300"/>
                    <a:gd name="T77" fmla="*/ 83 h 186"/>
                    <a:gd name="T78" fmla="*/ 197 w 300"/>
                    <a:gd name="T79" fmla="*/ 91 h 186"/>
                    <a:gd name="T80" fmla="*/ 201 w 300"/>
                    <a:gd name="T81" fmla="*/ 89 h 186"/>
                    <a:gd name="T82" fmla="*/ 207 w 300"/>
                    <a:gd name="T83" fmla="*/ 77 h 186"/>
                    <a:gd name="T84" fmla="*/ 210 w 300"/>
                    <a:gd name="T85" fmla="*/ 67 h 186"/>
                    <a:gd name="T86" fmla="*/ 218 w 300"/>
                    <a:gd name="T87" fmla="*/ 63 h 186"/>
                    <a:gd name="T88" fmla="*/ 222 w 300"/>
                    <a:gd name="T89" fmla="*/ 57 h 186"/>
                    <a:gd name="T90" fmla="*/ 228 w 300"/>
                    <a:gd name="T91" fmla="*/ 52 h 186"/>
                    <a:gd name="T92" fmla="*/ 231 w 300"/>
                    <a:gd name="T93" fmla="*/ 42 h 186"/>
                    <a:gd name="T94" fmla="*/ 239 w 300"/>
                    <a:gd name="T95" fmla="*/ 38 h 186"/>
                    <a:gd name="T96" fmla="*/ 244 w 300"/>
                    <a:gd name="T97" fmla="*/ 32 h 186"/>
                    <a:gd name="T98" fmla="*/ 253 w 300"/>
                    <a:gd name="T99" fmla="*/ 30 h 186"/>
                    <a:gd name="T100" fmla="*/ 260 w 300"/>
                    <a:gd name="T101" fmla="*/ 26 h 186"/>
                    <a:gd name="T102" fmla="*/ 267 w 300"/>
                    <a:gd name="T103" fmla="*/ 23 h 186"/>
                    <a:gd name="T104" fmla="*/ 273 w 300"/>
                    <a:gd name="T105" fmla="*/ 21 h 186"/>
                    <a:gd name="T106" fmla="*/ 276 w 300"/>
                    <a:gd name="T107" fmla="*/ 15 h 186"/>
                    <a:gd name="T108" fmla="*/ 280 w 300"/>
                    <a:gd name="T109" fmla="*/ 10 h 186"/>
                    <a:gd name="T110" fmla="*/ 279 w 300"/>
                    <a:gd name="T111" fmla="*/ 3 h 186"/>
                    <a:gd name="T112" fmla="*/ 284 w 300"/>
                    <a:gd name="T113" fmla="*/ 2 h 186"/>
                    <a:gd name="T114" fmla="*/ 291 w 300"/>
                    <a:gd name="T115" fmla="*/ 2 h 186"/>
                    <a:gd name="T116" fmla="*/ 296 w 300"/>
                    <a:gd name="T117" fmla="*/ 5 h 186"/>
                    <a:gd name="T118" fmla="*/ 298 w 300"/>
                    <a:gd name="T119" fmla="*/ 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186">
                      <a:moveTo>
                        <a:pt x="0" y="186"/>
                      </a:moveTo>
                      <a:lnTo>
                        <a:pt x="0" y="186"/>
                      </a:lnTo>
                      <a:lnTo>
                        <a:pt x="1" y="185"/>
                      </a:lnTo>
                      <a:lnTo>
                        <a:pt x="2" y="185"/>
                      </a:lnTo>
                      <a:lnTo>
                        <a:pt x="2" y="184"/>
                      </a:lnTo>
                      <a:lnTo>
                        <a:pt x="2" y="184"/>
                      </a:lnTo>
                      <a:lnTo>
                        <a:pt x="3" y="184"/>
                      </a:lnTo>
                      <a:lnTo>
                        <a:pt x="4" y="184"/>
                      </a:lnTo>
                      <a:lnTo>
                        <a:pt x="5" y="185"/>
                      </a:lnTo>
                      <a:lnTo>
                        <a:pt x="5" y="185"/>
                      </a:lnTo>
                      <a:lnTo>
                        <a:pt x="5" y="184"/>
                      </a:lnTo>
                      <a:lnTo>
                        <a:pt x="6" y="184"/>
                      </a:lnTo>
                      <a:lnTo>
                        <a:pt x="7" y="184"/>
                      </a:lnTo>
                      <a:lnTo>
                        <a:pt x="7" y="184"/>
                      </a:lnTo>
                      <a:lnTo>
                        <a:pt x="8" y="184"/>
                      </a:lnTo>
                      <a:lnTo>
                        <a:pt x="9" y="184"/>
                      </a:lnTo>
                      <a:lnTo>
                        <a:pt x="9" y="184"/>
                      </a:lnTo>
                      <a:lnTo>
                        <a:pt x="9" y="184"/>
                      </a:lnTo>
                      <a:lnTo>
                        <a:pt x="9" y="183"/>
                      </a:lnTo>
                      <a:lnTo>
                        <a:pt x="10" y="183"/>
                      </a:lnTo>
                      <a:lnTo>
                        <a:pt x="11" y="183"/>
                      </a:lnTo>
                      <a:lnTo>
                        <a:pt x="11" y="184"/>
                      </a:lnTo>
                      <a:lnTo>
                        <a:pt x="11" y="184"/>
                      </a:lnTo>
                      <a:lnTo>
                        <a:pt x="12" y="184"/>
                      </a:lnTo>
                      <a:lnTo>
                        <a:pt x="12" y="183"/>
                      </a:lnTo>
                      <a:lnTo>
                        <a:pt x="13" y="183"/>
                      </a:lnTo>
                      <a:lnTo>
                        <a:pt x="13" y="182"/>
                      </a:lnTo>
                      <a:lnTo>
                        <a:pt x="13" y="182"/>
                      </a:lnTo>
                      <a:lnTo>
                        <a:pt x="14" y="182"/>
                      </a:lnTo>
                      <a:lnTo>
                        <a:pt x="14" y="181"/>
                      </a:lnTo>
                      <a:lnTo>
                        <a:pt x="14" y="180"/>
                      </a:lnTo>
                      <a:lnTo>
                        <a:pt x="14" y="179"/>
                      </a:lnTo>
                      <a:lnTo>
                        <a:pt x="15" y="179"/>
                      </a:lnTo>
                      <a:lnTo>
                        <a:pt x="15" y="179"/>
                      </a:lnTo>
                      <a:lnTo>
                        <a:pt x="16" y="179"/>
                      </a:lnTo>
                      <a:lnTo>
                        <a:pt x="16" y="180"/>
                      </a:lnTo>
                      <a:lnTo>
                        <a:pt x="17" y="180"/>
                      </a:lnTo>
                      <a:lnTo>
                        <a:pt x="17" y="181"/>
                      </a:lnTo>
                      <a:lnTo>
                        <a:pt x="17" y="182"/>
                      </a:lnTo>
                      <a:lnTo>
                        <a:pt x="17" y="182"/>
                      </a:lnTo>
                      <a:lnTo>
                        <a:pt x="17" y="182"/>
                      </a:lnTo>
                      <a:lnTo>
                        <a:pt x="18" y="182"/>
                      </a:lnTo>
                      <a:lnTo>
                        <a:pt x="19" y="182"/>
                      </a:lnTo>
                      <a:lnTo>
                        <a:pt x="19" y="182"/>
                      </a:lnTo>
                      <a:lnTo>
                        <a:pt x="19" y="182"/>
                      </a:lnTo>
                      <a:lnTo>
                        <a:pt x="20" y="182"/>
                      </a:lnTo>
                      <a:lnTo>
                        <a:pt x="21" y="182"/>
                      </a:lnTo>
                      <a:lnTo>
                        <a:pt x="21" y="182"/>
                      </a:lnTo>
                      <a:lnTo>
                        <a:pt x="21" y="182"/>
                      </a:lnTo>
                      <a:lnTo>
                        <a:pt x="21" y="183"/>
                      </a:lnTo>
                      <a:lnTo>
                        <a:pt x="21" y="184"/>
                      </a:lnTo>
                      <a:lnTo>
                        <a:pt x="22" y="184"/>
                      </a:lnTo>
                      <a:lnTo>
                        <a:pt x="22" y="184"/>
                      </a:lnTo>
                      <a:lnTo>
                        <a:pt x="23" y="184"/>
                      </a:lnTo>
                      <a:lnTo>
                        <a:pt x="23" y="185"/>
                      </a:lnTo>
                      <a:lnTo>
                        <a:pt x="24" y="185"/>
                      </a:lnTo>
                      <a:lnTo>
                        <a:pt x="24" y="184"/>
                      </a:lnTo>
                      <a:lnTo>
                        <a:pt x="24" y="184"/>
                      </a:lnTo>
                      <a:lnTo>
                        <a:pt x="25" y="184"/>
                      </a:lnTo>
                      <a:lnTo>
                        <a:pt x="25" y="184"/>
                      </a:lnTo>
                      <a:lnTo>
                        <a:pt x="26" y="184"/>
                      </a:lnTo>
                      <a:lnTo>
                        <a:pt x="26" y="183"/>
                      </a:lnTo>
                      <a:lnTo>
                        <a:pt x="27" y="183"/>
                      </a:lnTo>
                      <a:lnTo>
                        <a:pt x="27" y="182"/>
                      </a:lnTo>
                      <a:lnTo>
                        <a:pt x="28" y="182"/>
                      </a:lnTo>
                      <a:lnTo>
                        <a:pt x="28" y="182"/>
                      </a:lnTo>
                      <a:lnTo>
                        <a:pt x="27" y="182"/>
                      </a:lnTo>
                      <a:lnTo>
                        <a:pt x="27" y="181"/>
                      </a:lnTo>
                      <a:lnTo>
                        <a:pt x="27" y="180"/>
                      </a:lnTo>
                      <a:lnTo>
                        <a:pt x="27" y="179"/>
                      </a:lnTo>
                      <a:lnTo>
                        <a:pt x="27" y="179"/>
                      </a:lnTo>
                      <a:lnTo>
                        <a:pt x="27" y="178"/>
                      </a:lnTo>
                      <a:lnTo>
                        <a:pt x="27" y="177"/>
                      </a:lnTo>
                      <a:lnTo>
                        <a:pt x="27" y="177"/>
                      </a:lnTo>
                      <a:lnTo>
                        <a:pt x="27" y="176"/>
                      </a:lnTo>
                      <a:lnTo>
                        <a:pt x="27" y="175"/>
                      </a:lnTo>
                      <a:lnTo>
                        <a:pt x="28" y="175"/>
                      </a:lnTo>
                      <a:lnTo>
                        <a:pt x="28" y="175"/>
                      </a:lnTo>
                      <a:lnTo>
                        <a:pt x="28" y="175"/>
                      </a:lnTo>
                      <a:lnTo>
                        <a:pt x="29" y="175"/>
                      </a:lnTo>
                      <a:lnTo>
                        <a:pt x="30" y="174"/>
                      </a:lnTo>
                      <a:lnTo>
                        <a:pt x="30" y="174"/>
                      </a:lnTo>
                      <a:lnTo>
                        <a:pt x="31" y="174"/>
                      </a:lnTo>
                      <a:lnTo>
                        <a:pt x="31" y="173"/>
                      </a:lnTo>
                      <a:lnTo>
                        <a:pt x="32" y="173"/>
                      </a:lnTo>
                      <a:lnTo>
                        <a:pt x="32" y="173"/>
                      </a:lnTo>
                      <a:lnTo>
                        <a:pt x="32" y="173"/>
                      </a:lnTo>
                      <a:lnTo>
                        <a:pt x="33" y="173"/>
                      </a:lnTo>
                      <a:lnTo>
                        <a:pt x="34" y="173"/>
                      </a:lnTo>
                      <a:lnTo>
                        <a:pt x="34" y="172"/>
                      </a:lnTo>
                      <a:lnTo>
                        <a:pt x="34" y="172"/>
                      </a:lnTo>
                      <a:lnTo>
                        <a:pt x="35" y="172"/>
                      </a:lnTo>
                      <a:lnTo>
                        <a:pt x="36" y="172"/>
                      </a:lnTo>
                      <a:lnTo>
                        <a:pt x="36" y="172"/>
                      </a:lnTo>
                      <a:lnTo>
                        <a:pt x="36" y="171"/>
                      </a:lnTo>
                      <a:lnTo>
                        <a:pt x="36" y="172"/>
                      </a:lnTo>
                      <a:lnTo>
                        <a:pt x="37" y="172"/>
                      </a:lnTo>
                      <a:lnTo>
                        <a:pt x="38" y="172"/>
                      </a:lnTo>
                      <a:lnTo>
                        <a:pt x="38" y="172"/>
                      </a:lnTo>
                      <a:lnTo>
                        <a:pt x="39" y="172"/>
                      </a:lnTo>
                      <a:lnTo>
                        <a:pt x="40" y="172"/>
                      </a:lnTo>
                      <a:lnTo>
                        <a:pt x="40" y="172"/>
                      </a:lnTo>
                      <a:lnTo>
                        <a:pt x="40" y="173"/>
                      </a:lnTo>
                      <a:lnTo>
                        <a:pt x="40" y="173"/>
                      </a:lnTo>
                      <a:lnTo>
                        <a:pt x="40" y="174"/>
                      </a:lnTo>
                      <a:lnTo>
                        <a:pt x="41" y="174"/>
                      </a:lnTo>
                      <a:lnTo>
                        <a:pt x="42" y="174"/>
                      </a:lnTo>
                      <a:lnTo>
                        <a:pt x="42" y="173"/>
                      </a:lnTo>
                      <a:lnTo>
                        <a:pt x="43" y="173"/>
                      </a:lnTo>
                      <a:lnTo>
                        <a:pt x="43" y="173"/>
                      </a:lnTo>
                      <a:lnTo>
                        <a:pt x="43" y="173"/>
                      </a:lnTo>
                      <a:lnTo>
                        <a:pt x="43" y="172"/>
                      </a:lnTo>
                      <a:lnTo>
                        <a:pt x="43" y="171"/>
                      </a:lnTo>
                      <a:lnTo>
                        <a:pt x="44" y="171"/>
                      </a:lnTo>
                      <a:lnTo>
                        <a:pt x="44" y="171"/>
                      </a:lnTo>
                      <a:lnTo>
                        <a:pt x="46" y="170"/>
                      </a:lnTo>
                      <a:lnTo>
                        <a:pt x="47" y="169"/>
                      </a:lnTo>
                      <a:lnTo>
                        <a:pt x="47" y="169"/>
                      </a:lnTo>
                      <a:lnTo>
                        <a:pt x="47" y="169"/>
                      </a:lnTo>
                      <a:lnTo>
                        <a:pt x="47" y="168"/>
                      </a:lnTo>
                      <a:lnTo>
                        <a:pt x="48" y="168"/>
                      </a:lnTo>
                      <a:lnTo>
                        <a:pt x="49" y="168"/>
                      </a:lnTo>
                      <a:lnTo>
                        <a:pt x="49" y="168"/>
                      </a:lnTo>
                      <a:lnTo>
                        <a:pt x="50" y="168"/>
                      </a:lnTo>
                      <a:lnTo>
                        <a:pt x="51" y="168"/>
                      </a:lnTo>
                      <a:lnTo>
                        <a:pt x="51" y="167"/>
                      </a:lnTo>
                      <a:lnTo>
                        <a:pt x="51" y="167"/>
                      </a:lnTo>
                      <a:lnTo>
                        <a:pt x="52" y="167"/>
                      </a:lnTo>
                      <a:lnTo>
                        <a:pt x="53" y="167"/>
                      </a:lnTo>
                      <a:lnTo>
                        <a:pt x="53" y="168"/>
                      </a:lnTo>
                      <a:lnTo>
                        <a:pt x="53" y="168"/>
                      </a:lnTo>
                      <a:lnTo>
                        <a:pt x="54" y="168"/>
                      </a:lnTo>
                      <a:lnTo>
                        <a:pt x="54" y="167"/>
                      </a:lnTo>
                      <a:lnTo>
                        <a:pt x="55" y="167"/>
                      </a:lnTo>
                      <a:lnTo>
                        <a:pt x="55" y="167"/>
                      </a:lnTo>
                      <a:lnTo>
                        <a:pt x="56" y="167"/>
                      </a:lnTo>
                      <a:lnTo>
                        <a:pt x="56" y="166"/>
                      </a:lnTo>
                      <a:lnTo>
                        <a:pt x="57" y="166"/>
                      </a:lnTo>
                      <a:lnTo>
                        <a:pt x="57" y="165"/>
                      </a:lnTo>
                      <a:lnTo>
                        <a:pt x="56" y="165"/>
                      </a:lnTo>
                      <a:lnTo>
                        <a:pt x="56" y="165"/>
                      </a:lnTo>
                      <a:lnTo>
                        <a:pt x="57" y="165"/>
                      </a:lnTo>
                      <a:lnTo>
                        <a:pt x="57" y="164"/>
                      </a:lnTo>
                      <a:lnTo>
                        <a:pt x="57" y="164"/>
                      </a:lnTo>
                      <a:lnTo>
                        <a:pt x="58" y="164"/>
                      </a:lnTo>
                      <a:lnTo>
                        <a:pt x="58" y="163"/>
                      </a:lnTo>
                      <a:lnTo>
                        <a:pt x="59" y="163"/>
                      </a:lnTo>
                      <a:lnTo>
                        <a:pt x="59" y="164"/>
                      </a:lnTo>
                      <a:lnTo>
                        <a:pt x="59" y="164"/>
                      </a:lnTo>
                      <a:lnTo>
                        <a:pt x="59" y="163"/>
                      </a:lnTo>
                      <a:lnTo>
                        <a:pt x="60" y="163"/>
                      </a:lnTo>
                      <a:lnTo>
                        <a:pt x="60" y="163"/>
                      </a:lnTo>
                      <a:lnTo>
                        <a:pt x="60" y="162"/>
                      </a:lnTo>
                      <a:lnTo>
                        <a:pt x="61" y="162"/>
                      </a:lnTo>
                      <a:lnTo>
                        <a:pt x="62" y="161"/>
                      </a:lnTo>
                      <a:lnTo>
                        <a:pt x="62" y="160"/>
                      </a:lnTo>
                      <a:lnTo>
                        <a:pt x="62" y="160"/>
                      </a:lnTo>
                      <a:lnTo>
                        <a:pt x="63" y="160"/>
                      </a:lnTo>
                      <a:lnTo>
                        <a:pt x="63" y="160"/>
                      </a:lnTo>
                      <a:lnTo>
                        <a:pt x="64" y="160"/>
                      </a:lnTo>
                      <a:lnTo>
                        <a:pt x="64" y="160"/>
                      </a:lnTo>
                      <a:lnTo>
                        <a:pt x="64" y="159"/>
                      </a:lnTo>
                      <a:lnTo>
                        <a:pt x="65" y="159"/>
                      </a:lnTo>
                      <a:lnTo>
                        <a:pt x="65" y="158"/>
                      </a:lnTo>
                      <a:lnTo>
                        <a:pt x="66" y="158"/>
                      </a:lnTo>
                      <a:lnTo>
                        <a:pt x="66" y="159"/>
                      </a:lnTo>
                      <a:lnTo>
                        <a:pt x="66" y="159"/>
                      </a:lnTo>
                      <a:lnTo>
                        <a:pt x="66" y="158"/>
                      </a:lnTo>
                      <a:lnTo>
                        <a:pt x="66" y="158"/>
                      </a:lnTo>
                      <a:lnTo>
                        <a:pt x="66" y="157"/>
                      </a:lnTo>
                      <a:lnTo>
                        <a:pt x="67" y="157"/>
                      </a:lnTo>
                      <a:lnTo>
                        <a:pt x="67" y="156"/>
                      </a:lnTo>
                      <a:lnTo>
                        <a:pt x="67" y="156"/>
                      </a:lnTo>
                      <a:lnTo>
                        <a:pt x="67" y="155"/>
                      </a:lnTo>
                      <a:lnTo>
                        <a:pt x="68" y="155"/>
                      </a:lnTo>
                      <a:lnTo>
                        <a:pt x="68" y="155"/>
                      </a:lnTo>
                      <a:lnTo>
                        <a:pt x="68" y="154"/>
                      </a:lnTo>
                      <a:lnTo>
                        <a:pt x="68" y="154"/>
                      </a:lnTo>
                      <a:lnTo>
                        <a:pt x="68" y="154"/>
                      </a:lnTo>
                      <a:lnTo>
                        <a:pt x="68" y="153"/>
                      </a:lnTo>
                      <a:lnTo>
                        <a:pt x="68" y="153"/>
                      </a:lnTo>
                      <a:lnTo>
                        <a:pt x="68" y="152"/>
                      </a:lnTo>
                      <a:lnTo>
                        <a:pt x="68" y="152"/>
                      </a:lnTo>
                      <a:lnTo>
                        <a:pt x="68" y="151"/>
                      </a:lnTo>
                      <a:lnTo>
                        <a:pt x="68" y="150"/>
                      </a:lnTo>
                      <a:lnTo>
                        <a:pt x="68" y="150"/>
                      </a:lnTo>
                      <a:lnTo>
                        <a:pt x="68" y="149"/>
                      </a:lnTo>
                      <a:lnTo>
                        <a:pt x="68" y="148"/>
                      </a:lnTo>
                      <a:lnTo>
                        <a:pt x="69" y="148"/>
                      </a:lnTo>
                      <a:lnTo>
                        <a:pt x="69" y="148"/>
                      </a:lnTo>
                      <a:lnTo>
                        <a:pt x="69" y="147"/>
                      </a:lnTo>
                      <a:lnTo>
                        <a:pt x="69" y="146"/>
                      </a:lnTo>
                      <a:lnTo>
                        <a:pt x="70" y="146"/>
                      </a:lnTo>
                      <a:lnTo>
                        <a:pt x="70" y="146"/>
                      </a:lnTo>
                      <a:lnTo>
                        <a:pt x="70" y="146"/>
                      </a:lnTo>
                      <a:lnTo>
                        <a:pt x="70" y="145"/>
                      </a:lnTo>
                      <a:lnTo>
                        <a:pt x="71" y="145"/>
                      </a:lnTo>
                      <a:lnTo>
                        <a:pt x="72" y="145"/>
                      </a:lnTo>
                      <a:lnTo>
                        <a:pt x="72" y="144"/>
                      </a:lnTo>
                      <a:lnTo>
                        <a:pt x="72" y="144"/>
                      </a:lnTo>
                      <a:lnTo>
                        <a:pt x="73" y="144"/>
                      </a:lnTo>
                      <a:lnTo>
                        <a:pt x="74" y="144"/>
                      </a:lnTo>
                      <a:lnTo>
                        <a:pt x="74" y="144"/>
                      </a:lnTo>
                      <a:lnTo>
                        <a:pt x="74" y="143"/>
                      </a:lnTo>
                      <a:lnTo>
                        <a:pt x="74" y="142"/>
                      </a:lnTo>
                      <a:lnTo>
                        <a:pt x="74" y="142"/>
                      </a:lnTo>
                      <a:lnTo>
                        <a:pt x="74" y="141"/>
                      </a:lnTo>
                      <a:lnTo>
                        <a:pt x="74" y="141"/>
                      </a:lnTo>
                      <a:lnTo>
                        <a:pt x="74" y="140"/>
                      </a:lnTo>
                      <a:lnTo>
                        <a:pt x="74" y="139"/>
                      </a:lnTo>
                      <a:lnTo>
                        <a:pt x="74" y="139"/>
                      </a:lnTo>
                      <a:lnTo>
                        <a:pt x="74" y="138"/>
                      </a:lnTo>
                      <a:lnTo>
                        <a:pt x="74" y="137"/>
                      </a:lnTo>
                      <a:lnTo>
                        <a:pt x="75" y="137"/>
                      </a:lnTo>
                      <a:lnTo>
                        <a:pt x="75" y="137"/>
                      </a:lnTo>
                      <a:lnTo>
                        <a:pt x="75" y="136"/>
                      </a:lnTo>
                      <a:lnTo>
                        <a:pt x="75" y="135"/>
                      </a:lnTo>
                      <a:lnTo>
                        <a:pt x="76" y="135"/>
                      </a:lnTo>
                      <a:lnTo>
                        <a:pt x="76" y="135"/>
                      </a:lnTo>
                      <a:lnTo>
                        <a:pt x="76" y="135"/>
                      </a:lnTo>
                      <a:lnTo>
                        <a:pt x="76" y="134"/>
                      </a:lnTo>
                      <a:lnTo>
                        <a:pt x="76" y="133"/>
                      </a:lnTo>
                      <a:lnTo>
                        <a:pt x="76" y="133"/>
                      </a:lnTo>
                      <a:lnTo>
                        <a:pt x="76" y="132"/>
                      </a:lnTo>
                      <a:lnTo>
                        <a:pt x="77" y="132"/>
                      </a:lnTo>
                      <a:lnTo>
                        <a:pt x="77" y="131"/>
                      </a:lnTo>
                      <a:lnTo>
                        <a:pt x="78" y="131"/>
                      </a:lnTo>
                      <a:lnTo>
                        <a:pt x="78" y="131"/>
                      </a:lnTo>
                      <a:lnTo>
                        <a:pt x="79" y="131"/>
                      </a:lnTo>
                      <a:lnTo>
                        <a:pt x="79" y="131"/>
                      </a:lnTo>
                      <a:lnTo>
                        <a:pt x="80" y="131"/>
                      </a:lnTo>
                      <a:lnTo>
                        <a:pt x="80" y="131"/>
                      </a:lnTo>
                      <a:lnTo>
                        <a:pt x="80" y="131"/>
                      </a:lnTo>
                      <a:lnTo>
                        <a:pt x="81" y="131"/>
                      </a:lnTo>
                      <a:lnTo>
                        <a:pt x="81" y="130"/>
                      </a:lnTo>
                      <a:lnTo>
                        <a:pt x="81" y="130"/>
                      </a:lnTo>
                      <a:lnTo>
                        <a:pt x="81" y="129"/>
                      </a:lnTo>
                      <a:lnTo>
                        <a:pt x="81" y="129"/>
                      </a:lnTo>
                      <a:lnTo>
                        <a:pt x="82" y="129"/>
                      </a:lnTo>
                      <a:lnTo>
                        <a:pt x="82" y="128"/>
                      </a:lnTo>
                      <a:lnTo>
                        <a:pt x="82" y="127"/>
                      </a:lnTo>
                      <a:lnTo>
                        <a:pt x="83" y="127"/>
                      </a:lnTo>
                      <a:lnTo>
                        <a:pt x="83" y="127"/>
                      </a:lnTo>
                      <a:lnTo>
                        <a:pt x="83" y="126"/>
                      </a:lnTo>
                      <a:lnTo>
                        <a:pt x="83" y="126"/>
                      </a:lnTo>
                      <a:lnTo>
                        <a:pt x="84" y="126"/>
                      </a:lnTo>
                      <a:lnTo>
                        <a:pt x="84" y="125"/>
                      </a:lnTo>
                      <a:lnTo>
                        <a:pt x="85" y="125"/>
                      </a:lnTo>
                      <a:lnTo>
                        <a:pt x="85" y="125"/>
                      </a:lnTo>
                      <a:lnTo>
                        <a:pt x="85" y="125"/>
                      </a:lnTo>
                      <a:lnTo>
                        <a:pt x="86" y="125"/>
                      </a:lnTo>
                      <a:lnTo>
                        <a:pt x="86" y="124"/>
                      </a:lnTo>
                      <a:lnTo>
                        <a:pt x="86" y="123"/>
                      </a:lnTo>
                      <a:lnTo>
                        <a:pt x="87" y="123"/>
                      </a:lnTo>
                      <a:lnTo>
                        <a:pt x="87" y="123"/>
                      </a:lnTo>
                      <a:lnTo>
                        <a:pt x="87" y="123"/>
                      </a:lnTo>
                      <a:lnTo>
                        <a:pt x="87" y="122"/>
                      </a:lnTo>
                      <a:lnTo>
                        <a:pt x="87" y="121"/>
                      </a:lnTo>
                      <a:lnTo>
                        <a:pt x="88" y="121"/>
                      </a:lnTo>
                      <a:lnTo>
                        <a:pt x="88" y="122"/>
                      </a:lnTo>
                      <a:lnTo>
                        <a:pt x="88" y="121"/>
                      </a:lnTo>
                      <a:lnTo>
                        <a:pt x="89" y="121"/>
                      </a:lnTo>
                      <a:lnTo>
                        <a:pt x="89" y="120"/>
                      </a:lnTo>
                      <a:lnTo>
                        <a:pt x="89" y="120"/>
                      </a:lnTo>
                      <a:lnTo>
                        <a:pt x="90" y="120"/>
                      </a:lnTo>
                      <a:lnTo>
                        <a:pt x="90" y="120"/>
                      </a:lnTo>
                      <a:lnTo>
                        <a:pt x="90" y="119"/>
                      </a:lnTo>
                      <a:lnTo>
                        <a:pt x="91" y="119"/>
                      </a:lnTo>
                      <a:lnTo>
                        <a:pt x="91" y="118"/>
                      </a:lnTo>
                      <a:lnTo>
                        <a:pt x="91" y="118"/>
                      </a:lnTo>
                      <a:lnTo>
                        <a:pt x="91" y="118"/>
                      </a:lnTo>
                      <a:lnTo>
                        <a:pt x="91" y="118"/>
                      </a:lnTo>
                      <a:lnTo>
                        <a:pt x="91" y="118"/>
                      </a:lnTo>
                      <a:lnTo>
                        <a:pt x="92" y="118"/>
                      </a:lnTo>
                      <a:lnTo>
                        <a:pt x="92" y="117"/>
                      </a:lnTo>
                      <a:lnTo>
                        <a:pt x="93" y="117"/>
                      </a:lnTo>
                      <a:lnTo>
                        <a:pt x="93" y="116"/>
                      </a:lnTo>
                      <a:lnTo>
                        <a:pt x="93" y="116"/>
                      </a:lnTo>
                      <a:lnTo>
                        <a:pt x="93" y="116"/>
                      </a:lnTo>
                      <a:lnTo>
                        <a:pt x="94" y="116"/>
                      </a:lnTo>
                      <a:lnTo>
                        <a:pt x="94" y="115"/>
                      </a:lnTo>
                      <a:lnTo>
                        <a:pt x="95" y="115"/>
                      </a:lnTo>
                      <a:lnTo>
                        <a:pt x="95" y="114"/>
                      </a:lnTo>
                      <a:lnTo>
                        <a:pt x="95" y="114"/>
                      </a:lnTo>
                      <a:lnTo>
                        <a:pt x="95" y="114"/>
                      </a:lnTo>
                      <a:lnTo>
                        <a:pt x="95" y="113"/>
                      </a:lnTo>
                      <a:lnTo>
                        <a:pt x="96" y="113"/>
                      </a:lnTo>
                      <a:lnTo>
                        <a:pt x="96" y="112"/>
                      </a:lnTo>
                      <a:lnTo>
                        <a:pt x="97" y="112"/>
                      </a:lnTo>
                      <a:lnTo>
                        <a:pt x="97" y="112"/>
                      </a:lnTo>
                      <a:lnTo>
                        <a:pt x="97" y="112"/>
                      </a:lnTo>
                      <a:lnTo>
                        <a:pt x="98" y="111"/>
                      </a:lnTo>
                      <a:lnTo>
                        <a:pt x="99" y="111"/>
                      </a:lnTo>
                      <a:lnTo>
                        <a:pt x="100" y="111"/>
                      </a:lnTo>
                      <a:lnTo>
                        <a:pt x="100" y="110"/>
                      </a:lnTo>
                      <a:lnTo>
                        <a:pt x="100" y="110"/>
                      </a:lnTo>
                      <a:lnTo>
                        <a:pt x="100" y="110"/>
                      </a:lnTo>
                      <a:lnTo>
                        <a:pt x="100" y="110"/>
                      </a:lnTo>
                      <a:lnTo>
                        <a:pt x="100" y="109"/>
                      </a:lnTo>
                      <a:lnTo>
                        <a:pt x="100" y="108"/>
                      </a:lnTo>
                      <a:lnTo>
                        <a:pt x="100" y="108"/>
                      </a:lnTo>
                      <a:lnTo>
                        <a:pt x="100" y="107"/>
                      </a:lnTo>
                      <a:lnTo>
                        <a:pt x="100" y="106"/>
                      </a:lnTo>
                      <a:lnTo>
                        <a:pt x="100" y="106"/>
                      </a:lnTo>
                      <a:lnTo>
                        <a:pt x="100" y="106"/>
                      </a:lnTo>
                      <a:lnTo>
                        <a:pt x="100" y="105"/>
                      </a:lnTo>
                      <a:lnTo>
                        <a:pt x="100" y="104"/>
                      </a:lnTo>
                      <a:lnTo>
                        <a:pt x="100" y="104"/>
                      </a:lnTo>
                      <a:lnTo>
                        <a:pt x="101" y="104"/>
                      </a:lnTo>
                      <a:lnTo>
                        <a:pt x="101" y="103"/>
                      </a:lnTo>
                      <a:lnTo>
                        <a:pt x="102" y="103"/>
                      </a:lnTo>
                      <a:lnTo>
                        <a:pt x="102" y="102"/>
                      </a:lnTo>
                      <a:lnTo>
                        <a:pt x="101" y="102"/>
                      </a:lnTo>
                      <a:lnTo>
                        <a:pt x="101" y="101"/>
                      </a:lnTo>
                      <a:lnTo>
                        <a:pt x="100" y="101"/>
                      </a:lnTo>
                      <a:lnTo>
                        <a:pt x="100" y="101"/>
                      </a:lnTo>
                      <a:lnTo>
                        <a:pt x="100" y="100"/>
                      </a:lnTo>
                      <a:lnTo>
                        <a:pt x="100" y="100"/>
                      </a:lnTo>
                      <a:lnTo>
                        <a:pt x="99" y="100"/>
                      </a:lnTo>
                      <a:lnTo>
                        <a:pt x="99" y="99"/>
                      </a:lnTo>
                      <a:lnTo>
                        <a:pt x="100" y="99"/>
                      </a:lnTo>
                      <a:lnTo>
                        <a:pt x="99" y="99"/>
                      </a:lnTo>
                      <a:lnTo>
                        <a:pt x="99" y="98"/>
                      </a:lnTo>
                      <a:lnTo>
                        <a:pt x="99" y="97"/>
                      </a:lnTo>
                      <a:lnTo>
                        <a:pt x="99" y="97"/>
                      </a:lnTo>
                      <a:lnTo>
                        <a:pt x="100" y="97"/>
                      </a:lnTo>
                      <a:lnTo>
                        <a:pt x="99" y="97"/>
                      </a:lnTo>
                      <a:lnTo>
                        <a:pt x="99" y="96"/>
                      </a:lnTo>
                      <a:lnTo>
                        <a:pt x="100" y="96"/>
                      </a:lnTo>
                      <a:lnTo>
                        <a:pt x="100" y="95"/>
                      </a:lnTo>
                      <a:lnTo>
                        <a:pt x="100" y="95"/>
                      </a:lnTo>
                      <a:lnTo>
                        <a:pt x="99" y="95"/>
                      </a:lnTo>
                      <a:lnTo>
                        <a:pt x="99" y="94"/>
                      </a:lnTo>
                      <a:lnTo>
                        <a:pt x="100" y="94"/>
                      </a:lnTo>
                      <a:lnTo>
                        <a:pt x="99" y="94"/>
                      </a:lnTo>
                      <a:lnTo>
                        <a:pt x="100" y="94"/>
                      </a:lnTo>
                      <a:lnTo>
                        <a:pt x="100" y="93"/>
                      </a:lnTo>
                      <a:lnTo>
                        <a:pt x="100" y="93"/>
                      </a:lnTo>
                      <a:lnTo>
                        <a:pt x="100" y="93"/>
                      </a:lnTo>
                      <a:lnTo>
                        <a:pt x="100" y="93"/>
                      </a:lnTo>
                      <a:lnTo>
                        <a:pt x="100" y="93"/>
                      </a:lnTo>
                      <a:lnTo>
                        <a:pt x="100" y="92"/>
                      </a:lnTo>
                      <a:lnTo>
                        <a:pt x="100" y="93"/>
                      </a:lnTo>
                      <a:lnTo>
                        <a:pt x="101" y="93"/>
                      </a:lnTo>
                      <a:lnTo>
                        <a:pt x="101" y="92"/>
                      </a:lnTo>
                      <a:lnTo>
                        <a:pt x="102" y="92"/>
                      </a:lnTo>
                      <a:lnTo>
                        <a:pt x="102" y="92"/>
                      </a:lnTo>
                      <a:lnTo>
                        <a:pt x="102" y="91"/>
                      </a:lnTo>
                      <a:lnTo>
                        <a:pt x="102" y="91"/>
                      </a:lnTo>
                      <a:lnTo>
                        <a:pt x="102" y="91"/>
                      </a:lnTo>
                      <a:lnTo>
                        <a:pt x="102" y="91"/>
                      </a:lnTo>
                      <a:lnTo>
                        <a:pt x="103" y="91"/>
                      </a:lnTo>
                      <a:lnTo>
                        <a:pt x="103" y="90"/>
                      </a:lnTo>
                      <a:lnTo>
                        <a:pt x="104" y="90"/>
                      </a:lnTo>
                      <a:lnTo>
                        <a:pt x="104" y="89"/>
                      </a:lnTo>
                      <a:lnTo>
                        <a:pt x="104" y="89"/>
                      </a:lnTo>
                      <a:lnTo>
                        <a:pt x="104" y="89"/>
                      </a:lnTo>
                      <a:lnTo>
                        <a:pt x="104" y="88"/>
                      </a:lnTo>
                      <a:lnTo>
                        <a:pt x="105" y="88"/>
                      </a:lnTo>
                      <a:lnTo>
                        <a:pt x="105" y="87"/>
                      </a:lnTo>
                      <a:lnTo>
                        <a:pt x="106" y="87"/>
                      </a:lnTo>
                      <a:lnTo>
                        <a:pt x="106" y="88"/>
                      </a:lnTo>
                      <a:lnTo>
                        <a:pt x="106" y="87"/>
                      </a:lnTo>
                      <a:lnTo>
                        <a:pt x="106" y="87"/>
                      </a:lnTo>
                      <a:lnTo>
                        <a:pt x="106" y="87"/>
                      </a:lnTo>
                      <a:lnTo>
                        <a:pt x="106" y="86"/>
                      </a:lnTo>
                      <a:lnTo>
                        <a:pt x="107" y="86"/>
                      </a:lnTo>
                      <a:lnTo>
                        <a:pt x="106" y="86"/>
                      </a:lnTo>
                      <a:lnTo>
                        <a:pt x="106" y="85"/>
                      </a:lnTo>
                      <a:lnTo>
                        <a:pt x="107" y="85"/>
                      </a:lnTo>
                      <a:lnTo>
                        <a:pt x="108" y="85"/>
                      </a:lnTo>
                      <a:lnTo>
                        <a:pt x="108" y="85"/>
                      </a:lnTo>
                      <a:lnTo>
                        <a:pt x="109" y="85"/>
                      </a:lnTo>
                      <a:lnTo>
                        <a:pt x="109" y="85"/>
                      </a:lnTo>
                      <a:lnTo>
                        <a:pt x="110" y="85"/>
                      </a:lnTo>
                      <a:lnTo>
                        <a:pt x="110" y="85"/>
                      </a:lnTo>
                      <a:lnTo>
                        <a:pt x="110" y="85"/>
                      </a:lnTo>
                      <a:lnTo>
                        <a:pt x="110" y="84"/>
                      </a:lnTo>
                      <a:lnTo>
                        <a:pt x="110" y="83"/>
                      </a:lnTo>
                      <a:lnTo>
                        <a:pt x="110" y="83"/>
                      </a:lnTo>
                      <a:lnTo>
                        <a:pt x="110" y="82"/>
                      </a:lnTo>
                      <a:lnTo>
                        <a:pt x="111" y="82"/>
                      </a:lnTo>
                      <a:lnTo>
                        <a:pt x="112" y="82"/>
                      </a:lnTo>
                      <a:lnTo>
                        <a:pt x="112" y="82"/>
                      </a:lnTo>
                      <a:lnTo>
                        <a:pt x="112" y="82"/>
                      </a:lnTo>
                      <a:lnTo>
                        <a:pt x="112" y="81"/>
                      </a:lnTo>
                      <a:lnTo>
                        <a:pt x="113" y="81"/>
                      </a:lnTo>
                      <a:lnTo>
                        <a:pt x="113" y="82"/>
                      </a:lnTo>
                      <a:lnTo>
                        <a:pt x="114" y="82"/>
                      </a:lnTo>
                      <a:lnTo>
                        <a:pt x="114" y="81"/>
                      </a:lnTo>
                      <a:lnTo>
                        <a:pt x="114" y="81"/>
                      </a:lnTo>
                      <a:lnTo>
                        <a:pt x="115" y="81"/>
                      </a:lnTo>
                      <a:lnTo>
                        <a:pt x="115" y="80"/>
                      </a:lnTo>
                      <a:lnTo>
                        <a:pt x="116" y="80"/>
                      </a:lnTo>
                      <a:lnTo>
                        <a:pt x="116" y="80"/>
                      </a:lnTo>
                      <a:lnTo>
                        <a:pt x="117" y="80"/>
                      </a:lnTo>
                      <a:lnTo>
                        <a:pt x="117" y="80"/>
                      </a:lnTo>
                      <a:lnTo>
                        <a:pt x="118" y="80"/>
                      </a:lnTo>
                      <a:lnTo>
                        <a:pt x="119" y="80"/>
                      </a:lnTo>
                      <a:lnTo>
                        <a:pt x="119" y="79"/>
                      </a:lnTo>
                      <a:lnTo>
                        <a:pt x="119" y="79"/>
                      </a:lnTo>
                      <a:lnTo>
                        <a:pt x="119" y="78"/>
                      </a:lnTo>
                      <a:lnTo>
                        <a:pt x="119" y="78"/>
                      </a:lnTo>
                      <a:lnTo>
                        <a:pt x="118" y="78"/>
                      </a:lnTo>
                      <a:lnTo>
                        <a:pt x="119" y="78"/>
                      </a:lnTo>
                      <a:lnTo>
                        <a:pt x="119" y="78"/>
                      </a:lnTo>
                      <a:lnTo>
                        <a:pt x="119" y="77"/>
                      </a:lnTo>
                      <a:lnTo>
                        <a:pt x="119" y="77"/>
                      </a:lnTo>
                      <a:lnTo>
                        <a:pt x="119" y="78"/>
                      </a:lnTo>
                      <a:lnTo>
                        <a:pt x="120" y="78"/>
                      </a:lnTo>
                      <a:lnTo>
                        <a:pt x="120" y="77"/>
                      </a:lnTo>
                      <a:lnTo>
                        <a:pt x="121" y="77"/>
                      </a:lnTo>
                      <a:lnTo>
                        <a:pt x="121" y="76"/>
                      </a:lnTo>
                      <a:lnTo>
                        <a:pt x="121" y="76"/>
                      </a:lnTo>
                      <a:lnTo>
                        <a:pt x="121" y="76"/>
                      </a:lnTo>
                      <a:lnTo>
                        <a:pt x="122" y="76"/>
                      </a:lnTo>
                      <a:lnTo>
                        <a:pt x="123" y="76"/>
                      </a:lnTo>
                      <a:lnTo>
                        <a:pt x="123" y="76"/>
                      </a:lnTo>
                      <a:lnTo>
                        <a:pt x="123" y="76"/>
                      </a:lnTo>
                      <a:lnTo>
                        <a:pt x="123" y="76"/>
                      </a:lnTo>
                      <a:lnTo>
                        <a:pt x="123" y="75"/>
                      </a:lnTo>
                      <a:lnTo>
                        <a:pt x="124" y="75"/>
                      </a:lnTo>
                      <a:lnTo>
                        <a:pt x="124" y="76"/>
                      </a:lnTo>
                      <a:lnTo>
                        <a:pt x="125" y="76"/>
                      </a:lnTo>
                      <a:lnTo>
                        <a:pt x="125" y="75"/>
                      </a:lnTo>
                      <a:lnTo>
                        <a:pt x="125" y="76"/>
                      </a:lnTo>
                      <a:lnTo>
                        <a:pt x="125" y="76"/>
                      </a:lnTo>
                      <a:lnTo>
                        <a:pt x="125" y="76"/>
                      </a:lnTo>
                      <a:lnTo>
                        <a:pt x="125" y="76"/>
                      </a:lnTo>
                      <a:lnTo>
                        <a:pt x="126" y="76"/>
                      </a:lnTo>
                      <a:lnTo>
                        <a:pt x="126" y="75"/>
                      </a:lnTo>
                      <a:lnTo>
                        <a:pt x="127" y="75"/>
                      </a:lnTo>
                      <a:lnTo>
                        <a:pt x="127" y="76"/>
                      </a:lnTo>
                      <a:lnTo>
                        <a:pt x="127" y="76"/>
                      </a:lnTo>
                      <a:lnTo>
                        <a:pt x="128" y="76"/>
                      </a:lnTo>
                      <a:lnTo>
                        <a:pt x="129" y="76"/>
                      </a:lnTo>
                      <a:lnTo>
                        <a:pt x="129" y="76"/>
                      </a:lnTo>
                      <a:lnTo>
                        <a:pt x="129" y="76"/>
                      </a:lnTo>
                      <a:lnTo>
                        <a:pt x="129" y="76"/>
                      </a:lnTo>
                      <a:lnTo>
                        <a:pt x="129" y="76"/>
                      </a:lnTo>
                      <a:lnTo>
                        <a:pt x="130" y="76"/>
                      </a:lnTo>
                      <a:lnTo>
                        <a:pt x="130" y="77"/>
                      </a:lnTo>
                      <a:lnTo>
                        <a:pt x="131" y="77"/>
                      </a:lnTo>
                      <a:lnTo>
                        <a:pt x="131" y="76"/>
                      </a:lnTo>
                      <a:lnTo>
                        <a:pt x="131" y="77"/>
                      </a:lnTo>
                      <a:lnTo>
                        <a:pt x="131" y="77"/>
                      </a:lnTo>
                      <a:lnTo>
                        <a:pt x="132" y="77"/>
                      </a:lnTo>
                      <a:lnTo>
                        <a:pt x="132" y="78"/>
                      </a:lnTo>
                      <a:lnTo>
                        <a:pt x="133" y="78"/>
                      </a:lnTo>
                      <a:lnTo>
                        <a:pt x="133" y="78"/>
                      </a:lnTo>
                      <a:lnTo>
                        <a:pt x="133" y="78"/>
                      </a:lnTo>
                      <a:lnTo>
                        <a:pt x="133" y="78"/>
                      </a:lnTo>
                      <a:lnTo>
                        <a:pt x="133" y="77"/>
                      </a:lnTo>
                      <a:lnTo>
                        <a:pt x="134" y="77"/>
                      </a:lnTo>
                      <a:lnTo>
                        <a:pt x="134" y="76"/>
                      </a:lnTo>
                      <a:lnTo>
                        <a:pt x="135" y="76"/>
                      </a:lnTo>
                      <a:lnTo>
                        <a:pt x="135" y="76"/>
                      </a:lnTo>
                      <a:lnTo>
                        <a:pt x="135" y="76"/>
                      </a:lnTo>
                      <a:lnTo>
                        <a:pt x="135" y="76"/>
                      </a:lnTo>
                      <a:lnTo>
                        <a:pt x="136" y="76"/>
                      </a:lnTo>
                      <a:lnTo>
                        <a:pt x="136" y="76"/>
                      </a:lnTo>
                      <a:lnTo>
                        <a:pt x="136" y="75"/>
                      </a:lnTo>
                      <a:lnTo>
                        <a:pt x="137" y="75"/>
                      </a:lnTo>
                      <a:lnTo>
                        <a:pt x="137" y="74"/>
                      </a:lnTo>
                      <a:lnTo>
                        <a:pt x="137" y="75"/>
                      </a:lnTo>
                      <a:lnTo>
                        <a:pt x="138" y="74"/>
                      </a:lnTo>
                      <a:lnTo>
                        <a:pt x="138" y="75"/>
                      </a:lnTo>
                      <a:lnTo>
                        <a:pt x="138" y="75"/>
                      </a:lnTo>
                      <a:lnTo>
                        <a:pt x="138" y="74"/>
                      </a:lnTo>
                      <a:lnTo>
                        <a:pt x="138" y="75"/>
                      </a:lnTo>
                      <a:lnTo>
                        <a:pt x="138" y="74"/>
                      </a:lnTo>
                      <a:lnTo>
                        <a:pt x="139" y="74"/>
                      </a:lnTo>
                      <a:lnTo>
                        <a:pt x="139" y="75"/>
                      </a:lnTo>
                      <a:lnTo>
                        <a:pt x="139" y="76"/>
                      </a:lnTo>
                      <a:lnTo>
                        <a:pt x="140" y="76"/>
                      </a:lnTo>
                      <a:lnTo>
                        <a:pt x="140" y="75"/>
                      </a:lnTo>
                      <a:lnTo>
                        <a:pt x="140" y="75"/>
                      </a:lnTo>
                      <a:lnTo>
                        <a:pt x="140" y="76"/>
                      </a:lnTo>
                      <a:lnTo>
                        <a:pt x="141" y="76"/>
                      </a:lnTo>
                      <a:lnTo>
                        <a:pt x="141" y="75"/>
                      </a:lnTo>
                      <a:lnTo>
                        <a:pt x="140" y="75"/>
                      </a:lnTo>
                      <a:lnTo>
                        <a:pt x="141" y="75"/>
                      </a:lnTo>
                      <a:lnTo>
                        <a:pt x="141" y="76"/>
                      </a:lnTo>
                      <a:lnTo>
                        <a:pt x="142" y="76"/>
                      </a:lnTo>
                      <a:lnTo>
                        <a:pt x="142" y="76"/>
                      </a:lnTo>
                      <a:lnTo>
                        <a:pt x="142" y="76"/>
                      </a:lnTo>
                      <a:lnTo>
                        <a:pt x="142" y="76"/>
                      </a:lnTo>
                      <a:lnTo>
                        <a:pt x="142" y="76"/>
                      </a:lnTo>
                      <a:lnTo>
                        <a:pt x="143" y="76"/>
                      </a:lnTo>
                      <a:lnTo>
                        <a:pt x="143" y="76"/>
                      </a:lnTo>
                      <a:lnTo>
                        <a:pt x="144" y="76"/>
                      </a:lnTo>
                      <a:lnTo>
                        <a:pt x="144" y="76"/>
                      </a:lnTo>
                      <a:lnTo>
                        <a:pt x="144" y="76"/>
                      </a:lnTo>
                      <a:lnTo>
                        <a:pt x="144" y="76"/>
                      </a:lnTo>
                      <a:lnTo>
                        <a:pt x="144" y="76"/>
                      </a:lnTo>
                      <a:lnTo>
                        <a:pt x="144" y="76"/>
                      </a:lnTo>
                      <a:lnTo>
                        <a:pt x="144" y="76"/>
                      </a:lnTo>
                      <a:lnTo>
                        <a:pt x="145" y="76"/>
                      </a:lnTo>
                      <a:lnTo>
                        <a:pt x="145" y="76"/>
                      </a:lnTo>
                      <a:lnTo>
                        <a:pt x="145" y="76"/>
                      </a:lnTo>
                      <a:lnTo>
                        <a:pt x="146" y="76"/>
                      </a:lnTo>
                      <a:lnTo>
                        <a:pt x="146" y="76"/>
                      </a:lnTo>
                      <a:lnTo>
                        <a:pt x="146" y="76"/>
                      </a:lnTo>
                      <a:lnTo>
                        <a:pt x="146" y="75"/>
                      </a:lnTo>
                      <a:lnTo>
                        <a:pt x="147" y="75"/>
                      </a:lnTo>
                      <a:lnTo>
                        <a:pt x="147" y="76"/>
                      </a:lnTo>
                      <a:lnTo>
                        <a:pt x="147" y="75"/>
                      </a:lnTo>
                      <a:lnTo>
                        <a:pt x="148" y="75"/>
                      </a:lnTo>
                      <a:lnTo>
                        <a:pt x="148" y="75"/>
                      </a:lnTo>
                      <a:lnTo>
                        <a:pt x="148" y="76"/>
                      </a:lnTo>
                      <a:lnTo>
                        <a:pt x="148" y="75"/>
                      </a:lnTo>
                      <a:lnTo>
                        <a:pt x="149" y="75"/>
                      </a:lnTo>
                      <a:lnTo>
                        <a:pt x="149" y="74"/>
                      </a:lnTo>
                      <a:lnTo>
                        <a:pt x="150" y="74"/>
                      </a:lnTo>
                      <a:lnTo>
                        <a:pt x="150" y="74"/>
                      </a:lnTo>
                      <a:lnTo>
                        <a:pt x="150" y="74"/>
                      </a:lnTo>
                      <a:lnTo>
                        <a:pt x="150" y="73"/>
                      </a:lnTo>
                      <a:lnTo>
                        <a:pt x="150" y="72"/>
                      </a:lnTo>
                      <a:lnTo>
                        <a:pt x="151" y="72"/>
                      </a:lnTo>
                      <a:lnTo>
                        <a:pt x="152" y="72"/>
                      </a:lnTo>
                      <a:lnTo>
                        <a:pt x="152" y="73"/>
                      </a:lnTo>
                      <a:lnTo>
                        <a:pt x="152" y="72"/>
                      </a:lnTo>
                      <a:lnTo>
                        <a:pt x="152" y="72"/>
                      </a:lnTo>
                      <a:lnTo>
                        <a:pt x="152" y="73"/>
                      </a:lnTo>
                      <a:lnTo>
                        <a:pt x="153" y="73"/>
                      </a:lnTo>
                      <a:lnTo>
                        <a:pt x="153" y="72"/>
                      </a:lnTo>
                      <a:lnTo>
                        <a:pt x="153" y="73"/>
                      </a:lnTo>
                      <a:lnTo>
                        <a:pt x="154" y="73"/>
                      </a:lnTo>
                      <a:lnTo>
                        <a:pt x="154" y="74"/>
                      </a:lnTo>
                      <a:lnTo>
                        <a:pt x="155" y="74"/>
                      </a:lnTo>
                      <a:lnTo>
                        <a:pt x="154" y="74"/>
                      </a:lnTo>
                      <a:lnTo>
                        <a:pt x="155" y="74"/>
                      </a:lnTo>
                      <a:lnTo>
                        <a:pt x="155" y="74"/>
                      </a:lnTo>
                      <a:lnTo>
                        <a:pt x="155" y="73"/>
                      </a:lnTo>
                      <a:lnTo>
                        <a:pt x="156" y="73"/>
                      </a:lnTo>
                      <a:lnTo>
                        <a:pt x="156" y="72"/>
                      </a:lnTo>
                      <a:lnTo>
                        <a:pt x="155" y="72"/>
                      </a:lnTo>
                      <a:lnTo>
                        <a:pt x="155" y="72"/>
                      </a:lnTo>
                      <a:lnTo>
                        <a:pt x="155" y="72"/>
                      </a:lnTo>
                      <a:lnTo>
                        <a:pt x="156" y="72"/>
                      </a:lnTo>
                      <a:lnTo>
                        <a:pt x="156" y="72"/>
                      </a:lnTo>
                      <a:lnTo>
                        <a:pt x="157" y="72"/>
                      </a:lnTo>
                      <a:lnTo>
                        <a:pt x="157" y="72"/>
                      </a:lnTo>
                      <a:lnTo>
                        <a:pt x="157" y="72"/>
                      </a:lnTo>
                      <a:lnTo>
                        <a:pt x="157" y="72"/>
                      </a:lnTo>
                      <a:lnTo>
                        <a:pt x="158" y="72"/>
                      </a:lnTo>
                      <a:lnTo>
                        <a:pt x="158" y="72"/>
                      </a:lnTo>
                      <a:lnTo>
                        <a:pt x="159" y="72"/>
                      </a:lnTo>
                      <a:lnTo>
                        <a:pt x="159" y="72"/>
                      </a:lnTo>
                      <a:lnTo>
                        <a:pt x="159" y="72"/>
                      </a:lnTo>
                      <a:lnTo>
                        <a:pt x="159" y="72"/>
                      </a:lnTo>
                      <a:lnTo>
                        <a:pt x="159" y="72"/>
                      </a:lnTo>
                      <a:lnTo>
                        <a:pt x="159" y="72"/>
                      </a:lnTo>
                      <a:lnTo>
                        <a:pt x="159" y="73"/>
                      </a:lnTo>
                      <a:lnTo>
                        <a:pt x="160" y="73"/>
                      </a:lnTo>
                      <a:lnTo>
                        <a:pt x="160" y="72"/>
                      </a:lnTo>
                      <a:lnTo>
                        <a:pt x="161" y="72"/>
                      </a:lnTo>
                      <a:lnTo>
                        <a:pt x="161" y="72"/>
                      </a:lnTo>
                      <a:lnTo>
                        <a:pt x="162" y="72"/>
                      </a:lnTo>
                      <a:lnTo>
                        <a:pt x="162" y="72"/>
                      </a:lnTo>
                      <a:lnTo>
                        <a:pt x="162" y="72"/>
                      </a:lnTo>
                      <a:lnTo>
                        <a:pt x="162" y="72"/>
                      </a:lnTo>
                      <a:lnTo>
                        <a:pt x="163" y="72"/>
                      </a:lnTo>
                      <a:lnTo>
                        <a:pt x="163" y="72"/>
                      </a:lnTo>
                      <a:lnTo>
                        <a:pt x="163" y="72"/>
                      </a:lnTo>
                      <a:lnTo>
                        <a:pt x="163" y="73"/>
                      </a:lnTo>
                      <a:lnTo>
                        <a:pt x="164" y="73"/>
                      </a:lnTo>
                      <a:lnTo>
                        <a:pt x="164" y="74"/>
                      </a:lnTo>
                      <a:lnTo>
                        <a:pt x="164" y="73"/>
                      </a:lnTo>
                      <a:lnTo>
                        <a:pt x="164" y="74"/>
                      </a:lnTo>
                      <a:lnTo>
                        <a:pt x="165" y="74"/>
                      </a:lnTo>
                      <a:lnTo>
                        <a:pt x="165" y="74"/>
                      </a:lnTo>
                      <a:lnTo>
                        <a:pt x="165" y="74"/>
                      </a:lnTo>
                      <a:lnTo>
                        <a:pt x="165" y="74"/>
                      </a:lnTo>
                      <a:lnTo>
                        <a:pt x="166" y="74"/>
                      </a:lnTo>
                      <a:lnTo>
                        <a:pt x="167" y="74"/>
                      </a:lnTo>
                      <a:lnTo>
                        <a:pt x="167" y="74"/>
                      </a:lnTo>
                      <a:lnTo>
                        <a:pt x="167" y="74"/>
                      </a:lnTo>
                      <a:lnTo>
                        <a:pt x="167" y="75"/>
                      </a:lnTo>
                      <a:lnTo>
                        <a:pt x="168" y="75"/>
                      </a:lnTo>
                      <a:lnTo>
                        <a:pt x="168" y="74"/>
                      </a:lnTo>
                      <a:lnTo>
                        <a:pt x="168" y="75"/>
                      </a:lnTo>
                      <a:lnTo>
                        <a:pt x="169" y="75"/>
                      </a:lnTo>
                      <a:lnTo>
                        <a:pt x="169" y="74"/>
                      </a:lnTo>
                      <a:lnTo>
                        <a:pt x="170" y="74"/>
                      </a:lnTo>
                      <a:lnTo>
                        <a:pt x="169" y="74"/>
                      </a:lnTo>
                      <a:lnTo>
                        <a:pt x="170" y="74"/>
                      </a:lnTo>
                      <a:lnTo>
                        <a:pt x="170" y="75"/>
                      </a:lnTo>
                      <a:lnTo>
                        <a:pt x="171" y="75"/>
                      </a:lnTo>
                      <a:lnTo>
                        <a:pt x="171" y="74"/>
                      </a:lnTo>
                      <a:lnTo>
                        <a:pt x="171" y="75"/>
                      </a:lnTo>
                      <a:lnTo>
                        <a:pt x="171" y="75"/>
                      </a:lnTo>
                      <a:lnTo>
                        <a:pt x="172" y="74"/>
                      </a:lnTo>
                      <a:lnTo>
                        <a:pt x="172" y="75"/>
                      </a:lnTo>
                      <a:lnTo>
                        <a:pt x="173" y="74"/>
                      </a:lnTo>
                      <a:lnTo>
                        <a:pt x="173" y="75"/>
                      </a:lnTo>
                      <a:lnTo>
                        <a:pt x="173" y="76"/>
                      </a:lnTo>
                      <a:lnTo>
                        <a:pt x="173" y="75"/>
                      </a:lnTo>
                      <a:lnTo>
                        <a:pt x="174" y="75"/>
                      </a:lnTo>
                      <a:lnTo>
                        <a:pt x="174" y="76"/>
                      </a:lnTo>
                      <a:lnTo>
                        <a:pt x="174" y="76"/>
                      </a:lnTo>
                      <a:lnTo>
                        <a:pt x="174" y="76"/>
                      </a:lnTo>
                      <a:lnTo>
                        <a:pt x="175" y="76"/>
                      </a:lnTo>
                      <a:lnTo>
                        <a:pt x="175" y="77"/>
                      </a:lnTo>
                      <a:lnTo>
                        <a:pt x="174" y="77"/>
                      </a:lnTo>
                      <a:lnTo>
                        <a:pt x="175" y="77"/>
                      </a:lnTo>
                      <a:lnTo>
                        <a:pt x="175" y="78"/>
                      </a:lnTo>
                      <a:lnTo>
                        <a:pt x="176" y="78"/>
                      </a:lnTo>
                      <a:lnTo>
                        <a:pt x="176" y="78"/>
                      </a:lnTo>
                      <a:lnTo>
                        <a:pt x="176" y="78"/>
                      </a:lnTo>
                      <a:lnTo>
                        <a:pt x="176" y="78"/>
                      </a:lnTo>
                      <a:lnTo>
                        <a:pt x="176" y="77"/>
                      </a:lnTo>
                      <a:lnTo>
                        <a:pt x="177" y="77"/>
                      </a:lnTo>
                      <a:lnTo>
                        <a:pt x="177" y="78"/>
                      </a:lnTo>
                      <a:lnTo>
                        <a:pt x="178" y="78"/>
                      </a:lnTo>
                      <a:lnTo>
                        <a:pt x="178" y="78"/>
                      </a:lnTo>
                      <a:lnTo>
                        <a:pt x="177" y="78"/>
                      </a:lnTo>
                      <a:lnTo>
                        <a:pt x="177" y="79"/>
                      </a:lnTo>
                      <a:lnTo>
                        <a:pt x="178" y="79"/>
                      </a:lnTo>
                      <a:lnTo>
                        <a:pt x="178" y="79"/>
                      </a:lnTo>
                      <a:lnTo>
                        <a:pt x="179" y="79"/>
                      </a:lnTo>
                      <a:lnTo>
                        <a:pt x="179" y="80"/>
                      </a:lnTo>
                      <a:lnTo>
                        <a:pt x="180" y="80"/>
                      </a:lnTo>
                      <a:lnTo>
                        <a:pt x="180" y="79"/>
                      </a:lnTo>
                      <a:lnTo>
                        <a:pt x="180" y="79"/>
                      </a:lnTo>
                      <a:lnTo>
                        <a:pt x="180" y="80"/>
                      </a:lnTo>
                      <a:lnTo>
                        <a:pt x="180" y="80"/>
                      </a:lnTo>
                      <a:lnTo>
                        <a:pt x="180" y="80"/>
                      </a:lnTo>
                      <a:lnTo>
                        <a:pt x="180" y="80"/>
                      </a:lnTo>
                      <a:lnTo>
                        <a:pt x="181" y="80"/>
                      </a:lnTo>
                      <a:lnTo>
                        <a:pt x="181" y="81"/>
                      </a:lnTo>
                      <a:lnTo>
                        <a:pt x="182" y="81"/>
                      </a:lnTo>
                      <a:lnTo>
                        <a:pt x="182" y="82"/>
                      </a:lnTo>
                      <a:lnTo>
                        <a:pt x="182" y="81"/>
                      </a:lnTo>
                      <a:lnTo>
                        <a:pt x="182" y="81"/>
                      </a:lnTo>
                      <a:lnTo>
                        <a:pt x="182" y="80"/>
                      </a:lnTo>
                      <a:lnTo>
                        <a:pt x="183" y="80"/>
                      </a:lnTo>
                      <a:lnTo>
                        <a:pt x="183" y="81"/>
                      </a:lnTo>
                      <a:lnTo>
                        <a:pt x="183" y="82"/>
                      </a:lnTo>
                      <a:lnTo>
                        <a:pt x="183" y="81"/>
                      </a:lnTo>
                      <a:lnTo>
                        <a:pt x="184" y="81"/>
                      </a:lnTo>
                      <a:lnTo>
                        <a:pt x="184" y="81"/>
                      </a:lnTo>
                      <a:lnTo>
                        <a:pt x="184" y="82"/>
                      </a:lnTo>
                      <a:lnTo>
                        <a:pt x="184" y="82"/>
                      </a:lnTo>
                      <a:lnTo>
                        <a:pt x="185" y="82"/>
                      </a:lnTo>
                      <a:lnTo>
                        <a:pt x="186" y="82"/>
                      </a:lnTo>
                      <a:lnTo>
                        <a:pt x="186" y="82"/>
                      </a:lnTo>
                      <a:lnTo>
                        <a:pt x="186" y="82"/>
                      </a:lnTo>
                      <a:lnTo>
                        <a:pt x="186" y="82"/>
                      </a:lnTo>
                      <a:lnTo>
                        <a:pt x="186" y="83"/>
                      </a:lnTo>
                      <a:lnTo>
                        <a:pt x="186" y="83"/>
                      </a:lnTo>
                      <a:lnTo>
                        <a:pt x="186" y="83"/>
                      </a:lnTo>
                      <a:lnTo>
                        <a:pt x="186" y="84"/>
                      </a:lnTo>
                      <a:lnTo>
                        <a:pt x="187" y="84"/>
                      </a:lnTo>
                      <a:lnTo>
                        <a:pt x="187" y="83"/>
                      </a:lnTo>
                      <a:lnTo>
                        <a:pt x="187" y="84"/>
                      </a:lnTo>
                      <a:lnTo>
                        <a:pt x="188" y="84"/>
                      </a:lnTo>
                      <a:lnTo>
                        <a:pt x="188" y="84"/>
                      </a:lnTo>
                      <a:lnTo>
                        <a:pt x="188" y="85"/>
                      </a:lnTo>
                      <a:lnTo>
                        <a:pt x="188" y="84"/>
                      </a:lnTo>
                      <a:lnTo>
                        <a:pt x="189" y="84"/>
                      </a:lnTo>
                      <a:lnTo>
                        <a:pt x="189" y="83"/>
                      </a:lnTo>
                      <a:lnTo>
                        <a:pt x="190" y="83"/>
                      </a:lnTo>
                      <a:lnTo>
                        <a:pt x="190" y="83"/>
                      </a:lnTo>
                      <a:lnTo>
                        <a:pt x="190" y="84"/>
                      </a:lnTo>
                      <a:lnTo>
                        <a:pt x="190" y="85"/>
                      </a:lnTo>
                      <a:lnTo>
                        <a:pt x="191" y="85"/>
                      </a:lnTo>
                      <a:lnTo>
                        <a:pt x="191" y="85"/>
                      </a:lnTo>
                      <a:lnTo>
                        <a:pt x="191" y="86"/>
                      </a:lnTo>
                      <a:lnTo>
                        <a:pt x="192" y="86"/>
                      </a:lnTo>
                      <a:lnTo>
                        <a:pt x="193" y="87"/>
                      </a:lnTo>
                      <a:lnTo>
                        <a:pt x="193" y="87"/>
                      </a:lnTo>
                      <a:lnTo>
                        <a:pt x="194" y="87"/>
                      </a:lnTo>
                      <a:lnTo>
                        <a:pt x="194" y="86"/>
                      </a:lnTo>
                      <a:lnTo>
                        <a:pt x="194" y="87"/>
                      </a:lnTo>
                      <a:lnTo>
                        <a:pt x="194" y="87"/>
                      </a:lnTo>
                      <a:lnTo>
                        <a:pt x="194" y="88"/>
                      </a:lnTo>
                      <a:lnTo>
                        <a:pt x="194" y="89"/>
                      </a:lnTo>
                      <a:lnTo>
                        <a:pt x="195" y="89"/>
                      </a:lnTo>
                      <a:lnTo>
                        <a:pt x="197" y="91"/>
                      </a:lnTo>
                      <a:lnTo>
                        <a:pt x="197" y="91"/>
                      </a:lnTo>
                      <a:lnTo>
                        <a:pt x="198" y="91"/>
                      </a:lnTo>
                      <a:lnTo>
                        <a:pt x="197" y="91"/>
                      </a:lnTo>
                      <a:lnTo>
                        <a:pt x="197" y="90"/>
                      </a:lnTo>
                      <a:lnTo>
                        <a:pt x="198" y="90"/>
                      </a:lnTo>
                      <a:lnTo>
                        <a:pt x="198" y="91"/>
                      </a:lnTo>
                      <a:lnTo>
                        <a:pt x="199" y="91"/>
                      </a:lnTo>
                      <a:lnTo>
                        <a:pt x="199" y="90"/>
                      </a:lnTo>
                      <a:lnTo>
                        <a:pt x="199" y="89"/>
                      </a:lnTo>
                      <a:lnTo>
                        <a:pt x="199" y="89"/>
                      </a:lnTo>
                      <a:lnTo>
                        <a:pt x="199" y="90"/>
                      </a:lnTo>
                      <a:lnTo>
                        <a:pt x="200" y="90"/>
                      </a:lnTo>
                      <a:lnTo>
                        <a:pt x="200" y="91"/>
                      </a:lnTo>
                      <a:lnTo>
                        <a:pt x="201" y="91"/>
                      </a:lnTo>
                      <a:lnTo>
                        <a:pt x="201" y="90"/>
                      </a:lnTo>
                      <a:lnTo>
                        <a:pt x="201" y="90"/>
                      </a:lnTo>
                      <a:lnTo>
                        <a:pt x="201" y="89"/>
                      </a:lnTo>
                      <a:lnTo>
                        <a:pt x="202" y="89"/>
                      </a:lnTo>
                      <a:lnTo>
                        <a:pt x="203" y="89"/>
                      </a:lnTo>
                      <a:lnTo>
                        <a:pt x="202" y="89"/>
                      </a:lnTo>
                      <a:lnTo>
                        <a:pt x="203" y="89"/>
                      </a:lnTo>
                      <a:lnTo>
                        <a:pt x="203" y="89"/>
                      </a:lnTo>
                      <a:lnTo>
                        <a:pt x="203" y="90"/>
                      </a:lnTo>
                      <a:lnTo>
                        <a:pt x="204" y="89"/>
                      </a:lnTo>
                      <a:lnTo>
                        <a:pt x="205" y="84"/>
                      </a:lnTo>
                      <a:lnTo>
                        <a:pt x="205" y="83"/>
                      </a:lnTo>
                      <a:lnTo>
                        <a:pt x="206" y="82"/>
                      </a:lnTo>
                      <a:lnTo>
                        <a:pt x="206" y="82"/>
                      </a:lnTo>
                      <a:lnTo>
                        <a:pt x="206" y="80"/>
                      </a:lnTo>
                      <a:lnTo>
                        <a:pt x="207" y="80"/>
                      </a:lnTo>
                      <a:lnTo>
                        <a:pt x="207" y="79"/>
                      </a:lnTo>
                      <a:lnTo>
                        <a:pt x="207" y="78"/>
                      </a:lnTo>
                      <a:lnTo>
                        <a:pt x="207" y="78"/>
                      </a:lnTo>
                      <a:lnTo>
                        <a:pt x="207" y="77"/>
                      </a:lnTo>
                      <a:lnTo>
                        <a:pt x="207" y="76"/>
                      </a:lnTo>
                      <a:lnTo>
                        <a:pt x="207" y="76"/>
                      </a:lnTo>
                      <a:lnTo>
                        <a:pt x="208" y="76"/>
                      </a:lnTo>
                      <a:lnTo>
                        <a:pt x="208" y="75"/>
                      </a:lnTo>
                      <a:lnTo>
                        <a:pt x="208" y="74"/>
                      </a:lnTo>
                      <a:lnTo>
                        <a:pt x="208" y="74"/>
                      </a:lnTo>
                      <a:lnTo>
                        <a:pt x="208" y="73"/>
                      </a:lnTo>
                      <a:lnTo>
                        <a:pt x="209" y="73"/>
                      </a:lnTo>
                      <a:lnTo>
                        <a:pt x="209" y="72"/>
                      </a:lnTo>
                      <a:lnTo>
                        <a:pt x="209" y="71"/>
                      </a:lnTo>
                      <a:lnTo>
                        <a:pt x="209" y="71"/>
                      </a:lnTo>
                      <a:lnTo>
                        <a:pt x="209" y="70"/>
                      </a:lnTo>
                      <a:lnTo>
                        <a:pt x="209" y="70"/>
                      </a:lnTo>
                      <a:lnTo>
                        <a:pt x="209" y="69"/>
                      </a:lnTo>
                      <a:lnTo>
                        <a:pt x="210" y="68"/>
                      </a:lnTo>
                      <a:lnTo>
                        <a:pt x="210" y="68"/>
                      </a:lnTo>
                      <a:lnTo>
                        <a:pt x="210" y="67"/>
                      </a:lnTo>
                      <a:lnTo>
                        <a:pt x="210" y="66"/>
                      </a:lnTo>
                      <a:lnTo>
                        <a:pt x="211" y="66"/>
                      </a:lnTo>
                      <a:lnTo>
                        <a:pt x="211" y="66"/>
                      </a:lnTo>
                      <a:lnTo>
                        <a:pt x="211" y="65"/>
                      </a:lnTo>
                      <a:lnTo>
                        <a:pt x="211" y="64"/>
                      </a:lnTo>
                      <a:lnTo>
                        <a:pt x="212" y="64"/>
                      </a:lnTo>
                      <a:lnTo>
                        <a:pt x="212" y="62"/>
                      </a:lnTo>
                      <a:lnTo>
                        <a:pt x="212" y="62"/>
                      </a:lnTo>
                      <a:lnTo>
                        <a:pt x="213" y="62"/>
                      </a:lnTo>
                      <a:lnTo>
                        <a:pt x="214" y="63"/>
                      </a:lnTo>
                      <a:lnTo>
                        <a:pt x="214" y="63"/>
                      </a:lnTo>
                      <a:lnTo>
                        <a:pt x="214" y="64"/>
                      </a:lnTo>
                      <a:lnTo>
                        <a:pt x="215" y="64"/>
                      </a:lnTo>
                      <a:lnTo>
                        <a:pt x="216" y="65"/>
                      </a:lnTo>
                      <a:lnTo>
                        <a:pt x="216" y="65"/>
                      </a:lnTo>
                      <a:lnTo>
                        <a:pt x="218" y="64"/>
                      </a:lnTo>
                      <a:lnTo>
                        <a:pt x="218" y="63"/>
                      </a:lnTo>
                      <a:lnTo>
                        <a:pt x="219" y="63"/>
                      </a:lnTo>
                      <a:lnTo>
                        <a:pt x="219" y="62"/>
                      </a:lnTo>
                      <a:lnTo>
                        <a:pt x="220" y="61"/>
                      </a:lnTo>
                      <a:lnTo>
                        <a:pt x="220" y="61"/>
                      </a:lnTo>
                      <a:lnTo>
                        <a:pt x="220" y="61"/>
                      </a:lnTo>
                      <a:lnTo>
                        <a:pt x="221" y="61"/>
                      </a:lnTo>
                      <a:lnTo>
                        <a:pt x="221" y="60"/>
                      </a:lnTo>
                      <a:lnTo>
                        <a:pt x="222" y="60"/>
                      </a:lnTo>
                      <a:lnTo>
                        <a:pt x="222" y="59"/>
                      </a:lnTo>
                      <a:lnTo>
                        <a:pt x="221" y="59"/>
                      </a:lnTo>
                      <a:lnTo>
                        <a:pt x="220" y="59"/>
                      </a:lnTo>
                      <a:lnTo>
                        <a:pt x="221" y="59"/>
                      </a:lnTo>
                      <a:lnTo>
                        <a:pt x="222" y="59"/>
                      </a:lnTo>
                      <a:lnTo>
                        <a:pt x="222" y="59"/>
                      </a:lnTo>
                      <a:lnTo>
                        <a:pt x="222" y="59"/>
                      </a:lnTo>
                      <a:lnTo>
                        <a:pt x="222" y="58"/>
                      </a:lnTo>
                      <a:lnTo>
                        <a:pt x="222" y="57"/>
                      </a:lnTo>
                      <a:lnTo>
                        <a:pt x="222" y="57"/>
                      </a:lnTo>
                      <a:lnTo>
                        <a:pt x="222" y="56"/>
                      </a:lnTo>
                      <a:lnTo>
                        <a:pt x="223" y="56"/>
                      </a:lnTo>
                      <a:lnTo>
                        <a:pt x="223" y="55"/>
                      </a:lnTo>
                      <a:lnTo>
                        <a:pt x="223" y="55"/>
                      </a:lnTo>
                      <a:lnTo>
                        <a:pt x="224" y="55"/>
                      </a:lnTo>
                      <a:lnTo>
                        <a:pt x="224" y="54"/>
                      </a:lnTo>
                      <a:lnTo>
                        <a:pt x="224" y="54"/>
                      </a:lnTo>
                      <a:lnTo>
                        <a:pt x="225" y="54"/>
                      </a:lnTo>
                      <a:lnTo>
                        <a:pt x="225" y="53"/>
                      </a:lnTo>
                      <a:lnTo>
                        <a:pt x="226" y="53"/>
                      </a:lnTo>
                      <a:lnTo>
                        <a:pt x="226" y="53"/>
                      </a:lnTo>
                      <a:lnTo>
                        <a:pt x="226" y="53"/>
                      </a:lnTo>
                      <a:lnTo>
                        <a:pt x="227" y="53"/>
                      </a:lnTo>
                      <a:lnTo>
                        <a:pt x="228" y="53"/>
                      </a:lnTo>
                      <a:lnTo>
                        <a:pt x="228" y="52"/>
                      </a:lnTo>
                      <a:lnTo>
                        <a:pt x="228" y="52"/>
                      </a:lnTo>
                      <a:lnTo>
                        <a:pt x="228" y="51"/>
                      </a:lnTo>
                      <a:lnTo>
                        <a:pt x="229" y="51"/>
                      </a:lnTo>
                      <a:lnTo>
                        <a:pt x="229" y="51"/>
                      </a:lnTo>
                      <a:lnTo>
                        <a:pt x="230" y="51"/>
                      </a:lnTo>
                      <a:lnTo>
                        <a:pt x="230" y="50"/>
                      </a:lnTo>
                      <a:lnTo>
                        <a:pt x="230" y="49"/>
                      </a:lnTo>
                      <a:lnTo>
                        <a:pt x="230" y="49"/>
                      </a:lnTo>
                      <a:lnTo>
                        <a:pt x="230" y="48"/>
                      </a:lnTo>
                      <a:lnTo>
                        <a:pt x="230" y="47"/>
                      </a:lnTo>
                      <a:lnTo>
                        <a:pt x="230" y="47"/>
                      </a:lnTo>
                      <a:lnTo>
                        <a:pt x="231" y="47"/>
                      </a:lnTo>
                      <a:lnTo>
                        <a:pt x="231" y="46"/>
                      </a:lnTo>
                      <a:lnTo>
                        <a:pt x="231" y="45"/>
                      </a:lnTo>
                      <a:lnTo>
                        <a:pt x="231" y="45"/>
                      </a:lnTo>
                      <a:lnTo>
                        <a:pt x="231" y="44"/>
                      </a:lnTo>
                      <a:lnTo>
                        <a:pt x="231" y="43"/>
                      </a:lnTo>
                      <a:lnTo>
                        <a:pt x="231" y="42"/>
                      </a:lnTo>
                      <a:lnTo>
                        <a:pt x="232" y="42"/>
                      </a:lnTo>
                      <a:lnTo>
                        <a:pt x="232" y="41"/>
                      </a:lnTo>
                      <a:lnTo>
                        <a:pt x="233" y="41"/>
                      </a:lnTo>
                      <a:lnTo>
                        <a:pt x="233" y="40"/>
                      </a:lnTo>
                      <a:lnTo>
                        <a:pt x="233" y="40"/>
                      </a:lnTo>
                      <a:lnTo>
                        <a:pt x="233" y="40"/>
                      </a:lnTo>
                      <a:lnTo>
                        <a:pt x="234" y="39"/>
                      </a:lnTo>
                      <a:lnTo>
                        <a:pt x="235" y="40"/>
                      </a:lnTo>
                      <a:lnTo>
                        <a:pt x="235" y="40"/>
                      </a:lnTo>
                      <a:lnTo>
                        <a:pt x="236" y="39"/>
                      </a:lnTo>
                      <a:lnTo>
                        <a:pt x="237" y="39"/>
                      </a:lnTo>
                      <a:lnTo>
                        <a:pt x="237" y="39"/>
                      </a:lnTo>
                      <a:lnTo>
                        <a:pt x="238" y="39"/>
                      </a:lnTo>
                      <a:lnTo>
                        <a:pt x="238" y="38"/>
                      </a:lnTo>
                      <a:lnTo>
                        <a:pt x="238" y="38"/>
                      </a:lnTo>
                      <a:lnTo>
                        <a:pt x="239" y="38"/>
                      </a:lnTo>
                      <a:lnTo>
                        <a:pt x="239" y="38"/>
                      </a:lnTo>
                      <a:lnTo>
                        <a:pt x="239" y="37"/>
                      </a:lnTo>
                      <a:lnTo>
                        <a:pt x="239" y="36"/>
                      </a:lnTo>
                      <a:lnTo>
                        <a:pt x="240" y="36"/>
                      </a:lnTo>
                      <a:lnTo>
                        <a:pt x="240" y="36"/>
                      </a:lnTo>
                      <a:lnTo>
                        <a:pt x="239" y="36"/>
                      </a:lnTo>
                      <a:lnTo>
                        <a:pt x="239" y="35"/>
                      </a:lnTo>
                      <a:lnTo>
                        <a:pt x="239" y="34"/>
                      </a:lnTo>
                      <a:lnTo>
                        <a:pt x="240" y="34"/>
                      </a:lnTo>
                      <a:lnTo>
                        <a:pt x="240" y="33"/>
                      </a:lnTo>
                      <a:lnTo>
                        <a:pt x="241" y="33"/>
                      </a:lnTo>
                      <a:lnTo>
                        <a:pt x="241" y="33"/>
                      </a:lnTo>
                      <a:lnTo>
                        <a:pt x="242" y="33"/>
                      </a:lnTo>
                      <a:lnTo>
                        <a:pt x="243" y="33"/>
                      </a:lnTo>
                      <a:lnTo>
                        <a:pt x="243" y="32"/>
                      </a:lnTo>
                      <a:lnTo>
                        <a:pt x="243" y="32"/>
                      </a:lnTo>
                      <a:lnTo>
                        <a:pt x="244" y="32"/>
                      </a:lnTo>
                      <a:lnTo>
                        <a:pt x="244" y="32"/>
                      </a:lnTo>
                      <a:lnTo>
                        <a:pt x="245" y="32"/>
                      </a:lnTo>
                      <a:lnTo>
                        <a:pt x="245" y="32"/>
                      </a:lnTo>
                      <a:lnTo>
                        <a:pt x="246" y="31"/>
                      </a:lnTo>
                      <a:lnTo>
                        <a:pt x="247" y="31"/>
                      </a:lnTo>
                      <a:lnTo>
                        <a:pt x="247" y="30"/>
                      </a:lnTo>
                      <a:lnTo>
                        <a:pt x="247" y="31"/>
                      </a:lnTo>
                      <a:lnTo>
                        <a:pt x="248" y="31"/>
                      </a:lnTo>
                      <a:lnTo>
                        <a:pt x="249" y="31"/>
                      </a:lnTo>
                      <a:lnTo>
                        <a:pt x="250" y="31"/>
                      </a:lnTo>
                      <a:lnTo>
                        <a:pt x="250" y="31"/>
                      </a:lnTo>
                      <a:lnTo>
                        <a:pt x="250" y="32"/>
                      </a:lnTo>
                      <a:lnTo>
                        <a:pt x="251" y="32"/>
                      </a:lnTo>
                      <a:lnTo>
                        <a:pt x="252" y="32"/>
                      </a:lnTo>
                      <a:lnTo>
                        <a:pt x="252" y="32"/>
                      </a:lnTo>
                      <a:lnTo>
                        <a:pt x="252" y="31"/>
                      </a:lnTo>
                      <a:lnTo>
                        <a:pt x="253" y="31"/>
                      </a:lnTo>
                      <a:lnTo>
                        <a:pt x="253" y="30"/>
                      </a:lnTo>
                      <a:lnTo>
                        <a:pt x="254" y="30"/>
                      </a:lnTo>
                      <a:lnTo>
                        <a:pt x="254" y="30"/>
                      </a:lnTo>
                      <a:lnTo>
                        <a:pt x="254" y="29"/>
                      </a:lnTo>
                      <a:lnTo>
                        <a:pt x="254" y="28"/>
                      </a:lnTo>
                      <a:lnTo>
                        <a:pt x="254" y="28"/>
                      </a:lnTo>
                      <a:lnTo>
                        <a:pt x="254" y="28"/>
                      </a:lnTo>
                      <a:lnTo>
                        <a:pt x="254" y="27"/>
                      </a:lnTo>
                      <a:lnTo>
                        <a:pt x="255" y="27"/>
                      </a:lnTo>
                      <a:lnTo>
                        <a:pt x="255" y="28"/>
                      </a:lnTo>
                      <a:lnTo>
                        <a:pt x="256" y="28"/>
                      </a:lnTo>
                      <a:lnTo>
                        <a:pt x="256" y="27"/>
                      </a:lnTo>
                      <a:lnTo>
                        <a:pt x="256" y="26"/>
                      </a:lnTo>
                      <a:lnTo>
                        <a:pt x="257" y="26"/>
                      </a:lnTo>
                      <a:lnTo>
                        <a:pt x="258" y="26"/>
                      </a:lnTo>
                      <a:lnTo>
                        <a:pt x="259" y="26"/>
                      </a:lnTo>
                      <a:lnTo>
                        <a:pt x="260" y="26"/>
                      </a:lnTo>
                      <a:lnTo>
                        <a:pt x="260" y="26"/>
                      </a:lnTo>
                      <a:lnTo>
                        <a:pt x="261" y="26"/>
                      </a:lnTo>
                      <a:lnTo>
                        <a:pt x="261" y="26"/>
                      </a:lnTo>
                      <a:lnTo>
                        <a:pt x="262" y="26"/>
                      </a:lnTo>
                      <a:lnTo>
                        <a:pt x="262" y="26"/>
                      </a:lnTo>
                      <a:lnTo>
                        <a:pt x="262" y="25"/>
                      </a:lnTo>
                      <a:lnTo>
                        <a:pt x="263" y="25"/>
                      </a:lnTo>
                      <a:lnTo>
                        <a:pt x="263" y="24"/>
                      </a:lnTo>
                      <a:lnTo>
                        <a:pt x="264" y="24"/>
                      </a:lnTo>
                      <a:lnTo>
                        <a:pt x="264" y="24"/>
                      </a:lnTo>
                      <a:lnTo>
                        <a:pt x="264" y="24"/>
                      </a:lnTo>
                      <a:lnTo>
                        <a:pt x="265" y="24"/>
                      </a:lnTo>
                      <a:lnTo>
                        <a:pt x="265" y="23"/>
                      </a:lnTo>
                      <a:lnTo>
                        <a:pt x="265" y="22"/>
                      </a:lnTo>
                      <a:lnTo>
                        <a:pt x="266" y="22"/>
                      </a:lnTo>
                      <a:lnTo>
                        <a:pt x="266" y="22"/>
                      </a:lnTo>
                      <a:lnTo>
                        <a:pt x="267" y="22"/>
                      </a:lnTo>
                      <a:lnTo>
                        <a:pt x="267" y="23"/>
                      </a:lnTo>
                      <a:lnTo>
                        <a:pt x="268" y="23"/>
                      </a:lnTo>
                      <a:lnTo>
                        <a:pt x="268" y="24"/>
                      </a:lnTo>
                      <a:lnTo>
                        <a:pt x="269" y="24"/>
                      </a:lnTo>
                      <a:lnTo>
                        <a:pt x="269" y="24"/>
                      </a:lnTo>
                      <a:lnTo>
                        <a:pt x="269" y="24"/>
                      </a:lnTo>
                      <a:lnTo>
                        <a:pt x="270" y="24"/>
                      </a:lnTo>
                      <a:lnTo>
                        <a:pt x="271" y="24"/>
                      </a:lnTo>
                      <a:lnTo>
                        <a:pt x="271" y="24"/>
                      </a:lnTo>
                      <a:lnTo>
                        <a:pt x="270" y="24"/>
                      </a:lnTo>
                      <a:lnTo>
                        <a:pt x="270" y="23"/>
                      </a:lnTo>
                      <a:lnTo>
                        <a:pt x="270" y="22"/>
                      </a:lnTo>
                      <a:lnTo>
                        <a:pt x="271" y="22"/>
                      </a:lnTo>
                      <a:lnTo>
                        <a:pt x="271" y="22"/>
                      </a:lnTo>
                      <a:lnTo>
                        <a:pt x="271" y="21"/>
                      </a:lnTo>
                      <a:lnTo>
                        <a:pt x="272" y="21"/>
                      </a:lnTo>
                      <a:lnTo>
                        <a:pt x="272" y="21"/>
                      </a:lnTo>
                      <a:lnTo>
                        <a:pt x="273" y="21"/>
                      </a:lnTo>
                      <a:lnTo>
                        <a:pt x="273" y="20"/>
                      </a:lnTo>
                      <a:lnTo>
                        <a:pt x="273" y="20"/>
                      </a:lnTo>
                      <a:lnTo>
                        <a:pt x="274" y="20"/>
                      </a:lnTo>
                      <a:lnTo>
                        <a:pt x="274" y="19"/>
                      </a:lnTo>
                      <a:lnTo>
                        <a:pt x="275" y="19"/>
                      </a:lnTo>
                      <a:lnTo>
                        <a:pt x="275" y="19"/>
                      </a:lnTo>
                      <a:lnTo>
                        <a:pt x="274" y="19"/>
                      </a:lnTo>
                      <a:lnTo>
                        <a:pt x="274" y="18"/>
                      </a:lnTo>
                      <a:lnTo>
                        <a:pt x="275" y="18"/>
                      </a:lnTo>
                      <a:lnTo>
                        <a:pt x="275" y="17"/>
                      </a:lnTo>
                      <a:lnTo>
                        <a:pt x="275" y="17"/>
                      </a:lnTo>
                      <a:lnTo>
                        <a:pt x="275" y="16"/>
                      </a:lnTo>
                      <a:lnTo>
                        <a:pt x="275" y="16"/>
                      </a:lnTo>
                      <a:lnTo>
                        <a:pt x="275" y="15"/>
                      </a:lnTo>
                      <a:lnTo>
                        <a:pt x="275" y="15"/>
                      </a:lnTo>
                      <a:lnTo>
                        <a:pt x="276" y="15"/>
                      </a:lnTo>
                      <a:lnTo>
                        <a:pt x="276" y="15"/>
                      </a:lnTo>
                      <a:lnTo>
                        <a:pt x="277" y="15"/>
                      </a:lnTo>
                      <a:lnTo>
                        <a:pt x="277" y="15"/>
                      </a:lnTo>
                      <a:lnTo>
                        <a:pt x="278" y="15"/>
                      </a:lnTo>
                      <a:lnTo>
                        <a:pt x="279" y="15"/>
                      </a:lnTo>
                      <a:lnTo>
                        <a:pt x="279" y="15"/>
                      </a:lnTo>
                      <a:lnTo>
                        <a:pt x="279" y="14"/>
                      </a:lnTo>
                      <a:lnTo>
                        <a:pt x="280" y="14"/>
                      </a:lnTo>
                      <a:lnTo>
                        <a:pt x="280" y="13"/>
                      </a:lnTo>
                      <a:lnTo>
                        <a:pt x="280" y="13"/>
                      </a:lnTo>
                      <a:lnTo>
                        <a:pt x="281" y="13"/>
                      </a:lnTo>
                      <a:lnTo>
                        <a:pt x="280" y="13"/>
                      </a:lnTo>
                      <a:lnTo>
                        <a:pt x="281" y="13"/>
                      </a:lnTo>
                      <a:lnTo>
                        <a:pt x="281" y="12"/>
                      </a:lnTo>
                      <a:lnTo>
                        <a:pt x="281" y="11"/>
                      </a:lnTo>
                      <a:lnTo>
                        <a:pt x="280" y="11"/>
                      </a:lnTo>
                      <a:lnTo>
                        <a:pt x="280" y="11"/>
                      </a:lnTo>
                      <a:lnTo>
                        <a:pt x="280" y="10"/>
                      </a:lnTo>
                      <a:lnTo>
                        <a:pt x="280" y="9"/>
                      </a:lnTo>
                      <a:lnTo>
                        <a:pt x="279" y="9"/>
                      </a:lnTo>
                      <a:lnTo>
                        <a:pt x="279" y="9"/>
                      </a:lnTo>
                      <a:lnTo>
                        <a:pt x="280" y="9"/>
                      </a:lnTo>
                      <a:lnTo>
                        <a:pt x="280" y="8"/>
                      </a:lnTo>
                      <a:lnTo>
                        <a:pt x="279" y="7"/>
                      </a:lnTo>
                      <a:lnTo>
                        <a:pt x="279" y="7"/>
                      </a:lnTo>
                      <a:lnTo>
                        <a:pt x="278" y="7"/>
                      </a:lnTo>
                      <a:lnTo>
                        <a:pt x="278" y="7"/>
                      </a:lnTo>
                      <a:lnTo>
                        <a:pt x="277" y="7"/>
                      </a:lnTo>
                      <a:lnTo>
                        <a:pt x="277" y="6"/>
                      </a:lnTo>
                      <a:lnTo>
                        <a:pt x="277" y="5"/>
                      </a:lnTo>
                      <a:lnTo>
                        <a:pt x="278" y="5"/>
                      </a:lnTo>
                      <a:lnTo>
                        <a:pt x="278" y="5"/>
                      </a:lnTo>
                      <a:lnTo>
                        <a:pt x="278" y="4"/>
                      </a:lnTo>
                      <a:lnTo>
                        <a:pt x="279" y="4"/>
                      </a:lnTo>
                      <a:lnTo>
                        <a:pt x="279" y="3"/>
                      </a:lnTo>
                      <a:lnTo>
                        <a:pt x="279" y="4"/>
                      </a:lnTo>
                      <a:lnTo>
                        <a:pt x="279" y="4"/>
                      </a:lnTo>
                      <a:lnTo>
                        <a:pt x="279" y="3"/>
                      </a:lnTo>
                      <a:lnTo>
                        <a:pt x="280" y="3"/>
                      </a:lnTo>
                      <a:lnTo>
                        <a:pt x="280" y="2"/>
                      </a:lnTo>
                      <a:lnTo>
                        <a:pt x="281" y="1"/>
                      </a:lnTo>
                      <a:lnTo>
                        <a:pt x="281" y="0"/>
                      </a:lnTo>
                      <a:lnTo>
                        <a:pt x="282" y="0"/>
                      </a:lnTo>
                      <a:lnTo>
                        <a:pt x="283" y="0"/>
                      </a:lnTo>
                      <a:lnTo>
                        <a:pt x="283" y="0"/>
                      </a:lnTo>
                      <a:lnTo>
                        <a:pt x="283" y="0"/>
                      </a:lnTo>
                      <a:lnTo>
                        <a:pt x="283" y="0"/>
                      </a:lnTo>
                      <a:lnTo>
                        <a:pt x="283" y="0"/>
                      </a:lnTo>
                      <a:lnTo>
                        <a:pt x="283" y="0"/>
                      </a:lnTo>
                      <a:lnTo>
                        <a:pt x="284" y="0"/>
                      </a:lnTo>
                      <a:lnTo>
                        <a:pt x="284" y="1"/>
                      </a:lnTo>
                      <a:lnTo>
                        <a:pt x="284" y="2"/>
                      </a:lnTo>
                      <a:lnTo>
                        <a:pt x="285" y="2"/>
                      </a:lnTo>
                      <a:lnTo>
                        <a:pt x="285" y="2"/>
                      </a:lnTo>
                      <a:lnTo>
                        <a:pt x="285" y="3"/>
                      </a:lnTo>
                      <a:lnTo>
                        <a:pt x="285" y="2"/>
                      </a:lnTo>
                      <a:lnTo>
                        <a:pt x="285" y="2"/>
                      </a:lnTo>
                      <a:lnTo>
                        <a:pt x="285" y="2"/>
                      </a:lnTo>
                      <a:lnTo>
                        <a:pt x="286" y="2"/>
                      </a:lnTo>
                      <a:lnTo>
                        <a:pt x="287" y="2"/>
                      </a:lnTo>
                      <a:lnTo>
                        <a:pt x="288" y="2"/>
                      </a:lnTo>
                      <a:lnTo>
                        <a:pt x="288" y="2"/>
                      </a:lnTo>
                      <a:lnTo>
                        <a:pt x="289" y="2"/>
                      </a:lnTo>
                      <a:lnTo>
                        <a:pt x="289" y="3"/>
                      </a:lnTo>
                      <a:lnTo>
                        <a:pt x="289" y="2"/>
                      </a:lnTo>
                      <a:lnTo>
                        <a:pt x="290" y="2"/>
                      </a:lnTo>
                      <a:lnTo>
                        <a:pt x="290" y="2"/>
                      </a:lnTo>
                      <a:lnTo>
                        <a:pt x="291" y="2"/>
                      </a:lnTo>
                      <a:lnTo>
                        <a:pt x="291" y="2"/>
                      </a:lnTo>
                      <a:lnTo>
                        <a:pt x="292" y="2"/>
                      </a:lnTo>
                      <a:lnTo>
                        <a:pt x="292" y="1"/>
                      </a:lnTo>
                      <a:lnTo>
                        <a:pt x="292" y="1"/>
                      </a:lnTo>
                      <a:lnTo>
                        <a:pt x="292" y="2"/>
                      </a:lnTo>
                      <a:lnTo>
                        <a:pt x="293" y="2"/>
                      </a:lnTo>
                      <a:lnTo>
                        <a:pt x="293" y="2"/>
                      </a:lnTo>
                      <a:lnTo>
                        <a:pt x="293" y="3"/>
                      </a:lnTo>
                      <a:lnTo>
                        <a:pt x="294" y="3"/>
                      </a:lnTo>
                      <a:lnTo>
                        <a:pt x="294" y="4"/>
                      </a:lnTo>
                      <a:lnTo>
                        <a:pt x="294" y="4"/>
                      </a:lnTo>
                      <a:lnTo>
                        <a:pt x="294" y="5"/>
                      </a:lnTo>
                      <a:lnTo>
                        <a:pt x="295" y="5"/>
                      </a:lnTo>
                      <a:lnTo>
                        <a:pt x="295" y="5"/>
                      </a:lnTo>
                      <a:lnTo>
                        <a:pt x="296" y="5"/>
                      </a:lnTo>
                      <a:lnTo>
                        <a:pt x="296" y="5"/>
                      </a:lnTo>
                      <a:lnTo>
                        <a:pt x="296" y="5"/>
                      </a:lnTo>
                      <a:lnTo>
                        <a:pt x="296" y="5"/>
                      </a:lnTo>
                      <a:lnTo>
                        <a:pt x="296" y="5"/>
                      </a:lnTo>
                      <a:lnTo>
                        <a:pt x="296" y="5"/>
                      </a:lnTo>
                      <a:lnTo>
                        <a:pt x="296" y="4"/>
                      </a:lnTo>
                      <a:lnTo>
                        <a:pt x="296" y="4"/>
                      </a:lnTo>
                      <a:lnTo>
                        <a:pt x="296" y="3"/>
                      </a:lnTo>
                      <a:lnTo>
                        <a:pt x="296" y="2"/>
                      </a:lnTo>
                      <a:lnTo>
                        <a:pt x="296" y="2"/>
                      </a:lnTo>
                      <a:lnTo>
                        <a:pt x="296" y="3"/>
                      </a:lnTo>
                      <a:lnTo>
                        <a:pt x="295" y="3"/>
                      </a:lnTo>
                      <a:lnTo>
                        <a:pt x="296" y="3"/>
                      </a:lnTo>
                      <a:lnTo>
                        <a:pt x="296" y="2"/>
                      </a:lnTo>
                      <a:lnTo>
                        <a:pt x="296" y="2"/>
                      </a:lnTo>
                      <a:lnTo>
                        <a:pt x="296" y="2"/>
                      </a:lnTo>
                      <a:lnTo>
                        <a:pt x="297" y="2"/>
                      </a:lnTo>
                      <a:lnTo>
                        <a:pt x="298" y="2"/>
                      </a:lnTo>
                      <a:lnTo>
                        <a:pt x="298" y="1"/>
                      </a:lnTo>
                      <a:lnTo>
                        <a:pt x="298" y="1"/>
                      </a:lnTo>
                      <a:lnTo>
                        <a:pt x="299" y="1"/>
                      </a:lnTo>
                      <a:lnTo>
                        <a:pt x="300" y="2"/>
                      </a:lnTo>
                      <a:lnTo>
                        <a:pt x="300" y="1"/>
                      </a:lnTo>
                      <a:lnTo>
                        <a:pt x="300"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3" name="Freeform 63">
                  <a:extLst>
                    <a:ext uri="{FF2B5EF4-FFF2-40B4-BE49-F238E27FC236}">
                      <a16:creationId xmlns:a16="http://schemas.microsoft.com/office/drawing/2014/main" xmlns="" id="{188E5C7F-ABE0-A622-0428-7ED2DB4F60B9}"/>
                    </a:ext>
                  </a:extLst>
                </p:cNvPr>
                <p:cNvSpPr>
                  <a:spLocks/>
                </p:cNvSpPr>
                <p:nvPr/>
              </p:nvSpPr>
              <p:spPr bwMode="auto">
                <a:xfrm>
                  <a:off x="2529" y="755"/>
                  <a:ext cx="321" cy="162"/>
                </a:xfrm>
                <a:custGeom>
                  <a:avLst/>
                  <a:gdLst>
                    <a:gd name="T0" fmla="*/ 7 w 321"/>
                    <a:gd name="T1" fmla="*/ 160 h 162"/>
                    <a:gd name="T2" fmla="*/ 5 w 321"/>
                    <a:gd name="T3" fmla="*/ 154 h 162"/>
                    <a:gd name="T4" fmla="*/ 3 w 321"/>
                    <a:gd name="T5" fmla="*/ 146 h 162"/>
                    <a:gd name="T6" fmla="*/ 11 w 321"/>
                    <a:gd name="T7" fmla="*/ 146 h 162"/>
                    <a:gd name="T8" fmla="*/ 17 w 321"/>
                    <a:gd name="T9" fmla="*/ 147 h 162"/>
                    <a:gd name="T10" fmla="*/ 23 w 321"/>
                    <a:gd name="T11" fmla="*/ 146 h 162"/>
                    <a:gd name="T12" fmla="*/ 30 w 321"/>
                    <a:gd name="T13" fmla="*/ 143 h 162"/>
                    <a:gd name="T14" fmla="*/ 36 w 321"/>
                    <a:gd name="T15" fmla="*/ 146 h 162"/>
                    <a:gd name="T16" fmla="*/ 44 w 321"/>
                    <a:gd name="T17" fmla="*/ 149 h 162"/>
                    <a:gd name="T18" fmla="*/ 52 w 321"/>
                    <a:gd name="T19" fmla="*/ 145 h 162"/>
                    <a:gd name="T20" fmla="*/ 51 w 321"/>
                    <a:gd name="T21" fmla="*/ 141 h 162"/>
                    <a:gd name="T22" fmla="*/ 60 w 321"/>
                    <a:gd name="T23" fmla="*/ 137 h 162"/>
                    <a:gd name="T24" fmla="*/ 67 w 321"/>
                    <a:gd name="T25" fmla="*/ 136 h 162"/>
                    <a:gd name="T26" fmla="*/ 74 w 321"/>
                    <a:gd name="T27" fmla="*/ 131 h 162"/>
                    <a:gd name="T28" fmla="*/ 82 w 321"/>
                    <a:gd name="T29" fmla="*/ 128 h 162"/>
                    <a:gd name="T30" fmla="*/ 86 w 321"/>
                    <a:gd name="T31" fmla="*/ 120 h 162"/>
                    <a:gd name="T32" fmla="*/ 88 w 321"/>
                    <a:gd name="T33" fmla="*/ 117 h 162"/>
                    <a:gd name="T34" fmla="*/ 90 w 321"/>
                    <a:gd name="T35" fmla="*/ 113 h 162"/>
                    <a:gd name="T36" fmla="*/ 94 w 321"/>
                    <a:gd name="T37" fmla="*/ 108 h 162"/>
                    <a:gd name="T38" fmla="*/ 100 w 321"/>
                    <a:gd name="T39" fmla="*/ 108 h 162"/>
                    <a:gd name="T40" fmla="*/ 102 w 321"/>
                    <a:gd name="T41" fmla="*/ 102 h 162"/>
                    <a:gd name="T42" fmla="*/ 108 w 321"/>
                    <a:gd name="T43" fmla="*/ 97 h 162"/>
                    <a:gd name="T44" fmla="*/ 112 w 321"/>
                    <a:gd name="T45" fmla="*/ 94 h 162"/>
                    <a:gd name="T46" fmla="*/ 115 w 321"/>
                    <a:gd name="T47" fmla="*/ 88 h 162"/>
                    <a:gd name="T48" fmla="*/ 119 w 321"/>
                    <a:gd name="T49" fmla="*/ 86 h 162"/>
                    <a:gd name="T50" fmla="*/ 122 w 321"/>
                    <a:gd name="T51" fmla="*/ 80 h 162"/>
                    <a:gd name="T52" fmla="*/ 129 w 321"/>
                    <a:gd name="T53" fmla="*/ 82 h 162"/>
                    <a:gd name="T54" fmla="*/ 131 w 321"/>
                    <a:gd name="T55" fmla="*/ 75 h 162"/>
                    <a:gd name="T56" fmla="*/ 138 w 321"/>
                    <a:gd name="T57" fmla="*/ 69 h 162"/>
                    <a:gd name="T58" fmla="*/ 147 w 321"/>
                    <a:gd name="T59" fmla="*/ 64 h 162"/>
                    <a:gd name="T60" fmla="*/ 152 w 321"/>
                    <a:gd name="T61" fmla="*/ 59 h 162"/>
                    <a:gd name="T62" fmla="*/ 159 w 321"/>
                    <a:gd name="T63" fmla="*/ 54 h 162"/>
                    <a:gd name="T64" fmla="*/ 165 w 321"/>
                    <a:gd name="T65" fmla="*/ 52 h 162"/>
                    <a:gd name="T66" fmla="*/ 171 w 321"/>
                    <a:gd name="T67" fmla="*/ 49 h 162"/>
                    <a:gd name="T68" fmla="*/ 175 w 321"/>
                    <a:gd name="T69" fmla="*/ 44 h 162"/>
                    <a:gd name="T70" fmla="*/ 181 w 321"/>
                    <a:gd name="T71" fmla="*/ 45 h 162"/>
                    <a:gd name="T72" fmla="*/ 184 w 321"/>
                    <a:gd name="T73" fmla="*/ 40 h 162"/>
                    <a:gd name="T74" fmla="*/ 182 w 321"/>
                    <a:gd name="T75" fmla="*/ 35 h 162"/>
                    <a:gd name="T76" fmla="*/ 188 w 321"/>
                    <a:gd name="T77" fmla="*/ 31 h 162"/>
                    <a:gd name="T78" fmla="*/ 197 w 321"/>
                    <a:gd name="T79" fmla="*/ 30 h 162"/>
                    <a:gd name="T80" fmla="*/ 201 w 321"/>
                    <a:gd name="T81" fmla="*/ 27 h 162"/>
                    <a:gd name="T82" fmla="*/ 207 w 321"/>
                    <a:gd name="T83" fmla="*/ 28 h 162"/>
                    <a:gd name="T84" fmla="*/ 217 w 321"/>
                    <a:gd name="T85" fmla="*/ 24 h 162"/>
                    <a:gd name="T86" fmla="*/ 221 w 321"/>
                    <a:gd name="T87" fmla="*/ 23 h 162"/>
                    <a:gd name="T88" fmla="*/ 229 w 321"/>
                    <a:gd name="T89" fmla="*/ 25 h 162"/>
                    <a:gd name="T90" fmla="*/ 237 w 321"/>
                    <a:gd name="T91" fmla="*/ 23 h 162"/>
                    <a:gd name="T92" fmla="*/ 241 w 321"/>
                    <a:gd name="T93" fmla="*/ 30 h 162"/>
                    <a:gd name="T94" fmla="*/ 242 w 321"/>
                    <a:gd name="T95" fmla="*/ 24 h 162"/>
                    <a:gd name="T96" fmla="*/ 251 w 321"/>
                    <a:gd name="T97" fmla="*/ 22 h 162"/>
                    <a:gd name="T98" fmla="*/ 258 w 321"/>
                    <a:gd name="T99" fmla="*/ 16 h 162"/>
                    <a:gd name="T100" fmla="*/ 266 w 321"/>
                    <a:gd name="T101" fmla="*/ 14 h 162"/>
                    <a:gd name="T102" fmla="*/ 271 w 321"/>
                    <a:gd name="T103" fmla="*/ 13 h 162"/>
                    <a:gd name="T104" fmla="*/ 277 w 321"/>
                    <a:gd name="T105" fmla="*/ 13 h 162"/>
                    <a:gd name="T106" fmla="*/ 283 w 321"/>
                    <a:gd name="T107" fmla="*/ 13 h 162"/>
                    <a:gd name="T108" fmla="*/ 287 w 321"/>
                    <a:gd name="T109" fmla="*/ 9 h 162"/>
                    <a:gd name="T110" fmla="*/ 296 w 321"/>
                    <a:gd name="T111" fmla="*/ 15 h 162"/>
                    <a:gd name="T112" fmla="*/ 300 w 321"/>
                    <a:gd name="T113" fmla="*/ 10 h 162"/>
                    <a:gd name="T114" fmla="*/ 304 w 321"/>
                    <a:gd name="T115" fmla="*/ 6 h 162"/>
                    <a:gd name="T116" fmla="*/ 312 w 321"/>
                    <a:gd name="T117" fmla="*/ 2 h 162"/>
                    <a:gd name="T118" fmla="*/ 321 w 321"/>
                    <a:gd name="T119" fmla="*/ 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1" h="162">
                      <a:moveTo>
                        <a:pt x="0" y="161"/>
                      </a:moveTo>
                      <a:lnTo>
                        <a:pt x="0" y="162"/>
                      </a:lnTo>
                      <a:lnTo>
                        <a:pt x="1" y="162"/>
                      </a:lnTo>
                      <a:lnTo>
                        <a:pt x="2" y="162"/>
                      </a:lnTo>
                      <a:lnTo>
                        <a:pt x="2" y="162"/>
                      </a:lnTo>
                      <a:lnTo>
                        <a:pt x="2" y="162"/>
                      </a:lnTo>
                      <a:lnTo>
                        <a:pt x="2" y="161"/>
                      </a:lnTo>
                      <a:lnTo>
                        <a:pt x="3" y="161"/>
                      </a:lnTo>
                      <a:lnTo>
                        <a:pt x="3" y="162"/>
                      </a:lnTo>
                      <a:lnTo>
                        <a:pt x="3" y="162"/>
                      </a:lnTo>
                      <a:lnTo>
                        <a:pt x="3" y="162"/>
                      </a:lnTo>
                      <a:lnTo>
                        <a:pt x="4" y="162"/>
                      </a:lnTo>
                      <a:lnTo>
                        <a:pt x="4" y="162"/>
                      </a:lnTo>
                      <a:lnTo>
                        <a:pt x="4" y="161"/>
                      </a:lnTo>
                      <a:lnTo>
                        <a:pt x="5" y="160"/>
                      </a:lnTo>
                      <a:lnTo>
                        <a:pt x="6" y="160"/>
                      </a:lnTo>
                      <a:lnTo>
                        <a:pt x="7" y="160"/>
                      </a:lnTo>
                      <a:lnTo>
                        <a:pt x="7" y="160"/>
                      </a:lnTo>
                      <a:lnTo>
                        <a:pt x="7" y="159"/>
                      </a:lnTo>
                      <a:lnTo>
                        <a:pt x="6" y="158"/>
                      </a:lnTo>
                      <a:lnTo>
                        <a:pt x="6" y="159"/>
                      </a:lnTo>
                      <a:lnTo>
                        <a:pt x="5" y="159"/>
                      </a:lnTo>
                      <a:lnTo>
                        <a:pt x="5" y="158"/>
                      </a:lnTo>
                      <a:lnTo>
                        <a:pt x="5" y="158"/>
                      </a:lnTo>
                      <a:lnTo>
                        <a:pt x="4" y="158"/>
                      </a:lnTo>
                      <a:lnTo>
                        <a:pt x="4" y="157"/>
                      </a:lnTo>
                      <a:lnTo>
                        <a:pt x="5" y="157"/>
                      </a:lnTo>
                      <a:lnTo>
                        <a:pt x="5" y="156"/>
                      </a:lnTo>
                      <a:lnTo>
                        <a:pt x="4" y="156"/>
                      </a:lnTo>
                      <a:lnTo>
                        <a:pt x="4" y="156"/>
                      </a:lnTo>
                      <a:lnTo>
                        <a:pt x="5" y="156"/>
                      </a:lnTo>
                      <a:lnTo>
                        <a:pt x="5" y="155"/>
                      </a:lnTo>
                      <a:lnTo>
                        <a:pt x="5" y="154"/>
                      </a:lnTo>
                      <a:lnTo>
                        <a:pt x="5" y="154"/>
                      </a:lnTo>
                      <a:lnTo>
                        <a:pt x="5" y="153"/>
                      </a:lnTo>
                      <a:lnTo>
                        <a:pt x="5" y="152"/>
                      </a:lnTo>
                      <a:lnTo>
                        <a:pt x="4" y="152"/>
                      </a:lnTo>
                      <a:lnTo>
                        <a:pt x="4" y="152"/>
                      </a:lnTo>
                      <a:lnTo>
                        <a:pt x="4" y="151"/>
                      </a:lnTo>
                      <a:lnTo>
                        <a:pt x="4" y="151"/>
                      </a:lnTo>
                      <a:lnTo>
                        <a:pt x="3" y="151"/>
                      </a:lnTo>
                      <a:lnTo>
                        <a:pt x="3" y="150"/>
                      </a:lnTo>
                      <a:lnTo>
                        <a:pt x="2" y="150"/>
                      </a:lnTo>
                      <a:lnTo>
                        <a:pt x="2" y="150"/>
                      </a:lnTo>
                      <a:lnTo>
                        <a:pt x="2" y="149"/>
                      </a:lnTo>
                      <a:lnTo>
                        <a:pt x="2" y="148"/>
                      </a:lnTo>
                      <a:lnTo>
                        <a:pt x="3" y="148"/>
                      </a:lnTo>
                      <a:lnTo>
                        <a:pt x="3" y="147"/>
                      </a:lnTo>
                      <a:lnTo>
                        <a:pt x="4" y="147"/>
                      </a:lnTo>
                      <a:lnTo>
                        <a:pt x="4" y="146"/>
                      </a:lnTo>
                      <a:lnTo>
                        <a:pt x="3" y="146"/>
                      </a:lnTo>
                      <a:lnTo>
                        <a:pt x="4" y="146"/>
                      </a:lnTo>
                      <a:lnTo>
                        <a:pt x="4" y="146"/>
                      </a:lnTo>
                      <a:lnTo>
                        <a:pt x="4" y="146"/>
                      </a:lnTo>
                      <a:lnTo>
                        <a:pt x="5" y="146"/>
                      </a:lnTo>
                      <a:lnTo>
                        <a:pt x="4" y="146"/>
                      </a:lnTo>
                      <a:lnTo>
                        <a:pt x="5" y="145"/>
                      </a:lnTo>
                      <a:lnTo>
                        <a:pt x="6" y="145"/>
                      </a:lnTo>
                      <a:lnTo>
                        <a:pt x="7" y="145"/>
                      </a:lnTo>
                      <a:lnTo>
                        <a:pt x="7" y="146"/>
                      </a:lnTo>
                      <a:lnTo>
                        <a:pt x="7" y="146"/>
                      </a:lnTo>
                      <a:lnTo>
                        <a:pt x="8" y="146"/>
                      </a:lnTo>
                      <a:lnTo>
                        <a:pt x="9" y="146"/>
                      </a:lnTo>
                      <a:lnTo>
                        <a:pt x="9" y="146"/>
                      </a:lnTo>
                      <a:lnTo>
                        <a:pt x="9" y="146"/>
                      </a:lnTo>
                      <a:lnTo>
                        <a:pt x="10" y="146"/>
                      </a:lnTo>
                      <a:lnTo>
                        <a:pt x="11" y="146"/>
                      </a:lnTo>
                      <a:lnTo>
                        <a:pt x="11" y="146"/>
                      </a:lnTo>
                      <a:lnTo>
                        <a:pt x="11" y="146"/>
                      </a:lnTo>
                      <a:lnTo>
                        <a:pt x="12" y="146"/>
                      </a:lnTo>
                      <a:lnTo>
                        <a:pt x="12" y="146"/>
                      </a:lnTo>
                      <a:lnTo>
                        <a:pt x="12" y="145"/>
                      </a:lnTo>
                      <a:lnTo>
                        <a:pt x="13" y="145"/>
                      </a:lnTo>
                      <a:lnTo>
                        <a:pt x="13" y="145"/>
                      </a:lnTo>
                      <a:lnTo>
                        <a:pt x="14" y="145"/>
                      </a:lnTo>
                      <a:lnTo>
                        <a:pt x="15" y="145"/>
                      </a:lnTo>
                      <a:lnTo>
                        <a:pt x="15" y="146"/>
                      </a:lnTo>
                      <a:lnTo>
                        <a:pt x="15" y="146"/>
                      </a:lnTo>
                      <a:lnTo>
                        <a:pt x="15" y="146"/>
                      </a:lnTo>
                      <a:lnTo>
                        <a:pt x="16" y="146"/>
                      </a:lnTo>
                      <a:lnTo>
                        <a:pt x="16" y="147"/>
                      </a:lnTo>
                      <a:lnTo>
                        <a:pt x="17" y="147"/>
                      </a:lnTo>
                      <a:lnTo>
                        <a:pt x="17" y="146"/>
                      </a:lnTo>
                      <a:lnTo>
                        <a:pt x="17" y="147"/>
                      </a:lnTo>
                      <a:lnTo>
                        <a:pt x="17" y="147"/>
                      </a:lnTo>
                      <a:lnTo>
                        <a:pt x="18" y="147"/>
                      </a:lnTo>
                      <a:lnTo>
                        <a:pt x="18" y="148"/>
                      </a:lnTo>
                      <a:lnTo>
                        <a:pt x="17" y="148"/>
                      </a:lnTo>
                      <a:lnTo>
                        <a:pt x="18" y="148"/>
                      </a:lnTo>
                      <a:lnTo>
                        <a:pt x="19" y="148"/>
                      </a:lnTo>
                      <a:lnTo>
                        <a:pt x="19" y="148"/>
                      </a:lnTo>
                      <a:lnTo>
                        <a:pt x="19" y="148"/>
                      </a:lnTo>
                      <a:lnTo>
                        <a:pt x="19" y="148"/>
                      </a:lnTo>
                      <a:lnTo>
                        <a:pt x="20" y="148"/>
                      </a:lnTo>
                      <a:lnTo>
                        <a:pt x="21" y="148"/>
                      </a:lnTo>
                      <a:lnTo>
                        <a:pt x="21" y="147"/>
                      </a:lnTo>
                      <a:lnTo>
                        <a:pt x="21" y="147"/>
                      </a:lnTo>
                      <a:lnTo>
                        <a:pt x="21" y="148"/>
                      </a:lnTo>
                      <a:lnTo>
                        <a:pt x="22" y="148"/>
                      </a:lnTo>
                      <a:lnTo>
                        <a:pt x="22" y="147"/>
                      </a:lnTo>
                      <a:lnTo>
                        <a:pt x="23" y="146"/>
                      </a:lnTo>
                      <a:lnTo>
                        <a:pt x="23" y="146"/>
                      </a:lnTo>
                      <a:lnTo>
                        <a:pt x="23" y="146"/>
                      </a:lnTo>
                      <a:lnTo>
                        <a:pt x="24" y="146"/>
                      </a:lnTo>
                      <a:lnTo>
                        <a:pt x="25" y="146"/>
                      </a:lnTo>
                      <a:lnTo>
                        <a:pt x="25" y="145"/>
                      </a:lnTo>
                      <a:lnTo>
                        <a:pt x="25" y="144"/>
                      </a:lnTo>
                      <a:lnTo>
                        <a:pt x="26" y="144"/>
                      </a:lnTo>
                      <a:lnTo>
                        <a:pt x="26" y="144"/>
                      </a:lnTo>
                      <a:lnTo>
                        <a:pt x="27" y="144"/>
                      </a:lnTo>
                      <a:lnTo>
                        <a:pt x="27" y="143"/>
                      </a:lnTo>
                      <a:lnTo>
                        <a:pt x="28" y="143"/>
                      </a:lnTo>
                      <a:lnTo>
                        <a:pt x="28" y="143"/>
                      </a:lnTo>
                      <a:lnTo>
                        <a:pt x="28" y="143"/>
                      </a:lnTo>
                      <a:lnTo>
                        <a:pt x="28" y="143"/>
                      </a:lnTo>
                      <a:lnTo>
                        <a:pt x="29" y="143"/>
                      </a:lnTo>
                      <a:lnTo>
                        <a:pt x="30" y="143"/>
                      </a:lnTo>
                      <a:lnTo>
                        <a:pt x="30" y="143"/>
                      </a:lnTo>
                      <a:lnTo>
                        <a:pt x="30" y="143"/>
                      </a:lnTo>
                      <a:lnTo>
                        <a:pt x="31" y="143"/>
                      </a:lnTo>
                      <a:lnTo>
                        <a:pt x="31" y="145"/>
                      </a:lnTo>
                      <a:lnTo>
                        <a:pt x="31" y="146"/>
                      </a:lnTo>
                      <a:lnTo>
                        <a:pt x="32" y="146"/>
                      </a:lnTo>
                      <a:lnTo>
                        <a:pt x="32" y="145"/>
                      </a:lnTo>
                      <a:lnTo>
                        <a:pt x="32" y="145"/>
                      </a:lnTo>
                      <a:lnTo>
                        <a:pt x="32" y="146"/>
                      </a:lnTo>
                      <a:lnTo>
                        <a:pt x="33" y="146"/>
                      </a:lnTo>
                      <a:lnTo>
                        <a:pt x="33" y="145"/>
                      </a:lnTo>
                      <a:lnTo>
                        <a:pt x="34" y="145"/>
                      </a:lnTo>
                      <a:lnTo>
                        <a:pt x="34" y="145"/>
                      </a:lnTo>
                      <a:lnTo>
                        <a:pt x="35" y="145"/>
                      </a:lnTo>
                      <a:lnTo>
                        <a:pt x="35" y="146"/>
                      </a:lnTo>
                      <a:lnTo>
                        <a:pt x="36" y="146"/>
                      </a:lnTo>
                      <a:lnTo>
                        <a:pt x="36" y="145"/>
                      </a:lnTo>
                      <a:lnTo>
                        <a:pt x="36" y="146"/>
                      </a:lnTo>
                      <a:lnTo>
                        <a:pt x="36" y="146"/>
                      </a:lnTo>
                      <a:lnTo>
                        <a:pt x="37" y="146"/>
                      </a:lnTo>
                      <a:lnTo>
                        <a:pt x="38" y="146"/>
                      </a:lnTo>
                      <a:lnTo>
                        <a:pt x="38" y="146"/>
                      </a:lnTo>
                      <a:lnTo>
                        <a:pt x="38" y="146"/>
                      </a:lnTo>
                      <a:lnTo>
                        <a:pt x="38" y="147"/>
                      </a:lnTo>
                      <a:lnTo>
                        <a:pt x="38" y="148"/>
                      </a:lnTo>
                      <a:lnTo>
                        <a:pt x="39" y="148"/>
                      </a:lnTo>
                      <a:lnTo>
                        <a:pt x="39" y="149"/>
                      </a:lnTo>
                      <a:lnTo>
                        <a:pt x="40" y="150"/>
                      </a:lnTo>
                      <a:lnTo>
                        <a:pt x="40" y="149"/>
                      </a:lnTo>
                      <a:lnTo>
                        <a:pt x="40" y="149"/>
                      </a:lnTo>
                      <a:lnTo>
                        <a:pt x="41" y="150"/>
                      </a:lnTo>
                      <a:lnTo>
                        <a:pt x="42" y="150"/>
                      </a:lnTo>
                      <a:lnTo>
                        <a:pt x="42" y="150"/>
                      </a:lnTo>
                      <a:lnTo>
                        <a:pt x="43" y="150"/>
                      </a:lnTo>
                      <a:lnTo>
                        <a:pt x="43" y="149"/>
                      </a:lnTo>
                      <a:lnTo>
                        <a:pt x="44" y="149"/>
                      </a:lnTo>
                      <a:lnTo>
                        <a:pt x="45" y="149"/>
                      </a:lnTo>
                      <a:lnTo>
                        <a:pt x="45" y="148"/>
                      </a:lnTo>
                      <a:lnTo>
                        <a:pt x="46" y="148"/>
                      </a:lnTo>
                      <a:lnTo>
                        <a:pt x="45" y="148"/>
                      </a:lnTo>
                      <a:lnTo>
                        <a:pt x="46" y="147"/>
                      </a:lnTo>
                      <a:lnTo>
                        <a:pt x="47" y="147"/>
                      </a:lnTo>
                      <a:lnTo>
                        <a:pt x="47" y="147"/>
                      </a:lnTo>
                      <a:lnTo>
                        <a:pt x="48" y="147"/>
                      </a:lnTo>
                      <a:lnTo>
                        <a:pt x="49" y="147"/>
                      </a:lnTo>
                      <a:lnTo>
                        <a:pt x="49" y="146"/>
                      </a:lnTo>
                      <a:lnTo>
                        <a:pt x="49" y="146"/>
                      </a:lnTo>
                      <a:lnTo>
                        <a:pt x="50" y="146"/>
                      </a:lnTo>
                      <a:lnTo>
                        <a:pt x="50" y="146"/>
                      </a:lnTo>
                      <a:lnTo>
                        <a:pt x="51" y="146"/>
                      </a:lnTo>
                      <a:lnTo>
                        <a:pt x="51" y="146"/>
                      </a:lnTo>
                      <a:lnTo>
                        <a:pt x="51" y="145"/>
                      </a:lnTo>
                      <a:lnTo>
                        <a:pt x="52" y="145"/>
                      </a:lnTo>
                      <a:lnTo>
                        <a:pt x="52" y="144"/>
                      </a:lnTo>
                      <a:lnTo>
                        <a:pt x="52" y="143"/>
                      </a:lnTo>
                      <a:lnTo>
                        <a:pt x="53" y="143"/>
                      </a:lnTo>
                      <a:lnTo>
                        <a:pt x="53" y="144"/>
                      </a:lnTo>
                      <a:lnTo>
                        <a:pt x="53" y="144"/>
                      </a:lnTo>
                      <a:lnTo>
                        <a:pt x="53" y="143"/>
                      </a:lnTo>
                      <a:lnTo>
                        <a:pt x="54" y="144"/>
                      </a:lnTo>
                      <a:lnTo>
                        <a:pt x="55" y="144"/>
                      </a:lnTo>
                      <a:lnTo>
                        <a:pt x="55" y="143"/>
                      </a:lnTo>
                      <a:lnTo>
                        <a:pt x="55" y="143"/>
                      </a:lnTo>
                      <a:lnTo>
                        <a:pt x="54" y="143"/>
                      </a:lnTo>
                      <a:lnTo>
                        <a:pt x="54" y="142"/>
                      </a:lnTo>
                      <a:lnTo>
                        <a:pt x="53" y="142"/>
                      </a:lnTo>
                      <a:lnTo>
                        <a:pt x="53" y="142"/>
                      </a:lnTo>
                      <a:lnTo>
                        <a:pt x="52" y="142"/>
                      </a:lnTo>
                      <a:lnTo>
                        <a:pt x="51" y="141"/>
                      </a:lnTo>
                      <a:lnTo>
                        <a:pt x="51" y="141"/>
                      </a:lnTo>
                      <a:lnTo>
                        <a:pt x="52" y="141"/>
                      </a:lnTo>
                      <a:lnTo>
                        <a:pt x="52" y="140"/>
                      </a:lnTo>
                      <a:lnTo>
                        <a:pt x="52" y="139"/>
                      </a:lnTo>
                      <a:lnTo>
                        <a:pt x="52" y="139"/>
                      </a:lnTo>
                      <a:lnTo>
                        <a:pt x="53" y="139"/>
                      </a:lnTo>
                      <a:lnTo>
                        <a:pt x="53" y="138"/>
                      </a:lnTo>
                      <a:lnTo>
                        <a:pt x="54" y="137"/>
                      </a:lnTo>
                      <a:lnTo>
                        <a:pt x="55" y="137"/>
                      </a:lnTo>
                      <a:lnTo>
                        <a:pt x="55" y="137"/>
                      </a:lnTo>
                      <a:lnTo>
                        <a:pt x="56" y="137"/>
                      </a:lnTo>
                      <a:lnTo>
                        <a:pt x="57" y="137"/>
                      </a:lnTo>
                      <a:lnTo>
                        <a:pt x="57" y="137"/>
                      </a:lnTo>
                      <a:lnTo>
                        <a:pt x="58" y="137"/>
                      </a:lnTo>
                      <a:lnTo>
                        <a:pt x="59" y="137"/>
                      </a:lnTo>
                      <a:lnTo>
                        <a:pt x="59" y="137"/>
                      </a:lnTo>
                      <a:lnTo>
                        <a:pt x="59" y="136"/>
                      </a:lnTo>
                      <a:lnTo>
                        <a:pt x="60" y="137"/>
                      </a:lnTo>
                      <a:lnTo>
                        <a:pt x="61" y="136"/>
                      </a:lnTo>
                      <a:lnTo>
                        <a:pt x="61" y="135"/>
                      </a:lnTo>
                      <a:lnTo>
                        <a:pt x="61" y="135"/>
                      </a:lnTo>
                      <a:lnTo>
                        <a:pt x="62" y="136"/>
                      </a:lnTo>
                      <a:lnTo>
                        <a:pt x="62" y="135"/>
                      </a:lnTo>
                      <a:lnTo>
                        <a:pt x="62" y="135"/>
                      </a:lnTo>
                      <a:lnTo>
                        <a:pt x="63" y="135"/>
                      </a:lnTo>
                      <a:lnTo>
                        <a:pt x="64" y="135"/>
                      </a:lnTo>
                      <a:lnTo>
                        <a:pt x="64" y="135"/>
                      </a:lnTo>
                      <a:lnTo>
                        <a:pt x="65" y="135"/>
                      </a:lnTo>
                      <a:lnTo>
                        <a:pt x="66" y="136"/>
                      </a:lnTo>
                      <a:lnTo>
                        <a:pt x="65" y="136"/>
                      </a:lnTo>
                      <a:lnTo>
                        <a:pt x="65" y="137"/>
                      </a:lnTo>
                      <a:lnTo>
                        <a:pt x="66" y="137"/>
                      </a:lnTo>
                      <a:lnTo>
                        <a:pt x="66" y="137"/>
                      </a:lnTo>
                      <a:lnTo>
                        <a:pt x="66" y="136"/>
                      </a:lnTo>
                      <a:lnTo>
                        <a:pt x="67" y="136"/>
                      </a:lnTo>
                      <a:lnTo>
                        <a:pt x="68" y="137"/>
                      </a:lnTo>
                      <a:lnTo>
                        <a:pt x="68" y="136"/>
                      </a:lnTo>
                      <a:lnTo>
                        <a:pt x="68" y="135"/>
                      </a:lnTo>
                      <a:lnTo>
                        <a:pt x="69" y="135"/>
                      </a:lnTo>
                      <a:lnTo>
                        <a:pt x="70" y="135"/>
                      </a:lnTo>
                      <a:lnTo>
                        <a:pt x="70" y="135"/>
                      </a:lnTo>
                      <a:lnTo>
                        <a:pt x="72" y="135"/>
                      </a:lnTo>
                      <a:lnTo>
                        <a:pt x="73" y="133"/>
                      </a:lnTo>
                      <a:lnTo>
                        <a:pt x="74" y="133"/>
                      </a:lnTo>
                      <a:lnTo>
                        <a:pt x="74" y="133"/>
                      </a:lnTo>
                      <a:lnTo>
                        <a:pt x="74" y="133"/>
                      </a:lnTo>
                      <a:lnTo>
                        <a:pt x="75" y="133"/>
                      </a:lnTo>
                      <a:lnTo>
                        <a:pt x="76" y="133"/>
                      </a:lnTo>
                      <a:lnTo>
                        <a:pt x="76" y="132"/>
                      </a:lnTo>
                      <a:lnTo>
                        <a:pt x="75" y="132"/>
                      </a:lnTo>
                      <a:lnTo>
                        <a:pt x="74" y="132"/>
                      </a:lnTo>
                      <a:lnTo>
                        <a:pt x="74" y="131"/>
                      </a:lnTo>
                      <a:lnTo>
                        <a:pt x="74" y="131"/>
                      </a:lnTo>
                      <a:lnTo>
                        <a:pt x="75" y="131"/>
                      </a:lnTo>
                      <a:lnTo>
                        <a:pt x="75" y="130"/>
                      </a:lnTo>
                      <a:lnTo>
                        <a:pt x="76" y="130"/>
                      </a:lnTo>
                      <a:lnTo>
                        <a:pt x="76" y="130"/>
                      </a:lnTo>
                      <a:lnTo>
                        <a:pt x="77" y="130"/>
                      </a:lnTo>
                      <a:lnTo>
                        <a:pt x="77" y="129"/>
                      </a:lnTo>
                      <a:lnTo>
                        <a:pt x="77" y="129"/>
                      </a:lnTo>
                      <a:lnTo>
                        <a:pt x="78" y="129"/>
                      </a:lnTo>
                      <a:lnTo>
                        <a:pt x="78" y="129"/>
                      </a:lnTo>
                      <a:lnTo>
                        <a:pt x="79" y="129"/>
                      </a:lnTo>
                      <a:lnTo>
                        <a:pt x="80" y="129"/>
                      </a:lnTo>
                      <a:lnTo>
                        <a:pt x="80" y="128"/>
                      </a:lnTo>
                      <a:lnTo>
                        <a:pt x="80" y="127"/>
                      </a:lnTo>
                      <a:lnTo>
                        <a:pt x="80" y="127"/>
                      </a:lnTo>
                      <a:lnTo>
                        <a:pt x="81" y="128"/>
                      </a:lnTo>
                      <a:lnTo>
                        <a:pt x="82" y="128"/>
                      </a:lnTo>
                      <a:lnTo>
                        <a:pt x="82" y="127"/>
                      </a:lnTo>
                      <a:lnTo>
                        <a:pt x="82" y="127"/>
                      </a:lnTo>
                      <a:lnTo>
                        <a:pt x="83" y="127"/>
                      </a:lnTo>
                      <a:lnTo>
                        <a:pt x="83" y="127"/>
                      </a:lnTo>
                      <a:lnTo>
                        <a:pt x="83" y="127"/>
                      </a:lnTo>
                      <a:lnTo>
                        <a:pt x="84" y="128"/>
                      </a:lnTo>
                      <a:lnTo>
                        <a:pt x="85" y="127"/>
                      </a:lnTo>
                      <a:lnTo>
                        <a:pt x="85" y="127"/>
                      </a:lnTo>
                      <a:lnTo>
                        <a:pt x="85" y="126"/>
                      </a:lnTo>
                      <a:lnTo>
                        <a:pt x="85" y="125"/>
                      </a:lnTo>
                      <a:lnTo>
                        <a:pt x="86" y="125"/>
                      </a:lnTo>
                      <a:lnTo>
                        <a:pt x="87" y="124"/>
                      </a:lnTo>
                      <a:lnTo>
                        <a:pt x="87" y="123"/>
                      </a:lnTo>
                      <a:lnTo>
                        <a:pt x="87" y="122"/>
                      </a:lnTo>
                      <a:lnTo>
                        <a:pt x="86" y="122"/>
                      </a:lnTo>
                      <a:lnTo>
                        <a:pt x="86" y="121"/>
                      </a:lnTo>
                      <a:lnTo>
                        <a:pt x="86" y="120"/>
                      </a:lnTo>
                      <a:lnTo>
                        <a:pt x="87" y="120"/>
                      </a:lnTo>
                      <a:lnTo>
                        <a:pt x="87" y="120"/>
                      </a:lnTo>
                      <a:lnTo>
                        <a:pt x="87" y="120"/>
                      </a:lnTo>
                      <a:lnTo>
                        <a:pt x="88" y="120"/>
                      </a:lnTo>
                      <a:lnTo>
                        <a:pt x="88" y="120"/>
                      </a:lnTo>
                      <a:lnTo>
                        <a:pt x="88" y="121"/>
                      </a:lnTo>
                      <a:lnTo>
                        <a:pt x="89" y="120"/>
                      </a:lnTo>
                      <a:lnTo>
                        <a:pt x="89" y="120"/>
                      </a:lnTo>
                      <a:lnTo>
                        <a:pt x="89" y="119"/>
                      </a:lnTo>
                      <a:lnTo>
                        <a:pt x="89" y="118"/>
                      </a:lnTo>
                      <a:lnTo>
                        <a:pt x="90" y="118"/>
                      </a:lnTo>
                      <a:lnTo>
                        <a:pt x="91" y="118"/>
                      </a:lnTo>
                      <a:lnTo>
                        <a:pt x="91" y="117"/>
                      </a:lnTo>
                      <a:lnTo>
                        <a:pt x="90" y="117"/>
                      </a:lnTo>
                      <a:lnTo>
                        <a:pt x="89" y="117"/>
                      </a:lnTo>
                      <a:lnTo>
                        <a:pt x="89" y="117"/>
                      </a:lnTo>
                      <a:lnTo>
                        <a:pt x="88" y="117"/>
                      </a:lnTo>
                      <a:lnTo>
                        <a:pt x="88" y="116"/>
                      </a:lnTo>
                      <a:lnTo>
                        <a:pt x="88" y="116"/>
                      </a:lnTo>
                      <a:lnTo>
                        <a:pt x="89" y="115"/>
                      </a:lnTo>
                      <a:lnTo>
                        <a:pt x="89" y="115"/>
                      </a:lnTo>
                      <a:lnTo>
                        <a:pt x="89" y="114"/>
                      </a:lnTo>
                      <a:lnTo>
                        <a:pt x="89" y="114"/>
                      </a:lnTo>
                      <a:lnTo>
                        <a:pt x="90" y="114"/>
                      </a:lnTo>
                      <a:lnTo>
                        <a:pt x="89" y="114"/>
                      </a:lnTo>
                      <a:lnTo>
                        <a:pt x="89" y="113"/>
                      </a:lnTo>
                      <a:lnTo>
                        <a:pt x="89" y="112"/>
                      </a:lnTo>
                      <a:lnTo>
                        <a:pt x="89" y="112"/>
                      </a:lnTo>
                      <a:lnTo>
                        <a:pt x="89" y="112"/>
                      </a:lnTo>
                      <a:lnTo>
                        <a:pt x="90" y="112"/>
                      </a:lnTo>
                      <a:lnTo>
                        <a:pt x="90" y="112"/>
                      </a:lnTo>
                      <a:lnTo>
                        <a:pt x="89" y="112"/>
                      </a:lnTo>
                      <a:lnTo>
                        <a:pt x="89" y="113"/>
                      </a:lnTo>
                      <a:lnTo>
                        <a:pt x="90" y="113"/>
                      </a:lnTo>
                      <a:lnTo>
                        <a:pt x="91" y="113"/>
                      </a:lnTo>
                      <a:lnTo>
                        <a:pt x="91" y="112"/>
                      </a:lnTo>
                      <a:lnTo>
                        <a:pt x="91" y="112"/>
                      </a:lnTo>
                      <a:lnTo>
                        <a:pt x="91" y="112"/>
                      </a:lnTo>
                      <a:lnTo>
                        <a:pt x="92" y="112"/>
                      </a:lnTo>
                      <a:lnTo>
                        <a:pt x="93" y="111"/>
                      </a:lnTo>
                      <a:lnTo>
                        <a:pt x="93" y="110"/>
                      </a:lnTo>
                      <a:lnTo>
                        <a:pt x="93" y="111"/>
                      </a:lnTo>
                      <a:lnTo>
                        <a:pt x="93" y="111"/>
                      </a:lnTo>
                      <a:lnTo>
                        <a:pt x="94" y="111"/>
                      </a:lnTo>
                      <a:lnTo>
                        <a:pt x="94" y="110"/>
                      </a:lnTo>
                      <a:lnTo>
                        <a:pt x="93" y="110"/>
                      </a:lnTo>
                      <a:lnTo>
                        <a:pt x="93" y="110"/>
                      </a:lnTo>
                      <a:lnTo>
                        <a:pt x="93" y="109"/>
                      </a:lnTo>
                      <a:lnTo>
                        <a:pt x="93" y="109"/>
                      </a:lnTo>
                      <a:lnTo>
                        <a:pt x="94" y="109"/>
                      </a:lnTo>
                      <a:lnTo>
                        <a:pt x="94" y="108"/>
                      </a:lnTo>
                      <a:lnTo>
                        <a:pt x="95" y="108"/>
                      </a:lnTo>
                      <a:lnTo>
                        <a:pt x="95" y="109"/>
                      </a:lnTo>
                      <a:lnTo>
                        <a:pt x="94" y="109"/>
                      </a:lnTo>
                      <a:lnTo>
                        <a:pt x="94" y="110"/>
                      </a:lnTo>
                      <a:lnTo>
                        <a:pt x="95" y="110"/>
                      </a:lnTo>
                      <a:lnTo>
                        <a:pt x="95" y="110"/>
                      </a:lnTo>
                      <a:lnTo>
                        <a:pt x="95" y="110"/>
                      </a:lnTo>
                      <a:lnTo>
                        <a:pt x="96" y="110"/>
                      </a:lnTo>
                      <a:lnTo>
                        <a:pt x="96" y="110"/>
                      </a:lnTo>
                      <a:lnTo>
                        <a:pt x="97" y="109"/>
                      </a:lnTo>
                      <a:lnTo>
                        <a:pt x="97" y="109"/>
                      </a:lnTo>
                      <a:lnTo>
                        <a:pt x="97" y="108"/>
                      </a:lnTo>
                      <a:lnTo>
                        <a:pt x="97" y="108"/>
                      </a:lnTo>
                      <a:lnTo>
                        <a:pt x="98" y="108"/>
                      </a:lnTo>
                      <a:lnTo>
                        <a:pt x="98" y="108"/>
                      </a:lnTo>
                      <a:lnTo>
                        <a:pt x="99" y="108"/>
                      </a:lnTo>
                      <a:lnTo>
                        <a:pt x="100" y="108"/>
                      </a:lnTo>
                      <a:lnTo>
                        <a:pt x="100" y="109"/>
                      </a:lnTo>
                      <a:lnTo>
                        <a:pt x="99" y="109"/>
                      </a:lnTo>
                      <a:lnTo>
                        <a:pt x="99" y="110"/>
                      </a:lnTo>
                      <a:lnTo>
                        <a:pt x="100" y="110"/>
                      </a:lnTo>
                      <a:lnTo>
                        <a:pt x="100" y="109"/>
                      </a:lnTo>
                      <a:lnTo>
                        <a:pt x="100" y="108"/>
                      </a:lnTo>
                      <a:lnTo>
                        <a:pt x="101" y="108"/>
                      </a:lnTo>
                      <a:lnTo>
                        <a:pt x="101" y="108"/>
                      </a:lnTo>
                      <a:lnTo>
                        <a:pt x="101" y="107"/>
                      </a:lnTo>
                      <a:lnTo>
                        <a:pt x="101" y="106"/>
                      </a:lnTo>
                      <a:lnTo>
                        <a:pt x="101" y="106"/>
                      </a:lnTo>
                      <a:lnTo>
                        <a:pt x="102" y="105"/>
                      </a:lnTo>
                      <a:lnTo>
                        <a:pt x="102" y="104"/>
                      </a:lnTo>
                      <a:lnTo>
                        <a:pt x="102" y="103"/>
                      </a:lnTo>
                      <a:lnTo>
                        <a:pt x="102" y="103"/>
                      </a:lnTo>
                      <a:lnTo>
                        <a:pt x="102" y="103"/>
                      </a:lnTo>
                      <a:lnTo>
                        <a:pt x="102" y="102"/>
                      </a:lnTo>
                      <a:lnTo>
                        <a:pt x="102" y="101"/>
                      </a:lnTo>
                      <a:lnTo>
                        <a:pt x="102" y="101"/>
                      </a:lnTo>
                      <a:lnTo>
                        <a:pt x="103" y="100"/>
                      </a:lnTo>
                      <a:lnTo>
                        <a:pt x="104" y="100"/>
                      </a:lnTo>
                      <a:lnTo>
                        <a:pt x="104" y="100"/>
                      </a:lnTo>
                      <a:lnTo>
                        <a:pt x="105" y="100"/>
                      </a:lnTo>
                      <a:lnTo>
                        <a:pt x="106" y="100"/>
                      </a:lnTo>
                      <a:lnTo>
                        <a:pt x="105" y="99"/>
                      </a:lnTo>
                      <a:lnTo>
                        <a:pt x="105" y="99"/>
                      </a:lnTo>
                      <a:lnTo>
                        <a:pt x="105" y="98"/>
                      </a:lnTo>
                      <a:lnTo>
                        <a:pt x="106" y="99"/>
                      </a:lnTo>
                      <a:lnTo>
                        <a:pt x="106" y="98"/>
                      </a:lnTo>
                      <a:lnTo>
                        <a:pt x="107" y="98"/>
                      </a:lnTo>
                      <a:lnTo>
                        <a:pt x="107" y="97"/>
                      </a:lnTo>
                      <a:lnTo>
                        <a:pt x="108" y="97"/>
                      </a:lnTo>
                      <a:lnTo>
                        <a:pt x="108" y="97"/>
                      </a:lnTo>
                      <a:lnTo>
                        <a:pt x="108" y="97"/>
                      </a:lnTo>
                      <a:lnTo>
                        <a:pt x="109" y="97"/>
                      </a:lnTo>
                      <a:lnTo>
                        <a:pt x="110" y="97"/>
                      </a:lnTo>
                      <a:lnTo>
                        <a:pt x="110" y="98"/>
                      </a:lnTo>
                      <a:lnTo>
                        <a:pt x="111" y="98"/>
                      </a:lnTo>
                      <a:lnTo>
                        <a:pt x="111" y="97"/>
                      </a:lnTo>
                      <a:lnTo>
                        <a:pt x="111" y="97"/>
                      </a:lnTo>
                      <a:lnTo>
                        <a:pt x="111" y="96"/>
                      </a:lnTo>
                      <a:lnTo>
                        <a:pt x="110" y="95"/>
                      </a:lnTo>
                      <a:lnTo>
                        <a:pt x="110" y="95"/>
                      </a:lnTo>
                      <a:lnTo>
                        <a:pt x="109" y="95"/>
                      </a:lnTo>
                      <a:lnTo>
                        <a:pt x="109" y="94"/>
                      </a:lnTo>
                      <a:lnTo>
                        <a:pt x="109" y="93"/>
                      </a:lnTo>
                      <a:lnTo>
                        <a:pt x="110" y="93"/>
                      </a:lnTo>
                      <a:lnTo>
                        <a:pt x="110" y="93"/>
                      </a:lnTo>
                      <a:lnTo>
                        <a:pt x="110" y="94"/>
                      </a:lnTo>
                      <a:lnTo>
                        <a:pt x="111" y="94"/>
                      </a:lnTo>
                      <a:lnTo>
                        <a:pt x="112" y="94"/>
                      </a:lnTo>
                      <a:lnTo>
                        <a:pt x="111" y="93"/>
                      </a:lnTo>
                      <a:lnTo>
                        <a:pt x="111" y="93"/>
                      </a:lnTo>
                      <a:lnTo>
                        <a:pt x="112" y="93"/>
                      </a:lnTo>
                      <a:lnTo>
                        <a:pt x="112" y="93"/>
                      </a:lnTo>
                      <a:lnTo>
                        <a:pt x="113" y="93"/>
                      </a:lnTo>
                      <a:lnTo>
                        <a:pt x="113" y="92"/>
                      </a:lnTo>
                      <a:lnTo>
                        <a:pt x="114" y="92"/>
                      </a:lnTo>
                      <a:lnTo>
                        <a:pt x="114" y="91"/>
                      </a:lnTo>
                      <a:lnTo>
                        <a:pt x="114" y="92"/>
                      </a:lnTo>
                      <a:lnTo>
                        <a:pt x="114" y="91"/>
                      </a:lnTo>
                      <a:lnTo>
                        <a:pt x="114" y="91"/>
                      </a:lnTo>
                      <a:lnTo>
                        <a:pt x="114" y="90"/>
                      </a:lnTo>
                      <a:lnTo>
                        <a:pt x="114" y="89"/>
                      </a:lnTo>
                      <a:lnTo>
                        <a:pt x="114" y="89"/>
                      </a:lnTo>
                      <a:lnTo>
                        <a:pt x="114" y="89"/>
                      </a:lnTo>
                      <a:lnTo>
                        <a:pt x="114" y="89"/>
                      </a:lnTo>
                      <a:lnTo>
                        <a:pt x="115" y="88"/>
                      </a:lnTo>
                      <a:lnTo>
                        <a:pt x="115" y="89"/>
                      </a:lnTo>
                      <a:lnTo>
                        <a:pt x="116" y="89"/>
                      </a:lnTo>
                      <a:lnTo>
                        <a:pt x="116" y="89"/>
                      </a:lnTo>
                      <a:lnTo>
                        <a:pt x="116" y="89"/>
                      </a:lnTo>
                      <a:lnTo>
                        <a:pt x="116" y="88"/>
                      </a:lnTo>
                      <a:lnTo>
                        <a:pt x="116" y="87"/>
                      </a:lnTo>
                      <a:lnTo>
                        <a:pt x="116" y="87"/>
                      </a:lnTo>
                      <a:lnTo>
                        <a:pt x="116" y="86"/>
                      </a:lnTo>
                      <a:lnTo>
                        <a:pt x="117" y="85"/>
                      </a:lnTo>
                      <a:lnTo>
                        <a:pt x="118" y="85"/>
                      </a:lnTo>
                      <a:lnTo>
                        <a:pt x="118" y="86"/>
                      </a:lnTo>
                      <a:lnTo>
                        <a:pt x="117" y="87"/>
                      </a:lnTo>
                      <a:lnTo>
                        <a:pt x="117" y="87"/>
                      </a:lnTo>
                      <a:lnTo>
                        <a:pt x="118" y="88"/>
                      </a:lnTo>
                      <a:lnTo>
                        <a:pt x="119" y="87"/>
                      </a:lnTo>
                      <a:lnTo>
                        <a:pt x="119" y="87"/>
                      </a:lnTo>
                      <a:lnTo>
                        <a:pt x="119" y="86"/>
                      </a:lnTo>
                      <a:lnTo>
                        <a:pt x="119" y="85"/>
                      </a:lnTo>
                      <a:lnTo>
                        <a:pt x="119" y="84"/>
                      </a:lnTo>
                      <a:lnTo>
                        <a:pt x="119" y="85"/>
                      </a:lnTo>
                      <a:lnTo>
                        <a:pt x="120" y="86"/>
                      </a:lnTo>
                      <a:lnTo>
                        <a:pt x="121" y="86"/>
                      </a:lnTo>
                      <a:lnTo>
                        <a:pt x="121" y="85"/>
                      </a:lnTo>
                      <a:lnTo>
                        <a:pt x="121" y="84"/>
                      </a:lnTo>
                      <a:lnTo>
                        <a:pt x="121" y="84"/>
                      </a:lnTo>
                      <a:lnTo>
                        <a:pt x="121" y="84"/>
                      </a:lnTo>
                      <a:lnTo>
                        <a:pt x="121" y="83"/>
                      </a:lnTo>
                      <a:lnTo>
                        <a:pt x="121" y="82"/>
                      </a:lnTo>
                      <a:lnTo>
                        <a:pt x="121" y="82"/>
                      </a:lnTo>
                      <a:lnTo>
                        <a:pt x="120" y="82"/>
                      </a:lnTo>
                      <a:lnTo>
                        <a:pt x="120" y="81"/>
                      </a:lnTo>
                      <a:lnTo>
                        <a:pt x="121" y="80"/>
                      </a:lnTo>
                      <a:lnTo>
                        <a:pt x="121" y="80"/>
                      </a:lnTo>
                      <a:lnTo>
                        <a:pt x="122" y="80"/>
                      </a:lnTo>
                      <a:lnTo>
                        <a:pt x="122" y="81"/>
                      </a:lnTo>
                      <a:lnTo>
                        <a:pt x="123" y="82"/>
                      </a:lnTo>
                      <a:lnTo>
                        <a:pt x="123" y="81"/>
                      </a:lnTo>
                      <a:lnTo>
                        <a:pt x="123" y="81"/>
                      </a:lnTo>
                      <a:lnTo>
                        <a:pt x="124" y="81"/>
                      </a:lnTo>
                      <a:lnTo>
                        <a:pt x="125" y="81"/>
                      </a:lnTo>
                      <a:lnTo>
                        <a:pt x="125" y="81"/>
                      </a:lnTo>
                      <a:lnTo>
                        <a:pt x="126" y="81"/>
                      </a:lnTo>
                      <a:lnTo>
                        <a:pt x="126" y="80"/>
                      </a:lnTo>
                      <a:lnTo>
                        <a:pt x="127" y="80"/>
                      </a:lnTo>
                      <a:lnTo>
                        <a:pt x="127" y="81"/>
                      </a:lnTo>
                      <a:lnTo>
                        <a:pt x="126" y="81"/>
                      </a:lnTo>
                      <a:lnTo>
                        <a:pt x="126" y="82"/>
                      </a:lnTo>
                      <a:lnTo>
                        <a:pt x="127" y="82"/>
                      </a:lnTo>
                      <a:lnTo>
                        <a:pt x="127" y="82"/>
                      </a:lnTo>
                      <a:lnTo>
                        <a:pt x="128" y="82"/>
                      </a:lnTo>
                      <a:lnTo>
                        <a:pt x="129" y="82"/>
                      </a:lnTo>
                      <a:lnTo>
                        <a:pt x="129" y="81"/>
                      </a:lnTo>
                      <a:lnTo>
                        <a:pt x="129" y="81"/>
                      </a:lnTo>
                      <a:lnTo>
                        <a:pt x="130" y="81"/>
                      </a:lnTo>
                      <a:lnTo>
                        <a:pt x="130" y="80"/>
                      </a:lnTo>
                      <a:lnTo>
                        <a:pt x="130" y="80"/>
                      </a:lnTo>
                      <a:lnTo>
                        <a:pt x="129" y="80"/>
                      </a:lnTo>
                      <a:lnTo>
                        <a:pt x="129" y="79"/>
                      </a:lnTo>
                      <a:lnTo>
                        <a:pt x="129" y="78"/>
                      </a:lnTo>
                      <a:lnTo>
                        <a:pt x="129" y="78"/>
                      </a:lnTo>
                      <a:lnTo>
                        <a:pt x="129" y="77"/>
                      </a:lnTo>
                      <a:lnTo>
                        <a:pt x="130" y="77"/>
                      </a:lnTo>
                      <a:lnTo>
                        <a:pt x="131" y="77"/>
                      </a:lnTo>
                      <a:lnTo>
                        <a:pt x="131" y="76"/>
                      </a:lnTo>
                      <a:lnTo>
                        <a:pt x="130" y="76"/>
                      </a:lnTo>
                      <a:lnTo>
                        <a:pt x="130" y="76"/>
                      </a:lnTo>
                      <a:lnTo>
                        <a:pt x="131" y="75"/>
                      </a:lnTo>
                      <a:lnTo>
                        <a:pt x="131" y="75"/>
                      </a:lnTo>
                      <a:lnTo>
                        <a:pt x="133" y="75"/>
                      </a:lnTo>
                      <a:lnTo>
                        <a:pt x="133" y="75"/>
                      </a:lnTo>
                      <a:lnTo>
                        <a:pt x="134" y="74"/>
                      </a:lnTo>
                      <a:lnTo>
                        <a:pt x="135" y="74"/>
                      </a:lnTo>
                      <a:lnTo>
                        <a:pt x="135" y="73"/>
                      </a:lnTo>
                      <a:lnTo>
                        <a:pt x="135" y="72"/>
                      </a:lnTo>
                      <a:lnTo>
                        <a:pt x="136" y="72"/>
                      </a:lnTo>
                      <a:lnTo>
                        <a:pt x="137" y="72"/>
                      </a:lnTo>
                      <a:lnTo>
                        <a:pt x="137" y="72"/>
                      </a:lnTo>
                      <a:lnTo>
                        <a:pt x="138" y="72"/>
                      </a:lnTo>
                      <a:lnTo>
                        <a:pt x="138" y="72"/>
                      </a:lnTo>
                      <a:lnTo>
                        <a:pt x="138" y="71"/>
                      </a:lnTo>
                      <a:lnTo>
                        <a:pt x="138" y="71"/>
                      </a:lnTo>
                      <a:lnTo>
                        <a:pt x="139" y="71"/>
                      </a:lnTo>
                      <a:lnTo>
                        <a:pt x="139" y="70"/>
                      </a:lnTo>
                      <a:lnTo>
                        <a:pt x="138" y="70"/>
                      </a:lnTo>
                      <a:lnTo>
                        <a:pt x="138" y="69"/>
                      </a:lnTo>
                      <a:lnTo>
                        <a:pt x="138" y="68"/>
                      </a:lnTo>
                      <a:lnTo>
                        <a:pt x="139" y="68"/>
                      </a:lnTo>
                      <a:lnTo>
                        <a:pt x="140" y="68"/>
                      </a:lnTo>
                      <a:lnTo>
                        <a:pt x="140" y="68"/>
                      </a:lnTo>
                      <a:lnTo>
                        <a:pt x="140" y="67"/>
                      </a:lnTo>
                      <a:lnTo>
                        <a:pt x="140" y="67"/>
                      </a:lnTo>
                      <a:lnTo>
                        <a:pt x="141" y="66"/>
                      </a:lnTo>
                      <a:lnTo>
                        <a:pt x="142" y="66"/>
                      </a:lnTo>
                      <a:lnTo>
                        <a:pt x="142" y="66"/>
                      </a:lnTo>
                      <a:lnTo>
                        <a:pt x="142" y="65"/>
                      </a:lnTo>
                      <a:lnTo>
                        <a:pt x="144" y="64"/>
                      </a:lnTo>
                      <a:lnTo>
                        <a:pt x="144" y="64"/>
                      </a:lnTo>
                      <a:lnTo>
                        <a:pt x="144" y="63"/>
                      </a:lnTo>
                      <a:lnTo>
                        <a:pt x="145" y="63"/>
                      </a:lnTo>
                      <a:lnTo>
                        <a:pt x="146" y="63"/>
                      </a:lnTo>
                      <a:lnTo>
                        <a:pt x="146" y="64"/>
                      </a:lnTo>
                      <a:lnTo>
                        <a:pt x="147" y="64"/>
                      </a:lnTo>
                      <a:lnTo>
                        <a:pt x="147" y="65"/>
                      </a:lnTo>
                      <a:lnTo>
                        <a:pt x="147" y="64"/>
                      </a:lnTo>
                      <a:lnTo>
                        <a:pt x="148" y="64"/>
                      </a:lnTo>
                      <a:lnTo>
                        <a:pt x="148" y="63"/>
                      </a:lnTo>
                      <a:lnTo>
                        <a:pt x="147" y="63"/>
                      </a:lnTo>
                      <a:lnTo>
                        <a:pt x="147" y="62"/>
                      </a:lnTo>
                      <a:lnTo>
                        <a:pt x="147" y="61"/>
                      </a:lnTo>
                      <a:lnTo>
                        <a:pt x="148" y="61"/>
                      </a:lnTo>
                      <a:lnTo>
                        <a:pt x="148" y="61"/>
                      </a:lnTo>
                      <a:lnTo>
                        <a:pt x="149" y="61"/>
                      </a:lnTo>
                      <a:lnTo>
                        <a:pt x="149" y="60"/>
                      </a:lnTo>
                      <a:lnTo>
                        <a:pt x="149" y="59"/>
                      </a:lnTo>
                      <a:lnTo>
                        <a:pt x="149" y="59"/>
                      </a:lnTo>
                      <a:lnTo>
                        <a:pt x="150" y="59"/>
                      </a:lnTo>
                      <a:lnTo>
                        <a:pt x="150" y="59"/>
                      </a:lnTo>
                      <a:lnTo>
                        <a:pt x="151" y="59"/>
                      </a:lnTo>
                      <a:lnTo>
                        <a:pt x="152" y="59"/>
                      </a:lnTo>
                      <a:lnTo>
                        <a:pt x="152" y="59"/>
                      </a:lnTo>
                      <a:lnTo>
                        <a:pt x="152" y="59"/>
                      </a:lnTo>
                      <a:lnTo>
                        <a:pt x="152" y="59"/>
                      </a:lnTo>
                      <a:lnTo>
                        <a:pt x="152" y="58"/>
                      </a:lnTo>
                      <a:lnTo>
                        <a:pt x="152" y="57"/>
                      </a:lnTo>
                      <a:lnTo>
                        <a:pt x="153" y="57"/>
                      </a:lnTo>
                      <a:lnTo>
                        <a:pt x="154" y="58"/>
                      </a:lnTo>
                      <a:lnTo>
                        <a:pt x="154" y="58"/>
                      </a:lnTo>
                      <a:lnTo>
                        <a:pt x="155" y="58"/>
                      </a:lnTo>
                      <a:lnTo>
                        <a:pt x="156" y="57"/>
                      </a:lnTo>
                      <a:lnTo>
                        <a:pt x="157" y="57"/>
                      </a:lnTo>
                      <a:lnTo>
                        <a:pt x="157" y="56"/>
                      </a:lnTo>
                      <a:lnTo>
                        <a:pt x="157" y="56"/>
                      </a:lnTo>
                      <a:lnTo>
                        <a:pt x="157" y="55"/>
                      </a:lnTo>
                      <a:lnTo>
                        <a:pt x="157" y="55"/>
                      </a:lnTo>
                      <a:lnTo>
                        <a:pt x="158" y="55"/>
                      </a:lnTo>
                      <a:lnTo>
                        <a:pt x="159" y="54"/>
                      </a:lnTo>
                      <a:lnTo>
                        <a:pt x="159" y="54"/>
                      </a:lnTo>
                      <a:lnTo>
                        <a:pt x="160" y="55"/>
                      </a:lnTo>
                      <a:lnTo>
                        <a:pt x="161" y="55"/>
                      </a:lnTo>
                      <a:lnTo>
                        <a:pt x="161" y="54"/>
                      </a:lnTo>
                      <a:lnTo>
                        <a:pt x="161" y="54"/>
                      </a:lnTo>
                      <a:lnTo>
                        <a:pt x="161" y="54"/>
                      </a:lnTo>
                      <a:lnTo>
                        <a:pt x="160" y="53"/>
                      </a:lnTo>
                      <a:lnTo>
                        <a:pt x="161" y="53"/>
                      </a:lnTo>
                      <a:lnTo>
                        <a:pt x="161" y="52"/>
                      </a:lnTo>
                      <a:lnTo>
                        <a:pt x="162" y="52"/>
                      </a:lnTo>
                      <a:lnTo>
                        <a:pt x="162" y="53"/>
                      </a:lnTo>
                      <a:lnTo>
                        <a:pt x="162" y="53"/>
                      </a:lnTo>
                      <a:lnTo>
                        <a:pt x="163" y="53"/>
                      </a:lnTo>
                      <a:lnTo>
                        <a:pt x="163" y="53"/>
                      </a:lnTo>
                      <a:lnTo>
                        <a:pt x="164" y="53"/>
                      </a:lnTo>
                      <a:lnTo>
                        <a:pt x="165" y="53"/>
                      </a:lnTo>
                      <a:lnTo>
                        <a:pt x="165" y="52"/>
                      </a:lnTo>
                      <a:lnTo>
                        <a:pt x="166" y="51"/>
                      </a:lnTo>
                      <a:lnTo>
                        <a:pt x="167" y="51"/>
                      </a:lnTo>
                      <a:lnTo>
                        <a:pt x="167" y="51"/>
                      </a:lnTo>
                      <a:lnTo>
                        <a:pt x="167" y="51"/>
                      </a:lnTo>
                      <a:lnTo>
                        <a:pt x="167" y="50"/>
                      </a:lnTo>
                      <a:lnTo>
                        <a:pt x="168" y="50"/>
                      </a:lnTo>
                      <a:lnTo>
                        <a:pt x="169" y="50"/>
                      </a:lnTo>
                      <a:lnTo>
                        <a:pt x="169" y="50"/>
                      </a:lnTo>
                      <a:lnTo>
                        <a:pt x="170" y="50"/>
                      </a:lnTo>
                      <a:lnTo>
                        <a:pt x="171" y="50"/>
                      </a:lnTo>
                      <a:lnTo>
                        <a:pt x="171" y="50"/>
                      </a:lnTo>
                      <a:lnTo>
                        <a:pt x="171" y="51"/>
                      </a:lnTo>
                      <a:lnTo>
                        <a:pt x="172" y="51"/>
                      </a:lnTo>
                      <a:lnTo>
                        <a:pt x="172" y="50"/>
                      </a:lnTo>
                      <a:lnTo>
                        <a:pt x="172" y="49"/>
                      </a:lnTo>
                      <a:lnTo>
                        <a:pt x="172" y="49"/>
                      </a:lnTo>
                      <a:lnTo>
                        <a:pt x="171" y="49"/>
                      </a:lnTo>
                      <a:lnTo>
                        <a:pt x="171" y="48"/>
                      </a:lnTo>
                      <a:lnTo>
                        <a:pt x="172" y="48"/>
                      </a:lnTo>
                      <a:lnTo>
                        <a:pt x="172" y="47"/>
                      </a:lnTo>
                      <a:lnTo>
                        <a:pt x="173" y="48"/>
                      </a:lnTo>
                      <a:lnTo>
                        <a:pt x="173" y="48"/>
                      </a:lnTo>
                      <a:lnTo>
                        <a:pt x="173" y="49"/>
                      </a:lnTo>
                      <a:lnTo>
                        <a:pt x="174" y="49"/>
                      </a:lnTo>
                      <a:lnTo>
                        <a:pt x="174" y="48"/>
                      </a:lnTo>
                      <a:lnTo>
                        <a:pt x="174" y="47"/>
                      </a:lnTo>
                      <a:lnTo>
                        <a:pt x="174" y="47"/>
                      </a:lnTo>
                      <a:lnTo>
                        <a:pt x="174" y="46"/>
                      </a:lnTo>
                      <a:lnTo>
                        <a:pt x="175" y="46"/>
                      </a:lnTo>
                      <a:lnTo>
                        <a:pt x="176" y="46"/>
                      </a:lnTo>
                      <a:lnTo>
                        <a:pt x="176" y="45"/>
                      </a:lnTo>
                      <a:lnTo>
                        <a:pt x="175" y="45"/>
                      </a:lnTo>
                      <a:lnTo>
                        <a:pt x="175" y="44"/>
                      </a:lnTo>
                      <a:lnTo>
                        <a:pt x="175" y="44"/>
                      </a:lnTo>
                      <a:lnTo>
                        <a:pt x="175" y="43"/>
                      </a:lnTo>
                      <a:lnTo>
                        <a:pt x="176" y="42"/>
                      </a:lnTo>
                      <a:lnTo>
                        <a:pt x="176" y="42"/>
                      </a:lnTo>
                      <a:lnTo>
                        <a:pt x="177" y="42"/>
                      </a:lnTo>
                      <a:lnTo>
                        <a:pt x="178" y="42"/>
                      </a:lnTo>
                      <a:lnTo>
                        <a:pt x="178" y="43"/>
                      </a:lnTo>
                      <a:lnTo>
                        <a:pt x="178" y="43"/>
                      </a:lnTo>
                      <a:lnTo>
                        <a:pt x="178" y="42"/>
                      </a:lnTo>
                      <a:lnTo>
                        <a:pt x="178" y="42"/>
                      </a:lnTo>
                      <a:lnTo>
                        <a:pt x="179" y="42"/>
                      </a:lnTo>
                      <a:lnTo>
                        <a:pt x="179" y="42"/>
                      </a:lnTo>
                      <a:lnTo>
                        <a:pt x="179" y="43"/>
                      </a:lnTo>
                      <a:lnTo>
                        <a:pt x="179" y="44"/>
                      </a:lnTo>
                      <a:lnTo>
                        <a:pt x="180" y="44"/>
                      </a:lnTo>
                      <a:lnTo>
                        <a:pt x="180" y="44"/>
                      </a:lnTo>
                      <a:lnTo>
                        <a:pt x="181" y="44"/>
                      </a:lnTo>
                      <a:lnTo>
                        <a:pt x="181" y="45"/>
                      </a:lnTo>
                      <a:lnTo>
                        <a:pt x="180" y="45"/>
                      </a:lnTo>
                      <a:lnTo>
                        <a:pt x="181" y="45"/>
                      </a:lnTo>
                      <a:lnTo>
                        <a:pt x="182" y="45"/>
                      </a:lnTo>
                      <a:lnTo>
                        <a:pt x="182" y="46"/>
                      </a:lnTo>
                      <a:lnTo>
                        <a:pt x="182" y="46"/>
                      </a:lnTo>
                      <a:lnTo>
                        <a:pt x="182" y="45"/>
                      </a:lnTo>
                      <a:lnTo>
                        <a:pt x="182" y="44"/>
                      </a:lnTo>
                      <a:lnTo>
                        <a:pt x="182" y="44"/>
                      </a:lnTo>
                      <a:lnTo>
                        <a:pt x="182" y="43"/>
                      </a:lnTo>
                      <a:lnTo>
                        <a:pt x="183" y="42"/>
                      </a:lnTo>
                      <a:lnTo>
                        <a:pt x="183" y="42"/>
                      </a:lnTo>
                      <a:lnTo>
                        <a:pt x="184" y="42"/>
                      </a:lnTo>
                      <a:lnTo>
                        <a:pt x="184" y="42"/>
                      </a:lnTo>
                      <a:lnTo>
                        <a:pt x="185" y="41"/>
                      </a:lnTo>
                      <a:lnTo>
                        <a:pt x="185" y="40"/>
                      </a:lnTo>
                      <a:lnTo>
                        <a:pt x="184" y="40"/>
                      </a:lnTo>
                      <a:lnTo>
                        <a:pt x="184" y="40"/>
                      </a:lnTo>
                      <a:lnTo>
                        <a:pt x="183" y="40"/>
                      </a:lnTo>
                      <a:lnTo>
                        <a:pt x="183" y="40"/>
                      </a:lnTo>
                      <a:lnTo>
                        <a:pt x="183" y="39"/>
                      </a:lnTo>
                      <a:lnTo>
                        <a:pt x="183" y="40"/>
                      </a:lnTo>
                      <a:lnTo>
                        <a:pt x="182" y="40"/>
                      </a:lnTo>
                      <a:lnTo>
                        <a:pt x="182" y="39"/>
                      </a:lnTo>
                      <a:lnTo>
                        <a:pt x="182" y="38"/>
                      </a:lnTo>
                      <a:lnTo>
                        <a:pt x="183" y="38"/>
                      </a:lnTo>
                      <a:lnTo>
                        <a:pt x="183" y="38"/>
                      </a:lnTo>
                      <a:lnTo>
                        <a:pt x="184" y="38"/>
                      </a:lnTo>
                      <a:lnTo>
                        <a:pt x="184" y="38"/>
                      </a:lnTo>
                      <a:lnTo>
                        <a:pt x="184" y="37"/>
                      </a:lnTo>
                      <a:lnTo>
                        <a:pt x="184" y="36"/>
                      </a:lnTo>
                      <a:lnTo>
                        <a:pt x="183" y="36"/>
                      </a:lnTo>
                      <a:lnTo>
                        <a:pt x="182" y="36"/>
                      </a:lnTo>
                      <a:lnTo>
                        <a:pt x="182" y="36"/>
                      </a:lnTo>
                      <a:lnTo>
                        <a:pt x="182" y="35"/>
                      </a:lnTo>
                      <a:lnTo>
                        <a:pt x="183" y="35"/>
                      </a:lnTo>
                      <a:lnTo>
                        <a:pt x="183" y="34"/>
                      </a:lnTo>
                      <a:lnTo>
                        <a:pt x="184" y="34"/>
                      </a:lnTo>
                      <a:lnTo>
                        <a:pt x="184" y="34"/>
                      </a:lnTo>
                      <a:lnTo>
                        <a:pt x="185" y="34"/>
                      </a:lnTo>
                      <a:lnTo>
                        <a:pt x="184" y="34"/>
                      </a:lnTo>
                      <a:lnTo>
                        <a:pt x="184" y="33"/>
                      </a:lnTo>
                      <a:lnTo>
                        <a:pt x="184" y="33"/>
                      </a:lnTo>
                      <a:lnTo>
                        <a:pt x="184" y="32"/>
                      </a:lnTo>
                      <a:lnTo>
                        <a:pt x="184" y="32"/>
                      </a:lnTo>
                      <a:lnTo>
                        <a:pt x="184" y="32"/>
                      </a:lnTo>
                      <a:lnTo>
                        <a:pt x="185" y="32"/>
                      </a:lnTo>
                      <a:lnTo>
                        <a:pt x="186" y="32"/>
                      </a:lnTo>
                      <a:lnTo>
                        <a:pt x="186" y="31"/>
                      </a:lnTo>
                      <a:lnTo>
                        <a:pt x="186" y="31"/>
                      </a:lnTo>
                      <a:lnTo>
                        <a:pt x="187" y="31"/>
                      </a:lnTo>
                      <a:lnTo>
                        <a:pt x="188" y="31"/>
                      </a:lnTo>
                      <a:lnTo>
                        <a:pt x="188" y="31"/>
                      </a:lnTo>
                      <a:lnTo>
                        <a:pt x="189" y="31"/>
                      </a:lnTo>
                      <a:lnTo>
                        <a:pt x="190" y="31"/>
                      </a:lnTo>
                      <a:lnTo>
                        <a:pt x="190" y="31"/>
                      </a:lnTo>
                      <a:lnTo>
                        <a:pt x="190" y="32"/>
                      </a:lnTo>
                      <a:lnTo>
                        <a:pt x="191" y="32"/>
                      </a:lnTo>
                      <a:lnTo>
                        <a:pt x="192" y="32"/>
                      </a:lnTo>
                      <a:lnTo>
                        <a:pt x="192" y="32"/>
                      </a:lnTo>
                      <a:lnTo>
                        <a:pt x="193" y="32"/>
                      </a:lnTo>
                      <a:lnTo>
                        <a:pt x="194" y="32"/>
                      </a:lnTo>
                      <a:lnTo>
                        <a:pt x="194" y="32"/>
                      </a:lnTo>
                      <a:lnTo>
                        <a:pt x="196" y="33"/>
                      </a:lnTo>
                      <a:lnTo>
                        <a:pt x="197" y="33"/>
                      </a:lnTo>
                      <a:lnTo>
                        <a:pt x="197" y="32"/>
                      </a:lnTo>
                      <a:lnTo>
                        <a:pt x="197" y="32"/>
                      </a:lnTo>
                      <a:lnTo>
                        <a:pt x="197" y="31"/>
                      </a:lnTo>
                      <a:lnTo>
                        <a:pt x="197" y="30"/>
                      </a:lnTo>
                      <a:lnTo>
                        <a:pt x="197" y="30"/>
                      </a:lnTo>
                      <a:lnTo>
                        <a:pt x="198" y="30"/>
                      </a:lnTo>
                      <a:lnTo>
                        <a:pt x="198" y="29"/>
                      </a:lnTo>
                      <a:lnTo>
                        <a:pt x="199" y="30"/>
                      </a:lnTo>
                      <a:lnTo>
                        <a:pt x="199" y="30"/>
                      </a:lnTo>
                      <a:lnTo>
                        <a:pt x="199" y="30"/>
                      </a:lnTo>
                      <a:lnTo>
                        <a:pt x="200" y="30"/>
                      </a:lnTo>
                      <a:lnTo>
                        <a:pt x="200" y="30"/>
                      </a:lnTo>
                      <a:lnTo>
                        <a:pt x="201" y="30"/>
                      </a:lnTo>
                      <a:lnTo>
                        <a:pt x="201" y="29"/>
                      </a:lnTo>
                      <a:lnTo>
                        <a:pt x="201" y="29"/>
                      </a:lnTo>
                      <a:lnTo>
                        <a:pt x="201" y="28"/>
                      </a:lnTo>
                      <a:lnTo>
                        <a:pt x="201" y="28"/>
                      </a:lnTo>
                      <a:lnTo>
                        <a:pt x="200" y="28"/>
                      </a:lnTo>
                      <a:lnTo>
                        <a:pt x="200" y="28"/>
                      </a:lnTo>
                      <a:lnTo>
                        <a:pt x="201" y="28"/>
                      </a:lnTo>
                      <a:lnTo>
                        <a:pt x="201" y="27"/>
                      </a:lnTo>
                      <a:lnTo>
                        <a:pt x="201" y="26"/>
                      </a:lnTo>
                      <a:lnTo>
                        <a:pt x="202" y="26"/>
                      </a:lnTo>
                      <a:lnTo>
                        <a:pt x="203" y="27"/>
                      </a:lnTo>
                      <a:lnTo>
                        <a:pt x="203" y="28"/>
                      </a:lnTo>
                      <a:lnTo>
                        <a:pt x="204" y="28"/>
                      </a:lnTo>
                      <a:lnTo>
                        <a:pt x="204" y="29"/>
                      </a:lnTo>
                      <a:lnTo>
                        <a:pt x="205" y="29"/>
                      </a:lnTo>
                      <a:lnTo>
                        <a:pt x="205" y="28"/>
                      </a:lnTo>
                      <a:lnTo>
                        <a:pt x="205" y="28"/>
                      </a:lnTo>
                      <a:lnTo>
                        <a:pt x="205" y="27"/>
                      </a:lnTo>
                      <a:lnTo>
                        <a:pt x="205" y="26"/>
                      </a:lnTo>
                      <a:lnTo>
                        <a:pt x="205" y="26"/>
                      </a:lnTo>
                      <a:lnTo>
                        <a:pt x="206" y="26"/>
                      </a:lnTo>
                      <a:lnTo>
                        <a:pt x="207" y="26"/>
                      </a:lnTo>
                      <a:lnTo>
                        <a:pt x="207" y="26"/>
                      </a:lnTo>
                      <a:lnTo>
                        <a:pt x="207" y="27"/>
                      </a:lnTo>
                      <a:lnTo>
                        <a:pt x="207" y="28"/>
                      </a:lnTo>
                      <a:lnTo>
                        <a:pt x="208" y="28"/>
                      </a:lnTo>
                      <a:lnTo>
                        <a:pt x="209" y="28"/>
                      </a:lnTo>
                      <a:lnTo>
                        <a:pt x="209" y="28"/>
                      </a:lnTo>
                      <a:lnTo>
                        <a:pt x="210" y="28"/>
                      </a:lnTo>
                      <a:lnTo>
                        <a:pt x="211" y="28"/>
                      </a:lnTo>
                      <a:lnTo>
                        <a:pt x="211" y="28"/>
                      </a:lnTo>
                      <a:lnTo>
                        <a:pt x="212" y="28"/>
                      </a:lnTo>
                      <a:lnTo>
                        <a:pt x="212" y="27"/>
                      </a:lnTo>
                      <a:lnTo>
                        <a:pt x="213" y="27"/>
                      </a:lnTo>
                      <a:lnTo>
                        <a:pt x="214" y="26"/>
                      </a:lnTo>
                      <a:lnTo>
                        <a:pt x="214" y="26"/>
                      </a:lnTo>
                      <a:lnTo>
                        <a:pt x="214" y="25"/>
                      </a:lnTo>
                      <a:lnTo>
                        <a:pt x="214" y="25"/>
                      </a:lnTo>
                      <a:lnTo>
                        <a:pt x="215" y="25"/>
                      </a:lnTo>
                      <a:lnTo>
                        <a:pt x="216" y="25"/>
                      </a:lnTo>
                      <a:lnTo>
                        <a:pt x="216" y="24"/>
                      </a:lnTo>
                      <a:lnTo>
                        <a:pt x="217" y="24"/>
                      </a:lnTo>
                      <a:lnTo>
                        <a:pt x="218" y="24"/>
                      </a:lnTo>
                      <a:lnTo>
                        <a:pt x="218" y="25"/>
                      </a:lnTo>
                      <a:lnTo>
                        <a:pt x="218" y="26"/>
                      </a:lnTo>
                      <a:lnTo>
                        <a:pt x="217" y="26"/>
                      </a:lnTo>
                      <a:lnTo>
                        <a:pt x="217" y="27"/>
                      </a:lnTo>
                      <a:lnTo>
                        <a:pt x="218" y="27"/>
                      </a:lnTo>
                      <a:lnTo>
                        <a:pt x="218" y="27"/>
                      </a:lnTo>
                      <a:lnTo>
                        <a:pt x="219" y="27"/>
                      </a:lnTo>
                      <a:lnTo>
                        <a:pt x="220" y="27"/>
                      </a:lnTo>
                      <a:lnTo>
                        <a:pt x="220" y="26"/>
                      </a:lnTo>
                      <a:lnTo>
                        <a:pt x="220" y="26"/>
                      </a:lnTo>
                      <a:lnTo>
                        <a:pt x="220" y="25"/>
                      </a:lnTo>
                      <a:lnTo>
                        <a:pt x="220" y="24"/>
                      </a:lnTo>
                      <a:lnTo>
                        <a:pt x="221" y="23"/>
                      </a:lnTo>
                      <a:lnTo>
                        <a:pt x="220" y="23"/>
                      </a:lnTo>
                      <a:lnTo>
                        <a:pt x="220" y="23"/>
                      </a:lnTo>
                      <a:lnTo>
                        <a:pt x="221" y="23"/>
                      </a:lnTo>
                      <a:lnTo>
                        <a:pt x="222" y="23"/>
                      </a:lnTo>
                      <a:lnTo>
                        <a:pt x="222" y="23"/>
                      </a:lnTo>
                      <a:lnTo>
                        <a:pt x="223" y="23"/>
                      </a:lnTo>
                      <a:lnTo>
                        <a:pt x="224" y="23"/>
                      </a:lnTo>
                      <a:lnTo>
                        <a:pt x="224" y="23"/>
                      </a:lnTo>
                      <a:lnTo>
                        <a:pt x="225" y="23"/>
                      </a:lnTo>
                      <a:lnTo>
                        <a:pt x="226" y="23"/>
                      </a:lnTo>
                      <a:lnTo>
                        <a:pt x="226" y="23"/>
                      </a:lnTo>
                      <a:lnTo>
                        <a:pt x="227" y="24"/>
                      </a:lnTo>
                      <a:lnTo>
                        <a:pt x="227" y="25"/>
                      </a:lnTo>
                      <a:lnTo>
                        <a:pt x="228" y="26"/>
                      </a:lnTo>
                      <a:lnTo>
                        <a:pt x="228" y="26"/>
                      </a:lnTo>
                      <a:lnTo>
                        <a:pt x="229" y="26"/>
                      </a:lnTo>
                      <a:lnTo>
                        <a:pt x="230" y="26"/>
                      </a:lnTo>
                      <a:lnTo>
                        <a:pt x="230" y="26"/>
                      </a:lnTo>
                      <a:lnTo>
                        <a:pt x="230" y="25"/>
                      </a:lnTo>
                      <a:lnTo>
                        <a:pt x="229" y="25"/>
                      </a:lnTo>
                      <a:lnTo>
                        <a:pt x="228" y="25"/>
                      </a:lnTo>
                      <a:lnTo>
                        <a:pt x="228" y="24"/>
                      </a:lnTo>
                      <a:lnTo>
                        <a:pt x="229" y="24"/>
                      </a:lnTo>
                      <a:lnTo>
                        <a:pt x="230" y="23"/>
                      </a:lnTo>
                      <a:lnTo>
                        <a:pt x="230" y="23"/>
                      </a:lnTo>
                      <a:lnTo>
                        <a:pt x="231" y="23"/>
                      </a:lnTo>
                      <a:lnTo>
                        <a:pt x="232" y="23"/>
                      </a:lnTo>
                      <a:lnTo>
                        <a:pt x="233" y="23"/>
                      </a:lnTo>
                      <a:lnTo>
                        <a:pt x="233" y="23"/>
                      </a:lnTo>
                      <a:lnTo>
                        <a:pt x="234" y="23"/>
                      </a:lnTo>
                      <a:lnTo>
                        <a:pt x="235" y="22"/>
                      </a:lnTo>
                      <a:lnTo>
                        <a:pt x="235" y="22"/>
                      </a:lnTo>
                      <a:lnTo>
                        <a:pt x="236" y="22"/>
                      </a:lnTo>
                      <a:lnTo>
                        <a:pt x="237" y="22"/>
                      </a:lnTo>
                      <a:lnTo>
                        <a:pt x="237" y="23"/>
                      </a:lnTo>
                      <a:lnTo>
                        <a:pt x="237" y="23"/>
                      </a:lnTo>
                      <a:lnTo>
                        <a:pt x="237" y="23"/>
                      </a:lnTo>
                      <a:lnTo>
                        <a:pt x="238" y="23"/>
                      </a:lnTo>
                      <a:lnTo>
                        <a:pt x="238" y="24"/>
                      </a:lnTo>
                      <a:lnTo>
                        <a:pt x="238" y="25"/>
                      </a:lnTo>
                      <a:lnTo>
                        <a:pt x="237" y="26"/>
                      </a:lnTo>
                      <a:lnTo>
                        <a:pt x="237" y="27"/>
                      </a:lnTo>
                      <a:lnTo>
                        <a:pt x="237" y="28"/>
                      </a:lnTo>
                      <a:lnTo>
                        <a:pt x="237" y="29"/>
                      </a:lnTo>
                      <a:lnTo>
                        <a:pt x="236" y="29"/>
                      </a:lnTo>
                      <a:lnTo>
                        <a:pt x="236" y="30"/>
                      </a:lnTo>
                      <a:lnTo>
                        <a:pt x="237" y="30"/>
                      </a:lnTo>
                      <a:lnTo>
                        <a:pt x="237" y="31"/>
                      </a:lnTo>
                      <a:lnTo>
                        <a:pt x="237" y="31"/>
                      </a:lnTo>
                      <a:lnTo>
                        <a:pt x="238" y="31"/>
                      </a:lnTo>
                      <a:lnTo>
                        <a:pt x="240" y="30"/>
                      </a:lnTo>
                      <a:lnTo>
                        <a:pt x="241" y="30"/>
                      </a:lnTo>
                      <a:lnTo>
                        <a:pt x="241" y="30"/>
                      </a:lnTo>
                      <a:lnTo>
                        <a:pt x="241" y="30"/>
                      </a:lnTo>
                      <a:lnTo>
                        <a:pt x="240" y="30"/>
                      </a:lnTo>
                      <a:lnTo>
                        <a:pt x="239" y="30"/>
                      </a:lnTo>
                      <a:lnTo>
                        <a:pt x="239" y="30"/>
                      </a:lnTo>
                      <a:lnTo>
                        <a:pt x="239" y="30"/>
                      </a:lnTo>
                      <a:lnTo>
                        <a:pt x="238" y="29"/>
                      </a:lnTo>
                      <a:lnTo>
                        <a:pt x="238" y="28"/>
                      </a:lnTo>
                      <a:lnTo>
                        <a:pt x="239" y="28"/>
                      </a:lnTo>
                      <a:lnTo>
                        <a:pt x="239" y="27"/>
                      </a:lnTo>
                      <a:lnTo>
                        <a:pt x="240" y="26"/>
                      </a:lnTo>
                      <a:lnTo>
                        <a:pt x="241" y="26"/>
                      </a:lnTo>
                      <a:lnTo>
                        <a:pt x="241" y="26"/>
                      </a:lnTo>
                      <a:lnTo>
                        <a:pt x="241" y="26"/>
                      </a:lnTo>
                      <a:lnTo>
                        <a:pt x="241" y="25"/>
                      </a:lnTo>
                      <a:lnTo>
                        <a:pt x="241" y="24"/>
                      </a:lnTo>
                      <a:lnTo>
                        <a:pt x="242" y="24"/>
                      </a:lnTo>
                      <a:lnTo>
                        <a:pt x="242" y="25"/>
                      </a:lnTo>
                      <a:lnTo>
                        <a:pt x="242" y="24"/>
                      </a:lnTo>
                      <a:lnTo>
                        <a:pt x="243" y="24"/>
                      </a:lnTo>
                      <a:lnTo>
                        <a:pt x="243" y="23"/>
                      </a:lnTo>
                      <a:lnTo>
                        <a:pt x="243" y="23"/>
                      </a:lnTo>
                      <a:lnTo>
                        <a:pt x="244" y="23"/>
                      </a:lnTo>
                      <a:lnTo>
                        <a:pt x="244" y="22"/>
                      </a:lnTo>
                      <a:lnTo>
                        <a:pt x="243" y="22"/>
                      </a:lnTo>
                      <a:lnTo>
                        <a:pt x="243" y="21"/>
                      </a:lnTo>
                      <a:lnTo>
                        <a:pt x="244" y="21"/>
                      </a:lnTo>
                      <a:lnTo>
                        <a:pt x="245" y="21"/>
                      </a:lnTo>
                      <a:lnTo>
                        <a:pt x="245" y="21"/>
                      </a:lnTo>
                      <a:lnTo>
                        <a:pt x="247" y="22"/>
                      </a:lnTo>
                      <a:lnTo>
                        <a:pt x="247" y="22"/>
                      </a:lnTo>
                      <a:lnTo>
                        <a:pt x="248" y="22"/>
                      </a:lnTo>
                      <a:lnTo>
                        <a:pt x="249" y="23"/>
                      </a:lnTo>
                      <a:lnTo>
                        <a:pt x="249" y="23"/>
                      </a:lnTo>
                      <a:lnTo>
                        <a:pt x="250" y="23"/>
                      </a:lnTo>
                      <a:lnTo>
                        <a:pt x="251" y="22"/>
                      </a:lnTo>
                      <a:lnTo>
                        <a:pt x="252" y="22"/>
                      </a:lnTo>
                      <a:lnTo>
                        <a:pt x="252" y="22"/>
                      </a:lnTo>
                      <a:lnTo>
                        <a:pt x="253" y="22"/>
                      </a:lnTo>
                      <a:lnTo>
                        <a:pt x="254" y="22"/>
                      </a:lnTo>
                      <a:lnTo>
                        <a:pt x="254" y="22"/>
                      </a:lnTo>
                      <a:lnTo>
                        <a:pt x="255" y="22"/>
                      </a:lnTo>
                      <a:lnTo>
                        <a:pt x="256" y="21"/>
                      </a:lnTo>
                      <a:lnTo>
                        <a:pt x="256" y="21"/>
                      </a:lnTo>
                      <a:lnTo>
                        <a:pt x="256" y="20"/>
                      </a:lnTo>
                      <a:lnTo>
                        <a:pt x="256" y="19"/>
                      </a:lnTo>
                      <a:lnTo>
                        <a:pt x="256" y="19"/>
                      </a:lnTo>
                      <a:lnTo>
                        <a:pt x="256" y="18"/>
                      </a:lnTo>
                      <a:lnTo>
                        <a:pt x="256" y="17"/>
                      </a:lnTo>
                      <a:lnTo>
                        <a:pt x="256" y="17"/>
                      </a:lnTo>
                      <a:lnTo>
                        <a:pt x="257" y="17"/>
                      </a:lnTo>
                      <a:lnTo>
                        <a:pt x="258" y="17"/>
                      </a:lnTo>
                      <a:lnTo>
                        <a:pt x="258" y="16"/>
                      </a:lnTo>
                      <a:lnTo>
                        <a:pt x="257" y="15"/>
                      </a:lnTo>
                      <a:lnTo>
                        <a:pt x="258" y="15"/>
                      </a:lnTo>
                      <a:lnTo>
                        <a:pt x="258" y="15"/>
                      </a:lnTo>
                      <a:lnTo>
                        <a:pt x="259" y="15"/>
                      </a:lnTo>
                      <a:lnTo>
                        <a:pt x="260" y="15"/>
                      </a:lnTo>
                      <a:lnTo>
                        <a:pt x="260" y="15"/>
                      </a:lnTo>
                      <a:lnTo>
                        <a:pt x="261" y="15"/>
                      </a:lnTo>
                      <a:lnTo>
                        <a:pt x="262" y="15"/>
                      </a:lnTo>
                      <a:lnTo>
                        <a:pt x="262" y="15"/>
                      </a:lnTo>
                      <a:lnTo>
                        <a:pt x="263" y="15"/>
                      </a:lnTo>
                      <a:lnTo>
                        <a:pt x="263" y="14"/>
                      </a:lnTo>
                      <a:lnTo>
                        <a:pt x="264" y="14"/>
                      </a:lnTo>
                      <a:lnTo>
                        <a:pt x="264" y="13"/>
                      </a:lnTo>
                      <a:lnTo>
                        <a:pt x="264" y="13"/>
                      </a:lnTo>
                      <a:lnTo>
                        <a:pt x="265" y="13"/>
                      </a:lnTo>
                      <a:lnTo>
                        <a:pt x="265" y="14"/>
                      </a:lnTo>
                      <a:lnTo>
                        <a:pt x="266" y="14"/>
                      </a:lnTo>
                      <a:lnTo>
                        <a:pt x="266" y="14"/>
                      </a:lnTo>
                      <a:lnTo>
                        <a:pt x="267" y="14"/>
                      </a:lnTo>
                      <a:lnTo>
                        <a:pt x="267" y="13"/>
                      </a:lnTo>
                      <a:lnTo>
                        <a:pt x="267" y="13"/>
                      </a:lnTo>
                      <a:lnTo>
                        <a:pt x="266" y="13"/>
                      </a:lnTo>
                      <a:lnTo>
                        <a:pt x="267" y="13"/>
                      </a:lnTo>
                      <a:lnTo>
                        <a:pt x="267" y="12"/>
                      </a:lnTo>
                      <a:lnTo>
                        <a:pt x="268" y="13"/>
                      </a:lnTo>
                      <a:lnTo>
                        <a:pt x="268" y="13"/>
                      </a:lnTo>
                      <a:lnTo>
                        <a:pt x="268" y="13"/>
                      </a:lnTo>
                      <a:lnTo>
                        <a:pt x="269" y="14"/>
                      </a:lnTo>
                      <a:lnTo>
                        <a:pt x="269" y="15"/>
                      </a:lnTo>
                      <a:lnTo>
                        <a:pt x="270" y="15"/>
                      </a:lnTo>
                      <a:lnTo>
                        <a:pt x="270" y="15"/>
                      </a:lnTo>
                      <a:lnTo>
                        <a:pt x="270" y="14"/>
                      </a:lnTo>
                      <a:lnTo>
                        <a:pt x="270" y="13"/>
                      </a:lnTo>
                      <a:lnTo>
                        <a:pt x="271" y="13"/>
                      </a:lnTo>
                      <a:lnTo>
                        <a:pt x="271" y="14"/>
                      </a:lnTo>
                      <a:lnTo>
                        <a:pt x="271" y="14"/>
                      </a:lnTo>
                      <a:lnTo>
                        <a:pt x="272" y="15"/>
                      </a:lnTo>
                      <a:lnTo>
                        <a:pt x="273" y="15"/>
                      </a:lnTo>
                      <a:lnTo>
                        <a:pt x="273" y="15"/>
                      </a:lnTo>
                      <a:lnTo>
                        <a:pt x="273" y="15"/>
                      </a:lnTo>
                      <a:lnTo>
                        <a:pt x="274" y="15"/>
                      </a:lnTo>
                      <a:lnTo>
                        <a:pt x="275" y="15"/>
                      </a:lnTo>
                      <a:lnTo>
                        <a:pt x="275" y="16"/>
                      </a:lnTo>
                      <a:lnTo>
                        <a:pt x="275" y="16"/>
                      </a:lnTo>
                      <a:lnTo>
                        <a:pt x="276" y="15"/>
                      </a:lnTo>
                      <a:lnTo>
                        <a:pt x="277" y="15"/>
                      </a:lnTo>
                      <a:lnTo>
                        <a:pt x="277" y="15"/>
                      </a:lnTo>
                      <a:lnTo>
                        <a:pt x="276" y="15"/>
                      </a:lnTo>
                      <a:lnTo>
                        <a:pt x="276" y="13"/>
                      </a:lnTo>
                      <a:lnTo>
                        <a:pt x="276" y="13"/>
                      </a:lnTo>
                      <a:lnTo>
                        <a:pt x="277" y="13"/>
                      </a:lnTo>
                      <a:lnTo>
                        <a:pt x="277" y="12"/>
                      </a:lnTo>
                      <a:lnTo>
                        <a:pt x="277" y="12"/>
                      </a:lnTo>
                      <a:lnTo>
                        <a:pt x="278" y="12"/>
                      </a:lnTo>
                      <a:lnTo>
                        <a:pt x="278" y="11"/>
                      </a:lnTo>
                      <a:lnTo>
                        <a:pt x="279" y="11"/>
                      </a:lnTo>
                      <a:lnTo>
                        <a:pt x="279" y="12"/>
                      </a:lnTo>
                      <a:lnTo>
                        <a:pt x="278" y="12"/>
                      </a:lnTo>
                      <a:lnTo>
                        <a:pt x="278" y="13"/>
                      </a:lnTo>
                      <a:lnTo>
                        <a:pt x="278" y="13"/>
                      </a:lnTo>
                      <a:lnTo>
                        <a:pt x="278" y="14"/>
                      </a:lnTo>
                      <a:lnTo>
                        <a:pt x="279" y="14"/>
                      </a:lnTo>
                      <a:lnTo>
                        <a:pt x="279" y="13"/>
                      </a:lnTo>
                      <a:lnTo>
                        <a:pt x="280" y="13"/>
                      </a:lnTo>
                      <a:lnTo>
                        <a:pt x="281" y="13"/>
                      </a:lnTo>
                      <a:lnTo>
                        <a:pt x="281" y="13"/>
                      </a:lnTo>
                      <a:lnTo>
                        <a:pt x="282" y="13"/>
                      </a:lnTo>
                      <a:lnTo>
                        <a:pt x="283" y="13"/>
                      </a:lnTo>
                      <a:lnTo>
                        <a:pt x="283" y="13"/>
                      </a:lnTo>
                      <a:lnTo>
                        <a:pt x="283" y="13"/>
                      </a:lnTo>
                      <a:lnTo>
                        <a:pt x="284" y="13"/>
                      </a:lnTo>
                      <a:lnTo>
                        <a:pt x="285" y="13"/>
                      </a:lnTo>
                      <a:lnTo>
                        <a:pt x="285" y="12"/>
                      </a:lnTo>
                      <a:lnTo>
                        <a:pt x="285" y="12"/>
                      </a:lnTo>
                      <a:lnTo>
                        <a:pt x="285" y="11"/>
                      </a:lnTo>
                      <a:lnTo>
                        <a:pt x="285" y="11"/>
                      </a:lnTo>
                      <a:lnTo>
                        <a:pt x="285" y="10"/>
                      </a:lnTo>
                      <a:lnTo>
                        <a:pt x="286" y="11"/>
                      </a:lnTo>
                      <a:lnTo>
                        <a:pt x="287" y="11"/>
                      </a:lnTo>
                      <a:lnTo>
                        <a:pt x="287" y="12"/>
                      </a:lnTo>
                      <a:lnTo>
                        <a:pt x="287" y="12"/>
                      </a:lnTo>
                      <a:lnTo>
                        <a:pt x="287" y="11"/>
                      </a:lnTo>
                      <a:lnTo>
                        <a:pt x="287" y="11"/>
                      </a:lnTo>
                      <a:lnTo>
                        <a:pt x="287" y="10"/>
                      </a:lnTo>
                      <a:lnTo>
                        <a:pt x="287" y="9"/>
                      </a:lnTo>
                      <a:lnTo>
                        <a:pt x="288" y="9"/>
                      </a:lnTo>
                      <a:lnTo>
                        <a:pt x="289" y="9"/>
                      </a:lnTo>
                      <a:lnTo>
                        <a:pt x="289" y="9"/>
                      </a:lnTo>
                      <a:lnTo>
                        <a:pt x="290" y="9"/>
                      </a:lnTo>
                      <a:lnTo>
                        <a:pt x="290" y="10"/>
                      </a:lnTo>
                      <a:lnTo>
                        <a:pt x="292" y="11"/>
                      </a:lnTo>
                      <a:lnTo>
                        <a:pt x="292" y="11"/>
                      </a:lnTo>
                      <a:lnTo>
                        <a:pt x="292" y="12"/>
                      </a:lnTo>
                      <a:lnTo>
                        <a:pt x="293" y="12"/>
                      </a:lnTo>
                      <a:lnTo>
                        <a:pt x="293" y="13"/>
                      </a:lnTo>
                      <a:lnTo>
                        <a:pt x="294" y="13"/>
                      </a:lnTo>
                      <a:lnTo>
                        <a:pt x="294" y="13"/>
                      </a:lnTo>
                      <a:lnTo>
                        <a:pt x="294" y="14"/>
                      </a:lnTo>
                      <a:lnTo>
                        <a:pt x="295" y="14"/>
                      </a:lnTo>
                      <a:lnTo>
                        <a:pt x="295" y="15"/>
                      </a:lnTo>
                      <a:lnTo>
                        <a:pt x="296" y="15"/>
                      </a:lnTo>
                      <a:lnTo>
                        <a:pt x="296" y="15"/>
                      </a:lnTo>
                      <a:lnTo>
                        <a:pt x="297" y="15"/>
                      </a:lnTo>
                      <a:lnTo>
                        <a:pt x="297" y="14"/>
                      </a:lnTo>
                      <a:lnTo>
                        <a:pt x="298" y="13"/>
                      </a:lnTo>
                      <a:lnTo>
                        <a:pt x="298" y="13"/>
                      </a:lnTo>
                      <a:lnTo>
                        <a:pt x="299" y="13"/>
                      </a:lnTo>
                      <a:lnTo>
                        <a:pt x="300" y="13"/>
                      </a:lnTo>
                      <a:lnTo>
                        <a:pt x="299" y="12"/>
                      </a:lnTo>
                      <a:lnTo>
                        <a:pt x="298" y="11"/>
                      </a:lnTo>
                      <a:lnTo>
                        <a:pt x="298" y="11"/>
                      </a:lnTo>
                      <a:lnTo>
                        <a:pt x="299" y="10"/>
                      </a:lnTo>
                      <a:lnTo>
                        <a:pt x="300" y="10"/>
                      </a:lnTo>
                      <a:lnTo>
                        <a:pt x="300" y="11"/>
                      </a:lnTo>
                      <a:lnTo>
                        <a:pt x="300" y="11"/>
                      </a:lnTo>
                      <a:lnTo>
                        <a:pt x="301" y="11"/>
                      </a:lnTo>
                      <a:lnTo>
                        <a:pt x="301" y="11"/>
                      </a:lnTo>
                      <a:lnTo>
                        <a:pt x="301" y="10"/>
                      </a:lnTo>
                      <a:lnTo>
                        <a:pt x="300" y="10"/>
                      </a:lnTo>
                      <a:lnTo>
                        <a:pt x="300" y="9"/>
                      </a:lnTo>
                      <a:lnTo>
                        <a:pt x="300" y="9"/>
                      </a:lnTo>
                      <a:lnTo>
                        <a:pt x="299" y="9"/>
                      </a:lnTo>
                      <a:lnTo>
                        <a:pt x="298" y="9"/>
                      </a:lnTo>
                      <a:lnTo>
                        <a:pt x="299" y="9"/>
                      </a:lnTo>
                      <a:lnTo>
                        <a:pt x="299" y="8"/>
                      </a:lnTo>
                      <a:lnTo>
                        <a:pt x="299" y="7"/>
                      </a:lnTo>
                      <a:lnTo>
                        <a:pt x="299" y="7"/>
                      </a:lnTo>
                      <a:lnTo>
                        <a:pt x="300" y="6"/>
                      </a:lnTo>
                      <a:lnTo>
                        <a:pt x="300" y="6"/>
                      </a:lnTo>
                      <a:lnTo>
                        <a:pt x="300" y="7"/>
                      </a:lnTo>
                      <a:lnTo>
                        <a:pt x="301" y="7"/>
                      </a:lnTo>
                      <a:lnTo>
                        <a:pt x="302" y="7"/>
                      </a:lnTo>
                      <a:lnTo>
                        <a:pt x="302" y="6"/>
                      </a:lnTo>
                      <a:lnTo>
                        <a:pt x="303" y="6"/>
                      </a:lnTo>
                      <a:lnTo>
                        <a:pt x="304" y="6"/>
                      </a:lnTo>
                      <a:lnTo>
                        <a:pt x="304" y="6"/>
                      </a:lnTo>
                      <a:lnTo>
                        <a:pt x="304" y="5"/>
                      </a:lnTo>
                      <a:lnTo>
                        <a:pt x="304" y="4"/>
                      </a:lnTo>
                      <a:lnTo>
                        <a:pt x="304" y="4"/>
                      </a:lnTo>
                      <a:lnTo>
                        <a:pt x="304" y="3"/>
                      </a:lnTo>
                      <a:lnTo>
                        <a:pt x="305" y="3"/>
                      </a:lnTo>
                      <a:lnTo>
                        <a:pt x="306" y="2"/>
                      </a:lnTo>
                      <a:lnTo>
                        <a:pt x="306" y="2"/>
                      </a:lnTo>
                      <a:lnTo>
                        <a:pt x="307" y="2"/>
                      </a:lnTo>
                      <a:lnTo>
                        <a:pt x="308" y="2"/>
                      </a:lnTo>
                      <a:lnTo>
                        <a:pt x="309" y="2"/>
                      </a:lnTo>
                      <a:lnTo>
                        <a:pt x="309" y="2"/>
                      </a:lnTo>
                      <a:lnTo>
                        <a:pt x="310" y="1"/>
                      </a:lnTo>
                      <a:lnTo>
                        <a:pt x="311" y="1"/>
                      </a:lnTo>
                      <a:lnTo>
                        <a:pt x="311" y="2"/>
                      </a:lnTo>
                      <a:lnTo>
                        <a:pt x="311" y="2"/>
                      </a:lnTo>
                      <a:lnTo>
                        <a:pt x="311" y="2"/>
                      </a:lnTo>
                      <a:lnTo>
                        <a:pt x="312" y="2"/>
                      </a:lnTo>
                      <a:lnTo>
                        <a:pt x="313" y="2"/>
                      </a:lnTo>
                      <a:lnTo>
                        <a:pt x="313" y="2"/>
                      </a:lnTo>
                      <a:lnTo>
                        <a:pt x="313" y="2"/>
                      </a:lnTo>
                      <a:lnTo>
                        <a:pt x="314" y="2"/>
                      </a:lnTo>
                      <a:lnTo>
                        <a:pt x="315" y="2"/>
                      </a:lnTo>
                      <a:lnTo>
                        <a:pt x="315" y="2"/>
                      </a:lnTo>
                      <a:lnTo>
                        <a:pt x="316" y="2"/>
                      </a:lnTo>
                      <a:lnTo>
                        <a:pt x="317" y="2"/>
                      </a:lnTo>
                      <a:lnTo>
                        <a:pt x="317" y="2"/>
                      </a:lnTo>
                      <a:lnTo>
                        <a:pt x="317" y="2"/>
                      </a:lnTo>
                      <a:lnTo>
                        <a:pt x="317" y="3"/>
                      </a:lnTo>
                      <a:lnTo>
                        <a:pt x="318" y="2"/>
                      </a:lnTo>
                      <a:lnTo>
                        <a:pt x="319" y="2"/>
                      </a:lnTo>
                      <a:lnTo>
                        <a:pt x="319" y="2"/>
                      </a:lnTo>
                      <a:lnTo>
                        <a:pt x="319" y="2"/>
                      </a:lnTo>
                      <a:lnTo>
                        <a:pt x="320" y="2"/>
                      </a:lnTo>
                      <a:lnTo>
                        <a:pt x="321" y="2"/>
                      </a:lnTo>
                      <a:lnTo>
                        <a:pt x="321" y="2"/>
                      </a:lnTo>
                      <a:lnTo>
                        <a:pt x="321" y="1"/>
                      </a:lnTo>
                      <a:lnTo>
                        <a:pt x="321" y="1"/>
                      </a:lnTo>
                      <a:lnTo>
                        <a:pt x="321"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4" name="Freeform 64">
                  <a:extLst>
                    <a:ext uri="{FF2B5EF4-FFF2-40B4-BE49-F238E27FC236}">
                      <a16:creationId xmlns:a16="http://schemas.microsoft.com/office/drawing/2014/main" xmlns="" id="{47E050C8-B875-38BF-FA47-864DEA0B21C2}"/>
                    </a:ext>
                  </a:extLst>
                </p:cNvPr>
                <p:cNvSpPr>
                  <a:spLocks/>
                </p:cNvSpPr>
                <p:nvPr/>
              </p:nvSpPr>
              <p:spPr bwMode="auto">
                <a:xfrm>
                  <a:off x="2850" y="723"/>
                  <a:ext cx="196" cy="47"/>
                </a:xfrm>
                <a:custGeom>
                  <a:avLst/>
                  <a:gdLst>
                    <a:gd name="T0" fmla="*/ 2 w 196"/>
                    <a:gd name="T1" fmla="*/ 36 h 47"/>
                    <a:gd name="T2" fmla="*/ 4 w 196"/>
                    <a:gd name="T3" fmla="*/ 41 h 47"/>
                    <a:gd name="T4" fmla="*/ 7 w 196"/>
                    <a:gd name="T5" fmla="*/ 36 h 47"/>
                    <a:gd name="T6" fmla="*/ 7 w 196"/>
                    <a:gd name="T7" fmla="*/ 33 h 47"/>
                    <a:gd name="T8" fmla="*/ 13 w 196"/>
                    <a:gd name="T9" fmla="*/ 33 h 47"/>
                    <a:gd name="T10" fmla="*/ 19 w 196"/>
                    <a:gd name="T11" fmla="*/ 34 h 47"/>
                    <a:gd name="T12" fmla="*/ 22 w 196"/>
                    <a:gd name="T13" fmla="*/ 40 h 47"/>
                    <a:gd name="T14" fmla="*/ 31 w 196"/>
                    <a:gd name="T15" fmla="*/ 36 h 47"/>
                    <a:gd name="T16" fmla="*/ 33 w 196"/>
                    <a:gd name="T17" fmla="*/ 36 h 47"/>
                    <a:gd name="T18" fmla="*/ 36 w 196"/>
                    <a:gd name="T19" fmla="*/ 36 h 47"/>
                    <a:gd name="T20" fmla="*/ 35 w 196"/>
                    <a:gd name="T21" fmla="*/ 30 h 47"/>
                    <a:gd name="T22" fmla="*/ 41 w 196"/>
                    <a:gd name="T23" fmla="*/ 27 h 47"/>
                    <a:gd name="T24" fmla="*/ 45 w 196"/>
                    <a:gd name="T25" fmla="*/ 28 h 47"/>
                    <a:gd name="T26" fmla="*/ 47 w 196"/>
                    <a:gd name="T27" fmla="*/ 25 h 47"/>
                    <a:gd name="T28" fmla="*/ 50 w 196"/>
                    <a:gd name="T29" fmla="*/ 26 h 47"/>
                    <a:gd name="T30" fmla="*/ 54 w 196"/>
                    <a:gd name="T31" fmla="*/ 26 h 47"/>
                    <a:gd name="T32" fmla="*/ 59 w 196"/>
                    <a:gd name="T33" fmla="*/ 24 h 47"/>
                    <a:gd name="T34" fmla="*/ 64 w 196"/>
                    <a:gd name="T35" fmla="*/ 28 h 47"/>
                    <a:gd name="T36" fmla="*/ 61 w 196"/>
                    <a:gd name="T37" fmla="*/ 33 h 47"/>
                    <a:gd name="T38" fmla="*/ 68 w 196"/>
                    <a:gd name="T39" fmla="*/ 34 h 47"/>
                    <a:gd name="T40" fmla="*/ 70 w 196"/>
                    <a:gd name="T41" fmla="*/ 31 h 47"/>
                    <a:gd name="T42" fmla="*/ 75 w 196"/>
                    <a:gd name="T43" fmla="*/ 27 h 47"/>
                    <a:gd name="T44" fmla="*/ 78 w 196"/>
                    <a:gd name="T45" fmla="*/ 26 h 47"/>
                    <a:gd name="T46" fmla="*/ 79 w 196"/>
                    <a:gd name="T47" fmla="*/ 27 h 47"/>
                    <a:gd name="T48" fmla="*/ 78 w 196"/>
                    <a:gd name="T49" fmla="*/ 32 h 47"/>
                    <a:gd name="T50" fmla="*/ 84 w 196"/>
                    <a:gd name="T51" fmla="*/ 32 h 47"/>
                    <a:gd name="T52" fmla="*/ 87 w 196"/>
                    <a:gd name="T53" fmla="*/ 26 h 47"/>
                    <a:gd name="T54" fmla="*/ 87 w 196"/>
                    <a:gd name="T55" fmla="*/ 19 h 47"/>
                    <a:gd name="T56" fmla="*/ 87 w 196"/>
                    <a:gd name="T57" fmla="*/ 24 h 47"/>
                    <a:gd name="T58" fmla="*/ 93 w 196"/>
                    <a:gd name="T59" fmla="*/ 29 h 47"/>
                    <a:gd name="T60" fmla="*/ 97 w 196"/>
                    <a:gd name="T61" fmla="*/ 29 h 47"/>
                    <a:gd name="T62" fmla="*/ 100 w 196"/>
                    <a:gd name="T63" fmla="*/ 24 h 47"/>
                    <a:gd name="T64" fmla="*/ 108 w 196"/>
                    <a:gd name="T65" fmla="*/ 22 h 47"/>
                    <a:gd name="T66" fmla="*/ 110 w 196"/>
                    <a:gd name="T67" fmla="*/ 26 h 47"/>
                    <a:gd name="T68" fmla="*/ 110 w 196"/>
                    <a:gd name="T69" fmla="*/ 27 h 47"/>
                    <a:gd name="T70" fmla="*/ 104 w 196"/>
                    <a:gd name="T71" fmla="*/ 28 h 47"/>
                    <a:gd name="T72" fmla="*/ 107 w 196"/>
                    <a:gd name="T73" fmla="*/ 33 h 47"/>
                    <a:gd name="T74" fmla="*/ 106 w 196"/>
                    <a:gd name="T75" fmla="*/ 38 h 47"/>
                    <a:gd name="T76" fmla="*/ 110 w 196"/>
                    <a:gd name="T77" fmla="*/ 35 h 47"/>
                    <a:gd name="T78" fmla="*/ 116 w 196"/>
                    <a:gd name="T79" fmla="*/ 32 h 47"/>
                    <a:gd name="T80" fmla="*/ 121 w 196"/>
                    <a:gd name="T81" fmla="*/ 34 h 47"/>
                    <a:gd name="T82" fmla="*/ 121 w 196"/>
                    <a:gd name="T83" fmla="*/ 39 h 47"/>
                    <a:gd name="T84" fmla="*/ 125 w 196"/>
                    <a:gd name="T85" fmla="*/ 42 h 47"/>
                    <a:gd name="T86" fmla="*/ 131 w 196"/>
                    <a:gd name="T87" fmla="*/ 43 h 47"/>
                    <a:gd name="T88" fmla="*/ 134 w 196"/>
                    <a:gd name="T89" fmla="*/ 45 h 47"/>
                    <a:gd name="T90" fmla="*/ 142 w 196"/>
                    <a:gd name="T91" fmla="*/ 45 h 47"/>
                    <a:gd name="T92" fmla="*/ 146 w 196"/>
                    <a:gd name="T93" fmla="*/ 44 h 47"/>
                    <a:gd name="T94" fmla="*/ 142 w 196"/>
                    <a:gd name="T95" fmla="*/ 39 h 47"/>
                    <a:gd name="T96" fmla="*/ 147 w 196"/>
                    <a:gd name="T97" fmla="*/ 36 h 47"/>
                    <a:gd name="T98" fmla="*/ 151 w 196"/>
                    <a:gd name="T99" fmla="*/ 30 h 47"/>
                    <a:gd name="T100" fmla="*/ 157 w 196"/>
                    <a:gd name="T101" fmla="*/ 32 h 47"/>
                    <a:gd name="T102" fmla="*/ 159 w 196"/>
                    <a:gd name="T103" fmla="*/ 26 h 47"/>
                    <a:gd name="T104" fmla="*/ 159 w 196"/>
                    <a:gd name="T105" fmla="*/ 17 h 47"/>
                    <a:gd name="T106" fmla="*/ 164 w 196"/>
                    <a:gd name="T107" fmla="*/ 14 h 47"/>
                    <a:gd name="T108" fmla="*/ 165 w 196"/>
                    <a:gd name="T109" fmla="*/ 12 h 47"/>
                    <a:gd name="T110" fmla="*/ 174 w 196"/>
                    <a:gd name="T111" fmla="*/ 8 h 47"/>
                    <a:gd name="T112" fmla="*/ 176 w 196"/>
                    <a:gd name="T113" fmla="*/ 3 h 47"/>
                    <a:gd name="T114" fmla="*/ 187 w 196"/>
                    <a:gd name="T115"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 h="47">
                      <a:moveTo>
                        <a:pt x="0" y="32"/>
                      </a:moveTo>
                      <a:lnTo>
                        <a:pt x="1" y="32"/>
                      </a:lnTo>
                      <a:lnTo>
                        <a:pt x="2" y="32"/>
                      </a:lnTo>
                      <a:lnTo>
                        <a:pt x="2" y="33"/>
                      </a:lnTo>
                      <a:lnTo>
                        <a:pt x="2" y="33"/>
                      </a:lnTo>
                      <a:lnTo>
                        <a:pt x="3" y="34"/>
                      </a:lnTo>
                      <a:lnTo>
                        <a:pt x="3" y="34"/>
                      </a:lnTo>
                      <a:lnTo>
                        <a:pt x="3" y="35"/>
                      </a:lnTo>
                      <a:lnTo>
                        <a:pt x="2" y="35"/>
                      </a:lnTo>
                      <a:lnTo>
                        <a:pt x="2" y="36"/>
                      </a:lnTo>
                      <a:lnTo>
                        <a:pt x="2" y="36"/>
                      </a:lnTo>
                      <a:lnTo>
                        <a:pt x="2" y="37"/>
                      </a:lnTo>
                      <a:lnTo>
                        <a:pt x="2" y="37"/>
                      </a:lnTo>
                      <a:lnTo>
                        <a:pt x="2" y="38"/>
                      </a:lnTo>
                      <a:lnTo>
                        <a:pt x="2" y="39"/>
                      </a:lnTo>
                      <a:lnTo>
                        <a:pt x="2" y="39"/>
                      </a:lnTo>
                      <a:lnTo>
                        <a:pt x="2" y="39"/>
                      </a:lnTo>
                      <a:lnTo>
                        <a:pt x="2" y="40"/>
                      </a:lnTo>
                      <a:lnTo>
                        <a:pt x="3" y="40"/>
                      </a:lnTo>
                      <a:lnTo>
                        <a:pt x="4" y="41"/>
                      </a:lnTo>
                      <a:lnTo>
                        <a:pt x="4" y="41"/>
                      </a:lnTo>
                      <a:lnTo>
                        <a:pt x="5" y="40"/>
                      </a:lnTo>
                      <a:lnTo>
                        <a:pt x="5" y="39"/>
                      </a:lnTo>
                      <a:lnTo>
                        <a:pt x="5" y="39"/>
                      </a:lnTo>
                      <a:lnTo>
                        <a:pt x="6" y="39"/>
                      </a:lnTo>
                      <a:lnTo>
                        <a:pt x="6" y="38"/>
                      </a:lnTo>
                      <a:lnTo>
                        <a:pt x="6" y="37"/>
                      </a:lnTo>
                      <a:lnTo>
                        <a:pt x="7" y="36"/>
                      </a:lnTo>
                      <a:lnTo>
                        <a:pt x="7" y="36"/>
                      </a:lnTo>
                      <a:lnTo>
                        <a:pt x="7" y="36"/>
                      </a:lnTo>
                      <a:lnTo>
                        <a:pt x="8" y="36"/>
                      </a:lnTo>
                      <a:lnTo>
                        <a:pt x="8" y="35"/>
                      </a:lnTo>
                      <a:lnTo>
                        <a:pt x="7" y="35"/>
                      </a:lnTo>
                      <a:lnTo>
                        <a:pt x="7" y="35"/>
                      </a:lnTo>
                      <a:lnTo>
                        <a:pt x="6" y="35"/>
                      </a:lnTo>
                      <a:lnTo>
                        <a:pt x="6" y="34"/>
                      </a:lnTo>
                      <a:lnTo>
                        <a:pt x="6" y="34"/>
                      </a:lnTo>
                      <a:lnTo>
                        <a:pt x="7" y="34"/>
                      </a:lnTo>
                      <a:lnTo>
                        <a:pt x="7" y="33"/>
                      </a:lnTo>
                      <a:lnTo>
                        <a:pt x="7" y="33"/>
                      </a:lnTo>
                      <a:lnTo>
                        <a:pt x="8" y="33"/>
                      </a:lnTo>
                      <a:lnTo>
                        <a:pt x="9" y="33"/>
                      </a:lnTo>
                      <a:lnTo>
                        <a:pt x="9" y="32"/>
                      </a:lnTo>
                      <a:lnTo>
                        <a:pt x="10" y="32"/>
                      </a:lnTo>
                      <a:lnTo>
                        <a:pt x="11" y="32"/>
                      </a:lnTo>
                      <a:lnTo>
                        <a:pt x="11" y="33"/>
                      </a:lnTo>
                      <a:lnTo>
                        <a:pt x="11" y="33"/>
                      </a:lnTo>
                      <a:lnTo>
                        <a:pt x="12" y="33"/>
                      </a:lnTo>
                      <a:lnTo>
                        <a:pt x="13" y="33"/>
                      </a:lnTo>
                      <a:lnTo>
                        <a:pt x="13" y="33"/>
                      </a:lnTo>
                      <a:lnTo>
                        <a:pt x="14" y="33"/>
                      </a:lnTo>
                      <a:lnTo>
                        <a:pt x="15" y="32"/>
                      </a:lnTo>
                      <a:lnTo>
                        <a:pt x="15" y="32"/>
                      </a:lnTo>
                      <a:lnTo>
                        <a:pt x="15" y="33"/>
                      </a:lnTo>
                      <a:lnTo>
                        <a:pt x="16" y="33"/>
                      </a:lnTo>
                      <a:lnTo>
                        <a:pt x="17" y="33"/>
                      </a:lnTo>
                      <a:lnTo>
                        <a:pt x="17" y="33"/>
                      </a:lnTo>
                      <a:lnTo>
                        <a:pt x="18" y="33"/>
                      </a:lnTo>
                      <a:lnTo>
                        <a:pt x="19" y="33"/>
                      </a:lnTo>
                      <a:lnTo>
                        <a:pt x="19" y="34"/>
                      </a:lnTo>
                      <a:lnTo>
                        <a:pt x="19" y="34"/>
                      </a:lnTo>
                      <a:lnTo>
                        <a:pt x="19" y="34"/>
                      </a:lnTo>
                      <a:lnTo>
                        <a:pt x="19" y="35"/>
                      </a:lnTo>
                      <a:lnTo>
                        <a:pt x="19" y="36"/>
                      </a:lnTo>
                      <a:lnTo>
                        <a:pt x="20" y="36"/>
                      </a:lnTo>
                      <a:lnTo>
                        <a:pt x="20" y="38"/>
                      </a:lnTo>
                      <a:lnTo>
                        <a:pt x="21" y="39"/>
                      </a:lnTo>
                      <a:lnTo>
                        <a:pt x="21" y="39"/>
                      </a:lnTo>
                      <a:lnTo>
                        <a:pt x="21" y="40"/>
                      </a:lnTo>
                      <a:lnTo>
                        <a:pt x="22" y="40"/>
                      </a:lnTo>
                      <a:lnTo>
                        <a:pt x="23" y="40"/>
                      </a:lnTo>
                      <a:lnTo>
                        <a:pt x="23" y="39"/>
                      </a:lnTo>
                      <a:lnTo>
                        <a:pt x="24" y="39"/>
                      </a:lnTo>
                      <a:lnTo>
                        <a:pt x="24" y="38"/>
                      </a:lnTo>
                      <a:lnTo>
                        <a:pt x="26" y="36"/>
                      </a:lnTo>
                      <a:lnTo>
                        <a:pt x="26" y="36"/>
                      </a:lnTo>
                      <a:lnTo>
                        <a:pt x="26" y="36"/>
                      </a:lnTo>
                      <a:lnTo>
                        <a:pt x="27" y="35"/>
                      </a:lnTo>
                      <a:lnTo>
                        <a:pt x="30" y="37"/>
                      </a:lnTo>
                      <a:lnTo>
                        <a:pt x="31" y="36"/>
                      </a:lnTo>
                      <a:lnTo>
                        <a:pt x="32" y="36"/>
                      </a:lnTo>
                      <a:lnTo>
                        <a:pt x="32" y="37"/>
                      </a:lnTo>
                      <a:lnTo>
                        <a:pt x="32" y="37"/>
                      </a:lnTo>
                      <a:lnTo>
                        <a:pt x="32" y="38"/>
                      </a:lnTo>
                      <a:lnTo>
                        <a:pt x="33" y="39"/>
                      </a:lnTo>
                      <a:lnTo>
                        <a:pt x="33" y="38"/>
                      </a:lnTo>
                      <a:lnTo>
                        <a:pt x="33" y="37"/>
                      </a:lnTo>
                      <a:lnTo>
                        <a:pt x="32" y="37"/>
                      </a:lnTo>
                      <a:lnTo>
                        <a:pt x="32" y="36"/>
                      </a:lnTo>
                      <a:lnTo>
                        <a:pt x="33" y="36"/>
                      </a:lnTo>
                      <a:lnTo>
                        <a:pt x="34" y="36"/>
                      </a:lnTo>
                      <a:lnTo>
                        <a:pt x="34" y="36"/>
                      </a:lnTo>
                      <a:lnTo>
                        <a:pt x="35" y="37"/>
                      </a:lnTo>
                      <a:lnTo>
                        <a:pt x="36" y="37"/>
                      </a:lnTo>
                      <a:lnTo>
                        <a:pt x="36" y="37"/>
                      </a:lnTo>
                      <a:lnTo>
                        <a:pt x="37" y="37"/>
                      </a:lnTo>
                      <a:lnTo>
                        <a:pt x="38" y="36"/>
                      </a:lnTo>
                      <a:lnTo>
                        <a:pt x="37" y="36"/>
                      </a:lnTo>
                      <a:lnTo>
                        <a:pt x="37" y="36"/>
                      </a:lnTo>
                      <a:lnTo>
                        <a:pt x="36" y="36"/>
                      </a:lnTo>
                      <a:lnTo>
                        <a:pt x="36" y="36"/>
                      </a:lnTo>
                      <a:lnTo>
                        <a:pt x="35" y="36"/>
                      </a:lnTo>
                      <a:lnTo>
                        <a:pt x="35" y="35"/>
                      </a:lnTo>
                      <a:lnTo>
                        <a:pt x="35" y="34"/>
                      </a:lnTo>
                      <a:lnTo>
                        <a:pt x="35" y="34"/>
                      </a:lnTo>
                      <a:lnTo>
                        <a:pt x="34" y="33"/>
                      </a:lnTo>
                      <a:lnTo>
                        <a:pt x="34" y="32"/>
                      </a:lnTo>
                      <a:lnTo>
                        <a:pt x="34" y="32"/>
                      </a:lnTo>
                      <a:lnTo>
                        <a:pt x="35" y="31"/>
                      </a:lnTo>
                      <a:lnTo>
                        <a:pt x="35" y="30"/>
                      </a:lnTo>
                      <a:lnTo>
                        <a:pt x="35" y="30"/>
                      </a:lnTo>
                      <a:lnTo>
                        <a:pt x="36" y="29"/>
                      </a:lnTo>
                      <a:lnTo>
                        <a:pt x="36" y="28"/>
                      </a:lnTo>
                      <a:lnTo>
                        <a:pt x="37" y="28"/>
                      </a:lnTo>
                      <a:lnTo>
                        <a:pt x="38" y="28"/>
                      </a:lnTo>
                      <a:lnTo>
                        <a:pt x="38" y="28"/>
                      </a:lnTo>
                      <a:lnTo>
                        <a:pt x="39" y="28"/>
                      </a:lnTo>
                      <a:lnTo>
                        <a:pt x="40" y="28"/>
                      </a:lnTo>
                      <a:lnTo>
                        <a:pt x="40" y="27"/>
                      </a:lnTo>
                      <a:lnTo>
                        <a:pt x="41" y="27"/>
                      </a:lnTo>
                      <a:lnTo>
                        <a:pt x="41" y="26"/>
                      </a:lnTo>
                      <a:lnTo>
                        <a:pt x="42" y="26"/>
                      </a:lnTo>
                      <a:lnTo>
                        <a:pt x="42" y="26"/>
                      </a:lnTo>
                      <a:lnTo>
                        <a:pt x="43" y="26"/>
                      </a:lnTo>
                      <a:lnTo>
                        <a:pt x="43" y="26"/>
                      </a:lnTo>
                      <a:lnTo>
                        <a:pt x="43" y="26"/>
                      </a:lnTo>
                      <a:lnTo>
                        <a:pt x="44" y="26"/>
                      </a:lnTo>
                      <a:lnTo>
                        <a:pt x="44" y="27"/>
                      </a:lnTo>
                      <a:lnTo>
                        <a:pt x="44" y="28"/>
                      </a:lnTo>
                      <a:lnTo>
                        <a:pt x="45" y="28"/>
                      </a:lnTo>
                      <a:lnTo>
                        <a:pt x="45" y="28"/>
                      </a:lnTo>
                      <a:lnTo>
                        <a:pt x="46" y="28"/>
                      </a:lnTo>
                      <a:lnTo>
                        <a:pt x="46" y="27"/>
                      </a:lnTo>
                      <a:lnTo>
                        <a:pt x="47" y="27"/>
                      </a:lnTo>
                      <a:lnTo>
                        <a:pt x="47" y="26"/>
                      </a:lnTo>
                      <a:lnTo>
                        <a:pt x="47" y="26"/>
                      </a:lnTo>
                      <a:lnTo>
                        <a:pt x="48" y="26"/>
                      </a:lnTo>
                      <a:lnTo>
                        <a:pt x="48" y="26"/>
                      </a:lnTo>
                      <a:lnTo>
                        <a:pt x="47" y="26"/>
                      </a:lnTo>
                      <a:lnTo>
                        <a:pt x="47" y="25"/>
                      </a:lnTo>
                      <a:lnTo>
                        <a:pt x="48" y="25"/>
                      </a:lnTo>
                      <a:lnTo>
                        <a:pt x="48" y="24"/>
                      </a:lnTo>
                      <a:lnTo>
                        <a:pt x="48" y="24"/>
                      </a:lnTo>
                      <a:lnTo>
                        <a:pt x="49" y="24"/>
                      </a:lnTo>
                      <a:lnTo>
                        <a:pt x="49" y="24"/>
                      </a:lnTo>
                      <a:lnTo>
                        <a:pt x="50" y="24"/>
                      </a:lnTo>
                      <a:lnTo>
                        <a:pt x="50" y="25"/>
                      </a:lnTo>
                      <a:lnTo>
                        <a:pt x="50" y="26"/>
                      </a:lnTo>
                      <a:lnTo>
                        <a:pt x="49" y="26"/>
                      </a:lnTo>
                      <a:lnTo>
                        <a:pt x="50" y="26"/>
                      </a:lnTo>
                      <a:lnTo>
                        <a:pt x="51" y="26"/>
                      </a:lnTo>
                      <a:lnTo>
                        <a:pt x="51" y="27"/>
                      </a:lnTo>
                      <a:lnTo>
                        <a:pt x="51" y="27"/>
                      </a:lnTo>
                      <a:lnTo>
                        <a:pt x="52" y="27"/>
                      </a:lnTo>
                      <a:lnTo>
                        <a:pt x="53" y="27"/>
                      </a:lnTo>
                      <a:lnTo>
                        <a:pt x="53" y="28"/>
                      </a:lnTo>
                      <a:lnTo>
                        <a:pt x="53" y="28"/>
                      </a:lnTo>
                      <a:lnTo>
                        <a:pt x="53" y="27"/>
                      </a:lnTo>
                      <a:lnTo>
                        <a:pt x="54" y="26"/>
                      </a:lnTo>
                      <a:lnTo>
                        <a:pt x="54" y="26"/>
                      </a:lnTo>
                      <a:lnTo>
                        <a:pt x="55" y="25"/>
                      </a:lnTo>
                      <a:lnTo>
                        <a:pt x="55" y="25"/>
                      </a:lnTo>
                      <a:lnTo>
                        <a:pt x="56" y="25"/>
                      </a:lnTo>
                      <a:lnTo>
                        <a:pt x="57" y="25"/>
                      </a:lnTo>
                      <a:lnTo>
                        <a:pt x="57" y="24"/>
                      </a:lnTo>
                      <a:lnTo>
                        <a:pt x="57" y="24"/>
                      </a:lnTo>
                      <a:lnTo>
                        <a:pt x="57" y="24"/>
                      </a:lnTo>
                      <a:lnTo>
                        <a:pt x="58" y="24"/>
                      </a:lnTo>
                      <a:lnTo>
                        <a:pt x="59" y="24"/>
                      </a:lnTo>
                      <a:lnTo>
                        <a:pt x="59" y="24"/>
                      </a:lnTo>
                      <a:lnTo>
                        <a:pt x="60" y="24"/>
                      </a:lnTo>
                      <a:lnTo>
                        <a:pt x="61" y="24"/>
                      </a:lnTo>
                      <a:lnTo>
                        <a:pt x="62" y="24"/>
                      </a:lnTo>
                      <a:lnTo>
                        <a:pt x="62" y="24"/>
                      </a:lnTo>
                      <a:lnTo>
                        <a:pt x="62" y="25"/>
                      </a:lnTo>
                      <a:lnTo>
                        <a:pt x="62" y="26"/>
                      </a:lnTo>
                      <a:lnTo>
                        <a:pt x="62" y="26"/>
                      </a:lnTo>
                      <a:lnTo>
                        <a:pt x="63" y="26"/>
                      </a:lnTo>
                      <a:lnTo>
                        <a:pt x="64" y="27"/>
                      </a:lnTo>
                      <a:lnTo>
                        <a:pt x="64" y="28"/>
                      </a:lnTo>
                      <a:lnTo>
                        <a:pt x="64" y="28"/>
                      </a:lnTo>
                      <a:lnTo>
                        <a:pt x="63" y="28"/>
                      </a:lnTo>
                      <a:lnTo>
                        <a:pt x="62" y="29"/>
                      </a:lnTo>
                      <a:lnTo>
                        <a:pt x="62" y="30"/>
                      </a:lnTo>
                      <a:lnTo>
                        <a:pt x="62" y="30"/>
                      </a:lnTo>
                      <a:lnTo>
                        <a:pt x="62" y="31"/>
                      </a:lnTo>
                      <a:lnTo>
                        <a:pt x="62" y="32"/>
                      </a:lnTo>
                      <a:lnTo>
                        <a:pt x="62" y="32"/>
                      </a:lnTo>
                      <a:lnTo>
                        <a:pt x="61" y="32"/>
                      </a:lnTo>
                      <a:lnTo>
                        <a:pt x="61" y="33"/>
                      </a:lnTo>
                      <a:lnTo>
                        <a:pt x="62" y="34"/>
                      </a:lnTo>
                      <a:lnTo>
                        <a:pt x="62" y="34"/>
                      </a:lnTo>
                      <a:lnTo>
                        <a:pt x="62" y="34"/>
                      </a:lnTo>
                      <a:lnTo>
                        <a:pt x="63" y="35"/>
                      </a:lnTo>
                      <a:lnTo>
                        <a:pt x="64" y="35"/>
                      </a:lnTo>
                      <a:lnTo>
                        <a:pt x="66" y="35"/>
                      </a:lnTo>
                      <a:lnTo>
                        <a:pt x="66" y="35"/>
                      </a:lnTo>
                      <a:lnTo>
                        <a:pt x="66" y="34"/>
                      </a:lnTo>
                      <a:lnTo>
                        <a:pt x="67" y="34"/>
                      </a:lnTo>
                      <a:lnTo>
                        <a:pt x="68" y="34"/>
                      </a:lnTo>
                      <a:lnTo>
                        <a:pt x="68" y="33"/>
                      </a:lnTo>
                      <a:lnTo>
                        <a:pt x="68" y="34"/>
                      </a:lnTo>
                      <a:lnTo>
                        <a:pt x="69" y="34"/>
                      </a:lnTo>
                      <a:lnTo>
                        <a:pt x="70" y="34"/>
                      </a:lnTo>
                      <a:lnTo>
                        <a:pt x="70" y="33"/>
                      </a:lnTo>
                      <a:lnTo>
                        <a:pt x="69" y="33"/>
                      </a:lnTo>
                      <a:lnTo>
                        <a:pt x="69" y="32"/>
                      </a:lnTo>
                      <a:lnTo>
                        <a:pt x="68" y="32"/>
                      </a:lnTo>
                      <a:lnTo>
                        <a:pt x="68" y="32"/>
                      </a:lnTo>
                      <a:lnTo>
                        <a:pt x="70" y="31"/>
                      </a:lnTo>
                      <a:lnTo>
                        <a:pt x="70" y="30"/>
                      </a:lnTo>
                      <a:lnTo>
                        <a:pt x="71" y="30"/>
                      </a:lnTo>
                      <a:lnTo>
                        <a:pt x="72" y="30"/>
                      </a:lnTo>
                      <a:lnTo>
                        <a:pt x="72" y="29"/>
                      </a:lnTo>
                      <a:lnTo>
                        <a:pt x="72" y="28"/>
                      </a:lnTo>
                      <a:lnTo>
                        <a:pt x="72" y="28"/>
                      </a:lnTo>
                      <a:lnTo>
                        <a:pt x="73" y="27"/>
                      </a:lnTo>
                      <a:lnTo>
                        <a:pt x="74" y="27"/>
                      </a:lnTo>
                      <a:lnTo>
                        <a:pt x="74" y="27"/>
                      </a:lnTo>
                      <a:lnTo>
                        <a:pt x="75" y="27"/>
                      </a:lnTo>
                      <a:lnTo>
                        <a:pt x="75" y="26"/>
                      </a:lnTo>
                      <a:lnTo>
                        <a:pt x="75" y="26"/>
                      </a:lnTo>
                      <a:lnTo>
                        <a:pt x="74" y="25"/>
                      </a:lnTo>
                      <a:lnTo>
                        <a:pt x="75" y="25"/>
                      </a:lnTo>
                      <a:lnTo>
                        <a:pt x="75" y="24"/>
                      </a:lnTo>
                      <a:lnTo>
                        <a:pt x="76" y="24"/>
                      </a:lnTo>
                      <a:lnTo>
                        <a:pt x="76" y="24"/>
                      </a:lnTo>
                      <a:lnTo>
                        <a:pt x="77" y="25"/>
                      </a:lnTo>
                      <a:lnTo>
                        <a:pt x="78" y="25"/>
                      </a:lnTo>
                      <a:lnTo>
                        <a:pt x="78" y="26"/>
                      </a:lnTo>
                      <a:lnTo>
                        <a:pt x="78" y="26"/>
                      </a:lnTo>
                      <a:lnTo>
                        <a:pt x="79" y="25"/>
                      </a:lnTo>
                      <a:lnTo>
                        <a:pt x="80" y="25"/>
                      </a:lnTo>
                      <a:lnTo>
                        <a:pt x="80" y="24"/>
                      </a:lnTo>
                      <a:lnTo>
                        <a:pt x="81" y="24"/>
                      </a:lnTo>
                      <a:lnTo>
                        <a:pt x="81" y="25"/>
                      </a:lnTo>
                      <a:lnTo>
                        <a:pt x="80" y="26"/>
                      </a:lnTo>
                      <a:lnTo>
                        <a:pt x="80" y="26"/>
                      </a:lnTo>
                      <a:lnTo>
                        <a:pt x="80" y="27"/>
                      </a:lnTo>
                      <a:lnTo>
                        <a:pt x="79" y="27"/>
                      </a:lnTo>
                      <a:lnTo>
                        <a:pt x="79" y="28"/>
                      </a:lnTo>
                      <a:lnTo>
                        <a:pt x="78" y="28"/>
                      </a:lnTo>
                      <a:lnTo>
                        <a:pt x="77" y="28"/>
                      </a:lnTo>
                      <a:lnTo>
                        <a:pt x="77" y="28"/>
                      </a:lnTo>
                      <a:lnTo>
                        <a:pt x="77" y="29"/>
                      </a:lnTo>
                      <a:lnTo>
                        <a:pt x="77" y="30"/>
                      </a:lnTo>
                      <a:lnTo>
                        <a:pt x="78" y="30"/>
                      </a:lnTo>
                      <a:lnTo>
                        <a:pt x="78" y="30"/>
                      </a:lnTo>
                      <a:lnTo>
                        <a:pt x="78" y="31"/>
                      </a:lnTo>
                      <a:lnTo>
                        <a:pt x="78" y="32"/>
                      </a:lnTo>
                      <a:lnTo>
                        <a:pt x="79" y="33"/>
                      </a:lnTo>
                      <a:lnTo>
                        <a:pt x="80" y="33"/>
                      </a:lnTo>
                      <a:lnTo>
                        <a:pt x="81" y="32"/>
                      </a:lnTo>
                      <a:lnTo>
                        <a:pt x="81" y="32"/>
                      </a:lnTo>
                      <a:lnTo>
                        <a:pt x="81" y="33"/>
                      </a:lnTo>
                      <a:lnTo>
                        <a:pt x="81" y="34"/>
                      </a:lnTo>
                      <a:lnTo>
                        <a:pt x="82" y="34"/>
                      </a:lnTo>
                      <a:lnTo>
                        <a:pt x="83" y="33"/>
                      </a:lnTo>
                      <a:lnTo>
                        <a:pt x="83" y="32"/>
                      </a:lnTo>
                      <a:lnTo>
                        <a:pt x="84" y="32"/>
                      </a:lnTo>
                      <a:lnTo>
                        <a:pt x="85" y="32"/>
                      </a:lnTo>
                      <a:lnTo>
                        <a:pt x="85" y="32"/>
                      </a:lnTo>
                      <a:lnTo>
                        <a:pt x="85" y="31"/>
                      </a:lnTo>
                      <a:lnTo>
                        <a:pt x="85" y="30"/>
                      </a:lnTo>
                      <a:lnTo>
                        <a:pt x="85" y="30"/>
                      </a:lnTo>
                      <a:lnTo>
                        <a:pt x="85" y="28"/>
                      </a:lnTo>
                      <a:lnTo>
                        <a:pt x="86" y="28"/>
                      </a:lnTo>
                      <a:lnTo>
                        <a:pt x="87" y="28"/>
                      </a:lnTo>
                      <a:lnTo>
                        <a:pt x="87" y="27"/>
                      </a:lnTo>
                      <a:lnTo>
                        <a:pt x="87" y="26"/>
                      </a:lnTo>
                      <a:lnTo>
                        <a:pt x="87" y="26"/>
                      </a:lnTo>
                      <a:lnTo>
                        <a:pt x="86" y="25"/>
                      </a:lnTo>
                      <a:lnTo>
                        <a:pt x="86" y="24"/>
                      </a:lnTo>
                      <a:lnTo>
                        <a:pt x="85" y="23"/>
                      </a:lnTo>
                      <a:lnTo>
                        <a:pt x="85" y="22"/>
                      </a:lnTo>
                      <a:lnTo>
                        <a:pt x="85" y="21"/>
                      </a:lnTo>
                      <a:lnTo>
                        <a:pt x="85" y="20"/>
                      </a:lnTo>
                      <a:lnTo>
                        <a:pt x="86" y="20"/>
                      </a:lnTo>
                      <a:lnTo>
                        <a:pt x="87" y="19"/>
                      </a:lnTo>
                      <a:lnTo>
                        <a:pt x="87" y="19"/>
                      </a:lnTo>
                      <a:lnTo>
                        <a:pt x="88" y="19"/>
                      </a:lnTo>
                      <a:lnTo>
                        <a:pt x="89" y="19"/>
                      </a:lnTo>
                      <a:lnTo>
                        <a:pt x="89" y="20"/>
                      </a:lnTo>
                      <a:lnTo>
                        <a:pt x="89" y="20"/>
                      </a:lnTo>
                      <a:lnTo>
                        <a:pt x="88" y="21"/>
                      </a:lnTo>
                      <a:lnTo>
                        <a:pt x="88" y="22"/>
                      </a:lnTo>
                      <a:lnTo>
                        <a:pt x="88" y="22"/>
                      </a:lnTo>
                      <a:lnTo>
                        <a:pt x="87" y="23"/>
                      </a:lnTo>
                      <a:lnTo>
                        <a:pt x="87" y="24"/>
                      </a:lnTo>
                      <a:lnTo>
                        <a:pt x="87" y="24"/>
                      </a:lnTo>
                      <a:lnTo>
                        <a:pt x="87" y="25"/>
                      </a:lnTo>
                      <a:lnTo>
                        <a:pt x="88" y="25"/>
                      </a:lnTo>
                      <a:lnTo>
                        <a:pt x="88" y="26"/>
                      </a:lnTo>
                      <a:lnTo>
                        <a:pt x="89" y="26"/>
                      </a:lnTo>
                      <a:lnTo>
                        <a:pt x="89" y="26"/>
                      </a:lnTo>
                      <a:lnTo>
                        <a:pt x="90" y="26"/>
                      </a:lnTo>
                      <a:lnTo>
                        <a:pt x="91" y="27"/>
                      </a:lnTo>
                      <a:lnTo>
                        <a:pt x="92" y="28"/>
                      </a:lnTo>
                      <a:lnTo>
                        <a:pt x="92" y="28"/>
                      </a:lnTo>
                      <a:lnTo>
                        <a:pt x="93" y="29"/>
                      </a:lnTo>
                      <a:lnTo>
                        <a:pt x="93" y="30"/>
                      </a:lnTo>
                      <a:lnTo>
                        <a:pt x="93" y="30"/>
                      </a:lnTo>
                      <a:lnTo>
                        <a:pt x="94" y="30"/>
                      </a:lnTo>
                      <a:lnTo>
                        <a:pt x="95" y="31"/>
                      </a:lnTo>
                      <a:lnTo>
                        <a:pt x="95" y="31"/>
                      </a:lnTo>
                      <a:lnTo>
                        <a:pt x="96" y="30"/>
                      </a:lnTo>
                      <a:lnTo>
                        <a:pt x="97" y="30"/>
                      </a:lnTo>
                      <a:lnTo>
                        <a:pt x="97" y="30"/>
                      </a:lnTo>
                      <a:lnTo>
                        <a:pt x="97" y="30"/>
                      </a:lnTo>
                      <a:lnTo>
                        <a:pt x="97" y="29"/>
                      </a:lnTo>
                      <a:lnTo>
                        <a:pt x="97" y="28"/>
                      </a:lnTo>
                      <a:lnTo>
                        <a:pt x="97" y="28"/>
                      </a:lnTo>
                      <a:lnTo>
                        <a:pt x="97" y="27"/>
                      </a:lnTo>
                      <a:lnTo>
                        <a:pt x="97" y="26"/>
                      </a:lnTo>
                      <a:lnTo>
                        <a:pt x="97" y="26"/>
                      </a:lnTo>
                      <a:lnTo>
                        <a:pt x="97" y="26"/>
                      </a:lnTo>
                      <a:lnTo>
                        <a:pt x="98" y="26"/>
                      </a:lnTo>
                      <a:lnTo>
                        <a:pt x="99" y="25"/>
                      </a:lnTo>
                      <a:lnTo>
                        <a:pt x="100" y="24"/>
                      </a:lnTo>
                      <a:lnTo>
                        <a:pt x="100" y="24"/>
                      </a:lnTo>
                      <a:lnTo>
                        <a:pt x="102" y="24"/>
                      </a:lnTo>
                      <a:lnTo>
                        <a:pt x="102" y="24"/>
                      </a:lnTo>
                      <a:lnTo>
                        <a:pt x="103" y="24"/>
                      </a:lnTo>
                      <a:lnTo>
                        <a:pt x="104" y="24"/>
                      </a:lnTo>
                      <a:lnTo>
                        <a:pt x="105" y="24"/>
                      </a:lnTo>
                      <a:lnTo>
                        <a:pt x="105" y="24"/>
                      </a:lnTo>
                      <a:lnTo>
                        <a:pt x="106" y="24"/>
                      </a:lnTo>
                      <a:lnTo>
                        <a:pt x="106" y="23"/>
                      </a:lnTo>
                      <a:lnTo>
                        <a:pt x="107" y="22"/>
                      </a:lnTo>
                      <a:lnTo>
                        <a:pt x="108" y="22"/>
                      </a:lnTo>
                      <a:lnTo>
                        <a:pt x="108" y="22"/>
                      </a:lnTo>
                      <a:lnTo>
                        <a:pt x="109" y="22"/>
                      </a:lnTo>
                      <a:lnTo>
                        <a:pt x="110" y="22"/>
                      </a:lnTo>
                      <a:lnTo>
                        <a:pt x="110" y="22"/>
                      </a:lnTo>
                      <a:lnTo>
                        <a:pt x="110" y="22"/>
                      </a:lnTo>
                      <a:lnTo>
                        <a:pt x="110" y="23"/>
                      </a:lnTo>
                      <a:lnTo>
                        <a:pt x="110" y="24"/>
                      </a:lnTo>
                      <a:lnTo>
                        <a:pt x="110" y="24"/>
                      </a:lnTo>
                      <a:lnTo>
                        <a:pt x="110" y="25"/>
                      </a:lnTo>
                      <a:lnTo>
                        <a:pt x="110" y="26"/>
                      </a:lnTo>
                      <a:lnTo>
                        <a:pt x="111" y="26"/>
                      </a:lnTo>
                      <a:lnTo>
                        <a:pt x="111" y="25"/>
                      </a:lnTo>
                      <a:lnTo>
                        <a:pt x="112" y="25"/>
                      </a:lnTo>
                      <a:lnTo>
                        <a:pt x="112" y="25"/>
                      </a:lnTo>
                      <a:lnTo>
                        <a:pt x="112" y="26"/>
                      </a:lnTo>
                      <a:lnTo>
                        <a:pt x="112" y="26"/>
                      </a:lnTo>
                      <a:lnTo>
                        <a:pt x="112" y="27"/>
                      </a:lnTo>
                      <a:lnTo>
                        <a:pt x="111" y="27"/>
                      </a:lnTo>
                      <a:lnTo>
                        <a:pt x="110" y="27"/>
                      </a:lnTo>
                      <a:lnTo>
                        <a:pt x="110" y="27"/>
                      </a:lnTo>
                      <a:lnTo>
                        <a:pt x="109" y="27"/>
                      </a:lnTo>
                      <a:lnTo>
                        <a:pt x="108" y="27"/>
                      </a:lnTo>
                      <a:lnTo>
                        <a:pt x="108" y="26"/>
                      </a:lnTo>
                      <a:lnTo>
                        <a:pt x="107" y="26"/>
                      </a:lnTo>
                      <a:lnTo>
                        <a:pt x="106" y="26"/>
                      </a:lnTo>
                      <a:lnTo>
                        <a:pt x="106" y="26"/>
                      </a:lnTo>
                      <a:lnTo>
                        <a:pt x="105" y="26"/>
                      </a:lnTo>
                      <a:lnTo>
                        <a:pt x="105" y="26"/>
                      </a:lnTo>
                      <a:lnTo>
                        <a:pt x="104" y="27"/>
                      </a:lnTo>
                      <a:lnTo>
                        <a:pt x="104" y="28"/>
                      </a:lnTo>
                      <a:lnTo>
                        <a:pt x="104" y="28"/>
                      </a:lnTo>
                      <a:lnTo>
                        <a:pt x="104" y="29"/>
                      </a:lnTo>
                      <a:lnTo>
                        <a:pt x="105" y="29"/>
                      </a:lnTo>
                      <a:lnTo>
                        <a:pt x="105" y="30"/>
                      </a:lnTo>
                      <a:lnTo>
                        <a:pt x="106" y="30"/>
                      </a:lnTo>
                      <a:lnTo>
                        <a:pt x="106" y="30"/>
                      </a:lnTo>
                      <a:lnTo>
                        <a:pt x="106" y="30"/>
                      </a:lnTo>
                      <a:lnTo>
                        <a:pt x="106" y="31"/>
                      </a:lnTo>
                      <a:lnTo>
                        <a:pt x="107" y="32"/>
                      </a:lnTo>
                      <a:lnTo>
                        <a:pt x="107" y="33"/>
                      </a:lnTo>
                      <a:lnTo>
                        <a:pt x="106" y="33"/>
                      </a:lnTo>
                      <a:lnTo>
                        <a:pt x="106" y="34"/>
                      </a:lnTo>
                      <a:lnTo>
                        <a:pt x="106" y="34"/>
                      </a:lnTo>
                      <a:lnTo>
                        <a:pt x="105" y="35"/>
                      </a:lnTo>
                      <a:lnTo>
                        <a:pt x="105" y="36"/>
                      </a:lnTo>
                      <a:lnTo>
                        <a:pt x="104" y="36"/>
                      </a:lnTo>
                      <a:lnTo>
                        <a:pt x="104" y="37"/>
                      </a:lnTo>
                      <a:lnTo>
                        <a:pt x="104" y="37"/>
                      </a:lnTo>
                      <a:lnTo>
                        <a:pt x="104" y="38"/>
                      </a:lnTo>
                      <a:lnTo>
                        <a:pt x="106" y="38"/>
                      </a:lnTo>
                      <a:lnTo>
                        <a:pt x="106" y="38"/>
                      </a:lnTo>
                      <a:lnTo>
                        <a:pt x="107" y="38"/>
                      </a:lnTo>
                      <a:lnTo>
                        <a:pt x="108" y="39"/>
                      </a:lnTo>
                      <a:lnTo>
                        <a:pt x="108" y="39"/>
                      </a:lnTo>
                      <a:lnTo>
                        <a:pt x="109" y="39"/>
                      </a:lnTo>
                      <a:lnTo>
                        <a:pt x="110" y="39"/>
                      </a:lnTo>
                      <a:lnTo>
                        <a:pt x="110" y="37"/>
                      </a:lnTo>
                      <a:lnTo>
                        <a:pt x="109" y="36"/>
                      </a:lnTo>
                      <a:lnTo>
                        <a:pt x="110" y="36"/>
                      </a:lnTo>
                      <a:lnTo>
                        <a:pt x="110" y="35"/>
                      </a:lnTo>
                      <a:lnTo>
                        <a:pt x="111" y="34"/>
                      </a:lnTo>
                      <a:lnTo>
                        <a:pt x="112" y="34"/>
                      </a:lnTo>
                      <a:lnTo>
                        <a:pt x="112" y="33"/>
                      </a:lnTo>
                      <a:lnTo>
                        <a:pt x="113" y="32"/>
                      </a:lnTo>
                      <a:lnTo>
                        <a:pt x="113" y="32"/>
                      </a:lnTo>
                      <a:lnTo>
                        <a:pt x="114" y="31"/>
                      </a:lnTo>
                      <a:lnTo>
                        <a:pt x="114" y="30"/>
                      </a:lnTo>
                      <a:lnTo>
                        <a:pt x="115" y="30"/>
                      </a:lnTo>
                      <a:lnTo>
                        <a:pt x="116" y="31"/>
                      </a:lnTo>
                      <a:lnTo>
                        <a:pt x="116" y="32"/>
                      </a:lnTo>
                      <a:lnTo>
                        <a:pt x="116" y="32"/>
                      </a:lnTo>
                      <a:lnTo>
                        <a:pt x="116" y="33"/>
                      </a:lnTo>
                      <a:lnTo>
                        <a:pt x="117" y="34"/>
                      </a:lnTo>
                      <a:lnTo>
                        <a:pt x="118" y="34"/>
                      </a:lnTo>
                      <a:lnTo>
                        <a:pt x="119" y="33"/>
                      </a:lnTo>
                      <a:lnTo>
                        <a:pt x="119" y="33"/>
                      </a:lnTo>
                      <a:lnTo>
                        <a:pt x="121" y="33"/>
                      </a:lnTo>
                      <a:lnTo>
                        <a:pt x="121" y="33"/>
                      </a:lnTo>
                      <a:lnTo>
                        <a:pt x="121" y="34"/>
                      </a:lnTo>
                      <a:lnTo>
                        <a:pt x="121" y="34"/>
                      </a:lnTo>
                      <a:lnTo>
                        <a:pt x="121" y="35"/>
                      </a:lnTo>
                      <a:lnTo>
                        <a:pt x="121" y="36"/>
                      </a:lnTo>
                      <a:lnTo>
                        <a:pt x="120" y="36"/>
                      </a:lnTo>
                      <a:lnTo>
                        <a:pt x="119" y="36"/>
                      </a:lnTo>
                      <a:lnTo>
                        <a:pt x="119" y="37"/>
                      </a:lnTo>
                      <a:lnTo>
                        <a:pt x="119" y="38"/>
                      </a:lnTo>
                      <a:lnTo>
                        <a:pt x="119" y="39"/>
                      </a:lnTo>
                      <a:lnTo>
                        <a:pt x="120" y="39"/>
                      </a:lnTo>
                      <a:lnTo>
                        <a:pt x="121" y="40"/>
                      </a:lnTo>
                      <a:lnTo>
                        <a:pt x="121" y="39"/>
                      </a:lnTo>
                      <a:lnTo>
                        <a:pt x="122" y="38"/>
                      </a:lnTo>
                      <a:lnTo>
                        <a:pt x="123" y="37"/>
                      </a:lnTo>
                      <a:lnTo>
                        <a:pt x="123" y="36"/>
                      </a:lnTo>
                      <a:lnTo>
                        <a:pt x="124" y="36"/>
                      </a:lnTo>
                      <a:lnTo>
                        <a:pt x="125" y="37"/>
                      </a:lnTo>
                      <a:lnTo>
                        <a:pt x="125" y="38"/>
                      </a:lnTo>
                      <a:lnTo>
                        <a:pt x="125" y="39"/>
                      </a:lnTo>
                      <a:lnTo>
                        <a:pt x="125" y="40"/>
                      </a:lnTo>
                      <a:lnTo>
                        <a:pt x="125" y="41"/>
                      </a:lnTo>
                      <a:lnTo>
                        <a:pt x="125" y="42"/>
                      </a:lnTo>
                      <a:lnTo>
                        <a:pt x="125" y="43"/>
                      </a:lnTo>
                      <a:lnTo>
                        <a:pt x="125" y="45"/>
                      </a:lnTo>
                      <a:lnTo>
                        <a:pt x="126" y="45"/>
                      </a:lnTo>
                      <a:lnTo>
                        <a:pt x="127" y="45"/>
                      </a:lnTo>
                      <a:lnTo>
                        <a:pt x="127" y="45"/>
                      </a:lnTo>
                      <a:lnTo>
                        <a:pt x="127" y="45"/>
                      </a:lnTo>
                      <a:lnTo>
                        <a:pt x="128" y="45"/>
                      </a:lnTo>
                      <a:lnTo>
                        <a:pt x="129" y="44"/>
                      </a:lnTo>
                      <a:lnTo>
                        <a:pt x="129" y="43"/>
                      </a:lnTo>
                      <a:lnTo>
                        <a:pt x="131" y="43"/>
                      </a:lnTo>
                      <a:lnTo>
                        <a:pt x="131" y="42"/>
                      </a:lnTo>
                      <a:lnTo>
                        <a:pt x="132" y="42"/>
                      </a:lnTo>
                      <a:lnTo>
                        <a:pt x="133" y="42"/>
                      </a:lnTo>
                      <a:lnTo>
                        <a:pt x="133" y="42"/>
                      </a:lnTo>
                      <a:lnTo>
                        <a:pt x="134" y="42"/>
                      </a:lnTo>
                      <a:lnTo>
                        <a:pt x="134" y="43"/>
                      </a:lnTo>
                      <a:lnTo>
                        <a:pt x="134" y="43"/>
                      </a:lnTo>
                      <a:lnTo>
                        <a:pt x="134" y="45"/>
                      </a:lnTo>
                      <a:lnTo>
                        <a:pt x="133" y="45"/>
                      </a:lnTo>
                      <a:lnTo>
                        <a:pt x="134" y="45"/>
                      </a:lnTo>
                      <a:lnTo>
                        <a:pt x="134" y="46"/>
                      </a:lnTo>
                      <a:lnTo>
                        <a:pt x="134" y="47"/>
                      </a:lnTo>
                      <a:lnTo>
                        <a:pt x="135" y="47"/>
                      </a:lnTo>
                      <a:lnTo>
                        <a:pt x="135" y="46"/>
                      </a:lnTo>
                      <a:lnTo>
                        <a:pt x="136" y="46"/>
                      </a:lnTo>
                      <a:lnTo>
                        <a:pt x="138" y="46"/>
                      </a:lnTo>
                      <a:lnTo>
                        <a:pt x="139" y="45"/>
                      </a:lnTo>
                      <a:lnTo>
                        <a:pt x="140" y="45"/>
                      </a:lnTo>
                      <a:lnTo>
                        <a:pt x="140" y="45"/>
                      </a:lnTo>
                      <a:lnTo>
                        <a:pt x="142" y="45"/>
                      </a:lnTo>
                      <a:lnTo>
                        <a:pt x="142" y="45"/>
                      </a:lnTo>
                      <a:lnTo>
                        <a:pt x="142" y="45"/>
                      </a:lnTo>
                      <a:lnTo>
                        <a:pt x="143" y="46"/>
                      </a:lnTo>
                      <a:lnTo>
                        <a:pt x="144" y="47"/>
                      </a:lnTo>
                      <a:lnTo>
                        <a:pt x="144" y="47"/>
                      </a:lnTo>
                      <a:lnTo>
                        <a:pt x="145" y="46"/>
                      </a:lnTo>
                      <a:lnTo>
                        <a:pt x="146" y="46"/>
                      </a:lnTo>
                      <a:lnTo>
                        <a:pt x="146" y="45"/>
                      </a:lnTo>
                      <a:lnTo>
                        <a:pt x="146" y="45"/>
                      </a:lnTo>
                      <a:lnTo>
                        <a:pt x="146" y="44"/>
                      </a:lnTo>
                      <a:lnTo>
                        <a:pt x="146" y="43"/>
                      </a:lnTo>
                      <a:lnTo>
                        <a:pt x="146" y="43"/>
                      </a:lnTo>
                      <a:lnTo>
                        <a:pt x="145" y="42"/>
                      </a:lnTo>
                      <a:lnTo>
                        <a:pt x="144" y="42"/>
                      </a:lnTo>
                      <a:lnTo>
                        <a:pt x="144" y="41"/>
                      </a:lnTo>
                      <a:lnTo>
                        <a:pt x="144" y="41"/>
                      </a:lnTo>
                      <a:lnTo>
                        <a:pt x="143" y="41"/>
                      </a:lnTo>
                      <a:lnTo>
                        <a:pt x="143" y="40"/>
                      </a:lnTo>
                      <a:lnTo>
                        <a:pt x="142" y="39"/>
                      </a:lnTo>
                      <a:lnTo>
                        <a:pt x="142" y="39"/>
                      </a:lnTo>
                      <a:lnTo>
                        <a:pt x="142" y="38"/>
                      </a:lnTo>
                      <a:lnTo>
                        <a:pt x="143" y="38"/>
                      </a:lnTo>
                      <a:lnTo>
                        <a:pt x="144" y="38"/>
                      </a:lnTo>
                      <a:lnTo>
                        <a:pt x="144" y="38"/>
                      </a:lnTo>
                      <a:lnTo>
                        <a:pt x="145" y="37"/>
                      </a:lnTo>
                      <a:lnTo>
                        <a:pt x="145" y="36"/>
                      </a:lnTo>
                      <a:lnTo>
                        <a:pt x="146" y="36"/>
                      </a:lnTo>
                      <a:lnTo>
                        <a:pt x="146" y="36"/>
                      </a:lnTo>
                      <a:lnTo>
                        <a:pt x="146" y="36"/>
                      </a:lnTo>
                      <a:lnTo>
                        <a:pt x="147" y="36"/>
                      </a:lnTo>
                      <a:lnTo>
                        <a:pt x="148" y="36"/>
                      </a:lnTo>
                      <a:lnTo>
                        <a:pt x="148" y="36"/>
                      </a:lnTo>
                      <a:lnTo>
                        <a:pt x="149" y="36"/>
                      </a:lnTo>
                      <a:lnTo>
                        <a:pt x="150" y="35"/>
                      </a:lnTo>
                      <a:lnTo>
                        <a:pt x="150" y="34"/>
                      </a:lnTo>
                      <a:lnTo>
                        <a:pt x="150" y="34"/>
                      </a:lnTo>
                      <a:lnTo>
                        <a:pt x="150" y="33"/>
                      </a:lnTo>
                      <a:lnTo>
                        <a:pt x="150" y="32"/>
                      </a:lnTo>
                      <a:lnTo>
                        <a:pt x="150" y="31"/>
                      </a:lnTo>
                      <a:lnTo>
                        <a:pt x="151" y="30"/>
                      </a:lnTo>
                      <a:lnTo>
                        <a:pt x="152" y="30"/>
                      </a:lnTo>
                      <a:lnTo>
                        <a:pt x="152" y="30"/>
                      </a:lnTo>
                      <a:lnTo>
                        <a:pt x="152" y="31"/>
                      </a:lnTo>
                      <a:lnTo>
                        <a:pt x="153" y="32"/>
                      </a:lnTo>
                      <a:lnTo>
                        <a:pt x="154" y="32"/>
                      </a:lnTo>
                      <a:lnTo>
                        <a:pt x="154" y="32"/>
                      </a:lnTo>
                      <a:lnTo>
                        <a:pt x="155" y="32"/>
                      </a:lnTo>
                      <a:lnTo>
                        <a:pt x="156" y="33"/>
                      </a:lnTo>
                      <a:lnTo>
                        <a:pt x="157" y="33"/>
                      </a:lnTo>
                      <a:lnTo>
                        <a:pt x="157" y="32"/>
                      </a:lnTo>
                      <a:lnTo>
                        <a:pt x="158" y="32"/>
                      </a:lnTo>
                      <a:lnTo>
                        <a:pt x="159" y="31"/>
                      </a:lnTo>
                      <a:lnTo>
                        <a:pt x="159" y="31"/>
                      </a:lnTo>
                      <a:lnTo>
                        <a:pt x="160" y="30"/>
                      </a:lnTo>
                      <a:lnTo>
                        <a:pt x="160" y="30"/>
                      </a:lnTo>
                      <a:lnTo>
                        <a:pt x="161" y="29"/>
                      </a:lnTo>
                      <a:lnTo>
                        <a:pt x="160" y="28"/>
                      </a:lnTo>
                      <a:lnTo>
                        <a:pt x="160" y="28"/>
                      </a:lnTo>
                      <a:lnTo>
                        <a:pt x="159" y="27"/>
                      </a:lnTo>
                      <a:lnTo>
                        <a:pt x="159" y="26"/>
                      </a:lnTo>
                      <a:lnTo>
                        <a:pt x="159" y="26"/>
                      </a:lnTo>
                      <a:lnTo>
                        <a:pt x="159" y="24"/>
                      </a:lnTo>
                      <a:lnTo>
                        <a:pt x="159" y="24"/>
                      </a:lnTo>
                      <a:lnTo>
                        <a:pt x="159" y="23"/>
                      </a:lnTo>
                      <a:lnTo>
                        <a:pt x="159" y="22"/>
                      </a:lnTo>
                      <a:lnTo>
                        <a:pt x="159" y="21"/>
                      </a:lnTo>
                      <a:lnTo>
                        <a:pt x="159" y="20"/>
                      </a:lnTo>
                      <a:lnTo>
                        <a:pt x="159" y="20"/>
                      </a:lnTo>
                      <a:lnTo>
                        <a:pt x="159" y="19"/>
                      </a:lnTo>
                      <a:lnTo>
                        <a:pt x="159" y="17"/>
                      </a:lnTo>
                      <a:lnTo>
                        <a:pt x="159" y="16"/>
                      </a:lnTo>
                      <a:lnTo>
                        <a:pt x="160" y="16"/>
                      </a:lnTo>
                      <a:lnTo>
                        <a:pt x="161" y="16"/>
                      </a:lnTo>
                      <a:lnTo>
                        <a:pt x="163" y="16"/>
                      </a:lnTo>
                      <a:lnTo>
                        <a:pt x="163" y="16"/>
                      </a:lnTo>
                      <a:lnTo>
                        <a:pt x="165" y="16"/>
                      </a:lnTo>
                      <a:lnTo>
                        <a:pt x="165" y="15"/>
                      </a:lnTo>
                      <a:lnTo>
                        <a:pt x="165" y="15"/>
                      </a:lnTo>
                      <a:lnTo>
                        <a:pt x="165" y="15"/>
                      </a:lnTo>
                      <a:lnTo>
                        <a:pt x="164" y="14"/>
                      </a:lnTo>
                      <a:lnTo>
                        <a:pt x="163" y="13"/>
                      </a:lnTo>
                      <a:lnTo>
                        <a:pt x="163" y="13"/>
                      </a:lnTo>
                      <a:lnTo>
                        <a:pt x="163" y="12"/>
                      </a:lnTo>
                      <a:lnTo>
                        <a:pt x="163" y="11"/>
                      </a:lnTo>
                      <a:lnTo>
                        <a:pt x="163" y="11"/>
                      </a:lnTo>
                      <a:lnTo>
                        <a:pt x="164" y="10"/>
                      </a:lnTo>
                      <a:lnTo>
                        <a:pt x="165" y="10"/>
                      </a:lnTo>
                      <a:lnTo>
                        <a:pt x="165" y="11"/>
                      </a:lnTo>
                      <a:lnTo>
                        <a:pt x="165" y="11"/>
                      </a:lnTo>
                      <a:lnTo>
                        <a:pt x="165" y="12"/>
                      </a:lnTo>
                      <a:lnTo>
                        <a:pt x="165" y="12"/>
                      </a:lnTo>
                      <a:lnTo>
                        <a:pt x="166" y="12"/>
                      </a:lnTo>
                      <a:lnTo>
                        <a:pt x="167" y="12"/>
                      </a:lnTo>
                      <a:lnTo>
                        <a:pt x="168" y="12"/>
                      </a:lnTo>
                      <a:lnTo>
                        <a:pt x="169" y="11"/>
                      </a:lnTo>
                      <a:lnTo>
                        <a:pt x="170" y="11"/>
                      </a:lnTo>
                      <a:lnTo>
                        <a:pt x="171" y="10"/>
                      </a:lnTo>
                      <a:lnTo>
                        <a:pt x="172" y="9"/>
                      </a:lnTo>
                      <a:lnTo>
                        <a:pt x="173" y="9"/>
                      </a:lnTo>
                      <a:lnTo>
                        <a:pt x="174" y="8"/>
                      </a:lnTo>
                      <a:lnTo>
                        <a:pt x="175" y="7"/>
                      </a:lnTo>
                      <a:lnTo>
                        <a:pt x="176" y="7"/>
                      </a:lnTo>
                      <a:lnTo>
                        <a:pt x="176" y="7"/>
                      </a:lnTo>
                      <a:lnTo>
                        <a:pt x="176" y="7"/>
                      </a:lnTo>
                      <a:lnTo>
                        <a:pt x="176" y="6"/>
                      </a:lnTo>
                      <a:lnTo>
                        <a:pt x="177" y="5"/>
                      </a:lnTo>
                      <a:lnTo>
                        <a:pt x="177" y="5"/>
                      </a:lnTo>
                      <a:lnTo>
                        <a:pt x="177" y="4"/>
                      </a:lnTo>
                      <a:lnTo>
                        <a:pt x="176" y="3"/>
                      </a:lnTo>
                      <a:lnTo>
                        <a:pt x="176" y="3"/>
                      </a:lnTo>
                      <a:lnTo>
                        <a:pt x="176" y="3"/>
                      </a:lnTo>
                      <a:lnTo>
                        <a:pt x="176" y="2"/>
                      </a:lnTo>
                      <a:lnTo>
                        <a:pt x="176" y="1"/>
                      </a:lnTo>
                      <a:lnTo>
                        <a:pt x="176" y="0"/>
                      </a:lnTo>
                      <a:lnTo>
                        <a:pt x="176" y="1"/>
                      </a:lnTo>
                      <a:lnTo>
                        <a:pt x="178" y="1"/>
                      </a:lnTo>
                      <a:lnTo>
                        <a:pt x="180" y="2"/>
                      </a:lnTo>
                      <a:lnTo>
                        <a:pt x="182" y="3"/>
                      </a:lnTo>
                      <a:lnTo>
                        <a:pt x="184" y="4"/>
                      </a:lnTo>
                      <a:lnTo>
                        <a:pt x="187" y="5"/>
                      </a:lnTo>
                      <a:lnTo>
                        <a:pt x="189" y="6"/>
                      </a:lnTo>
                      <a:lnTo>
                        <a:pt x="193" y="9"/>
                      </a:lnTo>
                      <a:lnTo>
                        <a:pt x="196" y="1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55" name="Freeform 65">
                  <a:extLst>
                    <a:ext uri="{FF2B5EF4-FFF2-40B4-BE49-F238E27FC236}">
                      <a16:creationId xmlns:a16="http://schemas.microsoft.com/office/drawing/2014/main" xmlns="" id="{8B21FA42-E7D7-D907-798C-BE8B966E7684}"/>
                    </a:ext>
                  </a:extLst>
                </p:cNvPr>
                <p:cNvSpPr>
                  <a:spLocks/>
                </p:cNvSpPr>
                <p:nvPr/>
              </p:nvSpPr>
              <p:spPr bwMode="auto">
                <a:xfrm>
                  <a:off x="2880" y="2879"/>
                  <a:ext cx="193" cy="251"/>
                </a:xfrm>
                <a:custGeom>
                  <a:avLst/>
                  <a:gdLst>
                    <a:gd name="T0" fmla="*/ 6 w 193"/>
                    <a:gd name="T1" fmla="*/ 3 h 251"/>
                    <a:gd name="T2" fmla="*/ 15 w 193"/>
                    <a:gd name="T3" fmla="*/ 10 h 251"/>
                    <a:gd name="T4" fmla="*/ 20 w 193"/>
                    <a:gd name="T5" fmla="*/ 17 h 251"/>
                    <a:gd name="T6" fmla="*/ 24 w 193"/>
                    <a:gd name="T7" fmla="*/ 25 h 251"/>
                    <a:gd name="T8" fmla="*/ 29 w 193"/>
                    <a:gd name="T9" fmla="*/ 33 h 251"/>
                    <a:gd name="T10" fmla="*/ 36 w 193"/>
                    <a:gd name="T11" fmla="*/ 36 h 251"/>
                    <a:gd name="T12" fmla="*/ 40 w 193"/>
                    <a:gd name="T13" fmla="*/ 43 h 251"/>
                    <a:gd name="T14" fmla="*/ 46 w 193"/>
                    <a:gd name="T15" fmla="*/ 48 h 251"/>
                    <a:gd name="T16" fmla="*/ 54 w 193"/>
                    <a:gd name="T17" fmla="*/ 44 h 251"/>
                    <a:gd name="T18" fmla="*/ 63 w 193"/>
                    <a:gd name="T19" fmla="*/ 43 h 251"/>
                    <a:gd name="T20" fmla="*/ 70 w 193"/>
                    <a:gd name="T21" fmla="*/ 47 h 251"/>
                    <a:gd name="T22" fmla="*/ 76 w 193"/>
                    <a:gd name="T23" fmla="*/ 52 h 251"/>
                    <a:gd name="T24" fmla="*/ 83 w 193"/>
                    <a:gd name="T25" fmla="*/ 59 h 251"/>
                    <a:gd name="T26" fmla="*/ 91 w 193"/>
                    <a:gd name="T27" fmla="*/ 63 h 251"/>
                    <a:gd name="T28" fmla="*/ 97 w 193"/>
                    <a:gd name="T29" fmla="*/ 68 h 251"/>
                    <a:gd name="T30" fmla="*/ 103 w 193"/>
                    <a:gd name="T31" fmla="*/ 73 h 251"/>
                    <a:gd name="T32" fmla="*/ 110 w 193"/>
                    <a:gd name="T33" fmla="*/ 81 h 251"/>
                    <a:gd name="T34" fmla="*/ 118 w 193"/>
                    <a:gd name="T35" fmla="*/ 85 h 251"/>
                    <a:gd name="T36" fmla="*/ 123 w 193"/>
                    <a:gd name="T37" fmla="*/ 91 h 251"/>
                    <a:gd name="T38" fmla="*/ 128 w 193"/>
                    <a:gd name="T39" fmla="*/ 99 h 251"/>
                    <a:gd name="T40" fmla="*/ 133 w 193"/>
                    <a:gd name="T41" fmla="*/ 105 h 251"/>
                    <a:gd name="T42" fmla="*/ 139 w 193"/>
                    <a:gd name="T43" fmla="*/ 111 h 251"/>
                    <a:gd name="T44" fmla="*/ 146 w 193"/>
                    <a:gd name="T45" fmla="*/ 113 h 251"/>
                    <a:gd name="T46" fmla="*/ 153 w 193"/>
                    <a:gd name="T47" fmla="*/ 118 h 251"/>
                    <a:gd name="T48" fmla="*/ 156 w 193"/>
                    <a:gd name="T49" fmla="*/ 126 h 251"/>
                    <a:gd name="T50" fmla="*/ 160 w 193"/>
                    <a:gd name="T51" fmla="*/ 130 h 251"/>
                    <a:gd name="T52" fmla="*/ 163 w 193"/>
                    <a:gd name="T53" fmla="*/ 139 h 251"/>
                    <a:gd name="T54" fmla="*/ 169 w 193"/>
                    <a:gd name="T55" fmla="*/ 145 h 251"/>
                    <a:gd name="T56" fmla="*/ 179 w 193"/>
                    <a:gd name="T57" fmla="*/ 145 h 251"/>
                    <a:gd name="T58" fmla="*/ 186 w 193"/>
                    <a:gd name="T59" fmla="*/ 152 h 251"/>
                    <a:gd name="T60" fmla="*/ 193 w 193"/>
                    <a:gd name="T61" fmla="*/ 158 h 251"/>
                    <a:gd name="T62" fmla="*/ 188 w 193"/>
                    <a:gd name="T63" fmla="*/ 162 h 251"/>
                    <a:gd name="T64" fmla="*/ 179 w 193"/>
                    <a:gd name="T65" fmla="*/ 160 h 251"/>
                    <a:gd name="T66" fmla="*/ 171 w 193"/>
                    <a:gd name="T67" fmla="*/ 157 h 251"/>
                    <a:gd name="T68" fmla="*/ 162 w 193"/>
                    <a:gd name="T69" fmla="*/ 154 h 251"/>
                    <a:gd name="T70" fmla="*/ 154 w 193"/>
                    <a:gd name="T71" fmla="*/ 152 h 251"/>
                    <a:gd name="T72" fmla="*/ 145 w 193"/>
                    <a:gd name="T73" fmla="*/ 152 h 251"/>
                    <a:gd name="T74" fmla="*/ 137 w 193"/>
                    <a:gd name="T75" fmla="*/ 152 h 251"/>
                    <a:gd name="T76" fmla="*/ 122 w 193"/>
                    <a:gd name="T77" fmla="*/ 148 h 251"/>
                    <a:gd name="T78" fmla="*/ 111 w 193"/>
                    <a:gd name="T79" fmla="*/ 142 h 251"/>
                    <a:gd name="T80" fmla="*/ 105 w 193"/>
                    <a:gd name="T81" fmla="*/ 147 h 251"/>
                    <a:gd name="T82" fmla="*/ 108 w 193"/>
                    <a:gd name="T83" fmla="*/ 158 h 251"/>
                    <a:gd name="T84" fmla="*/ 115 w 193"/>
                    <a:gd name="T85" fmla="*/ 167 h 251"/>
                    <a:gd name="T86" fmla="*/ 124 w 193"/>
                    <a:gd name="T87" fmla="*/ 175 h 251"/>
                    <a:gd name="T88" fmla="*/ 129 w 193"/>
                    <a:gd name="T89" fmla="*/ 181 h 251"/>
                    <a:gd name="T90" fmla="*/ 141 w 193"/>
                    <a:gd name="T91" fmla="*/ 185 h 251"/>
                    <a:gd name="T92" fmla="*/ 148 w 193"/>
                    <a:gd name="T93" fmla="*/ 189 h 251"/>
                    <a:gd name="T94" fmla="*/ 154 w 193"/>
                    <a:gd name="T95" fmla="*/ 192 h 251"/>
                    <a:gd name="T96" fmla="*/ 155 w 193"/>
                    <a:gd name="T97" fmla="*/ 196 h 251"/>
                    <a:gd name="T98" fmla="*/ 158 w 193"/>
                    <a:gd name="T99" fmla="*/ 202 h 251"/>
                    <a:gd name="T100" fmla="*/ 164 w 193"/>
                    <a:gd name="T101" fmla="*/ 207 h 251"/>
                    <a:gd name="T102" fmla="*/ 171 w 193"/>
                    <a:gd name="T103" fmla="*/ 211 h 251"/>
                    <a:gd name="T104" fmla="*/ 177 w 193"/>
                    <a:gd name="T105" fmla="*/ 210 h 251"/>
                    <a:gd name="T106" fmla="*/ 184 w 193"/>
                    <a:gd name="T107" fmla="*/ 217 h 251"/>
                    <a:gd name="T108" fmla="*/ 180 w 193"/>
                    <a:gd name="T109" fmla="*/ 221 h 251"/>
                    <a:gd name="T110" fmla="*/ 175 w 193"/>
                    <a:gd name="T111" fmla="*/ 225 h 251"/>
                    <a:gd name="T112" fmla="*/ 179 w 193"/>
                    <a:gd name="T113" fmla="*/ 234 h 251"/>
                    <a:gd name="T114" fmla="*/ 178 w 193"/>
                    <a:gd name="T115" fmla="*/ 238 h 251"/>
                    <a:gd name="T116" fmla="*/ 174 w 193"/>
                    <a:gd name="T117" fmla="*/ 244 h 251"/>
                    <a:gd name="T118" fmla="*/ 175 w 193"/>
                    <a:gd name="T119"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3" h="251">
                      <a:moveTo>
                        <a:pt x="0" y="0"/>
                      </a:moveTo>
                      <a:lnTo>
                        <a:pt x="0" y="0"/>
                      </a:lnTo>
                      <a:lnTo>
                        <a:pt x="0" y="0"/>
                      </a:lnTo>
                      <a:lnTo>
                        <a:pt x="1" y="0"/>
                      </a:lnTo>
                      <a:lnTo>
                        <a:pt x="1" y="0"/>
                      </a:lnTo>
                      <a:lnTo>
                        <a:pt x="2" y="0"/>
                      </a:lnTo>
                      <a:lnTo>
                        <a:pt x="2" y="0"/>
                      </a:lnTo>
                      <a:lnTo>
                        <a:pt x="3" y="0"/>
                      </a:lnTo>
                      <a:lnTo>
                        <a:pt x="3" y="1"/>
                      </a:lnTo>
                      <a:lnTo>
                        <a:pt x="4" y="1"/>
                      </a:lnTo>
                      <a:lnTo>
                        <a:pt x="4" y="2"/>
                      </a:lnTo>
                      <a:lnTo>
                        <a:pt x="4" y="2"/>
                      </a:lnTo>
                      <a:lnTo>
                        <a:pt x="4" y="2"/>
                      </a:lnTo>
                      <a:lnTo>
                        <a:pt x="4" y="3"/>
                      </a:lnTo>
                      <a:lnTo>
                        <a:pt x="5" y="3"/>
                      </a:lnTo>
                      <a:lnTo>
                        <a:pt x="6" y="3"/>
                      </a:lnTo>
                      <a:lnTo>
                        <a:pt x="6" y="3"/>
                      </a:lnTo>
                      <a:lnTo>
                        <a:pt x="6" y="4"/>
                      </a:lnTo>
                      <a:lnTo>
                        <a:pt x="7" y="4"/>
                      </a:lnTo>
                      <a:lnTo>
                        <a:pt x="8" y="4"/>
                      </a:lnTo>
                      <a:lnTo>
                        <a:pt x="8" y="4"/>
                      </a:lnTo>
                      <a:lnTo>
                        <a:pt x="9" y="5"/>
                      </a:lnTo>
                      <a:lnTo>
                        <a:pt x="10" y="5"/>
                      </a:lnTo>
                      <a:lnTo>
                        <a:pt x="10" y="5"/>
                      </a:lnTo>
                      <a:lnTo>
                        <a:pt x="10" y="6"/>
                      </a:lnTo>
                      <a:lnTo>
                        <a:pt x="11" y="6"/>
                      </a:lnTo>
                      <a:lnTo>
                        <a:pt x="11" y="6"/>
                      </a:lnTo>
                      <a:lnTo>
                        <a:pt x="12" y="7"/>
                      </a:lnTo>
                      <a:lnTo>
                        <a:pt x="13" y="7"/>
                      </a:lnTo>
                      <a:lnTo>
                        <a:pt x="13" y="7"/>
                      </a:lnTo>
                      <a:lnTo>
                        <a:pt x="14" y="8"/>
                      </a:lnTo>
                      <a:lnTo>
                        <a:pt x="15" y="8"/>
                      </a:lnTo>
                      <a:lnTo>
                        <a:pt x="15" y="9"/>
                      </a:lnTo>
                      <a:lnTo>
                        <a:pt x="15" y="10"/>
                      </a:lnTo>
                      <a:lnTo>
                        <a:pt x="15" y="10"/>
                      </a:lnTo>
                      <a:lnTo>
                        <a:pt x="15" y="10"/>
                      </a:lnTo>
                      <a:lnTo>
                        <a:pt x="16" y="10"/>
                      </a:lnTo>
                      <a:lnTo>
                        <a:pt x="16" y="11"/>
                      </a:lnTo>
                      <a:lnTo>
                        <a:pt x="16" y="12"/>
                      </a:lnTo>
                      <a:lnTo>
                        <a:pt x="17" y="12"/>
                      </a:lnTo>
                      <a:lnTo>
                        <a:pt x="17" y="13"/>
                      </a:lnTo>
                      <a:lnTo>
                        <a:pt x="18" y="13"/>
                      </a:lnTo>
                      <a:lnTo>
                        <a:pt x="18" y="14"/>
                      </a:lnTo>
                      <a:lnTo>
                        <a:pt x="19" y="14"/>
                      </a:lnTo>
                      <a:lnTo>
                        <a:pt x="19" y="14"/>
                      </a:lnTo>
                      <a:lnTo>
                        <a:pt x="19" y="15"/>
                      </a:lnTo>
                      <a:lnTo>
                        <a:pt x="19" y="16"/>
                      </a:lnTo>
                      <a:lnTo>
                        <a:pt x="19" y="16"/>
                      </a:lnTo>
                      <a:lnTo>
                        <a:pt x="19" y="17"/>
                      </a:lnTo>
                      <a:lnTo>
                        <a:pt x="19" y="17"/>
                      </a:lnTo>
                      <a:lnTo>
                        <a:pt x="20" y="17"/>
                      </a:lnTo>
                      <a:lnTo>
                        <a:pt x="21" y="17"/>
                      </a:lnTo>
                      <a:lnTo>
                        <a:pt x="21" y="17"/>
                      </a:lnTo>
                      <a:lnTo>
                        <a:pt x="21" y="18"/>
                      </a:lnTo>
                      <a:lnTo>
                        <a:pt x="21" y="19"/>
                      </a:lnTo>
                      <a:lnTo>
                        <a:pt x="21" y="19"/>
                      </a:lnTo>
                      <a:lnTo>
                        <a:pt x="21" y="19"/>
                      </a:lnTo>
                      <a:lnTo>
                        <a:pt x="21" y="20"/>
                      </a:lnTo>
                      <a:lnTo>
                        <a:pt x="21" y="21"/>
                      </a:lnTo>
                      <a:lnTo>
                        <a:pt x="22" y="21"/>
                      </a:lnTo>
                      <a:lnTo>
                        <a:pt x="22" y="21"/>
                      </a:lnTo>
                      <a:lnTo>
                        <a:pt x="22" y="22"/>
                      </a:lnTo>
                      <a:lnTo>
                        <a:pt x="23" y="22"/>
                      </a:lnTo>
                      <a:lnTo>
                        <a:pt x="23" y="23"/>
                      </a:lnTo>
                      <a:lnTo>
                        <a:pt x="23" y="23"/>
                      </a:lnTo>
                      <a:lnTo>
                        <a:pt x="23" y="24"/>
                      </a:lnTo>
                      <a:lnTo>
                        <a:pt x="24" y="24"/>
                      </a:lnTo>
                      <a:lnTo>
                        <a:pt x="24" y="25"/>
                      </a:lnTo>
                      <a:lnTo>
                        <a:pt x="24" y="25"/>
                      </a:lnTo>
                      <a:lnTo>
                        <a:pt x="25" y="25"/>
                      </a:lnTo>
                      <a:lnTo>
                        <a:pt x="25" y="26"/>
                      </a:lnTo>
                      <a:lnTo>
                        <a:pt x="25" y="27"/>
                      </a:lnTo>
                      <a:lnTo>
                        <a:pt x="25" y="27"/>
                      </a:lnTo>
                      <a:lnTo>
                        <a:pt x="25" y="27"/>
                      </a:lnTo>
                      <a:lnTo>
                        <a:pt x="26" y="27"/>
                      </a:lnTo>
                      <a:lnTo>
                        <a:pt x="27" y="28"/>
                      </a:lnTo>
                      <a:lnTo>
                        <a:pt x="27" y="29"/>
                      </a:lnTo>
                      <a:lnTo>
                        <a:pt x="27" y="29"/>
                      </a:lnTo>
                      <a:lnTo>
                        <a:pt x="27" y="30"/>
                      </a:lnTo>
                      <a:lnTo>
                        <a:pt x="28" y="30"/>
                      </a:lnTo>
                      <a:lnTo>
                        <a:pt x="28" y="31"/>
                      </a:lnTo>
                      <a:lnTo>
                        <a:pt x="28" y="31"/>
                      </a:lnTo>
                      <a:lnTo>
                        <a:pt x="28" y="32"/>
                      </a:lnTo>
                      <a:lnTo>
                        <a:pt x="28" y="33"/>
                      </a:lnTo>
                      <a:lnTo>
                        <a:pt x="29" y="33"/>
                      </a:lnTo>
                      <a:lnTo>
                        <a:pt x="29" y="34"/>
                      </a:lnTo>
                      <a:lnTo>
                        <a:pt x="30" y="34"/>
                      </a:lnTo>
                      <a:lnTo>
                        <a:pt x="31" y="35"/>
                      </a:lnTo>
                      <a:lnTo>
                        <a:pt x="32" y="35"/>
                      </a:lnTo>
                      <a:lnTo>
                        <a:pt x="32" y="35"/>
                      </a:lnTo>
                      <a:lnTo>
                        <a:pt x="32" y="36"/>
                      </a:lnTo>
                      <a:lnTo>
                        <a:pt x="33" y="36"/>
                      </a:lnTo>
                      <a:lnTo>
                        <a:pt x="34" y="36"/>
                      </a:lnTo>
                      <a:lnTo>
                        <a:pt x="34" y="37"/>
                      </a:lnTo>
                      <a:lnTo>
                        <a:pt x="34" y="38"/>
                      </a:lnTo>
                      <a:lnTo>
                        <a:pt x="34" y="38"/>
                      </a:lnTo>
                      <a:lnTo>
                        <a:pt x="35" y="38"/>
                      </a:lnTo>
                      <a:lnTo>
                        <a:pt x="35" y="38"/>
                      </a:lnTo>
                      <a:lnTo>
                        <a:pt x="36" y="38"/>
                      </a:lnTo>
                      <a:lnTo>
                        <a:pt x="36" y="38"/>
                      </a:lnTo>
                      <a:lnTo>
                        <a:pt x="36" y="37"/>
                      </a:lnTo>
                      <a:lnTo>
                        <a:pt x="36" y="36"/>
                      </a:lnTo>
                      <a:lnTo>
                        <a:pt x="36" y="36"/>
                      </a:lnTo>
                      <a:lnTo>
                        <a:pt x="37" y="36"/>
                      </a:lnTo>
                      <a:lnTo>
                        <a:pt x="38" y="36"/>
                      </a:lnTo>
                      <a:lnTo>
                        <a:pt x="38" y="36"/>
                      </a:lnTo>
                      <a:lnTo>
                        <a:pt x="38" y="37"/>
                      </a:lnTo>
                      <a:lnTo>
                        <a:pt x="38" y="38"/>
                      </a:lnTo>
                      <a:lnTo>
                        <a:pt x="38" y="38"/>
                      </a:lnTo>
                      <a:lnTo>
                        <a:pt x="39" y="38"/>
                      </a:lnTo>
                      <a:lnTo>
                        <a:pt x="40" y="38"/>
                      </a:lnTo>
                      <a:lnTo>
                        <a:pt x="40" y="38"/>
                      </a:lnTo>
                      <a:lnTo>
                        <a:pt x="40" y="39"/>
                      </a:lnTo>
                      <a:lnTo>
                        <a:pt x="40" y="40"/>
                      </a:lnTo>
                      <a:lnTo>
                        <a:pt x="40" y="40"/>
                      </a:lnTo>
                      <a:lnTo>
                        <a:pt x="40" y="41"/>
                      </a:lnTo>
                      <a:lnTo>
                        <a:pt x="40" y="42"/>
                      </a:lnTo>
                      <a:lnTo>
                        <a:pt x="40" y="42"/>
                      </a:lnTo>
                      <a:lnTo>
                        <a:pt x="40" y="43"/>
                      </a:lnTo>
                      <a:lnTo>
                        <a:pt x="40" y="44"/>
                      </a:lnTo>
                      <a:lnTo>
                        <a:pt x="40" y="44"/>
                      </a:lnTo>
                      <a:lnTo>
                        <a:pt x="40" y="45"/>
                      </a:lnTo>
                      <a:lnTo>
                        <a:pt x="41" y="45"/>
                      </a:lnTo>
                      <a:lnTo>
                        <a:pt x="41" y="46"/>
                      </a:lnTo>
                      <a:lnTo>
                        <a:pt x="42" y="46"/>
                      </a:lnTo>
                      <a:lnTo>
                        <a:pt x="42" y="46"/>
                      </a:lnTo>
                      <a:lnTo>
                        <a:pt x="42" y="46"/>
                      </a:lnTo>
                      <a:lnTo>
                        <a:pt x="42" y="47"/>
                      </a:lnTo>
                      <a:lnTo>
                        <a:pt x="42" y="48"/>
                      </a:lnTo>
                      <a:lnTo>
                        <a:pt x="42" y="48"/>
                      </a:lnTo>
                      <a:lnTo>
                        <a:pt x="43" y="48"/>
                      </a:lnTo>
                      <a:lnTo>
                        <a:pt x="44" y="48"/>
                      </a:lnTo>
                      <a:lnTo>
                        <a:pt x="44" y="48"/>
                      </a:lnTo>
                      <a:lnTo>
                        <a:pt x="45" y="48"/>
                      </a:lnTo>
                      <a:lnTo>
                        <a:pt x="46" y="48"/>
                      </a:lnTo>
                      <a:lnTo>
                        <a:pt x="46" y="48"/>
                      </a:lnTo>
                      <a:lnTo>
                        <a:pt x="46" y="48"/>
                      </a:lnTo>
                      <a:lnTo>
                        <a:pt x="47" y="48"/>
                      </a:lnTo>
                      <a:lnTo>
                        <a:pt x="48" y="48"/>
                      </a:lnTo>
                      <a:lnTo>
                        <a:pt x="48" y="47"/>
                      </a:lnTo>
                      <a:lnTo>
                        <a:pt x="49" y="47"/>
                      </a:lnTo>
                      <a:lnTo>
                        <a:pt x="49" y="46"/>
                      </a:lnTo>
                      <a:lnTo>
                        <a:pt x="50" y="46"/>
                      </a:lnTo>
                      <a:lnTo>
                        <a:pt x="51" y="46"/>
                      </a:lnTo>
                      <a:lnTo>
                        <a:pt x="51" y="46"/>
                      </a:lnTo>
                      <a:lnTo>
                        <a:pt x="52" y="46"/>
                      </a:lnTo>
                      <a:lnTo>
                        <a:pt x="53" y="46"/>
                      </a:lnTo>
                      <a:lnTo>
                        <a:pt x="53" y="46"/>
                      </a:lnTo>
                      <a:lnTo>
                        <a:pt x="53" y="46"/>
                      </a:lnTo>
                      <a:lnTo>
                        <a:pt x="54" y="46"/>
                      </a:lnTo>
                      <a:lnTo>
                        <a:pt x="55" y="45"/>
                      </a:lnTo>
                      <a:lnTo>
                        <a:pt x="54" y="45"/>
                      </a:lnTo>
                      <a:lnTo>
                        <a:pt x="54" y="44"/>
                      </a:lnTo>
                      <a:lnTo>
                        <a:pt x="55" y="44"/>
                      </a:lnTo>
                      <a:lnTo>
                        <a:pt x="55" y="44"/>
                      </a:lnTo>
                      <a:lnTo>
                        <a:pt x="56" y="44"/>
                      </a:lnTo>
                      <a:lnTo>
                        <a:pt x="57" y="44"/>
                      </a:lnTo>
                      <a:lnTo>
                        <a:pt x="57" y="44"/>
                      </a:lnTo>
                      <a:lnTo>
                        <a:pt x="57" y="44"/>
                      </a:lnTo>
                      <a:lnTo>
                        <a:pt x="58" y="44"/>
                      </a:lnTo>
                      <a:lnTo>
                        <a:pt x="59" y="44"/>
                      </a:lnTo>
                      <a:lnTo>
                        <a:pt x="59" y="43"/>
                      </a:lnTo>
                      <a:lnTo>
                        <a:pt x="59" y="42"/>
                      </a:lnTo>
                      <a:lnTo>
                        <a:pt x="59" y="42"/>
                      </a:lnTo>
                      <a:lnTo>
                        <a:pt x="60" y="42"/>
                      </a:lnTo>
                      <a:lnTo>
                        <a:pt x="61" y="42"/>
                      </a:lnTo>
                      <a:lnTo>
                        <a:pt x="61" y="43"/>
                      </a:lnTo>
                      <a:lnTo>
                        <a:pt x="62" y="43"/>
                      </a:lnTo>
                      <a:lnTo>
                        <a:pt x="63" y="43"/>
                      </a:lnTo>
                      <a:lnTo>
                        <a:pt x="63" y="43"/>
                      </a:lnTo>
                      <a:lnTo>
                        <a:pt x="63" y="44"/>
                      </a:lnTo>
                      <a:lnTo>
                        <a:pt x="63" y="43"/>
                      </a:lnTo>
                      <a:lnTo>
                        <a:pt x="64" y="43"/>
                      </a:lnTo>
                      <a:lnTo>
                        <a:pt x="65" y="43"/>
                      </a:lnTo>
                      <a:lnTo>
                        <a:pt x="65" y="43"/>
                      </a:lnTo>
                      <a:lnTo>
                        <a:pt x="65" y="44"/>
                      </a:lnTo>
                      <a:lnTo>
                        <a:pt x="65" y="44"/>
                      </a:lnTo>
                      <a:lnTo>
                        <a:pt x="66" y="44"/>
                      </a:lnTo>
                      <a:lnTo>
                        <a:pt x="66" y="45"/>
                      </a:lnTo>
                      <a:lnTo>
                        <a:pt x="67" y="45"/>
                      </a:lnTo>
                      <a:lnTo>
                        <a:pt x="67" y="46"/>
                      </a:lnTo>
                      <a:lnTo>
                        <a:pt x="67" y="46"/>
                      </a:lnTo>
                      <a:lnTo>
                        <a:pt x="67" y="46"/>
                      </a:lnTo>
                      <a:lnTo>
                        <a:pt x="68" y="46"/>
                      </a:lnTo>
                      <a:lnTo>
                        <a:pt x="69" y="46"/>
                      </a:lnTo>
                      <a:lnTo>
                        <a:pt x="69" y="47"/>
                      </a:lnTo>
                      <a:lnTo>
                        <a:pt x="70" y="47"/>
                      </a:lnTo>
                      <a:lnTo>
                        <a:pt x="70" y="48"/>
                      </a:lnTo>
                      <a:lnTo>
                        <a:pt x="70" y="48"/>
                      </a:lnTo>
                      <a:lnTo>
                        <a:pt x="70" y="49"/>
                      </a:lnTo>
                      <a:lnTo>
                        <a:pt x="70" y="49"/>
                      </a:lnTo>
                      <a:lnTo>
                        <a:pt x="71" y="49"/>
                      </a:lnTo>
                      <a:lnTo>
                        <a:pt x="71" y="50"/>
                      </a:lnTo>
                      <a:lnTo>
                        <a:pt x="72" y="50"/>
                      </a:lnTo>
                      <a:lnTo>
                        <a:pt x="72" y="50"/>
                      </a:lnTo>
                      <a:lnTo>
                        <a:pt x="72" y="50"/>
                      </a:lnTo>
                      <a:lnTo>
                        <a:pt x="73" y="50"/>
                      </a:lnTo>
                      <a:lnTo>
                        <a:pt x="73" y="51"/>
                      </a:lnTo>
                      <a:lnTo>
                        <a:pt x="74" y="52"/>
                      </a:lnTo>
                      <a:lnTo>
                        <a:pt x="74" y="52"/>
                      </a:lnTo>
                      <a:lnTo>
                        <a:pt x="75" y="52"/>
                      </a:lnTo>
                      <a:lnTo>
                        <a:pt x="76" y="52"/>
                      </a:lnTo>
                      <a:lnTo>
                        <a:pt x="76" y="52"/>
                      </a:lnTo>
                      <a:lnTo>
                        <a:pt x="76" y="52"/>
                      </a:lnTo>
                      <a:lnTo>
                        <a:pt x="77" y="52"/>
                      </a:lnTo>
                      <a:lnTo>
                        <a:pt x="77" y="53"/>
                      </a:lnTo>
                      <a:lnTo>
                        <a:pt x="78" y="53"/>
                      </a:lnTo>
                      <a:lnTo>
                        <a:pt x="78" y="53"/>
                      </a:lnTo>
                      <a:lnTo>
                        <a:pt x="79" y="53"/>
                      </a:lnTo>
                      <a:lnTo>
                        <a:pt x="80" y="54"/>
                      </a:lnTo>
                      <a:lnTo>
                        <a:pt x="80" y="55"/>
                      </a:lnTo>
                      <a:lnTo>
                        <a:pt x="80" y="55"/>
                      </a:lnTo>
                      <a:lnTo>
                        <a:pt x="81" y="55"/>
                      </a:lnTo>
                      <a:lnTo>
                        <a:pt x="82" y="56"/>
                      </a:lnTo>
                      <a:lnTo>
                        <a:pt x="81" y="56"/>
                      </a:lnTo>
                      <a:lnTo>
                        <a:pt x="81" y="57"/>
                      </a:lnTo>
                      <a:lnTo>
                        <a:pt x="81" y="57"/>
                      </a:lnTo>
                      <a:lnTo>
                        <a:pt x="81" y="58"/>
                      </a:lnTo>
                      <a:lnTo>
                        <a:pt x="82" y="59"/>
                      </a:lnTo>
                      <a:lnTo>
                        <a:pt x="82" y="59"/>
                      </a:lnTo>
                      <a:lnTo>
                        <a:pt x="83" y="59"/>
                      </a:lnTo>
                      <a:lnTo>
                        <a:pt x="83" y="59"/>
                      </a:lnTo>
                      <a:lnTo>
                        <a:pt x="84" y="59"/>
                      </a:lnTo>
                      <a:lnTo>
                        <a:pt x="84" y="59"/>
                      </a:lnTo>
                      <a:lnTo>
                        <a:pt x="85" y="59"/>
                      </a:lnTo>
                      <a:lnTo>
                        <a:pt x="85" y="60"/>
                      </a:lnTo>
                      <a:lnTo>
                        <a:pt x="86" y="60"/>
                      </a:lnTo>
                      <a:lnTo>
                        <a:pt x="86" y="61"/>
                      </a:lnTo>
                      <a:lnTo>
                        <a:pt x="86" y="61"/>
                      </a:lnTo>
                      <a:lnTo>
                        <a:pt x="87" y="61"/>
                      </a:lnTo>
                      <a:lnTo>
                        <a:pt x="88" y="61"/>
                      </a:lnTo>
                      <a:lnTo>
                        <a:pt x="88" y="61"/>
                      </a:lnTo>
                      <a:lnTo>
                        <a:pt x="89" y="61"/>
                      </a:lnTo>
                      <a:lnTo>
                        <a:pt x="89" y="62"/>
                      </a:lnTo>
                      <a:lnTo>
                        <a:pt x="89" y="62"/>
                      </a:lnTo>
                      <a:lnTo>
                        <a:pt x="89" y="63"/>
                      </a:lnTo>
                      <a:lnTo>
                        <a:pt x="90" y="63"/>
                      </a:lnTo>
                      <a:lnTo>
                        <a:pt x="91" y="63"/>
                      </a:lnTo>
                      <a:lnTo>
                        <a:pt x="91" y="63"/>
                      </a:lnTo>
                      <a:lnTo>
                        <a:pt x="91" y="63"/>
                      </a:lnTo>
                      <a:lnTo>
                        <a:pt x="92" y="63"/>
                      </a:lnTo>
                      <a:lnTo>
                        <a:pt x="92" y="64"/>
                      </a:lnTo>
                      <a:lnTo>
                        <a:pt x="92" y="65"/>
                      </a:lnTo>
                      <a:lnTo>
                        <a:pt x="92" y="65"/>
                      </a:lnTo>
                      <a:lnTo>
                        <a:pt x="93" y="65"/>
                      </a:lnTo>
                      <a:lnTo>
                        <a:pt x="93" y="65"/>
                      </a:lnTo>
                      <a:lnTo>
                        <a:pt x="94" y="65"/>
                      </a:lnTo>
                      <a:lnTo>
                        <a:pt x="95" y="65"/>
                      </a:lnTo>
                      <a:lnTo>
                        <a:pt x="95" y="66"/>
                      </a:lnTo>
                      <a:lnTo>
                        <a:pt x="95" y="67"/>
                      </a:lnTo>
                      <a:lnTo>
                        <a:pt x="95" y="67"/>
                      </a:lnTo>
                      <a:lnTo>
                        <a:pt x="96" y="67"/>
                      </a:lnTo>
                      <a:lnTo>
                        <a:pt x="97" y="67"/>
                      </a:lnTo>
                      <a:lnTo>
                        <a:pt x="97" y="68"/>
                      </a:lnTo>
                      <a:lnTo>
                        <a:pt x="97" y="68"/>
                      </a:lnTo>
                      <a:lnTo>
                        <a:pt x="97" y="69"/>
                      </a:lnTo>
                      <a:lnTo>
                        <a:pt x="97" y="68"/>
                      </a:lnTo>
                      <a:lnTo>
                        <a:pt x="97" y="69"/>
                      </a:lnTo>
                      <a:lnTo>
                        <a:pt x="98" y="69"/>
                      </a:lnTo>
                      <a:lnTo>
                        <a:pt x="98" y="69"/>
                      </a:lnTo>
                      <a:lnTo>
                        <a:pt x="99" y="69"/>
                      </a:lnTo>
                      <a:lnTo>
                        <a:pt x="99" y="69"/>
                      </a:lnTo>
                      <a:lnTo>
                        <a:pt x="99" y="70"/>
                      </a:lnTo>
                      <a:lnTo>
                        <a:pt x="100" y="70"/>
                      </a:lnTo>
                      <a:lnTo>
                        <a:pt x="100" y="71"/>
                      </a:lnTo>
                      <a:lnTo>
                        <a:pt x="100" y="71"/>
                      </a:lnTo>
                      <a:lnTo>
                        <a:pt x="101" y="71"/>
                      </a:lnTo>
                      <a:lnTo>
                        <a:pt x="101" y="72"/>
                      </a:lnTo>
                      <a:lnTo>
                        <a:pt x="101" y="73"/>
                      </a:lnTo>
                      <a:lnTo>
                        <a:pt x="102" y="73"/>
                      </a:lnTo>
                      <a:lnTo>
                        <a:pt x="102" y="73"/>
                      </a:lnTo>
                      <a:lnTo>
                        <a:pt x="103" y="73"/>
                      </a:lnTo>
                      <a:lnTo>
                        <a:pt x="103" y="74"/>
                      </a:lnTo>
                      <a:lnTo>
                        <a:pt x="103" y="74"/>
                      </a:lnTo>
                      <a:lnTo>
                        <a:pt x="104" y="74"/>
                      </a:lnTo>
                      <a:lnTo>
                        <a:pt x="105" y="75"/>
                      </a:lnTo>
                      <a:lnTo>
                        <a:pt x="105" y="76"/>
                      </a:lnTo>
                      <a:lnTo>
                        <a:pt x="105" y="76"/>
                      </a:lnTo>
                      <a:lnTo>
                        <a:pt x="106" y="77"/>
                      </a:lnTo>
                      <a:lnTo>
                        <a:pt x="106" y="78"/>
                      </a:lnTo>
                      <a:lnTo>
                        <a:pt x="106" y="78"/>
                      </a:lnTo>
                      <a:lnTo>
                        <a:pt x="106" y="79"/>
                      </a:lnTo>
                      <a:lnTo>
                        <a:pt x="107" y="79"/>
                      </a:lnTo>
                      <a:lnTo>
                        <a:pt x="107" y="80"/>
                      </a:lnTo>
                      <a:lnTo>
                        <a:pt x="108" y="80"/>
                      </a:lnTo>
                      <a:lnTo>
                        <a:pt x="108" y="80"/>
                      </a:lnTo>
                      <a:lnTo>
                        <a:pt x="108" y="81"/>
                      </a:lnTo>
                      <a:lnTo>
                        <a:pt x="109" y="81"/>
                      </a:lnTo>
                      <a:lnTo>
                        <a:pt x="110" y="81"/>
                      </a:lnTo>
                      <a:lnTo>
                        <a:pt x="110" y="82"/>
                      </a:lnTo>
                      <a:lnTo>
                        <a:pt x="110" y="82"/>
                      </a:lnTo>
                      <a:lnTo>
                        <a:pt x="111" y="82"/>
                      </a:lnTo>
                      <a:lnTo>
                        <a:pt x="112" y="83"/>
                      </a:lnTo>
                      <a:lnTo>
                        <a:pt x="112" y="84"/>
                      </a:lnTo>
                      <a:lnTo>
                        <a:pt x="113" y="84"/>
                      </a:lnTo>
                      <a:lnTo>
                        <a:pt x="114" y="84"/>
                      </a:lnTo>
                      <a:lnTo>
                        <a:pt x="114" y="84"/>
                      </a:lnTo>
                      <a:lnTo>
                        <a:pt x="114" y="85"/>
                      </a:lnTo>
                      <a:lnTo>
                        <a:pt x="115" y="85"/>
                      </a:lnTo>
                      <a:lnTo>
                        <a:pt x="115" y="86"/>
                      </a:lnTo>
                      <a:lnTo>
                        <a:pt x="116" y="86"/>
                      </a:lnTo>
                      <a:lnTo>
                        <a:pt x="116" y="86"/>
                      </a:lnTo>
                      <a:lnTo>
                        <a:pt x="117" y="86"/>
                      </a:lnTo>
                      <a:lnTo>
                        <a:pt x="117" y="85"/>
                      </a:lnTo>
                      <a:lnTo>
                        <a:pt x="118" y="85"/>
                      </a:lnTo>
                      <a:lnTo>
                        <a:pt x="118" y="85"/>
                      </a:lnTo>
                      <a:lnTo>
                        <a:pt x="118" y="86"/>
                      </a:lnTo>
                      <a:lnTo>
                        <a:pt x="118" y="86"/>
                      </a:lnTo>
                      <a:lnTo>
                        <a:pt x="118" y="86"/>
                      </a:lnTo>
                      <a:lnTo>
                        <a:pt x="118" y="87"/>
                      </a:lnTo>
                      <a:lnTo>
                        <a:pt x="118" y="87"/>
                      </a:lnTo>
                      <a:lnTo>
                        <a:pt x="119" y="87"/>
                      </a:lnTo>
                      <a:lnTo>
                        <a:pt x="119" y="88"/>
                      </a:lnTo>
                      <a:lnTo>
                        <a:pt x="120" y="88"/>
                      </a:lnTo>
                      <a:lnTo>
                        <a:pt x="120" y="88"/>
                      </a:lnTo>
                      <a:lnTo>
                        <a:pt x="120" y="89"/>
                      </a:lnTo>
                      <a:lnTo>
                        <a:pt x="120" y="90"/>
                      </a:lnTo>
                      <a:lnTo>
                        <a:pt x="121" y="90"/>
                      </a:lnTo>
                      <a:lnTo>
                        <a:pt x="121" y="90"/>
                      </a:lnTo>
                      <a:lnTo>
                        <a:pt x="122" y="90"/>
                      </a:lnTo>
                      <a:lnTo>
                        <a:pt x="122" y="90"/>
                      </a:lnTo>
                      <a:lnTo>
                        <a:pt x="122" y="91"/>
                      </a:lnTo>
                      <a:lnTo>
                        <a:pt x="123" y="91"/>
                      </a:lnTo>
                      <a:lnTo>
                        <a:pt x="123" y="92"/>
                      </a:lnTo>
                      <a:lnTo>
                        <a:pt x="124" y="92"/>
                      </a:lnTo>
                      <a:lnTo>
                        <a:pt x="124" y="92"/>
                      </a:lnTo>
                      <a:lnTo>
                        <a:pt x="124" y="93"/>
                      </a:lnTo>
                      <a:lnTo>
                        <a:pt x="124" y="94"/>
                      </a:lnTo>
                      <a:lnTo>
                        <a:pt x="125" y="94"/>
                      </a:lnTo>
                      <a:lnTo>
                        <a:pt x="125" y="95"/>
                      </a:lnTo>
                      <a:lnTo>
                        <a:pt x="126" y="95"/>
                      </a:lnTo>
                      <a:lnTo>
                        <a:pt x="127" y="95"/>
                      </a:lnTo>
                      <a:lnTo>
                        <a:pt x="127" y="95"/>
                      </a:lnTo>
                      <a:lnTo>
                        <a:pt x="127" y="95"/>
                      </a:lnTo>
                      <a:lnTo>
                        <a:pt x="127" y="96"/>
                      </a:lnTo>
                      <a:lnTo>
                        <a:pt x="127" y="97"/>
                      </a:lnTo>
                      <a:lnTo>
                        <a:pt x="127" y="97"/>
                      </a:lnTo>
                      <a:lnTo>
                        <a:pt x="127" y="98"/>
                      </a:lnTo>
                      <a:lnTo>
                        <a:pt x="127" y="99"/>
                      </a:lnTo>
                      <a:lnTo>
                        <a:pt x="128" y="99"/>
                      </a:lnTo>
                      <a:lnTo>
                        <a:pt x="128" y="99"/>
                      </a:lnTo>
                      <a:lnTo>
                        <a:pt x="128" y="100"/>
                      </a:lnTo>
                      <a:lnTo>
                        <a:pt x="129" y="100"/>
                      </a:lnTo>
                      <a:lnTo>
                        <a:pt x="129" y="101"/>
                      </a:lnTo>
                      <a:lnTo>
                        <a:pt x="129" y="101"/>
                      </a:lnTo>
                      <a:lnTo>
                        <a:pt x="129" y="102"/>
                      </a:lnTo>
                      <a:lnTo>
                        <a:pt x="129" y="103"/>
                      </a:lnTo>
                      <a:lnTo>
                        <a:pt x="129" y="103"/>
                      </a:lnTo>
                      <a:lnTo>
                        <a:pt x="130" y="103"/>
                      </a:lnTo>
                      <a:lnTo>
                        <a:pt x="130" y="103"/>
                      </a:lnTo>
                      <a:lnTo>
                        <a:pt x="130" y="104"/>
                      </a:lnTo>
                      <a:lnTo>
                        <a:pt x="131" y="104"/>
                      </a:lnTo>
                      <a:lnTo>
                        <a:pt x="131" y="104"/>
                      </a:lnTo>
                      <a:lnTo>
                        <a:pt x="132" y="104"/>
                      </a:lnTo>
                      <a:lnTo>
                        <a:pt x="132" y="105"/>
                      </a:lnTo>
                      <a:lnTo>
                        <a:pt x="132" y="105"/>
                      </a:lnTo>
                      <a:lnTo>
                        <a:pt x="133" y="105"/>
                      </a:lnTo>
                      <a:lnTo>
                        <a:pt x="133" y="106"/>
                      </a:lnTo>
                      <a:lnTo>
                        <a:pt x="133" y="106"/>
                      </a:lnTo>
                      <a:lnTo>
                        <a:pt x="134" y="106"/>
                      </a:lnTo>
                      <a:lnTo>
                        <a:pt x="134" y="107"/>
                      </a:lnTo>
                      <a:lnTo>
                        <a:pt x="135" y="107"/>
                      </a:lnTo>
                      <a:lnTo>
                        <a:pt x="135" y="107"/>
                      </a:lnTo>
                      <a:lnTo>
                        <a:pt x="135" y="108"/>
                      </a:lnTo>
                      <a:lnTo>
                        <a:pt x="136" y="108"/>
                      </a:lnTo>
                      <a:lnTo>
                        <a:pt x="136" y="109"/>
                      </a:lnTo>
                      <a:lnTo>
                        <a:pt x="136" y="109"/>
                      </a:lnTo>
                      <a:lnTo>
                        <a:pt x="137" y="109"/>
                      </a:lnTo>
                      <a:lnTo>
                        <a:pt x="137" y="110"/>
                      </a:lnTo>
                      <a:lnTo>
                        <a:pt x="137" y="111"/>
                      </a:lnTo>
                      <a:lnTo>
                        <a:pt x="137" y="111"/>
                      </a:lnTo>
                      <a:lnTo>
                        <a:pt x="138" y="111"/>
                      </a:lnTo>
                      <a:lnTo>
                        <a:pt x="139" y="111"/>
                      </a:lnTo>
                      <a:lnTo>
                        <a:pt x="139" y="111"/>
                      </a:lnTo>
                      <a:lnTo>
                        <a:pt x="139" y="111"/>
                      </a:lnTo>
                      <a:lnTo>
                        <a:pt x="140" y="111"/>
                      </a:lnTo>
                      <a:lnTo>
                        <a:pt x="141" y="111"/>
                      </a:lnTo>
                      <a:lnTo>
                        <a:pt x="141" y="111"/>
                      </a:lnTo>
                      <a:lnTo>
                        <a:pt x="141" y="112"/>
                      </a:lnTo>
                      <a:lnTo>
                        <a:pt x="141" y="113"/>
                      </a:lnTo>
                      <a:lnTo>
                        <a:pt x="142" y="114"/>
                      </a:lnTo>
                      <a:lnTo>
                        <a:pt x="142" y="114"/>
                      </a:lnTo>
                      <a:lnTo>
                        <a:pt x="143" y="114"/>
                      </a:lnTo>
                      <a:lnTo>
                        <a:pt x="143" y="114"/>
                      </a:lnTo>
                      <a:lnTo>
                        <a:pt x="143" y="114"/>
                      </a:lnTo>
                      <a:lnTo>
                        <a:pt x="144" y="114"/>
                      </a:lnTo>
                      <a:lnTo>
                        <a:pt x="144" y="114"/>
                      </a:lnTo>
                      <a:lnTo>
                        <a:pt x="145" y="114"/>
                      </a:lnTo>
                      <a:lnTo>
                        <a:pt x="145" y="114"/>
                      </a:lnTo>
                      <a:lnTo>
                        <a:pt x="145" y="113"/>
                      </a:lnTo>
                      <a:lnTo>
                        <a:pt x="146" y="113"/>
                      </a:lnTo>
                      <a:lnTo>
                        <a:pt x="146" y="114"/>
                      </a:lnTo>
                      <a:lnTo>
                        <a:pt x="146" y="114"/>
                      </a:lnTo>
                      <a:lnTo>
                        <a:pt x="147" y="114"/>
                      </a:lnTo>
                      <a:lnTo>
                        <a:pt x="147" y="114"/>
                      </a:lnTo>
                      <a:lnTo>
                        <a:pt x="148" y="114"/>
                      </a:lnTo>
                      <a:lnTo>
                        <a:pt x="148" y="115"/>
                      </a:lnTo>
                      <a:lnTo>
                        <a:pt x="148" y="116"/>
                      </a:lnTo>
                      <a:lnTo>
                        <a:pt x="148" y="116"/>
                      </a:lnTo>
                      <a:lnTo>
                        <a:pt x="149" y="116"/>
                      </a:lnTo>
                      <a:lnTo>
                        <a:pt x="150" y="116"/>
                      </a:lnTo>
                      <a:lnTo>
                        <a:pt x="150" y="116"/>
                      </a:lnTo>
                      <a:lnTo>
                        <a:pt x="151" y="116"/>
                      </a:lnTo>
                      <a:lnTo>
                        <a:pt x="152" y="116"/>
                      </a:lnTo>
                      <a:lnTo>
                        <a:pt x="152" y="116"/>
                      </a:lnTo>
                      <a:lnTo>
                        <a:pt x="153" y="116"/>
                      </a:lnTo>
                      <a:lnTo>
                        <a:pt x="153" y="117"/>
                      </a:lnTo>
                      <a:lnTo>
                        <a:pt x="153" y="118"/>
                      </a:lnTo>
                      <a:lnTo>
                        <a:pt x="153" y="118"/>
                      </a:lnTo>
                      <a:lnTo>
                        <a:pt x="153" y="119"/>
                      </a:lnTo>
                      <a:lnTo>
                        <a:pt x="153" y="120"/>
                      </a:lnTo>
                      <a:lnTo>
                        <a:pt x="154" y="120"/>
                      </a:lnTo>
                      <a:lnTo>
                        <a:pt x="154" y="120"/>
                      </a:lnTo>
                      <a:lnTo>
                        <a:pt x="154" y="120"/>
                      </a:lnTo>
                      <a:lnTo>
                        <a:pt x="154" y="121"/>
                      </a:lnTo>
                      <a:lnTo>
                        <a:pt x="154" y="122"/>
                      </a:lnTo>
                      <a:lnTo>
                        <a:pt x="155" y="122"/>
                      </a:lnTo>
                      <a:lnTo>
                        <a:pt x="155" y="122"/>
                      </a:lnTo>
                      <a:lnTo>
                        <a:pt x="156" y="122"/>
                      </a:lnTo>
                      <a:lnTo>
                        <a:pt x="156" y="123"/>
                      </a:lnTo>
                      <a:lnTo>
                        <a:pt x="156" y="124"/>
                      </a:lnTo>
                      <a:lnTo>
                        <a:pt x="156" y="124"/>
                      </a:lnTo>
                      <a:lnTo>
                        <a:pt x="156" y="124"/>
                      </a:lnTo>
                      <a:lnTo>
                        <a:pt x="156" y="125"/>
                      </a:lnTo>
                      <a:lnTo>
                        <a:pt x="156" y="126"/>
                      </a:lnTo>
                      <a:lnTo>
                        <a:pt x="157" y="126"/>
                      </a:lnTo>
                      <a:lnTo>
                        <a:pt x="157" y="126"/>
                      </a:lnTo>
                      <a:lnTo>
                        <a:pt x="158" y="126"/>
                      </a:lnTo>
                      <a:lnTo>
                        <a:pt x="158" y="127"/>
                      </a:lnTo>
                      <a:lnTo>
                        <a:pt x="158" y="126"/>
                      </a:lnTo>
                      <a:lnTo>
                        <a:pt x="159" y="126"/>
                      </a:lnTo>
                      <a:lnTo>
                        <a:pt x="159" y="126"/>
                      </a:lnTo>
                      <a:lnTo>
                        <a:pt x="159" y="126"/>
                      </a:lnTo>
                      <a:lnTo>
                        <a:pt x="160" y="126"/>
                      </a:lnTo>
                      <a:lnTo>
                        <a:pt x="159" y="126"/>
                      </a:lnTo>
                      <a:lnTo>
                        <a:pt x="159" y="127"/>
                      </a:lnTo>
                      <a:lnTo>
                        <a:pt x="159" y="128"/>
                      </a:lnTo>
                      <a:lnTo>
                        <a:pt x="159" y="128"/>
                      </a:lnTo>
                      <a:lnTo>
                        <a:pt x="160" y="128"/>
                      </a:lnTo>
                      <a:lnTo>
                        <a:pt x="160" y="128"/>
                      </a:lnTo>
                      <a:lnTo>
                        <a:pt x="160" y="129"/>
                      </a:lnTo>
                      <a:lnTo>
                        <a:pt x="160" y="130"/>
                      </a:lnTo>
                      <a:lnTo>
                        <a:pt x="160" y="130"/>
                      </a:lnTo>
                      <a:lnTo>
                        <a:pt x="160" y="131"/>
                      </a:lnTo>
                      <a:lnTo>
                        <a:pt x="160" y="132"/>
                      </a:lnTo>
                      <a:lnTo>
                        <a:pt x="160" y="132"/>
                      </a:lnTo>
                      <a:lnTo>
                        <a:pt x="160" y="132"/>
                      </a:lnTo>
                      <a:lnTo>
                        <a:pt x="160" y="133"/>
                      </a:lnTo>
                      <a:lnTo>
                        <a:pt x="160" y="134"/>
                      </a:lnTo>
                      <a:lnTo>
                        <a:pt x="161" y="134"/>
                      </a:lnTo>
                      <a:lnTo>
                        <a:pt x="161" y="135"/>
                      </a:lnTo>
                      <a:lnTo>
                        <a:pt x="162" y="135"/>
                      </a:lnTo>
                      <a:lnTo>
                        <a:pt x="162" y="136"/>
                      </a:lnTo>
                      <a:lnTo>
                        <a:pt x="162" y="136"/>
                      </a:lnTo>
                      <a:lnTo>
                        <a:pt x="162" y="137"/>
                      </a:lnTo>
                      <a:lnTo>
                        <a:pt x="163" y="137"/>
                      </a:lnTo>
                      <a:lnTo>
                        <a:pt x="163" y="137"/>
                      </a:lnTo>
                      <a:lnTo>
                        <a:pt x="163" y="138"/>
                      </a:lnTo>
                      <a:lnTo>
                        <a:pt x="163" y="139"/>
                      </a:lnTo>
                      <a:lnTo>
                        <a:pt x="163" y="139"/>
                      </a:lnTo>
                      <a:lnTo>
                        <a:pt x="164" y="139"/>
                      </a:lnTo>
                      <a:lnTo>
                        <a:pt x="165" y="139"/>
                      </a:lnTo>
                      <a:lnTo>
                        <a:pt x="165" y="140"/>
                      </a:lnTo>
                      <a:lnTo>
                        <a:pt x="165" y="141"/>
                      </a:lnTo>
                      <a:lnTo>
                        <a:pt x="165" y="141"/>
                      </a:lnTo>
                      <a:lnTo>
                        <a:pt x="166" y="141"/>
                      </a:lnTo>
                      <a:lnTo>
                        <a:pt x="167" y="142"/>
                      </a:lnTo>
                      <a:lnTo>
                        <a:pt x="167" y="142"/>
                      </a:lnTo>
                      <a:lnTo>
                        <a:pt x="167" y="143"/>
                      </a:lnTo>
                      <a:lnTo>
                        <a:pt x="167" y="143"/>
                      </a:lnTo>
                      <a:lnTo>
                        <a:pt x="168" y="143"/>
                      </a:lnTo>
                      <a:lnTo>
                        <a:pt x="169" y="143"/>
                      </a:lnTo>
                      <a:lnTo>
                        <a:pt x="169" y="144"/>
                      </a:lnTo>
                      <a:lnTo>
                        <a:pt x="169" y="144"/>
                      </a:lnTo>
                      <a:lnTo>
                        <a:pt x="169" y="145"/>
                      </a:lnTo>
                      <a:lnTo>
                        <a:pt x="169" y="145"/>
                      </a:lnTo>
                      <a:lnTo>
                        <a:pt x="170" y="145"/>
                      </a:lnTo>
                      <a:lnTo>
                        <a:pt x="171" y="145"/>
                      </a:lnTo>
                      <a:lnTo>
                        <a:pt x="171" y="146"/>
                      </a:lnTo>
                      <a:lnTo>
                        <a:pt x="172" y="146"/>
                      </a:lnTo>
                      <a:lnTo>
                        <a:pt x="173" y="145"/>
                      </a:lnTo>
                      <a:lnTo>
                        <a:pt x="173" y="145"/>
                      </a:lnTo>
                      <a:lnTo>
                        <a:pt x="173" y="145"/>
                      </a:lnTo>
                      <a:lnTo>
                        <a:pt x="173" y="144"/>
                      </a:lnTo>
                      <a:lnTo>
                        <a:pt x="174" y="144"/>
                      </a:lnTo>
                      <a:lnTo>
                        <a:pt x="175" y="144"/>
                      </a:lnTo>
                      <a:lnTo>
                        <a:pt x="175" y="145"/>
                      </a:lnTo>
                      <a:lnTo>
                        <a:pt x="176" y="145"/>
                      </a:lnTo>
                      <a:lnTo>
                        <a:pt x="177" y="145"/>
                      </a:lnTo>
                      <a:lnTo>
                        <a:pt x="177" y="145"/>
                      </a:lnTo>
                      <a:lnTo>
                        <a:pt x="177" y="145"/>
                      </a:lnTo>
                      <a:lnTo>
                        <a:pt x="178" y="145"/>
                      </a:lnTo>
                      <a:lnTo>
                        <a:pt x="179" y="145"/>
                      </a:lnTo>
                      <a:lnTo>
                        <a:pt x="179" y="146"/>
                      </a:lnTo>
                      <a:lnTo>
                        <a:pt x="179" y="146"/>
                      </a:lnTo>
                      <a:lnTo>
                        <a:pt x="179" y="147"/>
                      </a:lnTo>
                      <a:lnTo>
                        <a:pt x="180" y="147"/>
                      </a:lnTo>
                      <a:lnTo>
                        <a:pt x="181" y="147"/>
                      </a:lnTo>
                      <a:lnTo>
                        <a:pt x="181" y="148"/>
                      </a:lnTo>
                      <a:lnTo>
                        <a:pt x="181" y="148"/>
                      </a:lnTo>
                      <a:lnTo>
                        <a:pt x="182" y="149"/>
                      </a:lnTo>
                      <a:lnTo>
                        <a:pt x="183" y="149"/>
                      </a:lnTo>
                      <a:lnTo>
                        <a:pt x="183" y="149"/>
                      </a:lnTo>
                      <a:lnTo>
                        <a:pt x="184" y="149"/>
                      </a:lnTo>
                      <a:lnTo>
                        <a:pt x="184" y="150"/>
                      </a:lnTo>
                      <a:lnTo>
                        <a:pt x="184" y="151"/>
                      </a:lnTo>
                      <a:lnTo>
                        <a:pt x="185" y="151"/>
                      </a:lnTo>
                      <a:lnTo>
                        <a:pt x="185" y="151"/>
                      </a:lnTo>
                      <a:lnTo>
                        <a:pt x="186" y="151"/>
                      </a:lnTo>
                      <a:lnTo>
                        <a:pt x="186" y="152"/>
                      </a:lnTo>
                      <a:lnTo>
                        <a:pt x="186" y="152"/>
                      </a:lnTo>
                      <a:lnTo>
                        <a:pt x="186" y="153"/>
                      </a:lnTo>
                      <a:lnTo>
                        <a:pt x="187" y="153"/>
                      </a:lnTo>
                      <a:lnTo>
                        <a:pt x="188" y="153"/>
                      </a:lnTo>
                      <a:lnTo>
                        <a:pt x="188" y="154"/>
                      </a:lnTo>
                      <a:lnTo>
                        <a:pt x="188" y="154"/>
                      </a:lnTo>
                      <a:lnTo>
                        <a:pt x="188" y="154"/>
                      </a:lnTo>
                      <a:lnTo>
                        <a:pt x="189" y="154"/>
                      </a:lnTo>
                      <a:lnTo>
                        <a:pt x="190" y="154"/>
                      </a:lnTo>
                      <a:lnTo>
                        <a:pt x="190" y="155"/>
                      </a:lnTo>
                      <a:lnTo>
                        <a:pt x="190" y="155"/>
                      </a:lnTo>
                      <a:lnTo>
                        <a:pt x="191" y="156"/>
                      </a:lnTo>
                      <a:lnTo>
                        <a:pt x="192" y="156"/>
                      </a:lnTo>
                      <a:lnTo>
                        <a:pt x="192" y="156"/>
                      </a:lnTo>
                      <a:lnTo>
                        <a:pt x="192" y="157"/>
                      </a:lnTo>
                      <a:lnTo>
                        <a:pt x="192" y="158"/>
                      </a:lnTo>
                      <a:lnTo>
                        <a:pt x="193" y="158"/>
                      </a:lnTo>
                      <a:lnTo>
                        <a:pt x="193" y="158"/>
                      </a:lnTo>
                      <a:lnTo>
                        <a:pt x="193" y="159"/>
                      </a:lnTo>
                      <a:lnTo>
                        <a:pt x="192" y="159"/>
                      </a:lnTo>
                      <a:lnTo>
                        <a:pt x="192" y="160"/>
                      </a:lnTo>
                      <a:lnTo>
                        <a:pt x="192" y="160"/>
                      </a:lnTo>
                      <a:lnTo>
                        <a:pt x="192" y="161"/>
                      </a:lnTo>
                      <a:lnTo>
                        <a:pt x="192" y="162"/>
                      </a:lnTo>
                      <a:lnTo>
                        <a:pt x="192" y="162"/>
                      </a:lnTo>
                      <a:lnTo>
                        <a:pt x="192" y="163"/>
                      </a:lnTo>
                      <a:lnTo>
                        <a:pt x="191" y="163"/>
                      </a:lnTo>
                      <a:lnTo>
                        <a:pt x="190" y="164"/>
                      </a:lnTo>
                      <a:lnTo>
                        <a:pt x="190" y="164"/>
                      </a:lnTo>
                      <a:lnTo>
                        <a:pt x="189" y="164"/>
                      </a:lnTo>
                      <a:lnTo>
                        <a:pt x="189" y="163"/>
                      </a:lnTo>
                      <a:lnTo>
                        <a:pt x="188" y="164"/>
                      </a:lnTo>
                      <a:lnTo>
                        <a:pt x="188" y="163"/>
                      </a:lnTo>
                      <a:lnTo>
                        <a:pt x="188" y="162"/>
                      </a:lnTo>
                      <a:lnTo>
                        <a:pt x="187" y="162"/>
                      </a:lnTo>
                      <a:lnTo>
                        <a:pt x="186" y="162"/>
                      </a:lnTo>
                      <a:lnTo>
                        <a:pt x="186" y="162"/>
                      </a:lnTo>
                      <a:lnTo>
                        <a:pt x="185" y="162"/>
                      </a:lnTo>
                      <a:lnTo>
                        <a:pt x="184" y="162"/>
                      </a:lnTo>
                      <a:lnTo>
                        <a:pt x="184" y="161"/>
                      </a:lnTo>
                      <a:lnTo>
                        <a:pt x="184" y="161"/>
                      </a:lnTo>
                      <a:lnTo>
                        <a:pt x="184" y="160"/>
                      </a:lnTo>
                      <a:lnTo>
                        <a:pt x="183" y="160"/>
                      </a:lnTo>
                      <a:lnTo>
                        <a:pt x="183" y="160"/>
                      </a:lnTo>
                      <a:lnTo>
                        <a:pt x="182" y="160"/>
                      </a:lnTo>
                      <a:lnTo>
                        <a:pt x="181" y="160"/>
                      </a:lnTo>
                      <a:lnTo>
                        <a:pt x="181" y="160"/>
                      </a:lnTo>
                      <a:lnTo>
                        <a:pt x="180" y="161"/>
                      </a:lnTo>
                      <a:lnTo>
                        <a:pt x="179" y="161"/>
                      </a:lnTo>
                      <a:lnTo>
                        <a:pt x="179" y="160"/>
                      </a:lnTo>
                      <a:lnTo>
                        <a:pt x="179" y="160"/>
                      </a:lnTo>
                      <a:lnTo>
                        <a:pt x="178" y="160"/>
                      </a:lnTo>
                      <a:lnTo>
                        <a:pt x="178" y="159"/>
                      </a:lnTo>
                      <a:lnTo>
                        <a:pt x="177" y="159"/>
                      </a:lnTo>
                      <a:lnTo>
                        <a:pt x="177" y="160"/>
                      </a:lnTo>
                      <a:lnTo>
                        <a:pt x="177" y="160"/>
                      </a:lnTo>
                      <a:lnTo>
                        <a:pt x="177" y="159"/>
                      </a:lnTo>
                      <a:lnTo>
                        <a:pt x="176" y="159"/>
                      </a:lnTo>
                      <a:lnTo>
                        <a:pt x="175" y="158"/>
                      </a:lnTo>
                      <a:lnTo>
                        <a:pt x="175" y="158"/>
                      </a:lnTo>
                      <a:lnTo>
                        <a:pt x="174" y="158"/>
                      </a:lnTo>
                      <a:lnTo>
                        <a:pt x="174" y="158"/>
                      </a:lnTo>
                      <a:lnTo>
                        <a:pt x="173" y="158"/>
                      </a:lnTo>
                      <a:lnTo>
                        <a:pt x="173" y="157"/>
                      </a:lnTo>
                      <a:lnTo>
                        <a:pt x="173" y="157"/>
                      </a:lnTo>
                      <a:lnTo>
                        <a:pt x="172" y="157"/>
                      </a:lnTo>
                      <a:lnTo>
                        <a:pt x="171" y="157"/>
                      </a:lnTo>
                      <a:lnTo>
                        <a:pt x="171" y="157"/>
                      </a:lnTo>
                      <a:lnTo>
                        <a:pt x="171" y="156"/>
                      </a:lnTo>
                      <a:lnTo>
                        <a:pt x="170" y="156"/>
                      </a:lnTo>
                      <a:lnTo>
                        <a:pt x="169" y="156"/>
                      </a:lnTo>
                      <a:lnTo>
                        <a:pt x="169" y="155"/>
                      </a:lnTo>
                      <a:lnTo>
                        <a:pt x="169" y="155"/>
                      </a:lnTo>
                      <a:lnTo>
                        <a:pt x="168" y="156"/>
                      </a:lnTo>
                      <a:lnTo>
                        <a:pt x="167" y="156"/>
                      </a:lnTo>
                      <a:lnTo>
                        <a:pt x="167" y="156"/>
                      </a:lnTo>
                      <a:lnTo>
                        <a:pt x="167" y="157"/>
                      </a:lnTo>
                      <a:lnTo>
                        <a:pt x="166" y="157"/>
                      </a:lnTo>
                      <a:lnTo>
                        <a:pt x="165" y="157"/>
                      </a:lnTo>
                      <a:lnTo>
                        <a:pt x="165" y="156"/>
                      </a:lnTo>
                      <a:lnTo>
                        <a:pt x="164" y="156"/>
                      </a:lnTo>
                      <a:lnTo>
                        <a:pt x="164" y="155"/>
                      </a:lnTo>
                      <a:lnTo>
                        <a:pt x="164" y="154"/>
                      </a:lnTo>
                      <a:lnTo>
                        <a:pt x="163" y="154"/>
                      </a:lnTo>
                      <a:lnTo>
                        <a:pt x="162" y="154"/>
                      </a:lnTo>
                      <a:lnTo>
                        <a:pt x="162" y="154"/>
                      </a:lnTo>
                      <a:lnTo>
                        <a:pt x="162" y="154"/>
                      </a:lnTo>
                      <a:lnTo>
                        <a:pt x="162" y="154"/>
                      </a:lnTo>
                      <a:lnTo>
                        <a:pt x="161" y="154"/>
                      </a:lnTo>
                      <a:lnTo>
                        <a:pt x="160" y="154"/>
                      </a:lnTo>
                      <a:lnTo>
                        <a:pt x="160" y="154"/>
                      </a:lnTo>
                      <a:lnTo>
                        <a:pt x="159" y="154"/>
                      </a:lnTo>
                      <a:lnTo>
                        <a:pt x="158" y="154"/>
                      </a:lnTo>
                      <a:lnTo>
                        <a:pt x="158" y="154"/>
                      </a:lnTo>
                      <a:lnTo>
                        <a:pt x="157" y="154"/>
                      </a:lnTo>
                      <a:lnTo>
                        <a:pt x="156" y="154"/>
                      </a:lnTo>
                      <a:lnTo>
                        <a:pt x="156" y="154"/>
                      </a:lnTo>
                      <a:lnTo>
                        <a:pt x="156" y="153"/>
                      </a:lnTo>
                      <a:lnTo>
                        <a:pt x="155" y="153"/>
                      </a:lnTo>
                      <a:lnTo>
                        <a:pt x="155" y="152"/>
                      </a:lnTo>
                      <a:lnTo>
                        <a:pt x="154" y="152"/>
                      </a:lnTo>
                      <a:lnTo>
                        <a:pt x="154" y="152"/>
                      </a:lnTo>
                      <a:lnTo>
                        <a:pt x="154" y="151"/>
                      </a:lnTo>
                      <a:lnTo>
                        <a:pt x="153" y="151"/>
                      </a:lnTo>
                      <a:lnTo>
                        <a:pt x="153" y="151"/>
                      </a:lnTo>
                      <a:lnTo>
                        <a:pt x="152" y="151"/>
                      </a:lnTo>
                      <a:lnTo>
                        <a:pt x="152" y="151"/>
                      </a:lnTo>
                      <a:lnTo>
                        <a:pt x="151" y="151"/>
                      </a:lnTo>
                      <a:lnTo>
                        <a:pt x="150" y="151"/>
                      </a:lnTo>
                      <a:lnTo>
                        <a:pt x="150" y="152"/>
                      </a:lnTo>
                      <a:lnTo>
                        <a:pt x="150" y="153"/>
                      </a:lnTo>
                      <a:lnTo>
                        <a:pt x="149" y="153"/>
                      </a:lnTo>
                      <a:lnTo>
                        <a:pt x="148" y="153"/>
                      </a:lnTo>
                      <a:lnTo>
                        <a:pt x="148" y="153"/>
                      </a:lnTo>
                      <a:lnTo>
                        <a:pt x="147" y="153"/>
                      </a:lnTo>
                      <a:lnTo>
                        <a:pt x="147" y="152"/>
                      </a:lnTo>
                      <a:lnTo>
                        <a:pt x="146" y="152"/>
                      </a:lnTo>
                      <a:lnTo>
                        <a:pt x="146" y="152"/>
                      </a:lnTo>
                      <a:lnTo>
                        <a:pt x="145" y="152"/>
                      </a:lnTo>
                      <a:lnTo>
                        <a:pt x="145" y="153"/>
                      </a:lnTo>
                      <a:lnTo>
                        <a:pt x="145" y="154"/>
                      </a:lnTo>
                      <a:lnTo>
                        <a:pt x="145" y="154"/>
                      </a:lnTo>
                      <a:lnTo>
                        <a:pt x="144" y="155"/>
                      </a:lnTo>
                      <a:lnTo>
                        <a:pt x="143" y="155"/>
                      </a:lnTo>
                      <a:lnTo>
                        <a:pt x="143" y="155"/>
                      </a:lnTo>
                      <a:lnTo>
                        <a:pt x="143" y="156"/>
                      </a:lnTo>
                      <a:lnTo>
                        <a:pt x="142" y="156"/>
                      </a:lnTo>
                      <a:lnTo>
                        <a:pt x="142" y="155"/>
                      </a:lnTo>
                      <a:lnTo>
                        <a:pt x="141" y="155"/>
                      </a:lnTo>
                      <a:lnTo>
                        <a:pt x="141" y="155"/>
                      </a:lnTo>
                      <a:lnTo>
                        <a:pt x="140" y="155"/>
                      </a:lnTo>
                      <a:lnTo>
                        <a:pt x="139" y="154"/>
                      </a:lnTo>
                      <a:lnTo>
                        <a:pt x="139" y="154"/>
                      </a:lnTo>
                      <a:lnTo>
                        <a:pt x="139" y="153"/>
                      </a:lnTo>
                      <a:lnTo>
                        <a:pt x="138" y="153"/>
                      </a:lnTo>
                      <a:lnTo>
                        <a:pt x="137" y="152"/>
                      </a:lnTo>
                      <a:lnTo>
                        <a:pt x="137" y="152"/>
                      </a:lnTo>
                      <a:lnTo>
                        <a:pt x="136" y="152"/>
                      </a:lnTo>
                      <a:lnTo>
                        <a:pt x="135" y="151"/>
                      </a:lnTo>
                      <a:lnTo>
                        <a:pt x="135" y="151"/>
                      </a:lnTo>
                      <a:lnTo>
                        <a:pt x="134" y="151"/>
                      </a:lnTo>
                      <a:lnTo>
                        <a:pt x="134" y="150"/>
                      </a:lnTo>
                      <a:lnTo>
                        <a:pt x="133" y="149"/>
                      </a:lnTo>
                      <a:lnTo>
                        <a:pt x="133" y="149"/>
                      </a:lnTo>
                      <a:lnTo>
                        <a:pt x="131" y="148"/>
                      </a:lnTo>
                      <a:lnTo>
                        <a:pt x="131" y="148"/>
                      </a:lnTo>
                      <a:lnTo>
                        <a:pt x="129" y="148"/>
                      </a:lnTo>
                      <a:lnTo>
                        <a:pt x="128" y="148"/>
                      </a:lnTo>
                      <a:lnTo>
                        <a:pt x="127" y="148"/>
                      </a:lnTo>
                      <a:lnTo>
                        <a:pt x="124" y="148"/>
                      </a:lnTo>
                      <a:lnTo>
                        <a:pt x="123" y="148"/>
                      </a:lnTo>
                      <a:lnTo>
                        <a:pt x="122" y="148"/>
                      </a:lnTo>
                      <a:lnTo>
                        <a:pt x="122" y="148"/>
                      </a:lnTo>
                      <a:lnTo>
                        <a:pt x="121" y="148"/>
                      </a:lnTo>
                      <a:lnTo>
                        <a:pt x="120" y="148"/>
                      </a:lnTo>
                      <a:lnTo>
                        <a:pt x="120" y="148"/>
                      </a:lnTo>
                      <a:lnTo>
                        <a:pt x="120" y="147"/>
                      </a:lnTo>
                      <a:lnTo>
                        <a:pt x="119" y="147"/>
                      </a:lnTo>
                      <a:lnTo>
                        <a:pt x="118" y="147"/>
                      </a:lnTo>
                      <a:lnTo>
                        <a:pt x="117" y="146"/>
                      </a:lnTo>
                      <a:lnTo>
                        <a:pt x="116" y="146"/>
                      </a:lnTo>
                      <a:lnTo>
                        <a:pt x="115" y="146"/>
                      </a:lnTo>
                      <a:lnTo>
                        <a:pt x="114" y="146"/>
                      </a:lnTo>
                      <a:lnTo>
                        <a:pt x="114" y="146"/>
                      </a:lnTo>
                      <a:lnTo>
                        <a:pt x="113" y="145"/>
                      </a:lnTo>
                      <a:lnTo>
                        <a:pt x="112" y="145"/>
                      </a:lnTo>
                      <a:lnTo>
                        <a:pt x="112" y="145"/>
                      </a:lnTo>
                      <a:lnTo>
                        <a:pt x="112" y="144"/>
                      </a:lnTo>
                      <a:lnTo>
                        <a:pt x="111" y="143"/>
                      </a:lnTo>
                      <a:lnTo>
                        <a:pt x="111" y="142"/>
                      </a:lnTo>
                      <a:lnTo>
                        <a:pt x="110" y="141"/>
                      </a:lnTo>
                      <a:lnTo>
                        <a:pt x="110" y="141"/>
                      </a:lnTo>
                      <a:lnTo>
                        <a:pt x="109" y="141"/>
                      </a:lnTo>
                      <a:lnTo>
                        <a:pt x="108" y="141"/>
                      </a:lnTo>
                      <a:lnTo>
                        <a:pt x="107" y="142"/>
                      </a:lnTo>
                      <a:lnTo>
                        <a:pt x="106" y="142"/>
                      </a:lnTo>
                      <a:lnTo>
                        <a:pt x="105" y="142"/>
                      </a:lnTo>
                      <a:lnTo>
                        <a:pt x="105" y="143"/>
                      </a:lnTo>
                      <a:lnTo>
                        <a:pt x="105" y="143"/>
                      </a:lnTo>
                      <a:lnTo>
                        <a:pt x="105" y="144"/>
                      </a:lnTo>
                      <a:lnTo>
                        <a:pt x="105" y="144"/>
                      </a:lnTo>
                      <a:lnTo>
                        <a:pt x="105" y="145"/>
                      </a:lnTo>
                      <a:lnTo>
                        <a:pt x="105" y="145"/>
                      </a:lnTo>
                      <a:lnTo>
                        <a:pt x="105" y="145"/>
                      </a:lnTo>
                      <a:lnTo>
                        <a:pt x="104" y="146"/>
                      </a:lnTo>
                      <a:lnTo>
                        <a:pt x="105" y="146"/>
                      </a:lnTo>
                      <a:lnTo>
                        <a:pt x="105" y="147"/>
                      </a:lnTo>
                      <a:lnTo>
                        <a:pt x="105" y="147"/>
                      </a:lnTo>
                      <a:lnTo>
                        <a:pt x="105" y="148"/>
                      </a:lnTo>
                      <a:lnTo>
                        <a:pt x="106" y="149"/>
                      </a:lnTo>
                      <a:lnTo>
                        <a:pt x="107" y="149"/>
                      </a:lnTo>
                      <a:lnTo>
                        <a:pt x="107" y="150"/>
                      </a:lnTo>
                      <a:lnTo>
                        <a:pt x="108" y="151"/>
                      </a:lnTo>
                      <a:lnTo>
                        <a:pt x="108" y="151"/>
                      </a:lnTo>
                      <a:lnTo>
                        <a:pt x="108" y="152"/>
                      </a:lnTo>
                      <a:lnTo>
                        <a:pt x="108" y="153"/>
                      </a:lnTo>
                      <a:lnTo>
                        <a:pt x="108" y="154"/>
                      </a:lnTo>
                      <a:lnTo>
                        <a:pt x="108" y="154"/>
                      </a:lnTo>
                      <a:lnTo>
                        <a:pt x="108" y="155"/>
                      </a:lnTo>
                      <a:lnTo>
                        <a:pt x="108" y="156"/>
                      </a:lnTo>
                      <a:lnTo>
                        <a:pt x="108" y="156"/>
                      </a:lnTo>
                      <a:lnTo>
                        <a:pt x="108" y="157"/>
                      </a:lnTo>
                      <a:lnTo>
                        <a:pt x="108" y="158"/>
                      </a:lnTo>
                      <a:lnTo>
                        <a:pt x="108" y="158"/>
                      </a:lnTo>
                      <a:lnTo>
                        <a:pt x="108" y="159"/>
                      </a:lnTo>
                      <a:lnTo>
                        <a:pt x="108" y="160"/>
                      </a:lnTo>
                      <a:lnTo>
                        <a:pt x="108" y="160"/>
                      </a:lnTo>
                      <a:lnTo>
                        <a:pt x="108" y="161"/>
                      </a:lnTo>
                      <a:lnTo>
                        <a:pt x="109" y="161"/>
                      </a:lnTo>
                      <a:lnTo>
                        <a:pt x="109" y="162"/>
                      </a:lnTo>
                      <a:lnTo>
                        <a:pt x="109" y="162"/>
                      </a:lnTo>
                      <a:lnTo>
                        <a:pt x="110" y="162"/>
                      </a:lnTo>
                      <a:lnTo>
                        <a:pt x="110" y="163"/>
                      </a:lnTo>
                      <a:lnTo>
                        <a:pt x="110" y="164"/>
                      </a:lnTo>
                      <a:lnTo>
                        <a:pt x="111" y="164"/>
                      </a:lnTo>
                      <a:lnTo>
                        <a:pt x="111" y="164"/>
                      </a:lnTo>
                      <a:lnTo>
                        <a:pt x="112" y="164"/>
                      </a:lnTo>
                      <a:lnTo>
                        <a:pt x="112" y="165"/>
                      </a:lnTo>
                      <a:lnTo>
                        <a:pt x="114" y="166"/>
                      </a:lnTo>
                      <a:lnTo>
                        <a:pt x="114" y="166"/>
                      </a:lnTo>
                      <a:lnTo>
                        <a:pt x="115" y="167"/>
                      </a:lnTo>
                      <a:lnTo>
                        <a:pt x="116" y="167"/>
                      </a:lnTo>
                      <a:lnTo>
                        <a:pt x="116" y="167"/>
                      </a:lnTo>
                      <a:lnTo>
                        <a:pt x="117" y="167"/>
                      </a:lnTo>
                      <a:lnTo>
                        <a:pt x="118" y="167"/>
                      </a:lnTo>
                      <a:lnTo>
                        <a:pt x="118" y="167"/>
                      </a:lnTo>
                      <a:lnTo>
                        <a:pt x="119" y="168"/>
                      </a:lnTo>
                      <a:lnTo>
                        <a:pt x="120" y="169"/>
                      </a:lnTo>
                      <a:lnTo>
                        <a:pt x="121" y="170"/>
                      </a:lnTo>
                      <a:lnTo>
                        <a:pt x="122" y="170"/>
                      </a:lnTo>
                      <a:lnTo>
                        <a:pt x="122" y="171"/>
                      </a:lnTo>
                      <a:lnTo>
                        <a:pt x="123" y="171"/>
                      </a:lnTo>
                      <a:lnTo>
                        <a:pt x="123" y="172"/>
                      </a:lnTo>
                      <a:lnTo>
                        <a:pt x="123" y="172"/>
                      </a:lnTo>
                      <a:lnTo>
                        <a:pt x="123" y="173"/>
                      </a:lnTo>
                      <a:lnTo>
                        <a:pt x="123" y="174"/>
                      </a:lnTo>
                      <a:lnTo>
                        <a:pt x="123" y="175"/>
                      </a:lnTo>
                      <a:lnTo>
                        <a:pt x="124" y="175"/>
                      </a:lnTo>
                      <a:lnTo>
                        <a:pt x="124" y="176"/>
                      </a:lnTo>
                      <a:lnTo>
                        <a:pt x="124" y="177"/>
                      </a:lnTo>
                      <a:lnTo>
                        <a:pt x="124" y="177"/>
                      </a:lnTo>
                      <a:lnTo>
                        <a:pt x="124" y="179"/>
                      </a:lnTo>
                      <a:lnTo>
                        <a:pt x="124" y="179"/>
                      </a:lnTo>
                      <a:lnTo>
                        <a:pt x="123" y="179"/>
                      </a:lnTo>
                      <a:lnTo>
                        <a:pt x="123" y="180"/>
                      </a:lnTo>
                      <a:lnTo>
                        <a:pt x="123" y="181"/>
                      </a:lnTo>
                      <a:lnTo>
                        <a:pt x="123" y="181"/>
                      </a:lnTo>
                      <a:lnTo>
                        <a:pt x="124" y="181"/>
                      </a:lnTo>
                      <a:lnTo>
                        <a:pt x="124" y="181"/>
                      </a:lnTo>
                      <a:lnTo>
                        <a:pt x="125" y="181"/>
                      </a:lnTo>
                      <a:lnTo>
                        <a:pt x="125" y="181"/>
                      </a:lnTo>
                      <a:lnTo>
                        <a:pt x="126" y="181"/>
                      </a:lnTo>
                      <a:lnTo>
                        <a:pt x="127" y="181"/>
                      </a:lnTo>
                      <a:lnTo>
                        <a:pt x="127" y="181"/>
                      </a:lnTo>
                      <a:lnTo>
                        <a:pt x="129" y="181"/>
                      </a:lnTo>
                      <a:lnTo>
                        <a:pt x="129" y="181"/>
                      </a:lnTo>
                      <a:lnTo>
                        <a:pt x="130" y="181"/>
                      </a:lnTo>
                      <a:lnTo>
                        <a:pt x="131" y="181"/>
                      </a:lnTo>
                      <a:lnTo>
                        <a:pt x="131" y="181"/>
                      </a:lnTo>
                      <a:lnTo>
                        <a:pt x="132" y="181"/>
                      </a:lnTo>
                      <a:lnTo>
                        <a:pt x="133" y="181"/>
                      </a:lnTo>
                      <a:lnTo>
                        <a:pt x="133" y="181"/>
                      </a:lnTo>
                      <a:lnTo>
                        <a:pt x="134" y="181"/>
                      </a:lnTo>
                      <a:lnTo>
                        <a:pt x="135" y="181"/>
                      </a:lnTo>
                      <a:lnTo>
                        <a:pt x="135" y="181"/>
                      </a:lnTo>
                      <a:lnTo>
                        <a:pt x="136" y="182"/>
                      </a:lnTo>
                      <a:lnTo>
                        <a:pt x="137" y="183"/>
                      </a:lnTo>
                      <a:lnTo>
                        <a:pt x="137" y="183"/>
                      </a:lnTo>
                      <a:lnTo>
                        <a:pt x="138" y="184"/>
                      </a:lnTo>
                      <a:lnTo>
                        <a:pt x="139" y="185"/>
                      </a:lnTo>
                      <a:lnTo>
                        <a:pt x="140" y="185"/>
                      </a:lnTo>
                      <a:lnTo>
                        <a:pt x="141" y="185"/>
                      </a:lnTo>
                      <a:lnTo>
                        <a:pt x="141" y="185"/>
                      </a:lnTo>
                      <a:lnTo>
                        <a:pt x="141" y="185"/>
                      </a:lnTo>
                      <a:lnTo>
                        <a:pt x="142" y="185"/>
                      </a:lnTo>
                      <a:lnTo>
                        <a:pt x="142" y="186"/>
                      </a:lnTo>
                      <a:lnTo>
                        <a:pt x="143" y="186"/>
                      </a:lnTo>
                      <a:lnTo>
                        <a:pt x="143" y="186"/>
                      </a:lnTo>
                      <a:lnTo>
                        <a:pt x="143" y="187"/>
                      </a:lnTo>
                      <a:lnTo>
                        <a:pt x="144" y="187"/>
                      </a:lnTo>
                      <a:lnTo>
                        <a:pt x="145" y="187"/>
                      </a:lnTo>
                      <a:lnTo>
                        <a:pt x="145" y="187"/>
                      </a:lnTo>
                      <a:lnTo>
                        <a:pt x="146" y="187"/>
                      </a:lnTo>
                      <a:lnTo>
                        <a:pt x="146" y="188"/>
                      </a:lnTo>
                      <a:lnTo>
                        <a:pt x="146" y="188"/>
                      </a:lnTo>
                      <a:lnTo>
                        <a:pt x="147" y="188"/>
                      </a:lnTo>
                      <a:lnTo>
                        <a:pt x="148" y="188"/>
                      </a:lnTo>
                      <a:lnTo>
                        <a:pt x="148" y="188"/>
                      </a:lnTo>
                      <a:lnTo>
                        <a:pt x="148" y="189"/>
                      </a:lnTo>
                      <a:lnTo>
                        <a:pt x="149" y="189"/>
                      </a:lnTo>
                      <a:lnTo>
                        <a:pt x="150" y="189"/>
                      </a:lnTo>
                      <a:lnTo>
                        <a:pt x="150" y="190"/>
                      </a:lnTo>
                      <a:lnTo>
                        <a:pt x="150" y="190"/>
                      </a:lnTo>
                      <a:lnTo>
                        <a:pt x="150" y="191"/>
                      </a:lnTo>
                      <a:lnTo>
                        <a:pt x="150" y="191"/>
                      </a:lnTo>
                      <a:lnTo>
                        <a:pt x="151" y="191"/>
                      </a:lnTo>
                      <a:lnTo>
                        <a:pt x="151" y="192"/>
                      </a:lnTo>
                      <a:lnTo>
                        <a:pt x="151" y="193"/>
                      </a:lnTo>
                      <a:lnTo>
                        <a:pt x="151" y="194"/>
                      </a:lnTo>
                      <a:lnTo>
                        <a:pt x="152" y="194"/>
                      </a:lnTo>
                      <a:lnTo>
                        <a:pt x="152" y="194"/>
                      </a:lnTo>
                      <a:lnTo>
                        <a:pt x="152" y="193"/>
                      </a:lnTo>
                      <a:lnTo>
                        <a:pt x="153" y="193"/>
                      </a:lnTo>
                      <a:lnTo>
                        <a:pt x="153" y="192"/>
                      </a:lnTo>
                      <a:lnTo>
                        <a:pt x="154" y="192"/>
                      </a:lnTo>
                      <a:lnTo>
                        <a:pt x="154" y="192"/>
                      </a:lnTo>
                      <a:lnTo>
                        <a:pt x="154" y="191"/>
                      </a:lnTo>
                      <a:lnTo>
                        <a:pt x="155" y="191"/>
                      </a:lnTo>
                      <a:lnTo>
                        <a:pt x="155" y="191"/>
                      </a:lnTo>
                      <a:lnTo>
                        <a:pt x="156" y="190"/>
                      </a:lnTo>
                      <a:lnTo>
                        <a:pt x="156" y="191"/>
                      </a:lnTo>
                      <a:lnTo>
                        <a:pt x="156" y="191"/>
                      </a:lnTo>
                      <a:lnTo>
                        <a:pt x="156" y="191"/>
                      </a:lnTo>
                      <a:lnTo>
                        <a:pt x="156" y="191"/>
                      </a:lnTo>
                      <a:lnTo>
                        <a:pt x="156" y="192"/>
                      </a:lnTo>
                      <a:lnTo>
                        <a:pt x="156" y="193"/>
                      </a:lnTo>
                      <a:lnTo>
                        <a:pt x="156" y="194"/>
                      </a:lnTo>
                      <a:lnTo>
                        <a:pt x="156" y="194"/>
                      </a:lnTo>
                      <a:lnTo>
                        <a:pt x="155" y="194"/>
                      </a:lnTo>
                      <a:lnTo>
                        <a:pt x="155" y="195"/>
                      </a:lnTo>
                      <a:lnTo>
                        <a:pt x="155" y="196"/>
                      </a:lnTo>
                      <a:lnTo>
                        <a:pt x="154" y="196"/>
                      </a:lnTo>
                      <a:lnTo>
                        <a:pt x="155" y="196"/>
                      </a:lnTo>
                      <a:lnTo>
                        <a:pt x="154" y="196"/>
                      </a:lnTo>
                      <a:lnTo>
                        <a:pt x="154" y="196"/>
                      </a:lnTo>
                      <a:lnTo>
                        <a:pt x="154" y="197"/>
                      </a:lnTo>
                      <a:lnTo>
                        <a:pt x="154" y="198"/>
                      </a:lnTo>
                      <a:lnTo>
                        <a:pt x="154" y="198"/>
                      </a:lnTo>
                      <a:lnTo>
                        <a:pt x="155" y="198"/>
                      </a:lnTo>
                      <a:lnTo>
                        <a:pt x="155" y="198"/>
                      </a:lnTo>
                      <a:lnTo>
                        <a:pt x="156" y="199"/>
                      </a:lnTo>
                      <a:lnTo>
                        <a:pt x="156" y="199"/>
                      </a:lnTo>
                      <a:lnTo>
                        <a:pt x="156" y="200"/>
                      </a:lnTo>
                      <a:lnTo>
                        <a:pt x="156" y="200"/>
                      </a:lnTo>
                      <a:lnTo>
                        <a:pt x="156" y="201"/>
                      </a:lnTo>
                      <a:lnTo>
                        <a:pt x="156" y="201"/>
                      </a:lnTo>
                      <a:lnTo>
                        <a:pt x="156" y="202"/>
                      </a:lnTo>
                      <a:lnTo>
                        <a:pt x="157" y="202"/>
                      </a:lnTo>
                      <a:lnTo>
                        <a:pt x="157" y="202"/>
                      </a:lnTo>
                      <a:lnTo>
                        <a:pt x="158" y="202"/>
                      </a:lnTo>
                      <a:lnTo>
                        <a:pt x="158" y="203"/>
                      </a:lnTo>
                      <a:lnTo>
                        <a:pt x="158" y="204"/>
                      </a:lnTo>
                      <a:lnTo>
                        <a:pt x="158" y="204"/>
                      </a:lnTo>
                      <a:lnTo>
                        <a:pt x="158" y="204"/>
                      </a:lnTo>
                      <a:lnTo>
                        <a:pt x="158" y="204"/>
                      </a:lnTo>
                      <a:lnTo>
                        <a:pt x="158" y="205"/>
                      </a:lnTo>
                      <a:lnTo>
                        <a:pt x="159" y="205"/>
                      </a:lnTo>
                      <a:lnTo>
                        <a:pt x="160" y="205"/>
                      </a:lnTo>
                      <a:lnTo>
                        <a:pt x="160" y="205"/>
                      </a:lnTo>
                      <a:lnTo>
                        <a:pt x="161" y="205"/>
                      </a:lnTo>
                      <a:lnTo>
                        <a:pt x="161" y="206"/>
                      </a:lnTo>
                      <a:lnTo>
                        <a:pt x="161" y="206"/>
                      </a:lnTo>
                      <a:lnTo>
                        <a:pt x="162" y="206"/>
                      </a:lnTo>
                      <a:lnTo>
                        <a:pt x="162" y="206"/>
                      </a:lnTo>
                      <a:lnTo>
                        <a:pt x="163" y="206"/>
                      </a:lnTo>
                      <a:lnTo>
                        <a:pt x="163" y="207"/>
                      </a:lnTo>
                      <a:lnTo>
                        <a:pt x="164" y="207"/>
                      </a:lnTo>
                      <a:lnTo>
                        <a:pt x="164" y="208"/>
                      </a:lnTo>
                      <a:lnTo>
                        <a:pt x="165" y="208"/>
                      </a:lnTo>
                      <a:lnTo>
                        <a:pt x="165" y="208"/>
                      </a:lnTo>
                      <a:lnTo>
                        <a:pt x="165" y="209"/>
                      </a:lnTo>
                      <a:lnTo>
                        <a:pt x="165" y="208"/>
                      </a:lnTo>
                      <a:lnTo>
                        <a:pt x="165" y="208"/>
                      </a:lnTo>
                      <a:lnTo>
                        <a:pt x="166" y="208"/>
                      </a:lnTo>
                      <a:lnTo>
                        <a:pt x="167" y="209"/>
                      </a:lnTo>
                      <a:lnTo>
                        <a:pt x="167" y="208"/>
                      </a:lnTo>
                      <a:lnTo>
                        <a:pt x="167" y="209"/>
                      </a:lnTo>
                      <a:lnTo>
                        <a:pt x="168" y="209"/>
                      </a:lnTo>
                      <a:lnTo>
                        <a:pt x="169" y="209"/>
                      </a:lnTo>
                      <a:lnTo>
                        <a:pt x="169" y="210"/>
                      </a:lnTo>
                      <a:lnTo>
                        <a:pt x="169" y="210"/>
                      </a:lnTo>
                      <a:lnTo>
                        <a:pt x="170" y="210"/>
                      </a:lnTo>
                      <a:lnTo>
                        <a:pt x="171" y="210"/>
                      </a:lnTo>
                      <a:lnTo>
                        <a:pt x="171" y="211"/>
                      </a:lnTo>
                      <a:lnTo>
                        <a:pt x="171" y="211"/>
                      </a:lnTo>
                      <a:lnTo>
                        <a:pt x="171" y="210"/>
                      </a:lnTo>
                      <a:lnTo>
                        <a:pt x="171" y="210"/>
                      </a:lnTo>
                      <a:lnTo>
                        <a:pt x="171" y="209"/>
                      </a:lnTo>
                      <a:lnTo>
                        <a:pt x="171" y="208"/>
                      </a:lnTo>
                      <a:lnTo>
                        <a:pt x="172" y="208"/>
                      </a:lnTo>
                      <a:lnTo>
                        <a:pt x="173" y="208"/>
                      </a:lnTo>
                      <a:lnTo>
                        <a:pt x="173" y="208"/>
                      </a:lnTo>
                      <a:lnTo>
                        <a:pt x="173" y="208"/>
                      </a:lnTo>
                      <a:lnTo>
                        <a:pt x="174" y="208"/>
                      </a:lnTo>
                      <a:lnTo>
                        <a:pt x="175" y="208"/>
                      </a:lnTo>
                      <a:lnTo>
                        <a:pt x="175" y="209"/>
                      </a:lnTo>
                      <a:lnTo>
                        <a:pt x="176" y="209"/>
                      </a:lnTo>
                      <a:lnTo>
                        <a:pt x="176" y="210"/>
                      </a:lnTo>
                      <a:lnTo>
                        <a:pt x="177" y="210"/>
                      </a:lnTo>
                      <a:lnTo>
                        <a:pt x="177" y="210"/>
                      </a:lnTo>
                      <a:lnTo>
                        <a:pt x="177" y="210"/>
                      </a:lnTo>
                      <a:lnTo>
                        <a:pt x="178" y="210"/>
                      </a:lnTo>
                      <a:lnTo>
                        <a:pt x="179" y="210"/>
                      </a:lnTo>
                      <a:lnTo>
                        <a:pt x="179" y="211"/>
                      </a:lnTo>
                      <a:lnTo>
                        <a:pt x="179" y="211"/>
                      </a:lnTo>
                      <a:lnTo>
                        <a:pt x="179" y="212"/>
                      </a:lnTo>
                      <a:lnTo>
                        <a:pt x="180" y="212"/>
                      </a:lnTo>
                      <a:lnTo>
                        <a:pt x="180" y="213"/>
                      </a:lnTo>
                      <a:lnTo>
                        <a:pt x="181" y="213"/>
                      </a:lnTo>
                      <a:lnTo>
                        <a:pt x="181" y="213"/>
                      </a:lnTo>
                      <a:lnTo>
                        <a:pt x="181" y="214"/>
                      </a:lnTo>
                      <a:lnTo>
                        <a:pt x="182" y="215"/>
                      </a:lnTo>
                      <a:lnTo>
                        <a:pt x="182" y="215"/>
                      </a:lnTo>
                      <a:lnTo>
                        <a:pt x="183" y="215"/>
                      </a:lnTo>
                      <a:lnTo>
                        <a:pt x="183" y="216"/>
                      </a:lnTo>
                      <a:lnTo>
                        <a:pt x="183" y="217"/>
                      </a:lnTo>
                      <a:lnTo>
                        <a:pt x="184" y="217"/>
                      </a:lnTo>
                      <a:lnTo>
                        <a:pt x="184" y="217"/>
                      </a:lnTo>
                      <a:lnTo>
                        <a:pt x="184" y="217"/>
                      </a:lnTo>
                      <a:lnTo>
                        <a:pt x="185" y="217"/>
                      </a:lnTo>
                      <a:lnTo>
                        <a:pt x="185" y="218"/>
                      </a:lnTo>
                      <a:lnTo>
                        <a:pt x="184" y="218"/>
                      </a:lnTo>
                      <a:lnTo>
                        <a:pt x="184" y="219"/>
                      </a:lnTo>
                      <a:lnTo>
                        <a:pt x="184" y="219"/>
                      </a:lnTo>
                      <a:lnTo>
                        <a:pt x="184" y="219"/>
                      </a:lnTo>
                      <a:lnTo>
                        <a:pt x="184" y="220"/>
                      </a:lnTo>
                      <a:lnTo>
                        <a:pt x="184" y="221"/>
                      </a:lnTo>
                      <a:lnTo>
                        <a:pt x="183" y="221"/>
                      </a:lnTo>
                      <a:lnTo>
                        <a:pt x="183" y="221"/>
                      </a:lnTo>
                      <a:lnTo>
                        <a:pt x="182" y="221"/>
                      </a:lnTo>
                      <a:lnTo>
                        <a:pt x="182" y="222"/>
                      </a:lnTo>
                      <a:lnTo>
                        <a:pt x="181" y="222"/>
                      </a:lnTo>
                      <a:lnTo>
                        <a:pt x="181" y="221"/>
                      </a:lnTo>
                      <a:lnTo>
                        <a:pt x="181" y="221"/>
                      </a:lnTo>
                      <a:lnTo>
                        <a:pt x="180" y="221"/>
                      </a:lnTo>
                      <a:lnTo>
                        <a:pt x="179" y="221"/>
                      </a:lnTo>
                      <a:lnTo>
                        <a:pt x="179" y="222"/>
                      </a:lnTo>
                      <a:lnTo>
                        <a:pt x="179" y="221"/>
                      </a:lnTo>
                      <a:lnTo>
                        <a:pt x="178" y="221"/>
                      </a:lnTo>
                      <a:lnTo>
                        <a:pt x="177" y="221"/>
                      </a:lnTo>
                      <a:lnTo>
                        <a:pt x="177" y="221"/>
                      </a:lnTo>
                      <a:lnTo>
                        <a:pt x="177" y="222"/>
                      </a:lnTo>
                      <a:lnTo>
                        <a:pt x="177" y="222"/>
                      </a:lnTo>
                      <a:lnTo>
                        <a:pt x="177" y="223"/>
                      </a:lnTo>
                      <a:lnTo>
                        <a:pt x="177" y="223"/>
                      </a:lnTo>
                      <a:lnTo>
                        <a:pt x="176" y="223"/>
                      </a:lnTo>
                      <a:lnTo>
                        <a:pt x="175" y="223"/>
                      </a:lnTo>
                      <a:lnTo>
                        <a:pt x="175" y="224"/>
                      </a:lnTo>
                      <a:lnTo>
                        <a:pt x="176" y="224"/>
                      </a:lnTo>
                      <a:lnTo>
                        <a:pt x="176" y="225"/>
                      </a:lnTo>
                      <a:lnTo>
                        <a:pt x="176" y="225"/>
                      </a:lnTo>
                      <a:lnTo>
                        <a:pt x="175" y="225"/>
                      </a:lnTo>
                      <a:lnTo>
                        <a:pt x="176" y="225"/>
                      </a:lnTo>
                      <a:lnTo>
                        <a:pt x="176" y="226"/>
                      </a:lnTo>
                      <a:lnTo>
                        <a:pt x="176" y="227"/>
                      </a:lnTo>
                      <a:lnTo>
                        <a:pt x="176" y="227"/>
                      </a:lnTo>
                      <a:lnTo>
                        <a:pt x="176" y="228"/>
                      </a:lnTo>
                      <a:lnTo>
                        <a:pt x="177" y="228"/>
                      </a:lnTo>
                      <a:lnTo>
                        <a:pt x="177" y="229"/>
                      </a:lnTo>
                      <a:lnTo>
                        <a:pt x="177" y="229"/>
                      </a:lnTo>
                      <a:lnTo>
                        <a:pt x="177" y="230"/>
                      </a:lnTo>
                      <a:lnTo>
                        <a:pt x="177" y="231"/>
                      </a:lnTo>
                      <a:lnTo>
                        <a:pt x="177" y="231"/>
                      </a:lnTo>
                      <a:lnTo>
                        <a:pt x="177" y="231"/>
                      </a:lnTo>
                      <a:lnTo>
                        <a:pt x="177" y="232"/>
                      </a:lnTo>
                      <a:lnTo>
                        <a:pt x="178" y="232"/>
                      </a:lnTo>
                      <a:lnTo>
                        <a:pt x="178" y="233"/>
                      </a:lnTo>
                      <a:lnTo>
                        <a:pt x="179" y="233"/>
                      </a:lnTo>
                      <a:lnTo>
                        <a:pt x="179" y="234"/>
                      </a:lnTo>
                      <a:lnTo>
                        <a:pt x="179" y="234"/>
                      </a:lnTo>
                      <a:lnTo>
                        <a:pt x="180" y="234"/>
                      </a:lnTo>
                      <a:lnTo>
                        <a:pt x="180" y="234"/>
                      </a:lnTo>
                      <a:lnTo>
                        <a:pt x="180" y="235"/>
                      </a:lnTo>
                      <a:lnTo>
                        <a:pt x="179" y="235"/>
                      </a:lnTo>
                      <a:lnTo>
                        <a:pt x="180" y="235"/>
                      </a:lnTo>
                      <a:lnTo>
                        <a:pt x="179" y="235"/>
                      </a:lnTo>
                      <a:lnTo>
                        <a:pt x="179" y="236"/>
                      </a:lnTo>
                      <a:lnTo>
                        <a:pt x="179" y="236"/>
                      </a:lnTo>
                      <a:lnTo>
                        <a:pt x="179" y="236"/>
                      </a:lnTo>
                      <a:lnTo>
                        <a:pt x="178" y="236"/>
                      </a:lnTo>
                      <a:lnTo>
                        <a:pt x="178" y="237"/>
                      </a:lnTo>
                      <a:lnTo>
                        <a:pt x="177" y="237"/>
                      </a:lnTo>
                      <a:lnTo>
                        <a:pt x="178" y="237"/>
                      </a:lnTo>
                      <a:lnTo>
                        <a:pt x="177" y="237"/>
                      </a:lnTo>
                      <a:lnTo>
                        <a:pt x="178" y="237"/>
                      </a:lnTo>
                      <a:lnTo>
                        <a:pt x="178" y="238"/>
                      </a:lnTo>
                      <a:lnTo>
                        <a:pt x="178" y="238"/>
                      </a:lnTo>
                      <a:lnTo>
                        <a:pt x="177" y="238"/>
                      </a:lnTo>
                      <a:lnTo>
                        <a:pt x="177" y="238"/>
                      </a:lnTo>
                      <a:lnTo>
                        <a:pt x="177" y="238"/>
                      </a:lnTo>
                      <a:lnTo>
                        <a:pt x="177" y="238"/>
                      </a:lnTo>
                      <a:lnTo>
                        <a:pt x="177" y="239"/>
                      </a:lnTo>
                      <a:lnTo>
                        <a:pt x="177" y="240"/>
                      </a:lnTo>
                      <a:lnTo>
                        <a:pt x="177" y="240"/>
                      </a:lnTo>
                      <a:lnTo>
                        <a:pt x="176" y="240"/>
                      </a:lnTo>
                      <a:lnTo>
                        <a:pt x="176" y="241"/>
                      </a:lnTo>
                      <a:lnTo>
                        <a:pt x="176" y="242"/>
                      </a:lnTo>
                      <a:lnTo>
                        <a:pt x="176" y="242"/>
                      </a:lnTo>
                      <a:lnTo>
                        <a:pt x="176" y="243"/>
                      </a:lnTo>
                      <a:lnTo>
                        <a:pt x="175" y="243"/>
                      </a:lnTo>
                      <a:lnTo>
                        <a:pt x="175" y="243"/>
                      </a:lnTo>
                      <a:lnTo>
                        <a:pt x="175" y="244"/>
                      </a:lnTo>
                      <a:lnTo>
                        <a:pt x="174" y="244"/>
                      </a:lnTo>
                      <a:lnTo>
                        <a:pt x="174" y="244"/>
                      </a:lnTo>
                      <a:lnTo>
                        <a:pt x="175" y="244"/>
                      </a:lnTo>
                      <a:lnTo>
                        <a:pt x="174" y="244"/>
                      </a:lnTo>
                      <a:lnTo>
                        <a:pt x="174" y="245"/>
                      </a:lnTo>
                      <a:lnTo>
                        <a:pt x="174" y="246"/>
                      </a:lnTo>
                      <a:lnTo>
                        <a:pt x="173" y="246"/>
                      </a:lnTo>
                      <a:lnTo>
                        <a:pt x="173" y="246"/>
                      </a:lnTo>
                      <a:lnTo>
                        <a:pt x="174" y="247"/>
                      </a:lnTo>
                      <a:lnTo>
                        <a:pt x="173" y="247"/>
                      </a:lnTo>
                      <a:lnTo>
                        <a:pt x="173" y="248"/>
                      </a:lnTo>
                      <a:lnTo>
                        <a:pt x="174" y="248"/>
                      </a:lnTo>
                      <a:lnTo>
                        <a:pt x="174" y="248"/>
                      </a:lnTo>
                      <a:lnTo>
                        <a:pt x="175" y="248"/>
                      </a:lnTo>
                      <a:lnTo>
                        <a:pt x="175" y="249"/>
                      </a:lnTo>
                      <a:lnTo>
                        <a:pt x="175" y="250"/>
                      </a:lnTo>
                      <a:lnTo>
                        <a:pt x="175" y="250"/>
                      </a:lnTo>
                      <a:lnTo>
                        <a:pt x="175" y="250"/>
                      </a:lnTo>
                      <a:lnTo>
                        <a:pt x="176" y="250"/>
                      </a:lnTo>
                      <a:lnTo>
                        <a:pt x="176" y="251"/>
                      </a:lnTo>
                      <a:lnTo>
                        <a:pt x="177" y="251"/>
                      </a:lnTo>
                      <a:lnTo>
                        <a:pt x="177" y="25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48" name="Freeform 66">
                  <a:extLst>
                    <a:ext uri="{FF2B5EF4-FFF2-40B4-BE49-F238E27FC236}">
                      <a16:creationId xmlns:a16="http://schemas.microsoft.com/office/drawing/2014/main" xmlns="" id="{F4D24566-EB12-C46C-A7B7-B0E2F00B0F82}"/>
                    </a:ext>
                  </a:extLst>
                </p:cNvPr>
                <p:cNvSpPr>
                  <a:spLocks/>
                </p:cNvSpPr>
                <p:nvPr/>
              </p:nvSpPr>
              <p:spPr bwMode="auto">
                <a:xfrm>
                  <a:off x="3014" y="3130"/>
                  <a:ext cx="223" cy="307"/>
                </a:xfrm>
                <a:custGeom>
                  <a:avLst/>
                  <a:gdLst>
                    <a:gd name="T0" fmla="*/ 49 w 223"/>
                    <a:gd name="T1" fmla="*/ 3 h 307"/>
                    <a:gd name="T2" fmla="*/ 56 w 223"/>
                    <a:gd name="T3" fmla="*/ 4 h 307"/>
                    <a:gd name="T4" fmla="*/ 55 w 223"/>
                    <a:gd name="T5" fmla="*/ 4 h 307"/>
                    <a:gd name="T6" fmla="*/ 50 w 223"/>
                    <a:gd name="T7" fmla="*/ 7 h 307"/>
                    <a:gd name="T8" fmla="*/ 43 w 223"/>
                    <a:gd name="T9" fmla="*/ 4 h 307"/>
                    <a:gd name="T10" fmla="*/ 39 w 223"/>
                    <a:gd name="T11" fmla="*/ 10 h 307"/>
                    <a:gd name="T12" fmla="*/ 37 w 223"/>
                    <a:gd name="T13" fmla="*/ 17 h 307"/>
                    <a:gd name="T14" fmla="*/ 41 w 223"/>
                    <a:gd name="T15" fmla="*/ 22 h 307"/>
                    <a:gd name="T16" fmla="*/ 42 w 223"/>
                    <a:gd name="T17" fmla="*/ 28 h 307"/>
                    <a:gd name="T18" fmla="*/ 45 w 223"/>
                    <a:gd name="T19" fmla="*/ 33 h 307"/>
                    <a:gd name="T20" fmla="*/ 47 w 223"/>
                    <a:gd name="T21" fmla="*/ 41 h 307"/>
                    <a:gd name="T22" fmla="*/ 42 w 223"/>
                    <a:gd name="T23" fmla="*/ 44 h 307"/>
                    <a:gd name="T24" fmla="*/ 35 w 223"/>
                    <a:gd name="T25" fmla="*/ 41 h 307"/>
                    <a:gd name="T26" fmla="*/ 28 w 223"/>
                    <a:gd name="T27" fmla="*/ 42 h 307"/>
                    <a:gd name="T28" fmla="*/ 22 w 223"/>
                    <a:gd name="T29" fmla="*/ 46 h 307"/>
                    <a:gd name="T30" fmla="*/ 16 w 223"/>
                    <a:gd name="T31" fmla="*/ 50 h 307"/>
                    <a:gd name="T32" fmla="*/ 9 w 223"/>
                    <a:gd name="T33" fmla="*/ 58 h 307"/>
                    <a:gd name="T34" fmla="*/ 2 w 223"/>
                    <a:gd name="T35" fmla="*/ 61 h 307"/>
                    <a:gd name="T36" fmla="*/ 5 w 223"/>
                    <a:gd name="T37" fmla="*/ 68 h 307"/>
                    <a:gd name="T38" fmla="*/ 8 w 223"/>
                    <a:gd name="T39" fmla="*/ 79 h 307"/>
                    <a:gd name="T40" fmla="*/ 13 w 223"/>
                    <a:gd name="T41" fmla="*/ 85 h 307"/>
                    <a:gd name="T42" fmla="*/ 21 w 223"/>
                    <a:gd name="T43" fmla="*/ 86 h 307"/>
                    <a:gd name="T44" fmla="*/ 28 w 223"/>
                    <a:gd name="T45" fmla="*/ 92 h 307"/>
                    <a:gd name="T46" fmla="*/ 35 w 223"/>
                    <a:gd name="T47" fmla="*/ 97 h 307"/>
                    <a:gd name="T48" fmla="*/ 45 w 223"/>
                    <a:gd name="T49" fmla="*/ 99 h 307"/>
                    <a:gd name="T50" fmla="*/ 49 w 223"/>
                    <a:gd name="T51" fmla="*/ 107 h 307"/>
                    <a:gd name="T52" fmla="*/ 50 w 223"/>
                    <a:gd name="T53" fmla="*/ 115 h 307"/>
                    <a:gd name="T54" fmla="*/ 54 w 223"/>
                    <a:gd name="T55" fmla="*/ 124 h 307"/>
                    <a:gd name="T56" fmla="*/ 59 w 223"/>
                    <a:gd name="T57" fmla="*/ 132 h 307"/>
                    <a:gd name="T58" fmla="*/ 66 w 223"/>
                    <a:gd name="T59" fmla="*/ 134 h 307"/>
                    <a:gd name="T60" fmla="*/ 73 w 223"/>
                    <a:gd name="T61" fmla="*/ 143 h 307"/>
                    <a:gd name="T62" fmla="*/ 83 w 223"/>
                    <a:gd name="T63" fmla="*/ 145 h 307"/>
                    <a:gd name="T64" fmla="*/ 93 w 223"/>
                    <a:gd name="T65" fmla="*/ 148 h 307"/>
                    <a:gd name="T66" fmla="*/ 101 w 223"/>
                    <a:gd name="T67" fmla="*/ 155 h 307"/>
                    <a:gd name="T68" fmla="*/ 109 w 223"/>
                    <a:gd name="T69" fmla="*/ 159 h 307"/>
                    <a:gd name="T70" fmla="*/ 118 w 223"/>
                    <a:gd name="T71" fmla="*/ 160 h 307"/>
                    <a:gd name="T72" fmla="*/ 128 w 223"/>
                    <a:gd name="T73" fmla="*/ 158 h 307"/>
                    <a:gd name="T74" fmla="*/ 136 w 223"/>
                    <a:gd name="T75" fmla="*/ 163 h 307"/>
                    <a:gd name="T76" fmla="*/ 143 w 223"/>
                    <a:gd name="T77" fmla="*/ 158 h 307"/>
                    <a:gd name="T78" fmla="*/ 154 w 223"/>
                    <a:gd name="T79" fmla="*/ 153 h 307"/>
                    <a:gd name="T80" fmla="*/ 165 w 223"/>
                    <a:gd name="T81" fmla="*/ 155 h 307"/>
                    <a:gd name="T82" fmla="*/ 172 w 223"/>
                    <a:gd name="T83" fmla="*/ 157 h 307"/>
                    <a:gd name="T84" fmla="*/ 175 w 223"/>
                    <a:gd name="T85" fmla="*/ 164 h 307"/>
                    <a:gd name="T86" fmla="*/ 183 w 223"/>
                    <a:gd name="T87" fmla="*/ 167 h 307"/>
                    <a:gd name="T88" fmla="*/ 187 w 223"/>
                    <a:gd name="T89" fmla="*/ 174 h 307"/>
                    <a:gd name="T90" fmla="*/ 190 w 223"/>
                    <a:gd name="T91" fmla="*/ 183 h 307"/>
                    <a:gd name="T92" fmla="*/ 195 w 223"/>
                    <a:gd name="T93" fmla="*/ 192 h 307"/>
                    <a:gd name="T94" fmla="*/ 192 w 223"/>
                    <a:gd name="T95" fmla="*/ 206 h 307"/>
                    <a:gd name="T96" fmla="*/ 190 w 223"/>
                    <a:gd name="T97" fmla="*/ 216 h 307"/>
                    <a:gd name="T98" fmla="*/ 197 w 223"/>
                    <a:gd name="T99" fmla="*/ 224 h 307"/>
                    <a:gd name="T100" fmla="*/ 204 w 223"/>
                    <a:gd name="T101" fmla="*/ 230 h 307"/>
                    <a:gd name="T102" fmla="*/ 208 w 223"/>
                    <a:gd name="T103" fmla="*/ 240 h 307"/>
                    <a:gd name="T104" fmla="*/ 215 w 223"/>
                    <a:gd name="T105" fmla="*/ 248 h 307"/>
                    <a:gd name="T106" fmla="*/ 219 w 223"/>
                    <a:gd name="T107" fmla="*/ 257 h 307"/>
                    <a:gd name="T108" fmla="*/ 222 w 223"/>
                    <a:gd name="T109" fmla="*/ 265 h 307"/>
                    <a:gd name="T110" fmla="*/ 215 w 223"/>
                    <a:gd name="T111" fmla="*/ 270 h 307"/>
                    <a:gd name="T112" fmla="*/ 210 w 223"/>
                    <a:gd name="T113" fmla="*/ 279 h 307"/>
                    <a:gd name="T114" fmla="*/ 205 w 223"/>
                    <a:gd name="T115" fmla="*/ 288 h 307"/>
                    <a:gd name="T116" fmla="*/ 203 w 223"/>
                    <a:gd name="T117" fmla="*/ 298 h 307"/>
                    <a:gd name="T118" fmla="*/ 197 w 223"/>
                    <a:gd name="T119"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307">
                      <a:moveTo>
                        <a:pt x="43" y="0"/>
                      </a:moveTo>
                      <a:lnTo>
                        <a:pt x="43" y="1"/>
                      </a:lnTo>
                      <a:lnTo>
                        <a:pt x="44" y="1"/>
                      </a:lnTo>
                      <a:lnTo>
                        <a:pt x="44" y="2"/>
                      </a:lnTo>
                      <a:lnTo>
                        <a:pt x="45" y="2"/>
                      </a:lnTo>
                      <a:lnTo>
                        <a:pt x="45" y="2"/>
                      </a:lnTo>
                      <a:lnTo>
                        <a:pt x="45" y="2"/>
                      </a:lnTo>
                      <a:lnTo>
                        <a:pt x="45" y="2"/>
                      </a:lnTo>
                      <a:lnTo>
                        <a:pt x="46" y="2"/>
                      </a:lnTo>
                      <a:lnTo>
                        <a:pt x="46" y="1"/>
                      </a:lnTo>
                      <a:lnTo>
                        <a:pt x="46" y="2"/>
                      </a:lnTo>
                      <a:lnTo>
                        <a:pt x="47" y="2"/>
                      </a:lnTo>
                      <a:lnTo>
                        <a:pt x="47" y="2"/>
                      </a:lnTo>
                      <a:lnTo>
                        <a:pt x="47" y="2"/>
                      </a:lnTo>
                      <a:lnTo>
                        <a:pt x="47" y="3"/>
                      </a:lnTo>
                      <a:lnTo>
                        <a:pt x="48" y="3"/>
                      </a:lnTo>
                      <a:lnTo>
                        <a:pt x="49" y="3"/>
                      </a:lnTo>
                      <a:lnTo>
                        <a:pt x="49" y="2"/>
                      </a:lnTo>
                      <a:lnTo>
                        <a:pt x="50" y="2"/>
                      </a:lnTo>
                      <a:lnTo>
                        <a:pt x="50" y="2"/>
                      </a:lnTo>
                      <a:lnTo>
                        <a:pt x="50" y="2"/>
                      </a:lnTo>
                      <a:lnTo>
                        <a:pt x="51" y="2"/>
                      </a:lnTo>
                      <a:lnTo>
                        <a:pt x="52" y="2"/>
                      </a:lnTo>
                      <a:lnTo>
                        <a:pt x="52" y="2"/>
                      </a:lnTo>
                      <a:lnTo>
                        <a:pt x="53" y="2"/>
                      </a:lnTo>
                      <a:lnTo>
                        <a:pt x="54" y="2"/>
                      </a:lnTo>
                      <a:lnTo>
                        <a:pt x="54" y="2"/>
                      </a:lnTo>
                      <a:lnTo>
                        <a:pt x="54" y="2"/>
                      </a:lnTo>
                      <a:lnTo>
                        <a:pt x="54" y="2"/>
                      </a:lnTo>
                      <a:lnTo>
                        <a:pt x="55" y="2"/>
                      </a:lnTo>
                      <a:lnTo>
                        <a:pt x="56" y="2"/>
                      </a:lnTo>
                      <a:lnTo>
                        <a:pt x="56" y="2"/>
                      </a:lnTo>
                      <a:lnTo>
                        <a:pt x="56" y="3"/>
                      </a:lnTo>
                      <a:lnTo>
                        <a:pt x="56" y="4"/>
                      </a:lnTo>
                      <a:lnTo>
                        <a:pt x="57" y="4"/>
                      </a:lnTo>
                      <a:lnTo>
                        <a:pt x="57" y="4"/>
                      </a:lnTo>
                      <a:lnTo>
                        <a:pt x="57" y="5"/>
                      </a:lnTo>
                      <a:lnTo>
                        <a:pt x="58" y="5"/>
                      </a:lnTo>
                      <a:lnTo>
                        <a:pt x="58" y="6"/>
                      </a:lnTo>
                      <a:lnTo>
                        <a:pt x="57" y="6"/>
                      </a:lnTo>
                      <a:lnTo>
                        <a:pt x="57" y="6"/>
                      </a:lnTo>
                      <a:lnTo>
                        <a:pt x="56" y="6"/>
                      </a:lnTo>
                      <a:lnTo>
                        <a:pt x="56" y="6"/>
                      </a:lnTo>
                      <a:lnTo>
                        <a:pt x="56" y="6"/>
                      </a:lnTo>
                      <a:lnTo>
                        <a:pt x="56" y="6"/>
                      </a:lnTo>
                      <a:lnTo>
                        <a:pt x="55" y="6"/>
                      </a:lnTo>
                      <a:lnTo>
                        <a:pt x="55" y="6"/>
                      </a:lnTo>
                      <a:lnTo>
                        <a:pt x="55" y="5"/>
                      </a:lnTo>
                      <a:lnTo>
                        <a:pt x="54" y="5"/>
                      </a:lnTo>
                      <a:lnTo>
                        <a:pt x="55" y="4"/>
                      </a:lnTo>
                      <a:lnTo>
                        <a:pt x="55" y="4"/>
                      </a:lnTo>
                      <a:lnTo>
                        <a:pt x="54" y="4"/>
                      </a:lnTo>
                      <a:lnTo>
                        <a:pt x="54" y="4"/>
                      </a:lnTo>
                      <a:lnTo>
                        <a:pt x="54" y="4"/>
                      </a:lnTo>
                      <a:lnTo>
                        <a:pt x="53" y="4"/>
                      </a:lnTo>
                      <a:lnTo>
                        <a:pt x="53" y="5"/>
                      </a:lnTo>
                      <a:lnTo>
                        <a:pt x="53" y="4"/>
                      </a:lnTo>
                      <a:lnTo>
                        <a:pt x="52" y="5"/>
                      </a:lnTo>
                      <a:lnTo>
                        <a:pt x="52" y="5"/>
                      </a:lnTo>
                      <a:lnTo>
                        <a:pt x="52" y="4"/>
                      </a:lnTo>
                      <a:lnTo>
                        <a:pt x="52" y="5"/>
                      </a:lnTo>
                      <a:lnTo>
                        <a:pt x="51" y="5"/>
                      </a:lnTo>
                      <a:lnTo>
                        <a:pt x="51" y="6"/>
                      </a:lnTo>
                      <a:lnTo>
                        <a:pt x="51" y="5"/>
                      </a:lnTo>
                      <a:lnTo>
                        <a:pt x="51" y="6"/>
                      </a:lnTo>
                      <a:lnTo>
                        <a:pt x="50" y="6"/>
                      </a:lnTo>
                      <a:lnTo>
                        <a:pt x="50" y="6"/>
                      </a:lnTo>
                      <a:lnTo>
                        <a:pt x="50" y="7"/>
                      </a:lnTo>
                      <a:lnTo>
                        <a:pt x="50" y="8"/>
                      </a:lnTo>
                      <a:lnTo>
                        <a:pt x="50" y="8"/>
                      </a:lnTo>
                      <a:lnTo>
                        <a:pt x="49" y="8"/>
                      </a:lnTo>
                      <a:lnTo>
                        <a:pt x="49" y="7"/>
                      </a:lnTo>
                      <a:lnTo>
                        <a:pt x="48" y="6"/>
                      </a:lnTo>
                      <a:lnTo>
                        <a:pt x="47" y="6"/>
                      </a:lnTo>
                      <a:lnTo>
                        <a:pt x="47" y="5"/>
                      </a:lnTo>
                      <a:lnTo>
                        <a:pt x="47" y="4"/>
                      </a:lnTo>
                      <a:lnTo>
                        <a:pt x="46" y="4"/>
                      </a:lnTo>
                      <a:lnTo>
                        <a:pt x="46" y="3"/>
                      </a:lnTo>
                      <a:lnTo>
                        <a:pt x="45" y="3"/>
                      </a:lnTo>
                      <a:lnTo>
                        <a:pt x="45" y="2"/>
                      </a:lnTo>
                      <a:lnTo>
                        <a:pt x="45" y="2"/>
                      </a:lnTo>
                      <a:lnTo>
                        <a:pt x="44" y="2"/>
                      </a:lnTo>
                      <a:lnTo>
                        <a:pt x="44" y="3"/>
                      </a:lnTo>
                      <a:lnTo>
                        <a:pt x="43" y="3"/>
                      </a:lnTo>
                      <a:lnTo>
                        <a:pt x="43" y="4"/>
                      </a:lnTo>
                      <a:lnTo>
                        <a:pt x="43" y="4"/>
                      </a:lnTo>
                      <a:lnTo>
                        <a:pt x="42" y="4"/>
                      </a:lnTo>
                      <a:lnTo>
                        <a:pt x="42" y="4"/>
                      </a:lnTo>
                      <a:lnTo>
                        <a:pt x="42" y="5"/>
                      </a:lnTo>
                      <a:lnTo>
                        <a:pt x="42" y="6"/>
                      </a:lnTo>
                      <a:lnTo>
                        <a:pt x="41" y="6"/>
                      </a:lnTo>
                      <a:lnTo>
                        <a:pt x="41" y="6"/>
                      </a:lnTo>
                      <a:lnTo>
                        <a:pt x="41" y="6"/>
                      </a:lnTo>
                      <a:lnTo>
                        <a:pt x="41" y="7"/>
                      </a:lnTo>
                      <a:lnTo>
                        <a:pt x="40" y="7"/>
                      </a:lnTo>
                      <a:lnTo>
                        <a:pt x="40" y="8"/>
                      </a:lnTo>
                      <a:lnTo>
                        <a:pt x="40" y="8"/>
                      </a:lnTo>
                      <a:lnTo>
                        <a:pt x="40" y="9"/>
                      </a:lnTo>
                      <a:lnTo>
                        <a:pt x="40" y="10"/>
                      </a:lnTo>
                      <a:lnTo>
                        <a:pt x="39" y="10"/>
                      </a:lnTo>
                      <a:lnTo>
                        <a:pt x="39" y="10"/>
                      </a:lnTo>
                      <a:lnTo>
                        <a:pt x="39" y="10"/>
                      </a:lnTo>
                      <a:lnTo>
                        <a:pt x="39" y="11"/>
                      </a:lnTo>
                      <a:lnTo>
                        <a:pt x="39" y="11"/>
                      </a:lnTo>
                      <a:lnTo>
                        <a:pt x="39" y="12"/>
                      </a:lnTo>
                      <a:lnTo>
                        <a:pt x="38" y="12"/>
                      </a:lnTo>
                      <a:lnTo>
                        <a:pt x="37" y="12"/>
                      </a:lnTo>
                      <a:lnTo>
                        <a:pt x="37" y="12"/>
                      </a:lnTo>
                      <a:lnTo>
                        <a:pt x="37" y="13"/>
                      </a:lnTo>
                      <a:lnTo>
                        <a:pt x="37" y="14"/>
                      </a:lnTo>
                      <a:lnTo>
                        <a:pt x="38" y="14"/>
                      </a:lnTo>
                      <a:lnTo>
                        <a:pt x="37" y="14"/>
                      </a:lnTo>
                      <a:lnTo>
                        <a:pt x="37" y="14"/>
                      </a:lnTo>
                      <a:lnTo>
                        <a:pt x="38" y="14"/>
                      </a:lnTo>
                      <a:lnTo>
                        <a:pt x="38" y="15"/>
                      </a:lnTo>
                      <a:lnTo>
                        <a:pt x="38" y="16"/>
                      </a:lnTo>
                      <a:lnTo>
                        <a:pt x="37" y="16"/>
                      </a:lnTo>
                      <a:lnTo>
                        <a:pt x="37" y="16"/>
                      </a:lnTo>
                      <a:lnTo>
                        <a:pt x="37" y="17"/>
                      </a:lnTo>
                      <a:lnTo>
                        <a:pt x="36" y="17"/>
                      </a:lnTo>
                      <a:lnTo>
                        <a:pt x="36" y="18"/>
                      </a:lnTo>
                      <a:lnTo>
                        <a:pt x="36" y="18"/>
                      </a:lnTo>
                      <a:lnTo>
                        <a:pt x="37" y="18"/>
                      </a:lnTo>
                      <a:lnTo>
                        <a:pt x="37" y="18"/>
                      </a:lnTo>
                      <a:lnTo>
                        <a:pt x="38" y="18"/>
                      </a:lnTo>
                      <a:lnTo>
                        <a:pt x="39" y="18"/>
                      </a:lnTo>
                      <a:lnTo>
                        <a:pt x="39" y="18"/>
                      </a:lnTo>
                      <a:lnTo>
                        <a:pt x="39" y="19"/>
                      </a:lnTo>
                      <a:lnTo>
                        <a:pt x="40" y="19"/>
                      </a:lnTo>
                      <a:lnTo>
                        <a:pt x="39" y="19"/>
                      </a:lnTo>
                      <a:lnTo>
                        <a:pt x="40" y="19"/>
                      </a:lnTo>
                      <a:lnTo>
                        <a:pt x="40" y="20"/>
                      </a:lnTo>
                      <a:lnTo>
                        <a:pt x="40" y="21"/>
                      </a:lnTo>
                      <a:lnTo>
                        <a:pt x="40" y="21"/>
                      </a:lnTo>
                      <a:lnTo>
                        <a:pt x="41" y="21"/>
                      </a:lnTo>
                      <a:lnTo>
                        <a:pt x="41" y="22"/>
                      </a:lnTo>
                      <a:lnTo>
                        <a:pt x="41" y="23"/>
                      </a:lnTo>
                      <a:lnTo>
                        <a:pt x="41" y="23"/>
                      </a:lnTo>
                      <a:lnTo>
                        <a:pt x="41" y="23"/>
                      </a:lnTo>
                      <a:lnTo>
                        <a:pt x="41" y="23"/>
                      </a:lnTo>
                      <a:lnTo>
                        <a:pt x="41" y="23"/>
                      </a:lnTo>
                      <a:lnTo>
                        <a:pt x="41" y="24"/>
                      </a:lnTo>
                      <a:lnTo>
                        <a:pt x="42" y="24"/>
                      </a:lnTo>
                      <a:lnTo>
                        <a:pt x="41" y="24"/>
                      </a:lnTo>
                      <a:lnTo>
                        <a:pt x="42" y="24"/>
                      </a:lnTo>
                      <a:lnTo>
                        <a:pt x="42" y="25"/>
                      </a:lnTo>
                      <a:lnTo>
                        <a:pt x="42" y="25"/>
                      </a:lnTo>
                      <a:lnTo>
                        <a:pt x="43" y="25"/>
                      </a:lnTo>
                      <a:lnTo>
                        <a:pt x="43" y="26"/>
                      </a:lnTo>
                      <a:lnTo>
                        <a:pt x="43" y="27"/>
                      </a:lnTo>
                      <a:lnTo>
                        <a:pt x="43" y="27"/>
                      </a:lnTo>
                      <a:lnTo>
                        <a:pt x="43" y="28"/>
                      </a:lnTo>
                      <a:lnTo>
                        <a:pt x="42" y="28"/>
                      </a:lnTo>
                      <a:lnTo>
                        <a:pt x="42" y="29"/>
                      </a:lnTo>
                      <a:lnTo>
                        <a:pt x="42" y="29"/>
                      </a:lnTo>
                      <a:lnTo>
                        <a:pt x="41" y="29"/>
                      </a:lnTo>
                      <a:lnTo>
                        <a:pt x="41" y="30"/>
                      </a:lnTo>
                      <a:lnTo>
                        <a:pt x="41" y="30"/>
                      </a:lnTo>
                      <a:lnTo>
                        <a:pt x="41" y="30"/>
                      </a:lnTo>
                      <a:lnTo>
                        <a:pt x="42" y="30"/>
                      </a:lnTo>
                      <a:lnTo>
                        <a:pt x="42" y="31"/>
                      </a:lnTo>
                      <a:lnTo>
                        <a:pt x="43" y="31"/>
                      </a:lnTo>
                      <a:lnTo>
                        <a:pt x="43" y="31"/>
                      </a:lnTo>
                      <a:lnTo>
                        <a:pt x="43" y="31"/>
                      </a:lnTo>
                      <a:lnTo>
                        <a:pt x="43" y="32"/>
                      </a:lnTo>
                      <a:lnTo>
                        <a:pt x="44" y="32"/>
                      </a:lnTo>
                      <a:lnTo>
                        <a:pt x="44" y="31"/>
                      </a:lnTo>
                      <a:lnTo>
                        <a:pt x="44" y="32"/>
                      </a:lnTo>
                      <a:lnTo>
                        <a:pt x="44" y="33"/>
                      </a:lnTo>
                      <a:lnTo>
                        <a:pt x="45" y="33"/>
                      </a:lnTo>
                      <a:lnTo>
                        <a:pt x="45" y="33"/>
                      </a:lnTo>
                      <a:lnTo>
                        <a:pt x="45" y="34"/>
                      </a:lnTo>
                      <a:lnTo>
                        <a:pt x="45" y="35"/>
                      </a:lnTo>
                      <a:lnTo>
                        <a:pt x="45" y="35"/>
                      </a:lnTo>
                      <a:lnTo>
                        <a:pt x="45" y="35"/>
                      </a:lnTo>
                      <a:lnTo>
                        <a:pt x="46" y="35"/>
                      </a:lnTo>
                      <a:lnTo>
                        <a:pt x="46" y="36"/>
                      </a:lnTo>
                      <a:lnTo>
                        <a:pt x="47" y="36"/>
                      </a:lnTo>
                      <a:lnTo>
                        <a:pt x="47" y="37"/>
                      </a:lnTo>
                      <a:lnTo>
                        <a:pt x="47" y="37"/>
                      </a:lnTo>
                      <a:lnTo>
                        <a:pt x="47" y="38"/>
                      </a:lnTo>
                      <a:lnTo>
                        <a:pt x="47" y="39"/>
                      </a:lnTo>
                      <a:lnTo>
                        <a:pt x="47" y="39"/>
                      </a:lnTo>
                      <a:lnTo>
                        <a:pt x="47" y="39"/>
                      </a:lnTo>
                      <a:lnTo>
                        <a:pt x="47" y="40"/>
                      </a:lnTo>
                      <a:lnTo>
                        <a:pt x="47" y="41"/>
                      </a:lnTo>
                      <a:lnTo>
                        <a:pt x="47" y="41"/>
                      </a:lnTo>
                      <a:lnTo>
                        <a:pt x="47" y="42"/>
                      </a:lnTo>
                      <a:lnTo>
                        <a:pt x="46" y="42"/>
                      </a:lnTo>
                      <a:lnTo>
                        <a:pt x="46" y="42"/>
                      </a:lnTo>
                      <a:lnTo>
                        <a:pt x="46" y="43"/>
                      </a:lnTo>
                      <a:lnTo>
                        <a:pt x="46" y="44"/>
                      </a:lnTo>
                      <a:lnTo>
                        <a:pt x="46" y="44"/>
                      </a:lnTo>
                      <a:lnTo>
                        <a:pt x="46" y="45"/>
                      </a:lnTo>
                      <a:lnTo>
                        <a:pt x="45" y="46"/>
                      </a:lnTo>
                      <a:lnTo>
                        <a:pt x="45" y="46"/>
                      </a:lnTo>
                      <a:lnTo>
                        <a:pt x="45" y="47"/>
                      </a:lnTo>
                      <a:lnTo>
                        <a:pt x="44" y="48"/>
                      </a:lnTo>
                      <a:lnTo>
                        <a:pt x="43" y="48"/>
                      </a:lnTo>
                      <a:lnTo>
                        <a:pt x="43" y="47"/>
                      </a:lnTo>
                      <a:lnTo>
                        <a:pt x="43" y="46"/>
                      </a:lnTo>
                      <a:lnTo>
                        <a:pt x="43" y="46"/>
                      </a:lnTo>
                      <a:lnTo>
                        <a:pt x="42" y="45"/>
                      </a:lnTo>
                      <a:lnTo>
                        <a:pt x="42" y="44"/>
                      </a:lnTo>
                      <a:lnTo>
                        <a:pt x="42" y="44"/>
                      </a:lnTo>
                      <a:lnTo>
                        <a:pt x="41" y="44"/>
                      </a:lnTo>
                      <a:lnTo>
                        <a:pt x="41" y="44"/>
                      </a:lnTo>
                      <a:lnTo>
                        <a:pt x="41" y="44"/>
                      </a:lnTo>
                      <a:lnTo>
                        <a:pt x="41" y="44"/>
                      </a:lnTo>
                      <a:lnTo>
                        <a:pt x="41" y="43"/>
                      </a:lnTo>
                      <a:lnTo>
                        <a:pt x="40" y="43"/>
                      </a:lnTo>
                      <a:lnTo>
                        <a:pt x="40" y="44"/>
                      </a:lnTo>
                      <a:lnTo>
                        <a:pt x="40" y="43"/>
                      </a:lnTo>
                      <a:lnTo>
                        <a:pt x="39" y="43"/>
                      </a:lnTo>
                      <a:lnTo>
                        <a:pt x="39" y="42"/>
                      </a:lnTo>
                      <a:lnTo>
                        <a:pt x="38" y="41"/>
                      </a:lnTo>
                      <a:lnTo>
                        <a:pt x="37" y="40"/>
                      </a:lnTo>
                      <a:lnTo>
                        <a:pt x="36" y="40"/>
                      </a:lnTo>
                      <a:lnTo>
                        <a:pt x="36" y="41"/>
                      </a:lnTo>
                      <a:lnTo>
                        <a:pt x="35" y="41"/>
                      </a:lnTo>
                      <a:lnTo>
                        <a:pt x="35" y="41"/>
                      </a:lnTo>
                      <a:lnTo>
                        <a:pt x="34" y="42"/>
                      </a:lnTo>
                      <a:lnTo>
                        <a:pt x="34" y="42"/>
                      </a:lnTo>
                      <a:lnTo>
                        <a:pt x="34" y="43"/>
                      </a:lnTo>
                      <a:lnTo>
                        <a:pt x="33" y="43"/>
                      </a:lnTo>
                      <a:lnTo>
                        <a:pt x="33" y="44"/>
                      </a:lnTo>
                      <a:lnTo>
                        <a:pt x="32" y="44"/>
                      </a:lnTo>
                      <a:lnTo>
                        <a:pt x="31" y="44"/>
                      </a:lnTo>
                      <a:lnTo>
                        <a:pt x="31" y="43"/>
                      </a:lnTo>
                      <a:lnTo>
                        <a:pt x="31" y="42"/>
                      </a:lnTo>
                      <a:lnTo>
                        <a:pt x="31" y="42"/>
                      </a:lnTo>
                      <a:lnTo>
                        <a:pt x="31" y="42"/>
                      </a:lnTo>
                      <a:lnTo>
                        <a:pt x="30" y="42"/>
                      </a:lnTo>
                      <a:lnTo>
                        <a:pt x="30" y="42"/>
                      </a:lnTo>
                      <a:lnTo>
                        <a:pt x="30" y="42"/>
                      </a:lnTo>
                      <a:lnTo>
                        <a:pt x="29" y="42"/>
                      </a:lnTo>
                      <a:lnTo>
                        <a:pt x="29" y="42"/>
                      </a:lnTo>
                      <a:lnTo>
                        <a:pt x="28" y="42"/>
                      </a:lnTo>
                      <a:lnTo>
                        <a:pt x="28" y="42"/>
                      </a:lnTo>
                      <a:lnTo>
                        <a:pt x="27" y="42"/>
                      </a:lnTo>
                      <a:lnTo>
                        <a:pt x="27" y="43"/>
                      </a:lnTo>
                      <a:lnTo>
                        <a:pt x="26" y="43"/>
                      </a:lnTo>
                      <a:lnTo>
                        <a:pt x="26" y="43"/>
                      </a:lnTo>
                      <a:lnTo>
                        <a:pt x="26" y="44"/>
                      </a:lnTo>
                      <a:lnTo>
                        <a:pt x="26" y="44"/>
                      </a:lnTo>
                      <a:lnTo>
                        <a:pt x="25" y="44"/>
                      </a:lnTo>
                      <a:lnTo>
                        <a:pt x="24" y="44"/>
                      </a:lnTo>
                      <a:lnTo>
                        <a:pt x="25" y="44"/>
                      </a:lnTo>
                      <a:lnTo>
                        <a:pt x="24" y="44"/>
                      </a:lnTo>
                      <a:lnTo>
                        <a:pt x="24" y="45"/>
                      </a:lnTo>
                      <a:lnTo>
                        <a:pt x="24" y="45"/>
                      </a:lnTo>
                      <a:lnTo>
                        <a:pt x="23" y="45"/>
                      </a:lnTo>
                      <a:lnTo>
                        <a:pt x="23" y="46"/>
                      </a:lnTo>
                      <a:lnTo>
                        <a:pt x="22" y="46"/>
                      </a:lnTo>
                      <a:lnTo>
                        <a:pt x="22" y="46"/>
                      </a:lnTo>
                      <a:lnTo>
                        <a:pt x="22" y="46"/>
                      </a:lnTo>
                      <a:lnTo>
                        <a:pt x="21" y="46"/>
                      </a:lnTo>
                      <a:lnTo>
                        <a:pt x="21" y="47"/>
                      </a:lnTo>
                      <a:lnTo>
                        <a:pt x="20" y="47"/>
                      </a:lnTo>
                      <a:lnTo>
                        <a:pt x="22" y="47"/>
                      </a:lnTo>
                      <a:lnTo>
                        <a:pt x="21" y="48"/>
                      </a:lnTo>
                      <a:lnTo>
                        <a:pt x="20" y="48"/>
                      </a:lnTo>
                      <a:lnTo>
                        <a:pt x="20" y="48"/>
                      </a:lnTo>
                      <a:lnTo>
                        <a:pt x="20" y="48"/>
                      </a:lnTo>
                      <a:lnTo>
                        <a:pt x="20" y="49"/>
                      </a:lnTo>
                      <a:lnTo>
                        <a:pt x="19" y="49"/>
                      </a:lnTo>
                      <a:lnTo>
                        <a:pt x="18" y="49"/>
                      </a:lnTo>
                      <a:lnTo>
                        <a:pt x="18" y="50"/>
                      </a:lnTo>
                      <a:lnTo>
                        <a:pt x="18" y="50"/>
                      </a:lnTo>
                      <a:lnTo>
                        <a:pt x="17" y="50"/>
                      </a:lnTo>
                      <a:lnTo>
                        <a:pt x="17" y="50"/>
                      </a:lnTo>
                      <a:lnTo>
                        <a:pt x="16" y="50"/>
                      </a:lnTo>
                      <a:lnTo>
                        <a:pt x="16" y="51"/>
                      </a:lnTo>
                      <a:lnTo>
                        <a:pt x="16" y="52"/>
                      </a:lnTo>
                      <a:lnTo>
                        <a:pt x="16" y="53"/>
                      </a:lnTo>
                      <a:lnTo>
                        <a:pt x="16" y="54"/>
                      </a:lnTo>
                      <a:lnTo>
                        <a:pt x="15" y="54"/>
                      </a:lnTo>
                      <a:lnTo>
                        <a:pt x="15" y="55"/>
                      </a:lnTo>
                      <a:lnTo>
                        <a:pt x="14" y="55"/>
                      </a:lnTo>
                      <a:lnTo>
                        <a:pt x="14" y="56"/>
                      </a:lnTo>
                      <a:lnTo>
                        <a:pt x="14" y="56"/>
                      </a:lnTo>
                      <a:lnTo>
                        <a:pt x="13" y="56"/>
                      </a:lnTo>
                      <a:lnTo>
                        <a:pt x="12" y="56"/>
                      </a:lnTo>
                      <a:lnTo>
                        <a:pt x="12" y="57"/>
                      </a:lnTo>
                      <a:lnTo>
                        <a:pt x="12" y="57"/>
                      </a:lnTo>
                      <a:lnTo>
                        <a:pt x="11" y="58"/>
                      </a:lnTo>
                      <a:lnTo>
                        <a:pt x="10" y="58"/>
                      </a:lnTo>
                      <a:lnTo>
                        <a:pt x="10" y="58"/>
                      </a:lnTo>
                      <a:lnTo>
                        <a:pt x="9" y="58"/>
                      </a:lnTo>
                      <a:lnTo>
                        <a:pt x="9" y="59"/>
                      </a:lnTo>
                      <a:lnTo>
                        <a:pt x="9" y="59"/>
                      </a:lnTo>
                      <a:lnTo>
                        <a:pt x="9" y="58"/>
                      </a:lnTo>
                      <a:lnTo>
                        <a:pt x="9" y="59"/>
                      </a:lnTo>
                      <a:lnTo>
                        <a:pt x="8" y="59"/>
                      </a:lnTo>
                      <a:lnTo>
                        <a:pt x="7" y="59"/>
                      </a:lnTo>
                      <a:lnTo>
                        <a:pt x="7" y="59"/>
                      </a:lnTo>
                      <a:lnTo>
                        <a:pt x="6" y="59"/>
                      </a:lnTo>
                      <a:lnTo>
                        <a:pt x="6" y="60"/>
                      </a:lnTo>
                      <a:lnTo>
                        <a:pt x="5" y="60"/>
                      </a:lnTo>
                      <a:lnTo>
                        <a:pt x="5" y="60"/>
                      </a:lnTo>
                      <a:lnTo>
                        <a:pt x="5" y="61"/>
                      </a:lnTo>
                      <a:lnTo>
                        <a:pt x="4" y="61"/>
                      </a:lnTo>
                      <a:lnTo>
                        <a:pt x="3" y="61"/>
                      </a:lnTo>
                      <a:lnTo>
                        <a:pt x="3" y="61"/>
                      </a:lnTo>
                      <a:lnTo>
                        <a:pt x="3" y="61"/>
                      </a:lnTo>
                      <a:lnTo>
                        <a:pt x="2" y="61"/>
                      </a:lnTo>
                      <a:lnTo>
                        <a:pt x="1" y="61"/>
                      </a:lnTo>
                      <a:lnTo>
                        <a:pt x="1" y="62"/>
                      </a:lnTo>
                      <a:lnTo>
                        <a:pt x="1" y="62"/>
                      </a:lnTo>
                      <a:lnTo>
                        <a:pt x="0" y="62"/>
                      </a:lnTo>
                      <a:lnTo>
                        <a:pt x="1" y="62"/>
                      </a:lnTo>
                      <a:lnTo>
                        <a:pt x="1" y="63"/>
                      </a:lnTo>
                      <a:lnTo>
                        <a:pt x="1" y="63"/>
                      </a:lnTo>
                      <a:lnTo>
                        <a:pt x="1" y="64"/>
                      </a:lnTo>
                      <a:lnTo>
                        <a:pt x="1" y="64"/>
                      </a:lnTo>
                      <a:lnTo>
                        <a:pt x="1" y="65"/>
                      </a:lnTo>
                      <a:lnTo>
                        <a:pt x="3" y="65"/>
                      </a:lnTo>
                      <a:lnTo>
                        <a:pt x="3" y="66"/>
                      </a:lnTo>
                      <a:lnTo>
                        <a:pt x="3" y="66"/>
                      </a:lnTo>
                      <a:lnTo>
                        <a:pt x="3" y="67"/>
                      </a:lnTo>
                      <a:lnTo>
                        <a:pt x="4" y="67"/>
                      </a:lnTo>
                      <a:lnTo>
                        <a:pt x="4" y="67"/>
                      </a:lnTo>
                      <a:lnTo>
                        <a:pt x="5" y="68"/>
                      </a:lnTo>
                      <a:lnTo>
                        <a:pt x="5" y="69"/>
                      </a:lnTo>
                      <a:lnTo>
                        <a:pt x="5" y="69"/>
                      </a:lnTo>
                      <a:lnTo>
                        <a:pt x="5" y="69"/>
                      </a:lnTo>
                      <a:lnTo>
                        <a:pt x="5" y="70"/>
                      </a:lnTo>
                      <a:lnTo>
                        <a:pt x="5" y="71"/>
                      </a:lnTo>
                      <a:lnTo>
                        <a:pt x="5" y="71"/>
                      </a:lnTo>
                      <a:lnTo>
                        <a:pt x="6" y="72"/>
                      </a:lnTo>
                      <a:lnTo>
                        <a:pt x="7" y="73"/>
                      </a:lnTo>
                      <a:lnTo>
                        <a:pt x="7" y="74"/>
                      </a:lnTo>
                      <a:lnTo>
                        <a:pt x="7" y="74"/>
                      </a:lnTo>
                      <a:lnTo>
                        <a:pt x="7" y="75"/>
                      </a:lnTo>
                      <a:lnTo>
                        <a:pt x="7" y="75"/>
                      </a:lnTo>
                      <a:lnTo>
                        <a:pt x="8" y="76"/>
                      </a:lnTo>
                      <a:lnTo>
                        <a:pt x="7" y="77"/>
                      </a:lnTo>
                      <a:lnTo>
                        <a:pt x="8" y="77"/>
                      </a:lnTo>
                      <a:lnTo>
                        <a:pt x="8" y="78"/>
                      </a:lnTo>
                      <a:lnTo>
                        <a:pt x="8" y="79"/>
                      </a:lnTo>
                      <a:lnTo>
                        <a:pt x="7" y="79"/>
                      </a:lnTo>
                      <a:lnTo>
                        <a:pt x="8" y="79"/>
                      </a:lnTo>
                      <a:lnTo>
                        <a:pt x="9" y="79"/>
                      </a:lnTo>
                      <a:lnTo>
                        <a:pt x="9" y="79"/>
                      </a:lnTo>
                      <a:lnTo>
                        <a:pt x="9" y="80"/>
                      </a:lnTo>
                      <a:lnTo>
                        <a:pt x="9" y="81"/>
                      </a:lnTo>
                      <a:lnTo>
                        <a:pt x="10" y="81"/>
                      </a:lnTo>
                      <a:lnTo>
                        <a:pt x="10" y="82"/>
                      </a:lnTo>
                      <a:lnTo>
                        <a:pt x="10" y="82"/>
                      </a:lnTo>
                      <a:lnTo>
                        <a:pt x="11" y="82"/>
                      </a:lnTo>
                      <a:lnTo>
                        <a:pt x="11" y="83"/>
                      </a:lnTo>
                      <a:lnTo>
                        <a:pt x="11" y="84"/>
                      </a:lnTo>
                      <a:lnTo>
                        <a:pt x="11" y="84"/>
                      </a:lnTo>
                      <a:lnTo>
                        <a:pt x="12" y="84"/>
                      </a:lnTo>
                      <a:lnTo>
                        <a:pt x="12" y="84"/>
                      </a:lnTo>
                      <a:lnTo>
                        <a:pt x="12" y="85"/>
                      </a:lnTo>
                      <a:lnTo>
                        <a:pt x="13" y="85"/>
                      </a:lnTo>
                      <a:lnTo>
                        <a:pt x="14" y="86"/>
                      </a:lnTo>
                      <a:lnTo>
                        <a:pt x="14" y="85"/>
                      </a:lnTo>
                      <a:lnTo>
                        <a:pt x="14" y="85"/>
                      </a:lnTo>
                      <a:lnTo>
                        <a:pt x="15" y="85"/>
                      </a:lnTo>
                      <a:lnTo>
                        <a:pt x="16" y="85"/>
                      </a:lnTo>
                      <a:lnTo>
                        <a:pt x="16" y="86"/>
                      </a:lnTo>
                      <a:lnTo>
                        <a:pt x="17" y="86"/>
                      </a:lnTo>
                      <a:lnTo>
                        <a:pt x="17" y="87"/>
                      </a:lnTo>
                      <a:lnTo>
                        <a:pt x="18" y="87"/>
                      </a:lnTo>
                      <a:lnTo>
                        <a:pt x="18" y="88"/>
                      </a:lnTo>
                      <a:lnTo>
                        <a:pt x="18" y="88"/>
                      </a:lnTo>
                      <a:lnTo>
                        <a:pt x="18" y="87"/>
                      </a:lnTo>
                      <a:lnTo>
                        <a:pt x="19" y="87"/>
                      </a:lnTo>
                      <a:lnTo>
                        <a:pt x="20" y="86"/>
                      </a:lnTo>
                      <a:lnTo>
                        <a:pt x="20" y="86"/>
                      </a:lnTo>
                      <a:lnTo>
                        <a:pt x="21" y="86"/>
                      </a:lnTo>
                      <a:lnTo>
                        <a:pt x="21" y="86"/>
                      </a:lnTo>
                      <a:lnTo>
                        <a:pt x="22" y="86"/>
                      </a:lnTo>
                      <a:lnTo>
                        <a:pt x="22" y="86"/>
                      </a:lnTo>
                      <a:lnTo>
                        <a:pt x="23" y="86"/>
                      </a:lnTo>
                      <a:lnTo>
                        <a:pt x="24" y="86"/>
                      </a:lnTo>
                      <a:lnTo>
                        <a:pt x="24" y="86"/>
                      </a:lnTo>
                      <a:lnTo>
                        <a:pt x="24" y="87"/>
                      </a:lnTo>
                      <a:lnTo>
                        <a:pt x="25" y="87"/>
                      </a:lnTo>
                      <a:lnTo>
                        <a:pt x="25" y="88"/>
                      </a:lnTo>
                      <a:lnTo>
                        <a:pt x="26" y="88"/>
                      </a:lnTo>
                      <a:lnTo>
                        <a:pt x="26" y="88"/>
                      </a:lnTo>
                      <a:lnTo>
                        <a:pt x="26" y="89"/>
                      </a:lnTo>
                      <a:lnTo>
                        <a:pt x="26" y="90"/>
                      </a:lnTo>
                      <a:lnTo>
                        <a:pt x="27" y="90"/>
                      </a:lnTo>
                      <a:lnTo>
                        <a:pt x="28" y="90"/>
                      </a:lnTo>
                      <a:lnTo>
                        <a:pt x="28" y="91"/>
                      </a:lnTo>
                      <a:lnTo>
                        <a:pt x="28" y="91"/>
                      </a:lnTo>
                      <a:lnTo>
                        <a:pt x="28" y="92"/>
                      </a:lnTo>
                      <a:lnTo>
                        <a:pt x="28" y="92"/>
                      </a:lnTo>
                      <a:lnTo>
                        <a:pt x="29" y="92"/>
                      </a:lnTo>
                      <a:lnTo>
                        <a:pt x="29" y="93"/>
                      </a:lnTo>
                      <a:lnTo>
                        <a:pt x="29" y="94"/>
                      </a:lnTo>
                      <a:lnTo>
                        <a:pt x="30" y="94"/>
                      </a:lnTo>
                      <a:lnTo>
                        <a:pt x="30" y="94"/>
                      </a:lnTo>
                      <a:lnTo>
                        <a:pt x="31" y="94"/>
                      </a:lnTo>
                      <a:lnTo>
                        <a:pt x="31" y="95"/>
                      </a:lnTo>
                      <a:lnTo>
                        <a:pt x="32" y="95"/>
                      </a:lnTo>
                      <a:lnTo>
                        <a:pt x="33" y="95"/>
                      </a:lnTo>
                      <a:lnTo>
                        <a:pt x="33" y="95"/>
                      </a:lnTo>
                      <a:lnTo>
                        <a:pt x="34" y="95"/>
                      </a:lnTo>
                      <a:lnTo>
                        <a:pt x="35" y="95"/>
                      </a:lnTo>
                      <a:lnTo>
                        <a:pt x="35" y="96"/>
                      </a:lnTo>
                      <a:lnTo>
                        <a:pt x="35" y="96"/>
                      </a:lnTo>
                      <a:lnTo>
                        <a:pt x="35" y="96"/>
                      </a:lnTo>
                      <a:lnTo>
                        <a:pt x="35" y="97"/>
                      </a:lnTo>
                      <a:lnTo>
                        <a:pt x="36" y="97"/>
                      </a:lnTo>
                      <a:lnTo>
                        <a:pt x="37" y="98"/>
                      </a:lnTo>
                      <a:lnTo>
                        <a:pt x="37" y="98"/>
                      </a:lnTo>
                      <a:lnTo>
                        <a:pt x="38" y="98"/>
                      </a:lnTo>
                      <a:lnTo>
                        <a:pt x="38" y="98"/>
                      </a:lnTo>
                      <a:lnTo>
                        <a:pt x="39" y="98"/>
                      </a:lnTo>
                      <a:lnTo>
                        <a:pt x="39" y="98"/>
                      </a:lnTo>
                      <a:lnTo>
                        <a:pt x="39" y="98"/>
                      </a:lnTo>
                      <a:lnTo>
                        <a:pt x="40" y="98"/>
                      </a:lnTo>
                      <a:lnTo>
                        <a:pt x="41" y="98"/>
                      </a:lnTo>
                      <a:lnTo>
                        <a:pt x="41" y="98"/>
                      </a:lnTo>
                      <a:lnTo>
                        <a:pt x="42" y="98"/>
                      </a:lnTo>
                      <a:lnTo>
                        <a:pt x="43" y="98"/>
                      </a:lnTo>
                      <a:lnTo>
                        <a:pt x="43" y="99"/>
                      </a:lnTo>
                      <a:lnTo>
                        <a:pt x="43" y="99"/>
                      </a:lnTo>
                      <a:lnTo>
                        <a:pt x="44" y="99"/>
                      </a:lnTo>
                      <a:lnTo>
                        <a:pt x="45" y="99"/>
                      </a:lnTo>
                      <a:lnTo>
                        <a:pt x="45" y="99"/>
                      </a:lnTo>
                      <a:lnTo>
                        <a:pt x="46" y="100"/>
                      </a:lnTo>
                      <a:lnTo>
                        <a:pt x="47" y="100"/>
                      </a:lnTo>
                      <a:lnTo>
                        <a:pt x="47" y="101"/>
                      </a:lnTo>
                      <a:lnTo>
                        <a:pt x="46" y="101"/>
                      </a:lnTo>
                      <a:lnTo>
                        <a:pt x="47" y="101"/>
                      </a:lnTo>
                      <a:lnTo>
                        <a:pt x="47" y="101"/>
                      </a:lnTo>
                      <a:lnTo>
                        <a:pt x="47" y="102"/>
                      </a:lnTo>
                      <a:lnTo>
                        <a:pt x="47" y="102"/>
                      </a:lnTo>
                      <a:lnTo>
                        <a:pt x="47" y="103"/>
                      </a:lnTo>
                      <a:lnTo>
                        <a:pt x="47" y="103"/>
                      </a:lnTo>
                      <a:lnTo>
                        <a:pt x="47" y="104"/>
                      </a:lnTo>
                      <a:lnTo>
                        <a:pt x="48" y="105"/>
                      </a:lnTo>
                      <a:lnTo>
                        <a:pt x="48" y="105"/>
                      </a:lnTo>
                      <a:lnTo>
                        <a:pt x="49" y="105"/>
                      </a:lnTo>
                      <a:lnTo>
                        <a:pt x="49" y="106"/>
                      </a:lnTo>
                      <a:lnTo>
                        <a:pt x="49" y="107"/>
                      </a:lnTo>
                      <a:lnTo>
                        <a:pt x="50" y="107"/>
                      </a:lnTo>
                      <a:lnTo>
                        <a:pt x="50" y="107"/>
                      </a:lnTo>
                      <a:lnTo>
                        <a:pt x="50" y="107"/>
                      </a:lnTo>
                      <a:lnTo>
                        <a:pt x="50" y="108"/>
                      </a:lnTo>
                      <a:lnTo>
                        <a:pt x="51" y="108"/>
                      </a:lnTo>
                      <a:lnTo>
                        <a:pt x="51" y="109"/>
                      </a:lnTo>
                      <a:lnTo>
                        <a:pt x="51" y="109"/>
                      </a:lnTo>
                      <a:lnTo>
                        <a:pt x="51" y="110"/>
                      </a:lnTo>
                      <a:lnTo>
                        <a:pt x="51" y="111"/>
                      </a:lnTo>
                      <a:lnTo>
                        <a:pt x="51" y="111"/>
                      </a:lnTo>
                      <a:lnTo>
                        <a:pt x="51" y="112"/>
                      </a:lnTo>
                      <a:lnTo>
                        <a:pt x="51" y="113"/>
                      </a:lnTo>
                      <a:lnTo>
                        <a:pt x="51" y="113"/>
                      </a:lnTo>
                      <a:lnTo>
                        <a:pt x="51" y="114"/>
                      </a:lnTo>
                      <a:lnTo>
                        <a:pt x="50" y="114"/>
                      </a:lnTo>
                      <a:lnTo>
                        <a:pt x="50" y="115"/>
                      </a:lnTo>
                      <a:lnTo>
                        <a:pt x="50" y="115"/>
                      </a:lnTo>
                      <a:lnTo>
                        <a:pt x="50" y="116"/>
                      </a:lnTo>
                      <a:lnTo>
                        <a:pt x="50" y="117"/>
                      </a:lnTo>
                      <a:lnTo>
                        <a:pt x="51" y="117"/>
                      </a:lnTo>
                      <a:lnTo>
                        <a:pt x="51" y="117"/>
                      </a:lnTo>
                      <a:lnTo>
                        <a:pt x="51" y="118"/>
                      </a:lnTo>
                      <a:lnTo>
                        <a:pt x="52" y="118"/>
                      </a:lnTo>
                      <a:lnTo>
                        <a:pt x="52" y="119"/>
                      </a:lnTo>
                      <a:lnTo>
                        <a:pt x="52" y="119"/>
                      </a:lnTo>
                      <a:lnTo>
                        <a:pt x="52" y="120"/>
                      </a:lnTo>
                      <a:lnTo>
                        <a:pt x="52" y="120"/>
                      </a:lnTo>
                      <a:lnTo>
                        <a:pt x="52" y="121"/>
                      </a:lnTo>
                      <a:lnTo>
                        <a:pt x="52" y="122"/>
                      </a:lnTo>
                      <a:lnTo>
                        <a:pt x="53" y="122"/>
                      </a:lnTo>
                      <a:lnTo>
                        <a:pt x="53" y="122"/>
                      </a:lnTo>
                      <a:lnTo>
                        <a:pt x="54" y="123"/>
                      </a:lnTo>
                      <a:lnTo>
                        <a:pt x="54" y="124"/>
                      </a:lnTo>
                      <a:lnTo>
                        <a:pt x="54" y="124"/>
                      </a:lnTo>
                      <a:lnTo>
                        <a:pt x="54" y="124"/>
                      </a:lnTo>
                      <a:lnTo>
                        <a:pt x="55" y="124"/>
                      </a:lnTo>
                      <a:lnTo>
                        <a:pt x="55" y="125"/>
                      </a:lnTo>
                      <a:lnTo>
                        <a:pt x="56" y="126"/>
                      </a:lnTo>
                      <a:lnTo>
                        <a:pt x="56" y="126"/>
                      </a:lnTo>
                      <a:lnTo>
                        <a:pt x="55" y="127"/>
                      </a:lnTo>
                      <a:lnTo>
                        <a:pt x="56" y="127"/>
                      </a:lnTo>
                      <a:lnTo>
                        <a:pt x="56" y="128"/>
                      </a:lnTo>
                      <a:lnTo>
                        <a:pt x="56" y="128"/>
                      </a:lnTo>
                      <a:lnTo>
                        <a:pt x="56" y="129"/>
                      </a:lnTo>
                      <a:lnTo>
                        <a:pt x="56" y="130"/>
                      </a:lnTo>
                      <a:lnTo>
                        <a:pt x="57" y="130"/>
                      </a:lnTo>
                      <a:lnTo>
                        <a:pt x="58" y="130"/>
                      </a:lnTo>
                      <a:lnTo>
                        <a:pt x="58" y="131"/>
                      </a:lnTo>
                      <a:lnTo>
                        <a:pt x="58" y="131"/>
                      </a:lnTo>
                      <a:lnTo>
                        <a:pt x="58" y="132"/>
                      </a:lnTo>
                      <a:lnTo>
                        <a:pt x="59" y="132"/>
                      </a:lnTo>
                      <a:lnTo>
                        <a:pt x="59" y="131"/>
                      </a:lnTo>
                      <a:lnTo>
                        <a:pt x="60" y="132"/>
                      </a:lnTo>
                      <a:lnTo>
                        <a:pt x="60" y="132"/>
                      </a:lnTo>
                      <a:lnTo>
                        <a:pt x="61" y="132"/>
                      </a:lnTo>
                      <a:lnTo>
                        <a:pt x="62" y="132"/>
                      </a:lnTo>
                      <a:lnTo>
                        <a:pt x="62" y="132"/>
                      </a:lnTo>
                      <a:lnTo>
                        <a:pt x="62" y="132"/>
                      </a:lnTo>
                      <a:lnTo>
                        <a:pt x="63" y="132"/>
                      </a:lnTo>
                      <a:lnTo>
                        <a:pt x="64" y="133"/>
                      </a:lnTo>
                      <a:lnTo>
                        <a:pt x="64" y="134"/>
                      </a:lnTo>
                      <a:lnTo>
                        <a:pt x="64" y="134"/>
                      </a:lnTo>
                      <a:lnTo>
                        <a:pt x="64" y="133"/>
                      </a:lnTo>
                      <a:lnTo>
                        <a:pt x="65" y="133"/>
                      </a:lnTo>
                      <a:lnTo>
                        <a:pt x="66" y="133"/>
                      </a:lnTo>
                      <a:lnTo>
                        <a:pt x="66" y="134"/>
                      </a:lnTo>
                      <a:lnTo>
                        <a:pt x="66" y="134"/>
                      </a:lnTo>
                      <a:lnTo>
                        <a:pt x="66" y="134"/>
                      </a:lnTo>
                      <a:lnTo>
                        <a:pt x="67" y="135"/>
                      </a:lnTo>
                      <a:lnTo>
                        <a:pt x="67" y="136"/>
                      </a:lnTo>
                      <a:lnTo>
                        <a:pt x="68" y="136"/>
                      </a:lnTo>
                      <a:lnTo>
                        <a:pt x="68" y="137"/>
                      </a:lnTo>
                      <a:lnTo>
                        <a:pt x="69" y="138"/>
                      </a:lnTo>
                      <a:lnTo>
                        <a:pt x="69" y="139"/>
                      </a:lnTo>
                      <a:lnTo>
                        <a:pt x="69" y="139"/>
                      </a:lnTo>
                      <a:lnTo>
                        <a:pt x="69" y="140"/>
                      </a:lnTo>
                      <a:lnTo>
                        <a:pt x="69" y="141"/>
                      </a:lnTo>
                      <a:lnTo>
                        <a:pt x="69" y="141"/>
                      </a:lnTo>
                      <a:lnTo>
                        <a:pt x="70" y="141"/>
                      </a:lnTo>
                      <a:lnTo>
                        <a:pt x="70" y="142"/>
                      </a:lnTo>
                      <a:lnTo>
                        <a:pt x="71" y="142"/>
                      </a:lnTo>
                      <a:lnTo>
                        <a:pt x="71" y="143"/>
                      </a:lnTo>
                      <a:lnTo>
                        <a:pt x="71" y="143"/>
                      </a:lnTo>
                      <a:lnTo>
                        <a:pt x="72" y="143"/>
                      </a:lnTo>
                      <a:lnTo>
                        <a:pt x="73" y="143"/>
                      </a:lnTo>
                      <a:lnTo>
                        <a:pt x="73" y="143"/>
                      </a:lnTo>
                      <a:lnTo>
                        <a:pt x="74" y="143"/>
                      </a:lnTo>
                      <a:lnTo>
                        <a:pt x="75" y="143"/>
                      </a:lnTo>
                      <a:lnTo>
                        <a:pt x="75" y="143"/>
                      </a:lnTo>
                      <a:lnTo>
                        <a:pt x="76" y="143"/>
                      </a:lnTo>
                      <a:lnTo>
                        <a:pt x="77" y="143"/>
                      </a:lnTo>
                      <a:lnTo>
                        <a:pt x="77" y="143"/>
                      </a:lnTo>
                      <a:lnTo>
                        <a:pt x="78" y="143"/>
                      </a:lnTo>
                      <a:lnTo>
                        <a:pt x="79" y="143"/>
                      </a:lnTo>
                      <a:lnTo>
                        <a:pt x="79" y="144"/>
                      </a:lnTo>
                      <a:lnTo>
                        <a:pt x="79" y="144"/>
                      </a:lnTo>
                      <a:lnTo>
                        <a:pt x="80" y="144"/>
                      </a:lnTo>
                      <a:lnTo>
                        <a:pt x="81" y="145"/>
                      </a:lnTo>
                      <a:lnTo>
                        <a:pt x="81" y="145"/>
                      </a:lnTo>
                      <a:lnTo>
                        <a:pt x="82" y="145"/>
                      </a:lnTo>
                      <a:lnTo>
                        <a:pt x="83" y="145"/>
                      </a:lnTo>
                      <a:lnTo>
                        <a:pt x="83" y="145"/>
                      </a:lnTo>
                      <a:lnTo>
                        <a:pt x="84" y="145"/>
                      </a:lnTo>
                      <a:lnTo>
                        <a:pt x="85" y="145"/>
                      </a:lnTo>
                      <a:lnTo>
                        <a:pt x="85" y="145"/>
                      </a:lnTo>
                      <a:lnTo>
                        <a:pt x="86" y="145"/>
                      </a:lnTo>
                      <a:lnTo>
                        <a:pt x="87" y="145"/>
                      </a:lnTo>
                      <a:lnTo>
                        <a:pt x="87" y="146"/>
                      </a:lnTo>
                      <a:lnTo>
                        <a:pt x="88" y="146"/>
                      </a:lnTo>
                      <a:lnTo>
                        <a:pt x="88" y="145"/>
                      </a:lnTo>
                      <a:lnTo>
                        <a:pt x="88" y="146"/>
                      </a:lnTo>
                      <a:lnTo>
                        <a:pt x="89" y="146"/>
                      </a:lnTo>
                      <a:lnTo>
                        <a:pt x="90" y="146"/>
                      </a:lnTo>
                      <a:lnTo>
                        <a:pt x="90" y="146"/>
                      </a:lnTo>
                      <a:lnTo>
                        <a:pt x="91" y="146"/>
                      </a:lnTo>
                      <a:lnTo>
                        <a:pt x="92" y="147"/>
                      </a:lnTo>
                      <a:lnTo>
                        <a:pt x="92" y="147"/>
                      </a:lnTo>
                      <a:lnTo>
                        <a:pt x="93" y="147"/>
                      </a:lnTo>
                      <a:lnTo>
                        <a:pt x="93" y="148"/>
                      </a:lnTo>
                      <a:lnTo>
                        <a:pt x="94" y="149"/>
                      </a:lnTo>
                      <a:lnTo>
                        <a:pt x="94" y="149"/>
                      </a:lnTo>
                      <a:lnTo>
                        <a:pt x="94" y="150"/>
                      </a:lnTo>
                      <a:lnTo>
                        <a:pt x="94" y="151"/>
                      </a:lnTo>
                      <a:lnTo>
                        <a:pt x="94" y="151"/>
                      </a:lnTo>
                      <a:lnTo>
                        <a:pt x="95" y="152"/>
                      </a:lnTo>
                      <a:lnTo>
                        <a:pt x="96" y="153"/>
                      </a:lnTo>
                      <a:lnTo>
                        <a:pt x="96" y="153"/>
                      </a:lnTo>
                      <a:lnTo>
                        <a:pt x="97" y="153"/>
                      </a:lnTo>
                      <a:lnTo>
                        <a:pt x="98" y="153"/>
                      </a:lnTo>
                      <a:lnTo>
                        <a:pt x="98" y="153"/>
                      </a:lnTo>
                      <a:lnTo>
                        <a:pt x="99" y="153"/>
                      </a:lnTo>
                      <a:lnTo>
                        <a:pt x="99" y="154"/>
                      </a:lnTo>
                      <a:lnTo>
                        <a:pt x="100" y="155"/>
                      </a:lnTo>
                      <a:lnTo>
                        <a:pt x="100" y="155"/>
                      </a:lnTo>
                      <a:lnTo>
                        <a:pt x="101" y="155"/>
                      </a:lnTo>
                      <a:lnTo>
                        <a:pt x="101" y="155"/>
                      </a:lnTo>
                      <a:lnTo>
                        <a:pt x="102" y="155"/>
                      </a:lnTo>
                      <a:lnTo>
                        <a:pt x="102" y="155"/>
                      </a:lnTo>
                      <a:lnTo>
                        <a:pt x="103" y="155"/>
                      </a:lnTo>
                      <a:lnTo>
                        <a:pt x="104" y="155"/>
                      </a:lnTo>
                      <a:lnTo>
                        <a:pt x="104" y="155"/>
                      </a:lnTo>
                      <a:lnTo>
                        <a:pt x="105" y="155"/>
                      </a:lnTo>
                      <a:lnTo>
                        <a:pt x="106" y="155"/>
                      </a:lnTo>
                      <a:lnTo>
                        <a:pt x="106" y="156"/>
                      </a:lnTo>
                      <a:lnTo>
                        <a:pt x="107" y="156"/>
                      </a:lnTo>
                      <a:lnTo>
                        <a:pt x="107" y="157"/>
                      </a:lnTo>
                      <a:lnTo>
                        <a:pt x="107" y="157"/>
                      </a:lnTo>
                      <a:lnTo>
                        <a:pt x="107" y="157"/>
                      </a:lnTo>
                      <a:lnTo>
                        <a:pt x="108" y="157"/>
                      </a:lnTo>
                      <a:lnTo>
                        <a:pt x="108" y="158"/>
                      </a:lnTo>
                      <a:lnTo>
                        <a:pt x="108" y="159"/>
                      </a:lnTo>
                      <a:lnTo>
                        <a:pt x="109" y="159"/>
                      </a:lnTo>
                      <a:lnTo>
                        <a:pt x="109" y="159"/>
                      </a:lnTo>
                      <a:lnTo>
                        <a:pt x="110" y="160"/>
                      </a:lnTo>
                      <a:lnTo>
                        <a:pt x="111" y="160"/>
                      </a:lnTo>
                      <a:lnTo>
                        <a:pt x="111" y="160"/>
                      </a:lnTo>
                      <a:lnTo>
                        <a:pt x="111" y="161"/>
                      </a:lnTo>
                      <a:lnTo>
                        <a:pt x="111" y="161"/>
                      </a:lnTo>
                      <a:lnTo>
                        <a:pt x="111" y="160"/>
                      </a:lnTo>
                      <a:lnTo>
                        <a:pt x="112" y="160"/>
                      </a:lnTo>
                      <a:lnTo>
                        <a:pt x="113" y="161"/>
                      </a:lnTo>
                      <a:lnTo>
                        <a:pt x="113" y="161"/>
                      </a:lnTo>
                      <a:lnTo>
                        <a:pt x="114" y="161"/>
                      </a:lnTo>
                      <a:lnTo>
                        <a:pt x="115" y="161"/>
                      </a:lnTo>
                      <a:lnTo>
                        <a:pt x="115" y="161"/>
                      </a:lnTo>
                      <a:lnTo>
                        <a:pt x="115" y="160"/>
                      </a:lnTo>
                      <a:lnTo>
                        <a:pt x="116" y="160"/>
                      </a:lnTo>
                      <a:lnTo>
                        <a:pt x="117" y="160"/>
                      </a:lnTo>
                      <a:lnTo>
                        <a:pt x="117" y="160"/>
                      </a:lnTo>
                      <a:lnTo>
                        <a:pt x="118" y="160"/>
                      </a:lnTo>
                      <a:lnTo>
                        <a:pt x="119" y="160"/>
                      </a:lnTo>
                      <a:lnTo>
                        <a:pt x="119" y="160"/>
                      </a:lnTo>
                      <a:lnTo>
                        <a:pt x="120" y="160"/>
                      </a:lnTo>
                      <a:lnTo>
                        <a:pt x="121" y="160"/>
                      </a:lnTo>
                      <a:lnTo>
                        <a:pt x="121" y="160"/>
                      </a:lnTo>
                      <a:lnTo>
                        <a:pt x="121" y="160"/>
                      </a:lnTo>
                      <a:lnTo>
                        <a:pt x="122" y="160"/>
                      </a:lnTo>
                      <a:lnTo>
                        <a:pt x="123" y="160"/>
                      </a:lnTo>
                      <a:lnTo>
                        <a:pt x="123" y="160"/>
                      </a:lnTo>
                      <a:lnTo>
                        <a:pt x="124" y="160"/>
                      </a:lnTo>
                      <a:lnTo>
                        <a:pt x="124" y="159"/>
                      </a:lnTo>
                      <a:lnTo>
                        <a:pt x="125" y="159"/>
                      </a:lnTo>
                      <a:lnTo>
                        <a:pt x="126" y="159"/>
                      </a:lnTo>
                      <a:lnTo>
                        <a:pt x="126" y="158"/>
                      </a:lnTo>
                      <a:lnTo>
                        <a:pt x="127" y="158"/>
                      </a:lnTo>
                      <a:lnTo>
                        <a:pt x="128" y="158"/>
                      </a:lnTo>
                      <a:lnTo>
                        <a:pt x="128" y="158"/>
                      </a:lnTo>
                      <a:lnTo>
                        <a:pt x="128" y="159"/>
                      </a:lnTo>
                      <a:lnTo>
                        <a:pt x="129" y="159"/>
                      </a:lnTo>
                      <a:lnTo>
                        <a:pt x="129" y="160"/>
                      </a:lnTo>
                      <a:lnTo>
                        <a:pt x="129" y="160"/>
                      </a:lnTo>
                      <a:lnTo>
                        <a:pt x="130" y="160"/>
                      </a:lnTo>
                      <a:lnTo>
                        <a:pt x="130" y="161"/>
                      </a:lnTo>
                      <a:lnTo>
                        <a:pt x="130" y="161"/>
                      </a:lnTo>
                      <a:lnTo>
                        <a:pt x="131" y="161"/>
                      </a:lnTo>
                      <a:lnTo>
                        <a:pt x="132" y="161"/>
                      </a:lnTo>
                      <a:lnTo>
                        <a:pt x="132" y="162"/>
                      </a:lnTo>
                      <a:lnTo>
                        <a:pt x="132" y="162"/>
                      </a:lnTo>
                      <a:lnTo>
                        <a:pt x="132" y="162"/>
                      </a:lnTo>
                      <a:lnTo>
                        <a:pt x="133" y="162"/>
                      </a:lnTo>
                      <a:lnTo>
                        <a:pt x="134" y="162"/>
                      </a:lnTo>
                      <a:lnTo>
                        <a:pt x="134" y="163"/>
                      </a:lnTo>
                      <a:lnTo>
                        <a:pt x="135" y="163"/>
                      </a:lnTo>
                      <a:lnTo>
                        <a:pt x="136" y="163"/>
                      </a:lnTo>
                      <a:lnTo>
                        <a:pt x="136" y="163"/>
                      </a:lnTo>
                      <a:lnTo>
                        <a:pt x="137" y="162"/>
                      </a:lnTo>
                      <a:lnTo>
                        <a:pt x="138" y="162"/>
                      </a:lnTo>
                      <a:lnTo>
                        <a:pt x="138" y="162"/>
                      </a:lnTo>
                      <a:lnTo>
                        <a:pt x="138" y="162"/>
                      </a:lnTo>
                      <a:lnTo>
                        <a:pt x="138" y="161"/>
                      </a:lnTo>
                      <a:lnTo>
                        <a:pt x="138" y="160"/>
                      </a:lnTo>
                      <a:lnTo>
                        <a:pt x="139" y="160"/>
                      </a:lnTo>
                      <a:lnTo>
                        <a:pt x="140" y="160"/>
                      </a:lnTo>
                      <a:lnTo>
                        <a:pt x="140" y="160"/>
                      </a:lnTo>
                      <a:lnTo>
                        <a:pt x="140" y="159"/>
                      </a:lnTo>
                      <a:lnTo>
                        <a:pt x="140" y="159"/>
                      </a:lnTo>
                      <a:lnTo>
                        <a:pt x="140" y="158"/>
                      </a:lnTo>
                      <a:lnTo>
                        <a:pt x="141" y="158"/>
                      </a:lnTo>
                      <a:lnTo>
                        <a:pt x="142" y="158"/>
                      </a:lnTo>
                      <a:lnTo>
                        <a:pt x="143" y="158"/>
                      </a:lnTo>
                      <a:lnTo>
                        <a:pt x="143" y="158"/>
                      </a:lnTo>
                      <a:lnTo>
                        <a:pt x="143" y="157"/>
                      </a:lnTo>
                      <a:lnTo>
                        <a:pt x="144" y="157"/>
                      </a:lnTo>
                      <a:lnTo>
                        <a:pt x="145" y="156"/>
                      </a:lnTo>
                      <a:lnTo>
                        <a:pt x="145" y="155"/>
                      </a:lnTo>
                      <a:lnTo>
                        <a:pt x="145" y="155"/>
                      </a:lnTo>
                      <a:lnTo>
                        <a:pt x="146" y="155"/>
                      </a:lnTo>
                      <a:lnTo>
                        <a:pt x="147" y="154"/>
                      </a:lnTo>
                      <a:lnTo>
                        <a:pt x="147" y="154"/>
                      </a:lnTo>
                      <a:lnTo>
                        <a:pt x="149" y="154"/>
                      </a:lnTo>
                      <a:lnTo>
                        <a:pt x="149" y="153"/>
                      </a:lnTo>
                      <a:lnTo>
                        <a:pt x="150" y="154"/>
                      </a:lnTo>
                      <a:lnTo>
                        <a:pt x="151" y="154"/>
                      </a:lnTo>
                      <a:lnTo>
                        <a:pt x="151" y="154"/>
                      </a:lnTo>
                      <a:lnTo>
                        <a:pt x="152" y="154"/>
                      </a:lnTo>
                      <a:lnTo>
                        <a:pt x="153" y="154"/>
                      </a:lnTo>
                      <a:lnTo>
                        <a:pt x="153" y="153"/>
                      </a:lnTo>
                      <a:lnTo>
                        <a:pt x="154" y="153"/>
                      </a:lnTo>
                      <a:lnTo>
                        <a:pt x="155" y="153"/>
                      </a:lnTo>
                      <a:lnTo>
                        <a:pt x="156" y="152"/>
                      </a:lnTo>
                      <a:lnTo>
                        <a:pt x="157" y="152"/>
                      </a:lnTo>
                      <a:lnTo>
                        <a:pt x="157" y="153"/>
                      </a:lnTo>
                      <a:lnTo>
                        <a:pt x="158" y="153"/>
                      </a:lnTo>
                      <a:lnTo>
                        <a:pt x="159" y="153"/>
                      </a:lnTo>
                      <a:lnTo>
                        <a:pt x="159" y="154"/>
                      </a:lnTo>
                      <a:lnTo>
                        <a:pt x="159" y="154"/>
                      </a:lnTo>
                      <a:lnTo>
                        <a:pt x="159" y="155"/>
                      </a:lnTo>
                      <a:lnTo>
                        <a:pt x="160" y="155"/>
                      </a:lnTo>
                      <a:lnTo>
                        <a:pt x="161" y="155"/>
                      </a:lnTo>
                      <a:lnTo>
                        <a:pt x="162" y="155"/>
                      </a:lnTo>
                      <a:lnTo>
                        <a:pt x="162" y="155"/>
                      </a:lnTo>
                      <a:lnTo>
                        <a:pt x="163" y="155"/>
                      </a:lnTo>
                      <a:lnTo>
                        <a:pt x="164" y="155"/>
                      </a:lnTo>
                      <a:lnTo>
                        <a:pt x="164" y="155"/>
                      </a:lnTo>
                      <a:lnTo>
                        <a:pt x="165" y="155"/>
                      </a:lnTo>
                      <a:lnTo>
                        <a:pt x="166" y="156"/>
                      </a:lnTo>
                      <a:lnTo>
                        <a:pt x="166" y="156"/>
                      </a:lnTo>
                      <a:lnTo>
                        <a:pt x="167" y="156"/>
                      </a:lnTo>
                      <a:lnTo>
                        <a:pt x="168" y="156"/>
                      </a:lnTo>
                      <a:lnTo>
                        <a:pt x="168" y="156"/>
                      </a:lnTo>
                      <a:lnTo>
                        <a:pt x="169" y="156"/>
                      </a:lnTo>
                      <a:lnTo>
                        <a:pt x="170" y="155"/>
                      </a:lnTo>
                      <a:lnTo>
                        <a:pt x="170" y="155"/>
                      </a:lnTo>
                      <a:lnTo>
                        <a:pt x="170" y="155"/>
                      </a:lnTo>
                      <a:lnTo>
                        <a:pt x="170" y="154"/>
                      </a:lnTo>
                      <a:lnTo>
                        <a:pt x="171" y="154"/>
                      </a:lnTo>
                      <a:lnTo>
                        <a:pt x="172" y="154"/>
                      </a:lnTo>
                      <a:lnTo>
                        <a:pt x="172" y="155"/>
                      </a:lnTo>
                      <a:lnTo>
                        <a:pt x="172" y="155"/>
                      </a:lnTo>
                      <a:lnTo>
                        <a:pt x="172" y="156"/>
                      </a:lnTo>
                      <a:lnTo>
                        <a:pt x="172" y="157"/>
                      </a:lnTo>
                      <a:lnTo>
                        <a:pt x="172" y="157"/>
                      </a:lnTo>
                      <a:lnTo>
                        <a:pt x="172" y="158"/>
                      </a:lnTo>
                      <a:lnTo>
                        <a:pt x="172" y="158"/>
                      </a:lnTo>
                      <a:lnTo>
                        <a:pt x="172" y="159"/>
                      </a:lnTo>
                      <a:lnTo>
                        <a:pt x="173" y="159"/>
                      </a:lnTo>
                      <a:lnTo>
                        <a:pt x="174" y="159"/>
                      </a:lnTo>
                      <a:lnTo>
                        <a:pt x="174" y="160"/>
                      </a:lnTo>
                      <a:lnTo>
                        <a:pt x="175" y="160"/>
                      </a:lnTo>
                      <a:lnTo>
                        <a:pt x="175" y="160"/>
                      </a:lnTo>
                      <a:lnTo>
                        <a:pt x="176" y="160"/>
                      </a:lnTo>
                      <a:lnTo>
                        <a:pt x="176" y="161"/>
                      </a:lnTo>
                      <a:lnTo>
                        <a:pt x="176" y="161"/>
                      </a:lnTo>
                      <a:lnTo>
                        <a:pt x="176" y="162"/>
                      </a:lnTo>
                      <a:lnTo>
                        <a:pt x="176" y="162"/>
                      </a:lnTo>
                      <a:lnTo>
                        <a:pt x="176" y="163"/>
                      </a:lnTo>
                      <a:lnTo>
                        <a:pt x="176" y="164"/>
                      </a:lnTo>
                      <a:lnTo>
                        <a:pt x="175" y="164"/>
                      </a:lnTo>
                      <a:lnTo>
                        <a:pt x="175" y="164"/>
                      </a:lnTo>
                      <a:lnTo>
                        <a:pt x="175" y="165"/>
                      </a:lnTo>
                      <a:lnTo>
                        <a:pt x="176" y="165"/>
                      </a:lnTo>
                      <a:lnTo>
                        <a:pt x="176" y="166"/>
                      </a:lnTo>
                      <a:lnTo>
                        <a:pt x="176" y="166"/>
                      </a:lnTo>
                      <a:lnTo>
                        <a:pt x="176" y="166"/>
                      </a:lnTo>
                      <a:lnTo>
                        <a:pt x="177" y="166"/>
                      </a:lnTo>
                      <a:lnTo>
                        <a:pt x="177" y="167"/>
                      </a:lnTo>
                      <a:lnTo>
                        <a:pt x="178" y="167"/>
                      </a:lnTo>
                      <a:lnTo>
                        <a:pt x="178" y="166"/>
                      </a:lnTo>
                      <a:lnTo>
                        <a:pt x="178" y="166"/>
                      </a:lnTo>
                      <a:lnTo>
                        <a:pt x="178" y="166"/>
                      </a:lnTo>
                      <a:lnTo>
                        <a:pt x="179" y="166"/>
                      </a:lnTo>
                      <a:lnTo>
                        <a:pt x="180" y="166"/>
                      </a:lnTo>
                      <a:lnTo>
                        <a:pt x="181" y="166"/>
                      </a:lnTo>
                      <a:lnTo>
                        <a:pt x="181" y="166"/>
                      </a:lnTo>
                      <a:lnTo>
                        <a:pt x="182" y="167"/>
                      </a:lnTo>
                      <a:lnTo>
                        <a:pt x="183" y="167"/>
                      </a:lnTo>
                      <a:lnTo>
                        <a:pt x="183" y="168"/>
                      </a:lnTo>
                      <a:lnTo>
                        <a:pt x="184" y="168"/>
                      </a:lnTo>
                      <a:lnTo>
                        <a:pt x="185" y="168"/>
                      </a:lnTo>
                      <a:lnTo>
                        <a:pt x="185" y="168"/>
                      </a:lnTo>
                      <a:lnTo>
                        <a:pt x="186" y="168"/>
                      </a:lnTo>
                      <a:lnTo>
                        <a:pt x="187" y="169"/>
                      </a:lnTo>
                      <a:lnTo>
                        <a:pt x="187" y="170"/>
                      </a:lnTo>
                      <a:lnTo>
                        <a:pt x="187" y="170"/>
                      </a:lnTo>
                      <a:lnTo>
                        <a:pt x="186" y="171"/>
                      </a:lnTo>
                      <a:lnTo>
                        <a:pt x="186" y="172"/>
                      </a:lnTo>
                      <a:lnTo>
                        <a:pt x="187" y="172"/>
                      </a:lnTo>
                      <a:lnTo>
                        <a:pt x="187" y="172"/>
                      </a:lnTo>
                      <a:lnTo>
                        <a:pt x="187" y="172"/>
                      </a:lnTo>
                      <a:lnTo>
                        <a:pt x="187" y="173"/>
                      </a:lnTo>
                      <a:lnTo>
                        <a:pt x="187" y="173"/>
                      </a:lnTo>
                      <a:lnTo>
                        <a:pt x="187" y="174"/>
                      </a:lnTo>
                      <a:lnTo>
                        <a:pt x="187" y="174"/>
                      </a:lnTo>
                      <a:lnTo>
                        <a:pt x="187" y="174"/>
                      </a:lnTo>
                      <a:lnTo>
                        <a:pt x="187" y="175"/>
                      </a:lnTo>
                      <a:lnTo>
                        <a:pt x="188" y="175"/>
                      </a:lnTo>
                      <a:lnTo>
                        <a:pt x="188" y="176"/>
                      </a:lnTo>
                      <a:lnTo>
                        <a:pt x="188" y="176"/>
                      </a:lnTo>
                      <a:lnTo>
                        <a:pt x="188" y="177"/>
                      </a:lnTo>
                      <a:lnTo>
                        <a:pt x="188" y="178"/>
                      </a:lnTo>
                      <a:lnTo>
                        <a:pt x="189" y="179"/>
                      </a:lnTo>
                      <a:lnTo>
                        <a:pt x="189" y="179"/>
                      </a:lnTo>
                      <a:lnTo>
                        <a:pt x="189" y="180"/>
                      </a:lnTo>
                      <a:lnTo>
                        <a:pt x="189" y="181"/>
                      </a:lnTo>
                      <a:lnTo>
                        <a:pt x="190" y="181"/>
                      </a:lnTo>
                      <a:lnTo>
                        <a:pt x="190" y="181"/>
                      </a:lnTo>
                      <a:lnTo>
                        <a:pt x="189" y="181"/>
                      </a:lnTo>
                      <a:lnTo>
                        <a:pt x="189" y="182"/>
                      </a:lnTo>
                      <a:lnTo>
                        <a:pt x="190" y="183"/>
                      </a:lnTo>
                      <a:lnTo>
                        <a:pt x="190" y="183"/>
                      </a:lnTo>
                      <a:lnTo>
                        <a:pt x="190" y="184"/>
                      </a:lnTo>
                      <a:lnTo>
                        <a:pt x="191" y="185"/>
                      </a:lnTo>
                      <a:lnTo>
                        <a:pt x="191" y="185"/>
                      </a:lnTo>
                      <a:lnTo>
                        <a:pt x="191" y="186"/>
                      </a:lnTo>
                      <a:lnTo>
                        <a:pt x="192" y="186"/>
                      </a:lnTo>
                      <a:lnTo>
                        <a:pt x="193" y="186"/>
                      </a:lnTo>
                      <a:lnTo>
                        <a:pt x="193" y="187"/>
                      </a:lnTo>
                      <a:lnTo>
                        <a:pt x="193" y="187"/>
                      </a:lnTo>
                      <a:lnTo>
                        <a:pt x="194" y="187"/>
                      </a:lnTo>
                      <a:lnTo>
                        <a:pt x="194" y="188"/>
                      </a:lnTo>
                      <a:lnTo>
                        <a:pt x="194" y="189"/>
                      </a:lnTo>
                      <a:lnTo>
                        <a:pt x="194" y="189"/>
                      </a:lnTo>
                      <a:lnTo>
                        <a:pt x="194" y="190"/>
                      </a:lnTo>
                      <a:lnTo>
                        <a:pt x="195" y="191"/>
                      </a:lnTo>
                      <a:lnTo>
                        <a:pt x="195" y="191"/>
                      </a:lnTo>
                      <a:lnTo>
                        <a:pt x="195" y="191"/>
                      </a:lnTo>
                      <a:lnTo>
                        <a:pt x="195" y="192"/>
                      </a:lnTo>
                      <a:lnTo>
                        <a:pt x="195" y="193"/>
                      </a:lnTo>
                      <a:lnTo>
                        <a:pt x="195" y="193"/>
                      </a:lnTo>
                      <a:lnTo>
                        <a:pt x="195" y="193"/>
                      </a:lnTo>
                      <a:lnTo>
                        <a:pt x="194" y="194"/>
                      </a:lnTo>
                      <a:lnTo>
                        <a:pt x="194" y="195"/>
                      </a:lnTo>
                      <a:lnTo>
                        <a:pt x="194" y="195"/>
                      </a:lnTo>
                      <a:lnTo>
                        <a:pt x="194" y="196"/>
                      </a:lnTo>
                      <a:lnTo>
                        <a:pt x="194" y="197"/>
                      </a:lnTo>
                      <a:lnTo>
                        <a:pt x="194" y="198"/>
                      </a:lnTo>
                      <a:lnTo>
                        <a:pt x="193" y="199"/>
                      </a:lnTo>
                      <a:lnTo>
                        <a:pt x="193" y="200"/>
                      </a:lnTo>
                      <a:lnTo>
                        <a:pt x="193" y="200"/>
                      </a:lnTo>
                      <a:lnTo>
                        <a:pt x="193" y="202"/>
                      </a:lnTo>
                      <a:lnTo>
                        <a:pt x="193" y="203"/>
                      </a:lnTo>
                      <a:lnTo>
                        <a:pt x="192" y="204"/>
                      </a:lnTo>
                      <a:lnTo>
                        <a:pt x="192" y="205"/>
                      </a:lnTo>
                      <a:lnTo>
                        <a:pt x="192" y="206"/>
                      </a:lnTo>
                      <a:lnTo>
                        <a:pt x="192" y="206"/>
                      </a:lnTo>
                      <a:lnTo>
                        <a:pt x="192" y="207"/>
                      </a:lnTo>
                      <a:lnTo>
                        <a:pt x="192" y="208"/>
                      </a:lnTo>
                      <a:lnTo>
                        <a:pt x="192" y="208"/>
                      </a:lnTo>
                      <a:lnTo>
                        <a:pt x="192" y="209"/>
                      </a:lnTo>
                      <a:lnTo>
                        <a:pt x="192" y="210"/>
                      </a:lnTo>
                      <a:lnTo>
                        <a:pt x="191" y="210"/>
                      </a:lnTo>
                      <a:lnTo>
                        <a:pt x="191" y="210"/>
                      </a:lnTo>
                      <a:lnTo>
                        <a:pt x="191" y="211"/>
                      </a:lnTo>
                      <a:lnTo>
                        <a:pt x="191" y="212"/>
                      </a:lnTo>
                      <a:lnTo>
                        <a:pt x="190" y="212"/>
                      </a:lnTo>
                      <a:lnTo>
                        <a:pt x="190" y="213"/>
                      </a:lnTo>
                      <a:lnTo>
                        <a:pt x="190" y="214"/>
                      </a:lnTo>
                      <a:lnTo>
                        <a:pt x="189" y="215"/>
                      </a:lnTo>
                      <a:lnTo>
                        <a:pt x="189" y="216"/>
                      </a:lnTo>
                      <a:lnTo>
                        <a:pt x="189" y="216"/>
                      </a:lnTo>
                      <a:lnTo>
                        <a:pt x="190" y="216"/>
                      </a:lnTo>
                      <a:lnTo>
                        <a:pt x="191" y="217"/>
                      </a:lnTo>
                      <a:lnTo>
                        <a:pt x="191" y="218"/>
                      </a:lnTo>
                      <a:lnTo>
                        <a:pt x="192" y="219"/>
                      </a:lnTo>
                      <a:lnTo>
                        <a:pt x="192" y="219"/>
                      </a:lnTo>
                      <a:lnTo>
                        <a:pt x="193" y="220"/>
                      </a:lnTo>
                      <a:lnTo>
                        <a:pt x="193" y="221"/>
                      </a:lnTo>
                      <a:lnTo>
                        <a:pt x="193" y="222"/>
                      </a:lnTo>
                      <a:lnTo>
                        <a:pt x="193" y="221"/>
                      </a:lnTo>
                      <a:lnTo>
                        <a:pt x="194" y="221"/>
                      </a:lnTo>
                      <a:lnTo>
                        <a:pt x="195" y="221"/>
                      </a:lnTo>
                      <a:lnTo>
                        <a:pt x="195" y="221"/>
                      </a:lnTo>
                      <a:lnTo>
                        <a:pt x="196" y="221"/>
                      </a:lnTo>
                      <a:lnTo>
                        <a:pt x="196" y="222"/>
                      </a:lnTo>
                      <a:lnTo>
                        <a:pt x="196" y="223"/>
                      </a:lnTo>
                      <a:lnTo>
                        <a:pt x="196" y="223"/>
                      </a:lnTo>
                      <a:lnTo>
                        <a:pt x="197" y="223"/>
                      </a:lnTo>
                      <a:lnTo>
                        <a:pt x="197" y="224"/>
                      </a:lnTo>
                      <a:lnTo>
                        <a:pt x="197" y="225"/>
                      </a:lnTo>
                      <a:lnTo>
                        <a:pt x="197" y="225"/>
                      </a:lnTo>
                      <a:lnTo>
                        <a:pt x="197" y="225"/>
                      </a:lnTo>
                      <a:lnTo>
                        <a:pt x="198" y="226"/>
                      </a:lnTo>
                      <a:lnTo>
                        <a:pt x="199" y="226"/>
                      </a:lnTo>
                      <a:lnTo>
                        <a:pt x="200" y="226"/>
                      </a:lnTo>
                      <a:lnTo>
                        <a:pt x="200" y="227"/>
                      </a:lnTo>
                      <a:lnTo>
                        <a:pt x="201" y="227"/>
                      </a:lnTo>
                      <a:lnTo>
                        <a:pt x="202" y="227"/>
                      </a:lnTo>
                      <a:lnTo>
                        <a:pt x="202" y="227"/>
                      </a:lnTo>
                      <a:lnTo>
                        <a:pt x="203" y="227"/>
                      </a:lnTo>
                      <a:lnTo>
                        <a:pt x="204" y="227"/>
                      </a:lnTo>
                      <a:lnTo>
                        <a:pt x="204" y="228"/>
                      </a:lnTo>
                      <a:lnTo>
                        <a:pt x="204" y="229"/>
                      </a:lnTo>
                      <a:lnTo>
                        <a:pt x="203" y="229"/>
                      </a:lnTo>
                      <a:lnTo>
                        <a:pt x="203" y="230"/>
                      </a:lnTo>
                      <a:lnTo>
                        <a:pt x="204" y="230"/>
                      </a:lnTo>
                      <a:lnTo>
                        <a:pt x="204" y="231"/>
                      </a:lnTo>
                      <a:lnTo>
                        <a:pt x="204" y="231"/>
                      </a:lnTo>
                      <a:lnTo>
                        <a:pt x="204" y="232"/>
                      </a:lnTo>
                      <a:lnTo>
                        <a:pt x="204" y="233"/>
                      </a:lnTo>
                      <a:lnTo>
                        <a:pt x="204" y="233"/>
                      </a:lnTo>
                      <a:lnTo>
                        <a:pt x="204" y="233"/>
                      </a:lnTo>
                      <a:lnTo>
                        <a:pt x="204" y="234"/>
                      </a:lnTo>
                      <a:lnTo>
                        <a:pt x="205" y="234"/>
                      </a:lnTo>
                      <a:lnTo>
                        <a:pt x="205" y="235"/>
                      </a:lnTo>
                      <a:lnTo>
                        <a:pt x="206" y="235"/>
                      </a:lnTo>
                      <a:lnTo>
                        <a:pt x="206" y="235"/>
                      </a:lnTo>
                      <a:lnTo>
                        <a:pt x="206" y="236"/>
                      </a:lnTo>
                      <a:lnTo>
                        <a:pt x="206" y="237"/>
                      </a:lnTo>
                      <a:lnTo>
                        <a:pt x="207" y="237"/>
                      </a:lnTo>
                      <a:lnTo>
                        <a:pt x="207" y="238"/>
                      </a:lnTo>
                      <a:lnTo>
                        <a:pt x="208" y="239"/>
                      </a:lnTo>
                      <a:lnTo>
                        <a:pt x="208" y="240"/>
                      </a:lnTo>
                      <a:lnTo>
                        <a:pt x="208" y="240"/>
                      </a:lnTo>
                      <a:lnTo>
                        <a:pt x="209" y="241"/>
                      </a:lnTo>
                      <a:lnTo>
                        <a:pt x="210" y="241"/>
                      </a:lnTo>
                      <a:lnTo>
                        <a:pt x="210" y="242"/>
                      </a:lnTo>
                      <a:lnTo>
                        <a:pt x="210" y="242"/>
                      </a:lnTo>
                      <a:lnTo>
                        <a:pt x="210" y="242"/>
                      </a:lnTo>
                      <a:lnTo>
                        <a:pt x="211" y="243"/>
                      </a:lnTo>
                      <a:lnTo>
                        <a:pt x="211" y="244"/>
                      </a:lnTo>
                      <a:lnTo>
                        <a:pt x="212" y="244"/>
                      </a:lnTo>
                      <a:lnTo>
                        <a:pt x="212" y="245"/>
                      </a:lnTo>
                      <a:lnTo>
                        <a:pt x="212" y="245"/>
                      </a:lnTo>
                      <a:lnTo>
                        <a:pt x="212" y="246"/>
                      </a:lnTo>
                      <a:lnTo>
                        <a:pt x="213" y="246"/>
                      </a:lnTo>
                      <a:lnTo>
                        <a:pt x="214" y="246"/>
                      </a:lnTo>
                      <a:lnTo>
                        <a:pt x="214" y="246"/>
                      </a:lnTo>
                      <a:lnTo>
                        <a:pt x="215" y="247"/>
                      </a:lnTo>
                      <a:lnTo>
                        <a:pt x="215" y="248"/>
                      </a:lnTo>
                      <a:lnTo>
                        <a:pt x="215" y="248"/>
                      </a:lnTo>
                      <a:lnTo>
                        <a:pt x="215" y="249"/>
                      </a:lnTo>
                      <a:lnTo>
                        <a:pt x="215" y="250"/>
                      </a:lnTo>
                      <a:lnTo>
                        <a:pt x="216" y="250"/>
                      </a:lnTo>
                      <a:lnTo>
                        <a:pt x="216" y="250"/>
                      </a:lnTo>
                      <a:lnTo>
                        <a:pt x="216" y="251"/>
                      </a:lnTo>
                      <a:lnTo>
                        <a:pt x="216" y="252"/>
                      </a:lnTo>
                      <a:lnTo>
                        <a:pt x="217" y="252"/>
                      </a:lnTo>
                      <a:lnTo>
                        <a:pt x="217" y="253"/>
                      </a:lnTo>
                      <a:lnTo>
                        <a:pt x="217" y="254"/>
                      </a:lnTo>
                      <a:lnTo>
                        <a:pt x="217" y="254"/>
                      </a:lnTo>
                      <a:lnTo>
                        <a:pt x="217" y="255"/>
                      </a:lnTo>
                      <a:lnTo>
                        <a:pt x="217" y="256"/>
                      </a:lnTo>
                      <a:lnTo>
                        <a:pt x="218" y="256"/>
                      </a:lnTo>
                      <a:lnTo>
                        <a:pt x="218" y="256"/>
                      </a:lnTo>
                      <a:lnTo>
                        <a:pt x="219" y="256"/>
                      </a:lnTo>
                      <a:lnTo>
                        <a:pt x="219" y="257"/>
                      </a:lnTo>
                      <a:lnTo>
                        <a:pt x="219" y="257"/>
                      </a:lnTo>
                      <a:lnTo>
                        <a:pt x="219" y="258"/>
                      </a:lnTo>
                      <a:lnTo>
                        <a:pt x="219" y="259"/>
                      </a:lnTo>
                      <a:lnTo>
                        <a:pt x="219" y="259"/>
                      </a:lnTo>
                      <a:lnTo>
                        <a:pt x="219" y="260"/>
                      </a:lnTo>
                      <a:lnTo>
                        <a:pt x="219" y="261"/>
                      </a:lnTo>
                      <a:lnTo>
                        <a:pt x="219" y="261"/>
                      </a:lnTo>
                      <a:lnTo>
                        <a:pt x="219" y="261"/>
                      </a:lnTo>
                      <a:lnTo>
                        <a:pt x="219" y="262"/>
                      </a:lnTo>
                      <a:lnTo>
                        <a:pt x="219" y="263"/>
                      </a:lnTo>
                      <a:lnTo>
                        <a:pt x="220" y="263"/>
                      </a:lnTo>
                      <a:lnTo>
                        <a:pt x="220" y="264"/>
                      </a:lnTo>
                      <a:lnTo>
                        <a:pt x="220" y="265"/>
                      </a:lnTo>
                      <a:lnTo>
                        <a:pt x="221" y="265"/>
                      </a:lnTo>
                      <a:lnTo>
                        <a:pt x="221" y="265"/>
                      </a:lnTo>
                      <a:lnTo>
                        <a:pt x="221" y="265"/>
                      </a:lnTo>
                      <a:lnTo>
                        <a:pt x="222" y="265"/>
                      </a:lnTo>
                      <a:lnTo>
                        <a:pt x="222" y="266"/>
                      </a:lnTo>
                      <a:lnTo>
                        <a:pt x="223" y="266"/>
                      </a:lnTo>
                      <a:lnTo>
                        <a:pt x="222" y="267"/>
                      </a:lnTo>
                      <a:lnTo>
                        <a:pt x="221" y="267"/>
                      </a:lnTo>
                      <a:lnTo>
                        <a:pt x="221" y="267"/>
                      </a:lnTo>
                      <a:lnTo>
                        <a:pt x="221" y="268"/>
                      </a:lnTo>
                      <a:lnTo>
                        <a:pt x="220" y="268"/>
                      </a:lnTo>
                      <a:lnTo>
                        <a:pt x="220" y="269"/>
                      </a:lnTo>
                      <a:lnTo>
                        <a:pt x="219" y="269"/>
                      </a:lnTo>
                      <a:lnTo>
                        <a:pt x="219" y="269"/>
                      </a:lnTo>
                      <a:lnTo>
                        <a:pt x="218" y="269"/>
                      </a:lnTo>
                      <a:lnTo>
                        <a:pt x="217" y="269"/>
                      </a:lnTo>
                      <a:lnTo>
                        <a:pt x="216" y="269"/>
                      </a:lnTo>
                      <a:lnTo>
                        <a:pt x="216" y="269"/>
                      </a:lnTo>
                      <a:lnTo>
                        <a:pt x="216" y="269"/>
                      </a:lnTo>
                      <a:lnTo>
                        <a:pt x="216" y="270"/>
                      </a:lnTo>
                      <a:lnTo>
                        <a:pt x="215" y="270"/>
                      </a:lnTo>
                      <a:lnTo>
                        <a:pt x="215" y="271"/>
                      </a:lnTo>
                      <a:lnTo>
                        <a:pt x="214" y="271"/>
                      </a:lnTo>
                      <a:lnTo>
                        <a:pt x="214" y="272"/>
                      </a:lnTo>
                      <a:lnTo>
                        <a:pt x="214" y="272"/>
                      </a:lnTo>
                      <a:lnTo>
                        <a:pt x="214" y="273"/>
                      </a:lnTo>
                      <a:lnTo>
                        <a:pt x="213" y="273"/>
                      </a:lnTo>
                      <a:lnTo>
                        <a:pt x="213" y="274"/>
                      </a:lnTo>
                      <a:lnTo>
                        <a:pt x="212" y="274"/>
                      </a:lnTo>
                      <a:lnTo>
                        <a:pt x="212" y="275"/>
                      </a:lnTo>
                      <a:lnTo>
                        <a:pt x="212" y="275"/>
                      </a:lnTo>
                      <a:lnTo>
                        <a:pt x="212" y="276"/>
                      </a:lnTo>
                      <a:lnTo>
                        <a:pt x="211" y="276"/>
                      </a:lnTo>
                      <a:lnTo>
                        <a:pt x="211" y="277"/>
                      </a:lnTo>
                      <a:lnTo>
                        <a:pt x="210" y="277"/>
                      </a:lnTo>
                      <a:lnTo>
                        <a:pt x="210" y="278"/>
                      </a:lnTo>
                      <a:lnTo>
                        <a:pt x="210" y="278"/>
                      </a:lnTo>
                      <a:lnTo>
                        <a:pt x="210" y="279"/>
                      </a:lnTo>
                      <a:lnTo>
                        <a:pt x="209" y="279"/>
                      </a:lnTo>
                      <a:lnTo>
                        <a:pt x="209" y="280"/>
                      </a:lnTo>
                      <a:lnTo>
                        <a:pt x="208" y="280"/>
                      </a:lnTo>
                      <a:lnTo>
                        <a:pt x="208" y="281"/>
                      </a:lnTo>
                      <a:lnTo>
                        <a:pt x="208" y="281"/>
                      </a:lnTo>
                      <a:lnTo>
                        <a:pt x="208" y="282"/>
                      </a:lnTo>
                      <a:lnTo>
                        <a:pt x="207" y="282"/>
                      </a:lnTo>
                      <a:lnTo>
                        <a:pt x="207" y="283"/>
                      </a:lnTo>
                      <a:lnTo>
                        <a:pt x="206" y="284"/>
                      </a:lnTo>
                      <a:lnTo>
                        <a:pt x="206" y="284"/>
                      </a:lnTo>
                      <a:lnTo>
                        <a:pt x="206" y="285"/>
                      </a:lnTo>
                      <a:lnTo>
                        <a:pt x="206" y="285"/>
                      </a:lnTo>
                      <a:lnTo>
                        <a:pt x="206" y="286"/>
                      </a:lnTo>
                      <a:lnTo>
                        <a:pt x="205" y="286"/>
                      </a:lnTo>
                      <a:lnTo>
                        <a:pt x="205" y="286"/>
                      </a:lnTo>
                      <a:lnTo>
                        <a:pt x="205" y="287"/>
                      </a:lnTo>
                      <a:lnTo>
                        <a:pt x="205" y="288"/>
                      </a:lnTo>
                      <a:lnTo>
                        <a:pt x="205" y="288"/>
                      </a:lnTo>
                      <a:lnTo>
                        <a:pt x="204" y="289"/>
                      </a:lnTo>
                      <a:lnTo>
                        <a:pt x="204" y="290"/>
                      </a:lnTo>
                      <a:lnTo>
                        <a:pt x="204" y="290"/>
                      </a:lnTo>
                      <a:lnTo>
                        <a:pt x="204" y="290"/>
                      </a:lnTo>
                      <a:lnTo>
                        <a:pt x="204" y="291"/>
                      </a:lnTo>
                      <a:lnTo>
                        <a:pt x="204" y="291"/>
                      </a:lnTo>
                      <a:lnTo>
                        <a:pt x="204" y="292"/>
                      </a:lnTo>
                      <a:lnTo>
                        <a:pt x="204" y="292"/>
                      </a:lnTo>
                      <a:lnTo>
                        <a:pt x="204" y="293"/>
                      </a:lnTo>
                      <a:lnTo>
                        <a:pt x="204" y="294"/>
                      </a:lnTo>
                      <a:lnTo>
                        <a:pt x="204" y="294"/>
                      </a:lnTo>
                      <a:lnTo>
                        <a:pt x="203" y="295"/>
                      </a:lnTo>
                      <a:lnTo>
                        <a:pt x="203" y="296"/>
                      </a:lnTo>
                      <a:lnTo>
                        <a:pt x="203" y="296"/>
                      </a:lnTo>
                      <a:lnTo>
                        <a:pt x="203" y="297"/>
                      </a:lnTo>
                      <a:lnTo>
                        <a:pt x="203" y="298"/>
                      </a:lnTo>
                      <a:lnTo>
                        <a:pt x="203" y="299"/>
                      </a:lnTo>
                      <a:lnTo>
                        <a:pt x="202" y="299"/>
                      </a:lnTo>
                      <a:lnTo>
                        <a:pt x="202" y="299"/>
                      </a:lnTo>
                      <a:lnTo>
                        <a:pt x="202" y="300"/>
                      </a:lnTo>
                      <a:lnTo>
                        <a:pt x="201" y="300"/>
                      </a:lnTo>
                      <a:lnTo>
                        <a:pt x="201" y="301"/>
                      </a:lnTo>
                      <a:lnTo>
                        <a:pt x="200" y="301"/>
                      </a:lnTo>
                      <a:lnTo>
                        <a:pt x="200" y="301"/>
                      </a:lnTo>
                      <a:lnTo>
                        <a:pt x="200" y="301"/>
                      </a:lnTo>
                      <a:lnTo>
                        <a:pt x="200" y="302"/>
                      </a:lnTo>
                      <a:lnTo>
                        <a:pt x="200" y="303"/>
                      </a:lnTo>
                      <a:lnTo>
                        <a:pt x="200" y="303"/>
                      </a:lnTo>
                      <a:lnTo>
                        <a:pt x="200" y="304"/>
                      </a:lnTo>
                      <a:lnTo>
                        <a:pt x="199" y="304"/>
                      </a:lnTo>
                      <a:lnTo>
                        <a:pt x="199" y="305"/>
                      </a:lnTo>
                      <a:lnTo>
                        <a:pt x="198" y="305"/>
                      </a:lnTo>
                      <a:lnTo>
                        <a:pt x="197" y="305"/>
                      </a:lnTo>
                      <a:lnTo>
                        <a:pt x="197" y="306"/>
                      </a:lnTo>
                      <a:lnTo>
                        <a:pt x="197" y="306"/>
                      </a:lnTo>
                      <a:lnTo>
                        <a:pt x="197" y="307"/>
                      </a:lnTo>
                      <a:lnTo>
                        <a:pt x="197" y="306"/>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0" name="Freeform 67">
                  <a:extLst>
                    <a:ext uri="{FF2B5EF4-FFF2-40B4-BE49-F238E27FC236}">
                      <a16:creationId xmlns:a16="http://schemas.microsoft.com/office/drawing/2014/main" xmlns="" id="{421663F5-F29E-BADB-848C-D146F2C669A9}"/>
                    </a:ext>
                  </a:extLst>
                </p:cNvPr>
                <p:cNvSpPr>
                  <a:spLocks/>
                </p:cNvSpPr>
                <p:nvPr/>
              </p:nvSpPr>
              <p:spPr bwMode="auto">
                <a:xfrm>
                  <a:off x="3059" y="3401"/>
                  <a:ext cx="152" cy="457"/>
                </a:xfrm>
                <a:custGeom>
                  <a:avLst/>
                  <a:gdLst>
                    <a:gd name="T0" fmla="*/ 147 w 152"/>
                    <a:gd name="T1" fmla="*/ 41 h 457"/>
                    <a:gd name="T2" fmla="*/ 145 w 152"/>
                    <a:gd name="T3" fmla="*/ 47 h 457"/>
                    <a:gd name="T4" fmla="*/ 138 w 152"/>
                    <a:gd name="T5" fmla="*/ 49 h 457"/>
                    <a:gd name="T6" fmla="*/ 133 w 152"/>
                    <a:gd name="T7" fmla="*/ 42 h 457"/>
                    <a:gd name="T8" fmla="*/ 133 w 152"/>
                    <a:gd name="T9" fmla="*/ 35 h 457"/>
                    <a:gd name="T10" fmla="*/ 129 w 152"/>
                    <a:gd name="T11" fmla="*/ 27 h 457"/>
                    <a:gd name="T12" fmla="*/ 126 w 152"/>
                    <a:gd name="T13" fmla="*/ 17 h 457"/>
                    <a:gd name="T14" fmla="*/ 126 w 152"/>
                    <a:gd name="T15" fmla="*/ 12 h 457"/>
                    <a:gd name="T16" fmla="*/ 110 w 152"/>
                    <a:gd name="T17" fmla="*/ 16 h 457"/>
                    <a:gd name="T18" fmla="*/ 108 w 152"/>
                    <a:gd name="T19" fmla="*/ 13 h 457"/>
                    <a:gd name="T20" fmla="*/ 108 w 152"/>
                    <a:gd name="T21" fmla="*/ 11 h 457"/>
                    <a:gd name="T22" fmla="*/ 104 w 152"/>
                    <a:gd name="T23" fmla="*/ 8 h 457"/>
                    <a:gd name="T24" fmla="*/ 100 w 152"/>
                    <a:gd name="T25" fmla="*/ 2 h 457"/>
                    <a:gd name="T26" fmla="*/ 92 w 152"/>
                    <a:gd name="T27" fmla="*/ 7 h 457"/>
                    <a:gd name="T28" fmla="*/ 90 w 152"/>
                    <a:gd name="T29" fmla="*/ 20 h 457"/>
                    <a:gd name="T30" fmla="*/ 87 w 152"/>
                    <a:gd name="T31" fmla="*/ 29 h 457"/>
                    <a:gd name="T32" fmla="*/ 87 w 152"/>
                    <a:gd name="T33" fmla="*/ 38 h 457"/>
                    <a:gd name="T34" fmla="*/ 90 w 152"/>
                    <a:gd name="T35" fmla="*/ 43 h 457"/>
                    <a:gd name="T36" fmla="*/ 87 w 152"/>
                    <a:gd name="T37" fmla="*/ 51 h 457"/>
                    <a:gd name="T38" fmla="*/ 68 w 152"/>
                    <a:gd name="T39" fmla="*/ 58 h 457"/>
                    <a:gd name="T40" fmla="*/ 49 w 152"/>
                    <a:gd name="T41" fmla="*/ 41 h 457"/>
                    <a:gd name="T42" fmla="*/ 43 w 152"/>
                    <a:gd name="T43" fmla="*/ 49 h 457"/>
                    <a:gd name="T44" fmla="*/ 34 w 152"/>
                    <a:gd name="T45" fmla="*/ 56 h 457"/>
                    <a:gd name="T46" fmla="*/ 34 w 152"/>
                    <a:gd name="T47" fmla="*/ 70 h 457"/>
                    <a:gd name="T48" fmla="*/ 40 w 152"/>
                    <a:gd name="T49" fmla="*/ 80 h 457"/>
                    <a:gd name="T50" fmla="*/ 49 w 152"/>
                    <a:gd name="T51" fmla="*/ 93 h 457"/>
                    <a:gd name="T52" fmla="*/ 33 w 152"/>
                    <a:gd name="T53" fmla="*/ 101 h 457"/>
                    <a:gd name="T54" fmla="*/ 36 w 152"/>
                    <a:gd name="T55" fmla="*/ 117 h 457"/>
                    <a:gd name="T56" fmla="*/ 52 w 152"/>
                    <a:gd name="T57" fmla="*/ 138 h 457"/>
                    <a:gd name="T58" fmla="*/ 49 w 152"/>
                    <a:gd name="T59" fmla="*/ 146 h 457"/>
                    <a:gd name="T60" fmla="*/ 47 w 152"/>
                    <a:gd name="T61" fmla="*/ 152 h 457"/>
                    <a:gd name="T62" fmla="*/ 45 w 152"/>
                    <a:gd name="T63" fmla="*/ 160 h 457"/>
                    <a:gd name="T64" fmla="*/ 44 w 152"/>
                    <a:gd name="T65" fmla="*/ 167 h 457"/>
                    <a:gd name="T66" fmla="*/ 43 w 152"/>
                    <a:gd name="T67" fmla="*/ 173 h 457"/>
                    <a:gd name="T68" fmla="*/ 40 w 152"/>
                    <a:gd name="T69" fmla="*/ 179 h 457"/>
                    <a:gd name="T70" fmla="*/ 13 w 152"/>
                    <a:gd name="T71" fmla="*/ 207 h 457"/>
                    <a:gd name="T72" fmla="*/ 19 w 152"/>
                    <a:gd name="T73" fmla="*/ 216 h 457"/>
                    <a:gd name="T74" fmla="*/ 19 w 152"/>
                    <a:gd name="T75" fmla="*/ 225 h 457"/>
                    <a:gd name="T76" fmla="*/ 17 w 152"/>
                    <a:gd name="T77" fmla="*/ 235 h 457"/>
                    <a:gd name="T78" fmla="*/ 18 w 152"/>
                    <a:gd name="T79" fmla="*/ 243 h 457"/>
                    <a:gd name="T80" fmla="*/ 17 w 152"/>
                    <a:gd name="T81" fmla="*/ 251 h 457"/>
                    <a:gd name="T82" fmla="*/ 17 w 152"/>
                    <a:gd name="T83" fmla="*/ 259 h 457"/>
                    <a:gd name="T84" fmla="*/ 19 w 152"/>
                    <a:gd name="T85" fmla="*/ 267 h 457"/>
                    <a:gd name="T86" fmla="*/ 22 w 152"/>
                    <a:gd name="T87" fmla="*/ 273 h 457"/>
                    <a:gd name="T88" fmla="*/ 22 w 152"/>
                    <a:gd name="T89" fmla="*/ 280 h 457"/>
                    <a:gd name="T90" fmla="*/ 21 w 152"/>
                    <a:gd name="T91" fmla="*/ 287 h 457"/>
                    <a:gd name="T92" fmla="*/ 15 w 152"/>
                    <a:gd name="T93" fmla="*/ 288 h 457"/>
                    <a:gd name="T94" fmla="*/ 8 w 152"/>
                    <a:gd name="T95" fmla="*/ 327 h 457"/>
                    <a:gd name="T96" fmla="*/ 7 w 152"/>
                    <a:gd name="T97" fmla="*/ 365 h 457"/>
                    <a:gd name="T98" fmla="*/ 1 w 152"/>
                    <a:gd name="T99" fmla="*/ 373 h 457"/>
                    <a:gd name="T100" fmla="*/ 2 w 152"/>
                    <a:gd name="T101" fmla="*/ 394 h 457"/>
                    <a:gd name="T102" fmla="*/ 4 w 152"/>
                    <a:gd name="T103" fmla="*/ 404 h 457"/>
                    <a:gd name="T104" fmla="*/ 3 w 152"/>
                    <a:gd name="T105" fmla="*/ 414 h 457"/>
                    <a:gd name="T106" fmla="*/ 3 w 152"/>
                    <a:gd name="T107" fmla="*/ 422 h 457"/>
                    <a:gd name="T108" fmla="*/ 2 w 152"/>
                    <a:gd name="T109" fmla="*/ 432 h 457"/>
                    <a:gd name="T110" fmla="*/ 12 w 152"/>
                    <a:gd name="T111" fmla="*/ 442 h 457"/>
                    <a:gd name="T112" fmla="*/ 14 w 152"/>
                    <a:gd name="T113" fmla="*/ 456 h 457"/>
                    <a:gd name="T114" fmla="*/ 37 w 152"/>
                    <a:gd name="T115" fmla="*/ 449 h 457"/>
                    <a:gd name="T116" fmla="*/ 43 w 152"/>
                    <a:gd name="T117" fmla="*/ 451 h 457"/>
                    <a:gd name="T118" fmla="*/ 49 w 152"/>
                    <a:gd name="T119" fmla="*/ 44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457">
                      <a:moveTo>
                        <a:pt x="152" y="35"/>
                      </a:moveTo>
                      <a:lnTo>
                        <a:pt x="151" y="35"/>
                      </a:lnTo>
                      <a:lnTo>
                        <a:pt x="151" y="36"/>
                      </a:lnTo>
                      <a:lnTo>
                        <a:pt x="150" y="36"/>
                      </a:lnTo>
                      <a:lnTo>
                        <a:pt x="150" y="36"/>
                      </a:lnTo>
                      <a:lnTo>
                        <a:pt x="149" y="36"/>
                      </a:lnTo>
                      <a:lnTo>
                        <a:pt x="149" y="36"/>
                      </a:lnTo>
                      <a:lnTo>
                        <a:pt x="149" y="37"/>
                      </a:lnTo>
                      <a:lnTo>
                        <a:pt x="148" y="37"/>
                      </a:lnTo>
                      <a:lnTo>
                        <a:pt x="148" y="38"/>
                      </a:lnTo>
                      <a:lnTo>
                        <a:pt x="148" y="38"/>
                      </a:lnTo>
                      <a:lnTo>
                        <a:pt x="148" y="38"/>
                      </a:lnTo>
                      <a:lnTo>
                        <a:pt x="148" y="39"/>
                      </a:lnTo>
                      <a:lnTo>
                        <a:pt x="147" y="39"/>
                      </a:lnTo>
                      <a:lnTo>
                        <a:pt x="147" y="40"/>
                      </a:lnTo>
                      <a:lnTo>
                        <a:pt x="147" y="40"/>
                      </a:lnTo>
                      <a:lnTo>
                        <a:pt x="147" y="41"/>
                      </a:lnTo>
                      <a:lnTo>
                        <a:pt x="146" y="41"/>
                      </a:lnTo>
                      <a:lnTo>
                        <a:pt x="146" y="42"/>
                      </a:lnTo>
                      <a:lnTo>
                        <a:pt x="147" y="42"/>
                      </a:lnTo>
                      <a:lnTo>
                        <a:pt x="146" y="42"/>
                      </a:lnTo>
                      <a:lnTo>
                        <a:pt x="146" y="43"/>
                      </a:lnTo>
                      <a:lnTo>
                        <a:pt x="146" y="43"/>
                      </a:lnTo>
                      <a:lnTo>
                        <a:pt x="146" y="44"/>
                      </a:lnTo>
                      <a:lnTo>
                        <a:pt x="146" y="44"/>
                      </a:lnTo>
                      <a:lnTo>
                        <a:pt x="146" y="45"/>
                      </a:lnTo>
                      <a:lnTo>
                        <a:pt x="145" y="45"/>
                      </a:lnTo>
                      <a:lnTo>
                        <a:pt x="145" y="46"/>
                      </a:lnTo>
                      <a:lnTo>
                        <a:pt x="145" y="47"/>
                      </a:lnTo>
                      <a:lnTo>
                        <a:pt x="144" y="47"/>
                      </a:lnTo>
                      <a:lnTo>
                        <a:pt x="145" y="47"/>
                      </a:lnTo>
                      <a:lnTo>
                        <a:pt x="144" y="47"/>
                      </a:lnTo>
                      <a:lnTo>
                        <a:pt x="144" y="47"/>
                      </a:lnTo>
                      <a:lnTo>
                        <a:pt x="145" y="47"/>
                      </a:lnTo>
                      <a:lnTo>
                        <a:pt x="144" y="47"/>
                      </a:lnTo>
                      <a:lnTo>
                        <a:pt x="144" y="48"/>
                      </a:lnTo>
                      <a:lnTo>
                        <a:pt x="144" y="49"/>
                      </a:lnTo>
                      <a:lnTo>
                        <a:pt x="144" y="49"/>
                      </a:lnTo>
                      <a:lnTo>
                        <a:pt x="143" y="48"/>
                      </a:lnTo>
                      <a:lnTo>
                        <a:pt x="142" y="47"/>
                      </a:lnTo>
                      <a:lnTo>
                        <a:pt x="142" y="48"/>
                      </a:lnTo>
                      <a:lnTo>
                        <a:pt x="141" y="48"/>
                      </a:lnTo>
                      <a:lnTo>
                        <a:pt x="141" y="49"/>
                      </a:lnTo>
                      <a:lnTo>
                        <a:pt x="140" y="49"/>
                      </a:lnTo>
                      <a:lnTo>
                        <a:pt x="140" y="48"/>
                      </a:lnTo>
                      <a:lnTo>
                        <a:pt x="140" y="48"/>
                      </a:lnTo>
                      <a:lnTo>
                        <a:pt x="140" y="49"/>
                      </a:lnTo>
                      <a:lnTo>
                        <a:pt x="139" y="49"/>
                      </a:lnTo>
                      <a:lnTo>
                        <a:pt x="139" y="49"/>
                      </a:lnTo>
                      <a:lnTo>
                        <a:pt x="138" y="49"/>
                      </a:lnTo>
                      <a:lnTo>
                        <a:pt x="138" y="49"/>
                      </a:lnTo>
                      <a:lnTo>
                        <a:pt x="138" y="48"/>
                      </a:lnTo>
                      <a:lnTo>
                        <a:pt x="138" y="47"/>
                      </a:lnTo>
                      <a:lnTo>
                        <a:pt x="138" y="47"/>
                      </a:lnTo>
                      <a:lnTo>
                        <a:pt x="137" y="47"/>
                      </a:lnTo>
                      <a:lnTo>
                        <a:pt x="136" y="47"/>
                      </a:lnTo>
                      <a:lnTo>
                        <a:pt x="136" y="46"/>
                      </a:lnTo>
                      <a:lnTo>
                        <a:pt x="136" y="46"/>
                      </a:lnTo>
                      <a:lnTo>
                        <a:pt x="136" y="45"/>
                      </a:lnTo>
                      <a:lnTo>
                        <a:pt x="135" y="45"/>
                      </a:lnTo>
                      <a:lnTo>
                        <a:pt x="134" y="45"/>
                      </a:lnTo>
                      <a:lnTo>
                        <a:pt x="134" y="44"/>
                      </a:lnTo>
                      <a:lnTo>
                        <a:pt x="133" y="44"/>
                      </a:lnTo>
                      <a:lnTo>
                        <a:pt x="133" y="44"/>
                      </a:lnTo>
                      <a:lnTo>
                        <a:pt x="134" y="44"/>
                      </a:lnTo>
                      <a:lnTo>
                        <a:pt x="134" y="43"/>
                      </a:lnTo>
                      <a:lnTo>
                        <a:pt x="133" y="43"/>
                      </a:lnTo>
                      <a:lnTo>
                        <a:pt x="133" y="42"/>
                      </a:lnTo>
                      <a:lnTo>
                        <a:pt x="133" y="42"/>
                      </a:lnTo>
                      <a:lnTo>
                        <a:pt x="133" y="42"/>
                      </a:lnTo>
                      <a:lnTo>
                        <a:pt x="133" y="42"/>
                      </a:lnTo>
                      <a:lnTo>
                        <a:pt x="133" y="42"/>
                      </a:lnTo>
                      <a:lnTo>
                        <a:pt x="133" y="41"/>
                      </a:lnTo>
                      <a:lnTo>
                        <a:pt x="133" y="40"/>
                      </a:lnTo>
                      <a:lnTo>
                        <a:pt x="133" y="40"/>
                      </a:lnTo>
                      <a:lnTo>
                        <a:pt x="132" y="40"/>
                      </a:lnTo>
                      <a:lnTo>
                        <a:pt x="132" y="39"/>
                      </a:lnTo>
                      <a:lnTo>
                        <a:pt x="132" y="38"/>
                      </a:lnTo>
                      <a:lnTo>
                        <a:pt x="132" y="38"/>
                      </a:lnTo>
                      <a:lnTo>
                        <a:pt x="132" y="37"/>
                      </a:lnTo>
                      <a:lnTo>
                        <a:pt x="132" y="36"/>
                      </a:lnTo>
                      <a:lnTo>
                        <a:pt x="132" y="36"/>
                      </a:lnTo>
                      <a:lnTo>
                        <a:pt x="133" y="35"/>
                      </a:lnTo>
                      <a:lnTo>
                        <a:pt x="132" y="35"/>
                      </a:lnTo>
                      <a:lnTo>
                        <a:pt x="133" y="35"/>
                      </a:lnTo>
                      <a:lnTo>
                        <a:pt x="133" y="34"/>
                      </a:lnTo>
                      <a:lnTo>
                        <a:pt x="133" y="34"/>
                      </a:lnTo>
                      <a:lnTo>
                        <a:pt x="133" y="33"/>
                      </a:lnTo>
                      <a:lnTo>
                        <a:pt x="132" y="33"/>
                      </a:lnTo>
                      <a:lnTo>
                        <a:pt x="132" y="32"/>
                      </a:lnTo>
                      <a:lnTo>
                        <a:pt x="132" y="32"/>
                      </a:lnTo>
                      <a:lnTo>
                        <a:pt x="133" y="32"/>
                      </a:lnTo>
                      <a:lnTo>
                        <a:pt x="132" y="31"/>
                      </a:lnTo>
                      <a:lnTo>
                        <a:pt x="132" y="30"/>
                      </a:lnTo>
                      <a:lnTo>
                        <a:pt x="132" y="30"/>
                      </a:lnTo>
                      <a:lnTo>
                        <a:pt x="131" y="30"/>
                      </a:lnTo>
                      <a:lnTo>
                        <a:pt x="131" y="29"/>
                      </a:lnTo>
                      <a:lnTo>
                        <a:pt x="131" y="29"/>
                      </a:lnTo>
                      <a:lnTo>
                        <a:pt x="131" y="28"/>
                      </a:lnTo>
                      <a:lnTo>
                        <a:pt x="130" y="28"/>
                      </a:lnTo>
                      <a:lnTo>
                        <a:pt x="130" y="27"/>
                      </a:lnTo>
                      <a:lnTo>
                        <a:pt x="129" y="27"/>
                      </a:lnTo>
                      <a:lnTo>
                        <a:pt x="129" y="26"/>
                      </a:lnTo>
                      <a:lnTo>
                        <a:pt x="129" y="25"/>
                      </a:lnTo>
                      <a:lnTo>
                        <a:pt x="129" y="25"/>
                      </a:lnTo>
                      <a:lnTo>
                        <a:pt x="129" y="24"/>
                      </a:lnTo>
                      <a:lnTo>
                        <a:pt x="129" y="23"/>
                      </a:lnTo>
                      <a:lnTo>
                        <a:pt x="128" y="23"/>
                      </a:lnTo>
                      <a:lnTo>
                        <a:pt x="128" y="23"/>
                      </a:lnTo>
                      <a:lnTo>
                        <a:pt x="128" y="22"/>
                      </a:lnTo>
                      <a:lnTo>
                        <a:pt x="127" y="22"/>
                      </a:lnTo>
                      <a:lnTo>
                        <a:pt x="127" y="21"/>
                      </a:lnTo>
                      <a:lnTo>
                        <a:pt x="127" y="21"/>
                      </a:lnTo>
                      <a:lnTo>
                        <a:pt x="127" y="21"/>
                      </a:lnTo>
                      <a:lnTo>
                        <a:pt x="127" y="20"/>
                      </a:lnTo>
                      <a:lnTo>
                        <a:pt x="127" y="19"/>
                      </a:lnTo>
                      <a:lnTo>
                        <a:pt x="127" y="19"/>
                      </a:lnTo>
                      <a:lnTo>
                        <a:pt x="126" y="18"/>
                      </a:lnTo>
                      <a:lnTo>
                        <a:pt x="126" y="17"/>
                      </a:lnTo>
                      <a:lnTo>
                        <a:pt x="126" y="17"/>
                      </a:lnTo>
                      <a:lnTo>
                        <a:pt x="127" y="17"/>
                      </a:lnTo>
                      <a:lnTo>
                        <a:pt x="127" y="16"/>
                      </a:lnTo>
                      <a:lnTo>
                        <a:pt x="127" y="16"/>
                      </a:lnTo>
                      <a:lnTo>
                        <a:pt x="127" y="15"/>
                      </a:lnTo>
                      <a:lnTo>
                        <a:pt x="127" y="15"/>
                      </a:lnTo>
                      <a:lnTo>
                        <a:pt x="127" y="15"/>
                      </a:lnTo>
                      <a:lnTo>
                        <a:pt x="127" y="14"/>
                      </a:lnTo>
                      <a:lnTo>
                        <a:pt x="127" y="13"/>
                      </a:lnTo>
                      <a:lnTo>
                        <a:pt x="127" y="13"/>
                      </a:lnTo>
                      <a:lnTo>
                        <a:pt x="127" y="12"/>
                      </a:lnTo>
                      <a:lnTo>
                        <a:pt x="127" y="13"/>
                      </a:lnTo>
                      <a:lnTo>
                        <a:pt x="127" y="13"/>
                      </a:lnTo>
                      <a:lnTo>
                        <a:pt x="127" y="12"/>
                      </a:lnTo>
                      <a:lnTo>
                        <a:pt x="127" y="13"/>
                      </a:lnTo>
                      <a:lnTo>
                        <a:pt x="126" y="13"/>
                      </a:lnTo>
                      <a:lnTo>
                        <a:pt x="126" y="12"/>
                      </a:lnTo>
                      <a:lnTo>
                        <a:pt x="126" y="13"/>
                      </a:lnTo>
                      <a:lnTo>
                        <a:pt x="125" y="13"/>
                      </a:lnTo>
                      <a:lnTo>
                        <a:pt x="124" y="13"/>
                      </a:lnTo>
                      <a:lnTo>
                        <a:pt x="123" y="13"/>
                      </a:lnTo>
                      <a:lnTo>
                        <a:pt x="123" y="15"/>
                      </a:lnTo>
                      <a:lnTo>
                        <a:pt x="123" y="15"/>
                      </a:lnTo>
                      <a:lnTo>
                        <a:pt x="123" y="16"/>
                      </a:lnTo>
                      <a:lnTo>
                        <a:pt x="123" y="17"/>
                      </a:lnTo>
                      <a:lnTo>
                        <a:pt x="123" y="17"/>
                      </a:lnTo>
                      <a:lnTo>
                        <a:pt x="121" y="19"/>
                      </a:lnTo>
                      <a:lnTo>
                        <a:pt x="121" y="21"/>
                      </a:lnTo>
                      <a:lnTo>
                        <a:pt x="116" y="19"/>
                      </a:lnTo>
                      <a:lnTo>
                        <a:pt x="112" y="16"/>
                      </a:lnTo>
                      <a:lnTo>
                        <a:pt x="111" y="16"/>
                      </a:lnTo>
                      <a:lnTo>
                        <a:pt x="111" y="15"/>
                      </a:lnTo>
                      <a:lnTo>
                        <a:pt x="110" y="15"/>
                      </a:lnTo>
                      <a:lnTo>
                        <a:pt x="110" y="16"/>
                      </a:lnTo>
                      <a:lnTo>
                        <a:pt x="110" y="15"/>
                      </a:lnTo>
                      <a:lnTo>
                        <a:pt x="110" y="15"/>
                      </a:lnTo>
                      <a:lnTo>
                        <a:pt x="110" y="16"/>
                      </a:lnTo>
                      <a:lnTo>
                        <a:pt x="110" y="15"/>
                      </a:lnTo>
                      <a:lnTo>
                        <a:pt x="109" y="15"/>
                      </a:lnTo>
                      <a:lnTo>
                        <a:pt x="109" y="16"/>
                      </a:lnTo>
                      <a:lnTo>
                        <a:pt x="109" y="15"/>
                      </a:lnTo>
                      <a:lnTo>
                        <a:pt x="108" y="15"/>
                      </a:lnTo>
                      <a:lnTo>
                        <a:pt x="108" y="16"/>
                      </a:lnTo>
                      <a:lnTo>
                        <a:pt x="108" y="15"/>
                      </a:lnTo>
                      <a:lnTo>
                        <a:pt x="108" y="15"/>
                      </a:lnTo>
                      <a:lnTo>
                        <a:pt x="108" y="15"/>
                      </a:lnTo>
                      <a:lnTo>
                        <a:pt x="108" y="15"/>
                      </a:lnTo>
                      <a:lnTo>
                        <a:pt x="108" y="14"/>
                      </a:lnTo>
                      <a:lnTo>
                        <a:pt x="108" y="13"/>
                      </a:lnTo>
                      <a:lnTo>
                        <a:pt x="108" y="13"/>
                      </a:lnTo>
                      <a:lnTo>
                        <a:pt x="108" y="13"/>
                      </a:lnTo>
                      <a:lnTo>
                        <a:pt x="108" y="13"/>
                      </a:lnTo>
                      <a:lnTo>
                        <a:pt x="108" y="13"/>
                      </a:lnTo>
                      <a:lnTo>
                        <a:pt x="108" y="13"/>
                      </a:lnTo>
                      <a:lnTo>
                        <a:pt x="108" y="13"/>
                      </a:lnTo>
                      <a:lnTo>
                        <a:pt x="108" y="13"/>
                      </a:lnTo>
                      <a:lnTo>
                        <a:pt x="108" y="13"/>
                      </a:lnTo>
                      <a:lnTo>
                        <a:pt x="108" y="13"/>
                      </a:lnTo>
                      <a:lnTo>
                        <a:pt x="108" y="12"/>
                      </a:lnTo>
                      <a:lnTo>
                        <a:pt x="108" y="12"/>
                      </a:lnTo>
                      <a:lnTo>
                        <a:pt x="108" y="12"/>
                      </a:lnTo>
                      <a:lnTo>
                        <a:pt x="108" y="12"/>
                      </a:lnTo>
                      <a:lnTo>
                        <a:pt x="108" y="11"/>
                      </a:lnTo>
                      <a:lnTo>
                        <a:pt x="108" y="12"/>
                      </a:lnTo>
                      <a:lnTo>
                        <a:pt x="108" y="11"/>
                      </a:lnTo>
                      <a:lnTo>
                        <a:pt x="108" y="11"/>
                      </a:lnTo>
                      <a:lnTo>
                        <a:pt x="107" y="11"/>
                      </a:lnTo>
                      <a:lnTo>
                        <a:pt x="108" y="11"/>
                      </a:lnTo>
                      <a:lnTo>
                        <a:pt x="107" y="11"/>
                      </a:lnTo>
                      <a:lnTo>
                        <a:pt x="107" y="10"/>
                      </a:lnTo>
                      <a:lnTo>
                        <a:pt x="107" y="9"/>
                      </a:lnTo>
                      <a:lnTo>
                        <a:pt x="106" y="9"/>
                      </a:lnTo>
                      <a:lnTo>
                        <a:pt x="106" y="9"/>
                      </a:lnTo>
                      <a:lnTo>
                        <a:pt x="106" y="9"/>
                      </a:lnTo>
                      <a:lnTo>
                        <a:pt x="106" y="9"/>
                      </a:lnTo>
                      <a:lnTo>
                        <a:pt x="106" y="9"/>
                      </a:lnTo>
                      <a:lnTo>
                        <a:pt x="106" y="9"/>
                      </a:lnTo>
                      <a:lnTo>
                        <a:pt x="106" y="9"/>
                      </a:lnTo>
                      <a:lnTo>
                        <a:pt x="106" y="9"/>
                      </a:lnTo>
                      <a:lnTo>
                        <a:pt x="106" y="9"/>
                      </a:lnTo>
                      <a:lnTo>
                        <a:pt x="106" y="9"/>
                      </a:lnTo>
                      <a:lnTo>
                        <a:pt x="105" y="9"/>
                      </a:lnTo>
                      <a:lnTo>
                        <a:pt x="105" y="9"/>
                      </a:lnTo>
                      <a:lnTo>
                        <a:pt x="104" y="9"/>
                      </a:lnTo>
                      <a:lnTo>
                        <a:pt x="104" y="8"/>
                      </a:lnTo>
                      <a:lnTo>
                        <a:pt x="104" y="7"/>
                      </a:lnTo>
                      <a:lnTo>
                        <a:pt x="104" y="7"/>
                      </a:lnTo>
                      <a:lnTo>
                        <a:pt x="104" y="6"/>
                      </a:lnTo>
                      <a:lnTo>
                        <a:pt x="104" y="6"/>
                      </a:lnTo>
                      <a:lnTo>
                        <a:pt x="104" y="5"/>
                      </a:lnTo>
                      <a:lnTo>
                        <a:pt x="103" y="5"/>
                      </a:lnTo>
                      <a:lnTo>
                        <a:pt x="103" y="4"/>
                      </a:lnTo>
                      <a:lnTo>
                        <a:pt x="102" y="4"/>
                      </a:lnTo>
                      <a:lnTo>
                        <a:pt x="102" y="4"/>
                      </a:lnTo>
                      <a:lnTo>
                        <a:pt x="102" y="4"/>
                      </a:lnTo>
                      <a:lnTo>
                        <a:pt x="102" y="3"/>
                      </a:lnTo>
                      <a:lnTo>
                        <a:pt x="101" y="3"/>
                      </a:lnTo>
                      <a:lnTo>
                        <a:pt x="101" y="2"/>
                      </a:lnTo>
                      <a:lnTo>
                        <a:pt x="100" y="2"/>
                      </a:lnTo>
                      <a:lnTo>
                        <a:pt x="100" y="2"/>
                      </a:lnTo>
                      <a:lnTo>
                        <a:pt x="100" y="2"/>
                      </a:lnTo>
                      <a:lnTo>
                        <a:pt x="100" y="2"/>
                      </a:lnTo>
                      <a:lnTo>
                        <a:pt x="99" y="2"/>
                      </a:lnTo>
                      <a:lnTo>
                        <a:pt x="99" y="2"/>
                      </a:lnTo>
                      <a:lnTo>
                        <a:pt x="99" y="1"/>
                      </a:lnTo>
                      <a:lnTo>
                        <a:pt x="99" y="0"/>
                      </a:lnTo>
                      <a:lnTo>
                        <a:pt x="98" y="0"/>
                      </a:lnTo>
                      <a:lnTo>
                        <a:pt x="98" y="0"/>
                      </a:lnTo>
                      <a:lnTo>
                        <a:pt x="98" y="0"/>
                      </a:lnTo>
                      <a:lnTo>
                        <a:pt x="97" y="0"/>
                      </a:lnTo>
                      <a:lnTo>
                        <a:pt x="97" y="0"/>
                      </a:lnTo>
                      <a:lnTo>
                        <a:pt x="97" y="0"/>
                      </a:lnTo>
                      <a:lnTo>
                        <a:pt x="97" y="0"/>
                      </a:lnTo>
                      <a:lnTo>
                        <a:pt x="96" y="0"/>
                      </a:lnTo>
                      <a:lnTo>
                        <a:pt x="95" y="0"/>
                      </a:lnTo>
                      <a:lnTo>
                        <a:pt x="91" y="0"/>
                      </a:lnTo>
                      <a:lnTo>
                        <a:pt x="93" y="3"/>
                      </a:lnTo>
                      <a:lnTo>
                        <a:pt x="93" y="6"/>
                      </a:lnTo>
                      <a:lnTo>
                        <a:pt x="92" y="7"/>
                      </a:lnTo>
                      <a:lnTo>
                        <a:pt x="93" y="7"/>
                      </a:lnTo>
                      <a:lnTo>
                        <a:pt x="92" y="8"/>
                      </a:lnTo>
                      <a:lnTo>
                        <a:pt x="91" y="9"/>
                      </a:lnTo>
                      <a:lnTo>
                        <a:pt x="92" y="9"/>
                      </a:lnTo>
                      <a:lnTo>
                        <a:pt x="91" y="10"/>
                      </a:lnTo>
                      <a:lnTo>
                        <a:pt x="92" y="11"/>
                      </a:lnTo>
                      <a:lnTo>
                        <a:pt x="91" y="11"/>
                      </a:lnTo>
                      <a:lnTo>
                        <a:pt x="91" y="12"/>
                      </a:lnTo>
                      <a:lnTo>
                        <a:pt x="91" y="13"/>
                      </a:lnTo>
                      <a:lnTo>
                        <a:pt x="91" y="13"/>
                      </a:lnTo>
                      <a:lnTo>
                        <a:pt x="91" y="14"/>
                      </a:lnTo>
                      <a:lnTo>
                        <a:pt x="91" y="15"/>
                      </a:lnTo>
                      <a:lnTo>
                        <a:pt x="91" y="18"/>
                      </a:lnTo>
                      <a:lnTo>
                        <a:pt x="90" y="19"/>
                      </a:lnTo>
                      <a:lnTo>
                        <a:pt x="90" y="19"/>
                      </a:lnTo>
                      <a:lnTo>
                        <a:pt x="89" y="19"/>
                      </a:lnTo>
                      <a:lnTo>
                        <a:pt x="90" y="20"/>
                      </a:lnTo>
                      <a:lnTo>
                        <a:pt x="89" y="20"/>
                      </a:lnTo>
                      <a:lnTo>
                        <a:pt x="89" y="21"/>
                      </a:lnTo>
                      <a:lnTo>
                        <a:pt x="89" y="21"/>
                      </a:lnTo>
                      <a:lnTo>
                        <a:pt x="89" y="21"/>
                      </a:lnTo>
                      <a:lnTo>
                        <a:pt x="89" y="22"/>
                      </a:lnTo>
                      <a:lnTo>
                        <a:pt x="89" y="23"/>
                      </a:lnTo>
                      <a:lnTo>
                        <a:pt x="89" y="23"/>
                      </a:lnTo>
                      <a:lnTo>
                        <a:pt x="88" y="23"/>
                      </a:lnTo>
                      <a:lnTo>
                        <a:pt x="88" y="24"/>
                      </a:lnTo>
                      <a:lnTo>
                        <a:pt x="88" y="25"/>
                      </a:lnTo>
                      <a:lnTo>
                        <a:pt x="88" y="25"/>
                      </a:lnTo>
                      <a:lnTo>
                        <a:pt x="88" y="26"/>
                      </a:lnTo>
                      <a:lnTo>
                        <a:pt x="87" y="26"/>
                      </a:lnTo>
                      <a:lnTo>
                        <a:pt x="87" y="27"/>
                      </a:lnTo>
                      <a:lnTo>
                        <a:pt x="87" y="28"/>
                      </a:lnTo>
                      <a:lnTo>
                        <a:pt x="87" y="28"/>
                      </a:lnTo>
                      <a:lnTo>
                        <a:pt x="87" y="29"/>
                      </a:lnTo>
                      <a:lnTo>
                        <a:pt x="87" y="30"/>
                      </a:lnTo>
                      <a:lnTo>
                        <a:pt x="87" y="30"/>
                      </a:lnTo>
                      <a:lnTo>
                        <a:pt x="87" y="31"/>
                      </a:lnTo>
                      <a:lnTo>
                        <a:pt x="87" y="32"/>
                      </a:lnTo>
                      <a:lnTo>
                        <a:pt x="87" y="32"/>
                      </a:lnTo>
                      <a:lnTo>
                        <a:pt x="87" y="33"/>
                      </a:lnTo>
                      <a:lnTo>
                        <a:pt x="87" y="34"/>
                      </a:lnTo>
                      <a:lnTo>
                        <a:pt x="87" y="34"/>
                      </a:lnTo>
                      <a:lnTo>
                        <a:pt x="86" y="34"/>
                      </a:lnTo>
                      <a:lnTo>
                        <a:pt x="86" y="35"/>
                      </a:lnTo>
                      <a:lnTo>
                        <a:pt x="86" y="36"/>
                      </a:lnTo>
                      <a:lnTo>
                        <a:pt x="85" y="36"/>
                      </a:lnTo>
                      <a:lnTo>
                        <a:pt x="85" y="36"/>
                      </a:lnTo>
                      <a:lnTo>
                        <a:pt x="85" y="37"/>
                      </a:lnTo>
                      <a:lnTo>
                        <a:pt x="86" y="37"/>
                      </a:lnTo>
                      <a:lnTo>
                        <a:pt x="86" y="38"/>
                      </a:lnTo>
                      <a:lnTo>
                        <a:pt x="87" y="38"/>
                      </a:lnTo>
                      <a:lnTo>
                        <a:pt x="87" y="38"/>
                      </a:lnTo>
                      <a:lnTo>
                        <a:pt x="87" y="38"/>
                      </a:lnTo>
                      <a:lnTo>
                        <a:pt x="88" y="38"/>
                      </a:lnTo>
                      <a:lnTo>
                        <a:pt x="89" y="38"/>
                      </a:lnTo>
                      <a:lnTo>
                        <a:pt x="89" y="39"/>
                      </a:lnTo>
                      <a:lnTo>
                        <a:pt x="89" y="40"/>
                      </a:lnTo>
                      <a:lnTo>
                        <a:pt x="90" y="40"/>
                      </a:lnTo>
                      <a:lnTo>
                        <a:pt x="90" y="40"/>
                      </a:lnTo>
                      <a:lnTo>
                        <a:pt x="91" y="40"/>
                      </a:lnTo>
                      <a:lnTo>
                        <a:pt x="90" y="41"/>
                      </a:lnTo>
                      <a:lnTo>
                        <a:pt x="91" y="41"/>
                      </a:lnTo>
                      <a:lnTo>
                        <a:pt x="91" y="41"/>
                      </a:lnTo>
                      <a:lnTo>
                        <a:pt x="91" y="42"/>
                      </a:lnTo>
                      <a:lnTo>
                        <a:pt x="91" y="42"/>
                      </a:lnTo>
                      <a:lnTo>
                        <a:pt x="91" y="42"/>
                      </a:lnTo>
                      <a:lnTo>
                        <a:pt x="91" y="43"/>
                      </a:lnTo>
                      <a:lnTo>
                        <a:pt x="90" y="43"/>
                      </a:lnTo>
                      <a:lnTo>
                        <a:pt x="90" y="44"/>
                      </a:lnTo>
                      <a:lnTo>
                        <a:pt x="90" y="44"/>
                      </a:lnTo>
                      <a:lnTo>
                        <a:pt x="90" y="45"/>
                      </a:lnTo>
                      <a:lnTo>
                        <a:pt x="89" y="45"/>
                      </a:lnTo>
                      <a:lnTo>
                        <a:pt x="89" y="45"/>
                      </a:lnTo>
                      <a:lnTo>
                        <a:pt x="89" y="46"/>
                      </a:lnTo>
                      <a:lnTo>
                        <a:pt x="89" y="47"/>
                      </a:lnTo>
                      <a:lnTo>
                        <a:pt x="88" y="47"/>
                      </a:lnTo>
                      <a:lnTo>
                        <a:pt x="88" y="47"/>
                      </a:lnTo>
                      <a:lnTo>
                        <a:pt x="87" y="47"/>
                      </a:lnTo>
                      <a:lnTo>
                        <a:pt x="87" y="48"/>
                      </a:lnTo>
                      <a:lnTo>
                        <a:pt x="87" y="49"/>
                      </a:lnTo>
                      <a:lnTo>
                        <a:pt x="87" y="49"/>
                      </a:lnTo>
                      <a:lnTo>
                        <a:pt x="87" y="49"/>
                      </a:lnTo>
                      <a:lnTo>
                        <a:pt x="87" y="50"/>
                      </a:lnTo>
                      <a:lnTo>
                        <a:pt x="87" y="51"/>
                      </a:lnTo>
                      <a:lnTo>
                        <a:pt x="87" y="51"/>
                      </a:lnTo>
                      <a:lnTo>
                        <a:pt x="87" y="51"/>
                      </a:lnTo>
                      <a:lnTo>
                        <a:pt x="87" y="52"/>
                      </a:lnTo>
                      <a:lnTo>
                        <a:pt x="86" y="53"/>
                      </a:lnTo>
                      <a:lnTo>
                        <a:pt x="85" y="53"/>
                      </a:lnTo>
                      <a:lnTo>
                        <a:pt x="85" y="53"/>
                      </a:lnTo>
                      <a:lnTo>
                        <a:pt x="84" y="57"/>
                      </a:lnTo>
                      <a:lnTo>
                        <a:pt x="83" y="57"/>
                      </a:lnTo>
                      <a:lnTo>
                        <a:pt x="83" y="57"/>
                      </a:lnTo>
                      <a:lnTo>
                        <a:pt x="82" y="57"/>
                      </a:lnTo>
                      <a:lnTo>
                        <a:pt x="82" y="58"/>
                      </a:lnTo>
                      <a:lnTo>
                        <a:pt x="81" y="58"/>
                      </a:lnTo>
                      <a:lnTo>
                        <a:pt x="81" y="59"/>
                      </a:lnTo>
                      <a:lnTo>
                        <a:pt x="81" y="59"/>
                      </a:lnTo>
                      <a:lnTo>
                        <a:pt x="80" y="59"/>
                      </a:lnTo>
                      <a:lnTo>
                        <a:pt x="74" y="59"/>
                      </a:lnTo>
                      <a:lnTo>
                        <a:pt x="70" y="57"/>
                      </a:lnTo>
                      <a:lnTo>
                        <a:pt x="68" y="58"/>
                      </a:lnTo>
                      <a:lnTo>
                        <a:pt x="68" y="57"/>
                      </a:lnTo>
                      <a:lnTo>
                        <a:pt x="66" y="56"/>
                      </a:lnTo>
                      <a:lnTo>
                        <a:pt x="64" y="54"/>
                      </a:lnTo>
                      <a:lnTo>
                        <a:pt x="58" y="44"/>
                      </a:lnTo>
                      <a:lnTo>
                        <a:pt x="56" y="40"/>
                      </a:lnTo>
                      <a:lnTo>
                        <a:pt x="55" y="38"/>
                      </a:lnTo>
                      <a:lnTo>
                        <a:pt x="54" y="39"/>
                      </a:lnTo>
                      <a:lnTo>
                        <a:pt x="53" y="39"/>
                      </a:lnTo>
                      <a:lnTo>
                        <a:pt x="51" y="38"/>
                      </a:lnTo>
                      <a:lnTo>
                        <a:pt x="51" y="38"/>
                      </a:lnTo>
                      <a:lnTo>
                        <a:pt x="51" y="39"/>
                      </a:lnTo>
                      <a:lnTo>
                        <a:pt x="50" y="39"/>
                      </a:lnTo>
                      <a:lnTo>
                        <a:pt x="51" y="39"/>
                      </a:lnTo>
                      <a:lnTo>
                        <a:pt x="50" y="40"/>
                      </a:lnTo>
                      <a:lnTo>
                        <a:pt x="50" y="40"/>
                      </a:lnTo>
                      <a:lnTo>
                        <a:pt x="49" y="40"/>
                      </a:lnTo>
                      <a:lnTo>
                        <a:pt x="49" y="41"/>
                      </a:lnTo>
                      <a:lnTo>
                        <a:pt x="49" y="41"/>
                      </a:lnTo>
                      <a:lnTo>
                        <a:pt x="49" y="42"/>
                      </a:lnTo>
                      <a:lnTo>
                        <a:pt x="48" y="42"/>
                      </a:lnTo>
                      <a:lnTo>
                        <a:pt x="48" y="42"/>
                      </a:lnTo>
                      <a:lnTo>
                        <a:pt x="48" y="43"/>
                      </a:lnTo>
                      <a:lnTo>
                        <a:pt x="47" y="44"/>
                      </a:lnTo>
                      <a:lnTo>
                        <a:pt x="47" y="44"/>
                      </a:lnTo>
                      <a:lnTo>
                        <a:pt x="47" y="44"/>
                      </a:lnTo>
                      <a:lnTo>
                        <a:pt x="46" y="45"/>
                      </a:lnTo>
                      <a:lnTo>
                        <a:pt x="46" y="46"/>
                      </a:lnTo>
                      <a:lnTo>
                        <a:pt x="45" y="46"/>
                      </a:lnTo>
                      <a:lnTo>
                        <a:pt x="45" y="47"/>
                      </a:lnTo>
                      <a:lnTo>
                        <a:pt x="45" y="47"/>
                      </a:lnTo>
                      <a:lnTo>
                        <a:pt x="45" y="48"/>
                      </a:lnTo>
                      <a:lnTo>
                        <a:pt x="44" y="48"/>
                      </a:lnTo>
                      <a:lnTo>
                        <a:pt x="44" y="49"/>
                      </a:lnTo>
                      <a:lnTo>
                        <a:pt x="43" y="49"/>
                      </a:lnTo>
                      <a:lnTo>
                        <a:pt x="43" y="49"/>
                      </a:lnTo>
                      <a:lnTo>
                        <a:pt x="41" y="51"/>
                      </a:lnTo>
                      <a:lnTo>
                        <a:pt x="40" y="51"/>
                      </a:lnTo>
                      <a:lnTo>
                        <a:pt x="40" y="52"/>
                      </a:lnTo>
                      <a:lnTo>
                        <a:pt x="39" y="53"/>
                      </a:lnTo>
                      <a:lnTo>
                        <a:pt x="39" y="53"/>
                      </a:lnTo>
                      <a:lnTo>
                        <a:pt x="38" y="53"/>
                      </a:lnTo>
                      <a:lnTo>
                        <a:pt x="38" y="54"/>
                      </a:lnTo>
                      <a:lnTo>
                        <a:pt x="38" y="55"/>
                      </a:lnTo>
                      <a:lnTo>
                        <a:pt x="38" y="56"/>
                      </a:lnTo>
                      <a:lnTo>
                        <a:pt x="38" y="57"/>
                      </a:lnTo>
                      <a:lnTo>
                        <a:pt x="37" y="57"/>
                      </a:lnTo>
                      <a:lnTo>
                        <a:pt x="36" y="57"/>
                      </a:lnTo>
                      <a:lnTo>
                        <a:pt x="36" y="57"/>
                      </a:lnTo>
                      <a:lnTo>
                        <a:pt x="36" y="56"/>
                      </a:lnTo>
                      <a:lnTo>
                        <a:pt x="35" y="56"/>
                      </a:lnTo>
                      <a:lnTo>
                        <a:pt x="34" y="56"/>
                      </a:lnTo>
                      <a:lnTo>
                        <a:pt x="34" y="57"/>
                      </a:lnTo>
                      <a:lnTo>
                        <a:pt x="34" y="57"/>
                      </a:lnTo>
                      <a:lnTo>
                        <a:pt x="33" y="57"/>
                      </a:lnTo>
                      <a:lnTo>
                        <a:pt x="33" y="57"/>
                      </a:lnTo>
                      <a:lnTo>
                        <a:pt x="32" y="57"/>
                      </a:lnTo>
                      <a:lnTo>
                        <a:pt x="32" y="58"/>
                      </a:lnTo>
                      <a:lnTo>
                        <a:pt x="31" y="58"/>
                      </a:lnTo>
                      <a:lnTo>
                        <a:pt x="30" y="57"/>
                      </a:lnTo>
                      <a:lnTo>
                        <a:pt x="30" y="58"/>
                      </a:lnTo>
                      <a:lnTo>
                        <a:pt x="30" y="61"/>
                      </a:lnTo>
                      <a:lnTo>
                        <a:pt x="30" y="61"/>
                      </a:lnTo>
                      <a:lnTo>
                        <a:pt x="30" y="62"/>
                      </a:lnTo>
                      <a:lnTo>
                        <a:pt x="31" y="64"/>
                      </a:lnTo>
                      <a:lnTo>
                        <a:pt x="32" y="65"/>
                      </a:lnTo>
                      <a:lnTo>
                        <a:pt x="32" y="67"/>
                      </a:lnTo>
                      <a:lnTo>
                        <a:pt x="33" y="68"/>
                      </a:lnTo>
                      <a:lnTo>
                        <a:pt x="34" y="70"/>
                      </a:lnTo>
                      <a:lnTo>
                        <a:pt x="36" y="69"/>
                      </a:lnTo>
                      <a:lnTo>
                        <a:pt x="36" y="70"/>
                      </a:lnTo>
                      <a:lnTo>
                        <a:pt x="36" y="70"/>
                      </a:lnTo>
                      <a:lnTo>
                        <a:pt x="36" y="71"/>
                      </a:lnTo>
                      <a:lnTo>
                        <a:pt x="36" y="72"/>
                      </a:lnTo>
                      <a:lnTo>
                        <a:pt x="36" y="74"/>
                      </a:lnTo>
                      <a:lnTo>
                        <a:pt x="38" y="75"/>
                      </a:lnTo>
                      <a:lnTo>
                        <a:pt x="38" y="76"/>
                      </a:lnTo>
                      <a:lnTo>
                        <a:pt x="38" y="76"/>
                      </a:lnTo>
                      <a:lnTo>
                        <a:pt x="38" y="76"/>
                      </a:lnTo>
                      <a:lnTo>
                        <a:pt x="38" y="77"/>
                      </a:lnTo>
                      <a:lnTo>
                        <a:pt x="38" y="78"/>
                      </a:lnTo>
                      <a:lnTo>
                        <a:pt x="39" y="78"/>
                      </a:lnTo>
                      <a:lnTo>
                        <a:pt x="39" y="78"/>
                      </a:lnTo>
                      <a:lnTo>
                        <a:pt x="39" y="79"/>
                      </a:lnTo>
                      <a:lnTo>
                        <a:pt x="39" y="80"/>
                      </a:lnTo>
                      <a:lnTo>
                        <a:pt x="40" y="80"/>
                      </a:lnTo>
                      <a:lnTo>
                        <a:pt x="41" y="81"/>
                      </a:lnTo>
                      <a:lnTo>
                        <a:pt x="42" y="81"/>
                      </a:lnTo>
                      <a:lnTo>
                        <a:pt x="42" y="82"/>
                      </a:lnTo>
                      <a:lnTo>
                        <a:pt x="43" y="82"/>
                      </a:lnTo>
                      <a:lnTo>
                        <a:pt x="45" y="82"/>
                      </a:lnTo>
                      <a:lnTo>
                        <a:pt x="45" y="83"/>
                      </a:lnTo>
                      <a:lnTo>
                        <a:pt x="45" y="84"/>
                      </a:lnTo>
                      <a:lnTo>
                        <a:pt x="45" y="84"/>
                      </a:lnTo>
                      <a:lnTo>
                        <a:pt x="46" y="85"/>
                      </a:lnTo>
                      <a:lnTo>
                        <a:pt x="47" y="85"/>
                      </a:lnTo>
                      <a:lnTo>
                        <a:pt x="47" y="86"/>
                      </a:lnTo>
                      <a:lnTo>
                        <a:pt x="47" y="87"/>
                      </a:lnTo>
                      <a:lnTo>
                        <a:pt x="47" y="87"/>
                      </a:lnTo>
                      <a:lnTo>
                        <a:pt x="47" y="88"/>
                      </a:lnTo>
                      <a:lnTo>
                        <a:pt x="49" y="90"/>
                      </a:lnTo>
                      <a:lnTo>
                        <a:pt x="49" y="92"/>
                      </a:lnTo>
                      <a:lnTo>
                        <a:pt x="49" y="93"/>
                      </a:lnTo>
                      <a:lnTo>
                        <a:pt x="48" y="93"/>
                      </a:lnTo>
                      <a:lnTo>
                        <a:pt x="48" y="94"/>
                      </a:lnTo>
                      <a:lnTo>
                        <a:pt x="44" y="97"/>
                      </a:lnTo>
                      <a:lnTo>
                        <a:pt x="43" y="97"/>
                      </a:lnTo>
                      <a:lnTo>
                        <a:pt x="40" y="97"/>
                      </a:lnTo>
                      <a:lnTo>
                        <a:pt x="40" y="96"/>
                      </a:lnTo>
                      <a:lnTo>
                        <a:pt x="39" y="95"/>
                      </a:lnTo>
                      <a:lnTo>
                        <a:pt x="37" y="98"/>
                      </a:lnTo>
                      <a:lnTo>
                        <a:pt x="37" y="99"/>
                      </a:lnTo>
                      <a:lnTo>
                        <a:pt x="36" y="99"/>
                      </a:lnTo>
                      <a:lnTo>
                        <a:pt x="36" y="99"/>
                      </a:lnTo>
                      <a:lnTo>
                        <a:pt x="36" y="99"/>
                      </a:lnTo>
                      <a:lnTo>
                        <a:pt x="36" y="100"/>
                      </a:lnTo>
                      <a:lnTo>
                        <a:pt x="35" y="100"/>
                      </a:lnTo>
                      <a:lnTo>
                        <a:pt x="34" y="100"/>
                      </a:lnTo>
                      <a:lnTo>
                        <a:pt x="34" y="101"/>
                      </a:lnTo>
                      <a:lnTo>
                        <a:pt x="33" y="101"/>
                      </a:lnTo>
                      <a:lnTo>
                        <a:pt x="32" y="102"/>
                      </a:lnTo>
                      <a:lnTo>
                        <a:pt x="30" y="105"/>
                      </a:lnTo>
                      <a:lnTo>
                        <a:pt x="28" y="106"/>
                      </a:lnTo>
                      <a:lnTo>
                        <a:pt x="28" y="107"/>
                      </a:lnTo>
                      <a:lnTo>
                        <a:pt x="28" y="108"/>
                      </a:lnTo>
                      <a:lnTo>
                        <a:pt x="28" y="109"/>
                      </a:lnTo>
                      <a:lnTo>
                        <a:pt x="28" y="110"/>
                      </a:lnTo>
                      <a:lnTo>
                        <a:pt x="29" y="110"/>
                      </a:lnTo>
                      <a:lnTo>
                        <a:pt x="29" y="110"/>
                      </a:lnTo>
                      <a:lnTo>
                        <a:pt x="28" y="112"/>
                      </a:lnTo>
                      <a:lnTo>
                        <a:pt x="28" y="115"/>
                      </a:lnTo>
                      <a:lnTo>
                        <a:pt x="29" y="116"/>
                      </a:lnTo>
                      <a:lnTo>
                        <a:pt x="31" y="116"/>
                      </a:lnTo>
                      <a:lnTo>
                        <a:pt x="34" y="116"/>
                      </a:lnTo>
                      <a:lnTo>
                        <a:pt x="36" y="116"/>
                      </a:lnTo>
                      <a:lnTo>
                        <a:pt x="36" y="116"/>
                      </a:lnTo>
                      <a:lnTo>
                        <a:pt x="36" y="117"/>
                      </a:lnTo>
                      <a:lnTo>
                        <a:pt x="36" y="118"/>
                      </a:lnTo>
                      <a:lnTo>
                        <a:pt x="37" y="118"/>
                      </a:lnTo>
                      <a:lnTo>
                        <a:pt x="37" y="118"/>
                      </a:lnTo>
                      <a:lnTo>
                        <a:pt x="37" y="119"/>
                      </a:lnTo>
                      <a:lnTo>
                        <a:pt x="38" y="119"/>
                      </a:lnTo>
                      <a:lnTo>
                        <a:pt x="38" y="120"/>
                      </a:lnTo>
                      <a:lnTo>
                        <a:pt x="38" y="120"/>
                      </a:lnTo>
                      <a:lnTo>
                        <a:pt x="38" y="121"/>
                      </a:lnTo>
                      <a:lnTo>
                        <a:pt x="39" y="121"/>
                      </a:lnTo>
                      <a:lnTo>
                        <a:pt x="39" y="122"/>
                      </a:lnTo>
                      <a:lnTo>
                        <a:pt x="40" y="122"/>
                      </a:lnTo>
                      <a:lnTo>
                        <a:pt x="40" y="122"/>
                      </a:lnTo>
                      <a:lnTo>
                        <a:pt x="40" y="123"/>
                      </a:lnTo>
                      <a:lnTo>
                        <a:pt x="41" y="123"/>
                      </a:lnTo>
                      <a:lnTo>
                        <a:pt x="46" y="128"/>
                      </a:lnTo>
                      <a:lnTo>
                        <a:pt x="48" y="131"/>
                      </a:lnTo>
                      <a:lnTo>
                        <a:pt x="52" y="138"/>
                      </a:lnTo>
                      <a:lnTo>
                        <a:pt x="52" y="139"/>
                      </a:lnTo>
                      <a:lnTo>
                        <a:pt x="52" y="139"/>
                      </a:lnTo>
                      <a:lnTo>
                        <a:pt x="52" y="140"/>
                      </a:lnTo>
                      <a:lnTo>
                        <a:pt x="51" y="141"/>
                      </a:lnTo>
                      <a:lnTo>
                        <a:pt x="51" y="141"/>
                      </a:lnTo>
                      <a:lnTo>
                        <a:pt x="51" y="141"/>
                      </a:lnTo>
                      <a:lnTo>
                        <a:pt x="51" y="142"/>
                      </a:lnTo>
                      <a:lnTo>
                        <a:pt x="50" y="142"/>
                      </a:lnTo>
                      <a:lnTo>
                        <a:pt x="50" y="143"/>
                      </a:lnTo>
                      <a:lnTo>
                        <a:pt x="49" y="143"/>
                      </a:lnTo>
                      <a:lnTo>
                        <a:pt x="49" y="143"/>
                      </a:lnTo>
                      <a:lnTo>
                        <a:pt x="50" y="143"/>
                      </a:lnTo>
                      <a:lnTo>
                        <a:pt x="50" y="144"/>
                      </a:lnTo>
                      <a:lnTo>
                        <a:pt x="49" y="144"/>
                      </a:lnTo>
                      <a:lnTo>
                        <a:pt x="49" y="145"/>
                      </a:lnTo>
                      <a:lnTo>
                        <a:pt x="49" y="146"/>
                      </a:lnTo>
                      <a:lnTo>
                        <a:pt x="49" y="146"/>
                      </a:lnTo>
                      <a:lnTo>
                        <a:pt x="49" y="147"/>
                      </a:lnTo>
                      <a:lnTo>
                        <a:pt x="50" y="147"/>
                      </a:lnTo>
                      <a:lnTo>
                        <a:pt x="50" y="148"/>
                      </a:lnTo>
                      <a:lnTo>
                        <a:pt x="50" y="148"/>
                      </a:lnTo>
                      <a:lnTo>
                        <a:pt x="51" y="148"/>
                      </a:lnTo>
                      <a:lnTo>
                        <a:pt x="50" y="148"/>
                      </a:lnTo>
                      <a:lnTo>
                        <a:pt x="50" y="149"/>
                      </a:lnTo>
                      <a:lnTo>
                        <a:pt x="49" y="149"/>
                      </a:lnTo>
                      <a:lnTo>
                        <a:pt x="49" y="150"/>
                      </a:lnTo>
                      <a:lnTo>
                        <a:pt x="48" y="150"/>
                      </a:lnTo>
                      <a:lnTo>
                        <a:pt x="48" y="150"/>
                      </a:lnTo>
                      <a:lnTo>
                        <a:pt x="48" y="151"/>
                      </a:lnTo>
                      <a:lnTo>
                        <a:pt x="47" y="151"/>
                      </a:lnTo>
                      <a:lnTo>
                        <a:pt x="47" y="152"/>
                      </a:lnTo>
                      <a:lnTo>
                        <a:pt x="48" y="152"/>
                      </a:lnTo>
                      <a:lnTo>
                        <a:pt x="47" y="152"/>
                      </a:lnTo>
                      <a:lnTo>
                        <a:pt x="47" y="152"/>
                      </a:lnTo>
                      <a:lnTo>
                        <a:pt x="47" y="153"/>
                      </a:lnTo>
                      <a:lnTo>
                        <a:pt x="46" y="153"/>
                      </a:lnTo>
                      <a:lnTo>
                        <a:pt x="46" y="154"/>
                      </a:lnTo>
                      <a:lnTo>
                        <a:pt x="46" y="154"/>
                      </a:lnTo>
                      <a:lnTo>
                        <a:pt x="46" y="155"/>
                      </a:lnTo>
                      <a:lnTo>
                        <a:pt x="45" y="155"/>
                      </a:lnTo>
                      <a:lnTo>
                        <a:pt x="45" y="156"/>
                      </a:lnTo>
                      <a:lnTo>
                        <a:pt x="45" y="156"/>
                      </a:lnTo>
                      <a:lnTo>
                        <a:pt x="45" y="156"/>
                      </a:lnTo>
                      <a:lnTo>
                        <a:pt x="45" y="156"/>
                      </a:lnTo>
                      <a:lnTo>
                        <a:pt x="45" y="157"/>
                      </a:lnTo>
                      <a:lnTo>
                        <a:pt x="45" y="157"/>
                      </a:lnTo>
                      <a:lnTo>
                        <a:pt x="45" y="158"/>
                      </a:lnTo>
                      <a:lnTo>
                        <a:pt x="45" y="158"/>
                      </a:lnTo>
                      <a:lnTo>
                        <a:pt x="45" y="158"/>
                      </a:lnTo>
                      <a:lnTo>
                        <a:pt x="45" y="159"/>
                      </a:lnTo>
                      <a:lnTo>
                        <a:pt x="45" y="160"/>
                      </a:lnTo>
                      <a:lnTo>
                        <a:pt x="46" y="160"/>
                      </a:lnTo>
                      <a:lnTo>
                        <a:pt x="46" y="160"/>
                      </a:lnTo>
                      <a:lnTo>
                        <a:pt x="46" y="161"/>
                      </a:lnTo>
                      <a:lnTo>
                        <a:pt x="46" y="162"/>
                      </a:lnTo>
                      <a:lnTo>
                        <a:pt x="46" y="162"/>
                      </a:lnTo>
                      <a:lnTo>
                        <a:pt x="47" y="163"/>
                      </a:lnTo>
                      <a:lnTo>
                        <a:pt x="46" y="163"/>
                      </a:lnTo>
                      <a:lnTo>
                        <a:pt x="46" y="164"/>
                      </a:lnTo>
                      <a:lnTo>
                        <a:pt x="47" y="164"/>
                      </a:lnTo>
                      <a:lnTo>
                        <a:pt x="47" y="165"/>
                      </a:lnTo>
                      <a:lnTo>
                        <a:pt x="47" y="165"/>
                      </a:lnTo>
                      <a:lnTo>
                        <a:pt x="47" y="166"/>
                      </a:lnTo>
                      <a:lnTo>
                        <a:pt x="46" y="166"/>
                      </a:lnTo>
                      <a:lnTo>
                        <a:pt x="45" y="166"/>
                      </a:lnTo>
                      <a:lnTo>
                        <a:pt x="45" y="167"/>
                      </a:lnTo>
                      <a:lnTo>
                        <a:pt x="45" y="167"/>
                      </a:lnTo>
                      <a:lnTo>
                        <a:pt x="44" y="167"/>
                      </a:lnTo>
                      <a:lnTo>
                        <a:pt x="43" y="167"/>
                      </a:lnTo>
                      <a:lnTo>
                        <a:pt x="43" y="167"/>
                      </a:lnTo>
                      <a:lnTo>
                        <a:pt x="42" y="167"/>
                      </a:lnTo>
                      <a:lnTo>
                        <a:pt x="42" y="168"/>
                      </a:lnTo>
                      <a:lnTo>
                        <a:pt x="42" y="169"/>
                      </a:lnTo>
                      <a:lnTo>
                        <a:pt x="42" y="169"/>
                      </a:lnTo>
                      <a:lnTo>
                        <a:pt x="43" y="169"/>
                      </a:lnTo>
                      <a:lnTo>
                        <a:pt x="43" y="170"/>
                      </a:lnTo>
                      <a:lnTo>
                        <a:pt x="43" y="171"/>
                      </a:lnTo>
                      <a:lnTo>
                        <a:pt x="43" y="171"/>
                      </a:lnTo>
                      <a:lnTo>
                        <a:pt x="43" y="172"/>
                      </a:lnTo>
                      <a:lnTo>
                        <a:pt x="44" y="172"/>
                      </a:lnTo>
                      <a:lnTo>
                        <a:pt x="44" y="173"/>
                      </a:lnTo>
                      <a:lnTo>
                        <a:pt x="43" y="173"/>
                      </a:lnTo>
                      <a:lnTo>
                        <a:pt x="43" y="173"/>
                      </a:lnTo>
                      <a:lnTo>
                        <a:pt x="44" y="173"/>
                      </a:lnTo>
                      <a:lnTo>
                        <a:pt x="43" y="173"/>
                      </a:lnTo>
                      <a:lnTo>
                        <a:pt x="43" y="174"/>
                      </a:lnTo>
                      <a:lnTo>
                        <a:pt x="43" y="175"/>
                      </a:lnTo>
                      <a:lnTo>
                        <a:pt x="43" y="174"/>
                      </a:lnTo>
                      <a:lnTo>
                        <a:pt x="43" y="174"/>
                      </a:lnTo>
                      <a:lnTo>
                        <a:pt x="43" y="175"/>
                      </a:lnTo>
                      <a:lnTo>
                        <a:pt x="42" y="175"/>
                      </a:lnTo>
                      <a:lnTo>
                        <a:pt x="41" y="175"/>
                      </a:lnTo>
                      <a:lnTo>
                        <a:pt x="41" y="175"/>
                      </a:lnTo>
                      <a:lnTo>
                        <a:pt x="40" y="175"/>
                      </a:lnTo>
                      <a:lnTo>
                        <a:pt x="40" y="176"/>
                      </a:lnTo>
                      <a:lnTo>
                        <a:pt x="40" y="176"/>
                      </a:lnTo>
                      <a:lnTo>
                        <a:pt x="40" y="177"/>
                      </a:lnTo>
                      <a:lnTo>
                        <a:pt x="40" y="177"/>
                      </a:lnTo>
                      <a:lnTo>
                        <a:pt x="40" y="177"/>
                      </a:lnTo>
                      <a:lnTo>
                        <a:pt x="40" y="178"/>
                      </a:lnTo>
                      <a:lnTo>
                        <a:pt x="40" y="179"/>
                      </a:lnTo>
                      <a:lnTo>
                        <a:pt x="40" y="179"/>
                      </a:lnTo>
                      <a:lnTo>
                        <a:pt x="40" y="180"/>
                      </a:lnTo>
                      <a:lnTo>
                        <a:pt x="40" y="181"/>
                      </a:lnTo>
                      <a:lnTo>
                        <a:pt x="40" y="181"/>
                      </a:lnTo>
                      <a:lnTo>
                        <a:pt x="41" y="182"/>
                      </a:lnTo>
                      <a:lnTo>
                        <a:pt x="40" y="185"/>
                      </a:lnTo>
                      <a:lnTo>
                        <a:pt x="41" y="186"/>
                      </a:lnTo>
                      <a:lnTo>
                        <a:pt x="41" y="186"/>
                      </a:lnTo>
                      <a:lnTo>
                        <a:pt x="41" y="187"/>
                      </a:lnTo>
                      <a:lnTo>
                        <a:pt x="41" y="188"/>
                      </a:lnTo>
                      <a:lnTo>
                        <a:pt x="41" y="189"/>
                      </a:lnTo>
                      <a:lnTo>
                        <a:pt x="26" y="191"/>
                      </a:lnTo>
                      <a:lnTo>
                        <a:pt x="21" y="200"/>
                      </a:lnTo>
                      <a:lnTo>
                        <a:pt x="16" y="202"/>
                      </a:lnTo>
                      <a:lnTo>
                        <a:pt x="13" y="203"/>
                      </a:lnTo>
                      <a:lnTo>
                        <a:pt x="11" y="203"/>
                      </a:lnTo>
                      <a:lnTo>
                        <a:pt x="13" y="207"/>
                      </a:lnTo>
                      <a:lnTo>
                        <a:pt x="13" y="207"/>
                      </a:lnTo>
                      <a:lnTo>
                        <a:pt x="13" y="208"/>
                      </a:lnTo>
                      <a:lnTo>
                        <a:pt x="13" y="209"/>
                      </a:lnTo>
                      <a:lnTo>
                        <a:pt x="13" y="209"/>
                      </a:lnTo>
                      <a:lnTo>
                        <a:pt x="13" y="210"/>
                      </a:lnTo>
                      <a:lnTo>
                        <a:pt x="14" y="211"/>
                      </a:lnTo>
                      <a:lnTo>
                        <a:pt x="15" y="211"/>
                      </a:lnTo>
                      <a:lnTo>
                        <a:pt x="15" y="212"/>
                      </a:lnTo>
                      <a:lnTo>
                        <a:pt x="16" y="213"/>
                      </a:lnTo>
                      <a:lnTo>
                        <a:pt x="17" y="214"/>
                      </a:lnTo>
                      <a:lnTo>
                        <a:pt x="17" y="214"/>
                      </a:lnTo>
                      <a:lnTo>
                        <a:pt x="18" y="214"/>
                      </a:lnTo>
                      <a:lnTo>
                        <a:pt x="19" y="214"/>
                      </a:lnTo>
                      <a:lnTo>
                        <a:pt x="19" y="215"/>
                      </a:lnTo>
                      <a:lnTo>
                        <a:pt x="20" y="215"/>
                      </a:lnTo>
                      <a:lnTo>
                        <a:pt x="20" y="215"/>
                      </a:lnTo>
                      <a:lnTo>
                        <a:pt x="19" y="215"/>
                      </a:lnTo>
                      <a:lnTo>
                        <a:pt x="19" y="216"/>
                      </a:lnTo>
                      <a:lnTo>
                        <a:pt x="20" y="216"/>
                      </a:lnTo>
                      <a:lnTo>
                        <a:pt x="20" y="217"/>
                      </a:lnTo>
                      <a:lnTo>
                        <a:pt x="20" y="217"/>
                      </a:lnTo>
                      <a:lnTo>
                        <a:pt x="21" y="217"/>
                      </a:lnTo>
                      <a:lnTo>
                        <a:pt x="21" y="218"/>
                      </a:lnTo>
                      <a:lnTo>
                        <a:pt x="21" y="219"/>
                      </a:lnTo>
                      <a:lnTo>
                        <a:pt x="21" y="219"/>
                      </a:lnTo>
                      <a:lnTo>
                        <a:pt x="21" y="219"/>
                      </a:lnTo>
                      <a:lnTo>
                        <a:pt x="21" y="220"/>
                      </a:lnTo>
                      <a:lnTo>
                        <a:pt x="21" y="221"/>
                      </a:lnTo>
                      <a:lnTo>
                        <a:pt x="21" y="221"/>
                      </a:lnTo>
                      <a:lnTo>
                        <a:pt x="21" y="222"/>
                      </a:lnTo>
                      <a:lnTo>
                        <a:pt x="21" y="223"/>
                      </a:lnTo>
                      <a:lnTo>
                        <a:pt x="20" y="223"/>
                      </a:lnTo>
                      <a:lnTo>
                        <a:pt x="20" y="224"/>
                      </a:lnTo>
                      <a:lnTo>
                        <a:pt x="20" y="224"/>
                      </a:lnTo>
                      <a:lnTo>
                        <a:pt x="19" y="225"/>
                      </a:lnTo>
                      <a:lnTo>
                        <a:pt x="19" y="226"/>
                      </a:lnTo>
                      <a:lnTo>
                        <a:pt x="19" y="226"/>
                      </a:lnTo>
                      <a:lnTo>
                        <a:pt x="19" y="227"/>
                      </a:lnTo>
                      <a:lnTo>
                        <a:pt x="19" y="228"/>
                      </a:lnTo>
                      <a:lnTo>
                        <a:pt x="19" y="228"/>
                      </a:lnTo>
                      <a:lnTo>
                        <a:pt x="19" y="229"/>
                      </a:lnTo>
                      <a:lnTo>
                        <a:pt x="19" y="230"/>
                      </a:lnTo>
                      <a:lnTo>
                        <a:pt x="19" y="230"/>
                      </a:lnTo>
                      <a:lnTo>
                        <a:pt x="19" y="231"/>
                      </a:lnTo>
                      <a:lnTo>
                        <a:pt x="19" y="232"/>
                      </a:lnTo>
                      <a:lnTo>
                        <a:pt x="19" y="232"/>
                      </a:lnTo>
                      <a:lnTo>
                        <a:pt x="19" y="232"/>
                      </a:lnTo>
                      <a:lnTo>
                        <a:pt x="18" y="232"/>
                      </a:lnTo>
                      <a:lnTo>
                        <a:pt x="18" y="233"/>
                      </a:lnTo>
                      <a:lnTo>
                        <a:pt x="18" y="234"/>
                      </a:lnTo>
                      <a:lnTo>
                        <a:pt x="18" y="234"/>
                      </a:lnTo>
                      <a:lnTo>
                        <a:pt x="17" y="235"/>
                      </a:lnTo>
                      <a:lnTo>
                        <a:pt x="18" y="235"/>
                      </a:lnTo>
                      <a:lnTo>
                        <a:pt x="18" y="236"/>
                      </a:lnTo>
                      <a:lnTo>
                        <a:pt x="17" y="236"/>
                      </a:lnTo>
                      <a:lnTo>
                        <a:pt x="18" y="236"/>
                      </a:lnTo>
                      <a:lnTo>
                        <a:pt x="18" y="236"/>
                      </a:lnTo>
                      <a:lnTo>
                        <a:pt x="18" y="237"/>
                      </a:lnTo>
                      <a:lnTo>
                        <a:pt x="17" y="237"/>
                      </a:lnTo>
                      <a:lnTo>
                        <a:pt x="17" y="238"/>
                      </a:lnTo>
                      <a:lnTo>
                        <a:pt x="18" y="238"/>
                      </a:lnTo>
                      <a:lnTo>
                        <a:pt x="18" y="238"/>
                      </a:lnTo>
                      <a:lnTo>
                        <a:pt x="18" y="239"/>
                      </a:lnTo>
                      <a:lnTo>
                        <a:pt x="18" y="240"/>
                      </a:lnTo>
                      <a:lnTo>
                        <a:pt x="18" y="240"/>
                      </a:lnTo>
                      <a:lnTo>
                        <a:pt x="18" y="241"/>
                      </a:lnTo>
                      <a:lnTo>
                        <a:pt x="18" y="242"/>
                      </a:lnTo>
                      <a:lnTo>
                        <a:pt x="18" y="242"/>
                      </a:lnTo>
                      <a:lnTo>
                        <a:pt x="18" y="243"/>
                      </a:lnTo>
                      <a:lnTo>
                        <a:pt x="18" y="244"/>
                      </a:lnTo>
                      <a:lnTo>
                        <a:pt x="19" y="244"/>
                      </a:lnTo>
                      <a:lnTo>
                        <a:pt x="19" y="245"/>
                      </a:lnTo>
                      <a:lnTo>
                        <a:pt x="19" y="245"/>
                      </a:lnTo>
                      <a:lnTo>
                        <a:pt x="19" y="245"/>
                      </a:lnTo>
                      <a:lnTo>
                        <a:pt x="19" y="246"/>
                      </a:lnTo>
                      <a:lnTo>
                        <a:pt x="19" y="247"/>
                      </a:lnTo>
                      <a:lnTo>
                        <a:pt x="19" y="247"/>
                      </a:lnTo>
                      <a:lnTo>
                        <a:pt x="19" y="248"/>
                      </a:lnTo>
                      <a:lnTo>
                        <a:pt x="19" y="249"/>
                      </a:lnTo>
                      <a:lnTo>
                        <a:pt x="19" y="249"/>
                      </a:lnTo>
                      <a:lnTo>
                        <a:pt x="19" y="249"/>
                      </a:lnTo>
                      <a:lnTo>
                        <a:pt x="18" y="249"/>
                      </a:lnTo>
                      <a:lnTo>
                        <a:pt x="18" y="250"/>
                      </a:lnTo>
                      <a:lnTo>
                        <a:pt x="17" y="250"/>
                      </a:lnTo>
                      <a:lnTo>
                        <a:pt x="17" y="251"/>
                      </a:lnTo>
                      <a:lnTo>
                        <a:pt x="17" y="251"/>
                      </a:lnTo>
                      <a:lnTo>
                        <a:pt x="17" y="251"/>
                      </a:lnTo>
                      <a:lnTo>
                        <a:pt x="16" y="252"/>
                      </a:lnTo>
                      <a:lnTo>
                        <a:pt x="16" y="253"/>
                      </a:lnTo>
                      <a:lnTo>
                        <a:pt x="15" y="253"/>
                      </a:lnTo>
                      <a:lnTo>
                        <a:pt x="15" y="253"/>
                      </a:lnTo>
                      <a:lnTo>
                        <a:pt x="15" y="254"/>
                      </a:lnTo>
                      <a:lnTo>
                        <a:pt x="15" y="254"/>
                      </a:lnTo>
                      <a:lnTo>
                        <a:pt x="15" y="255"/>
                      </a:lnTo>
                      <a:lnTo>
                        <a:pt x="15" y="255"/>
                      </a:lnTo>
                      <a:lnTo>
                        <a:pt x="16" y="255"/>
                      </a:lnTo>
                      <a:lnTo>
                        <a:pt x="16" y="255"/>
                      </a:lnTo>
                      <a:lnTo>
                        <a:pt x="16" y="256"/>
                      </a:lnTo>
                      <a:lnTo>
                        <a:pt x="16" y="257"/>
                      </a:lnTo>
                      <a:lnTo>
                        <a:pt x="16" y="257"/>
                      </a:lnTo>
                      <a:lnTo>
                        <a:pt x="17" y="257"/>
                      </a:lnTo>
                      <a:lnTo>
                        <a:pt x="17" y="258"/>
                      </a:lnTo>
                      <a:lnTo>
                        <a:pt x="17" y="259"/>
                      </a:lnTo>
                      <a:lnTo>
                        <a:pt x="17" y="259"/>
                      </a:lnTo>
                      <a:lnTo>
                        <a:pt x="16" y="259"/>
                      </a:lnTo>
                      <a:lnTo>
                        <a:pt x="16" y="260"/>
                      </a:lnTo>
                      <a:lnTo>
                        <a:pt x="17" y="260"/>
                      </a:lnTo>
                      <a:lnTo>
                        <a:pt x="17" y="261"/>
                      </a:lnTo>
                      <a:lnTo>
                        <a:pt x="17" y="261"/>
                      </a:lnTo>
                      <a:lnTo>
                        <a:pt x="17" y="261"/>
                      </a:lnTo>
                      <a:lnTo>
                        <a:pt x="17" y="262"/>
                      </a:lnTo>
                      <a:lnTo>
                        <a:pt x="17" y="263"/>
                      </a:lnTo>
                      <a:lnTo>
                        <a:pt x="17" y="264"/>
                      </a:lnTo>
                      <a:lnTo>
                        <a:pt x="18" y="264"/>
                      </a:lnTo>
                      <a:lnTo>
                        <a:pt x="18" y="264"/>
                      </a:lnTo>
                      <a:lnTo>
                        <a:pt x="18" y="265"/>
                      </a:lnTo>
                      <a:lnTo>
                        <a:pt x="18" y="266"/>
                      </a:lnTo>
                      <a:lnTo>
                        <a:pt x="19" y="266"/>
                      </a:lnTo>
                      <a:lnTo>
                        <a:pt x="19" y="266"/>
                      </a:lnTo>
                      <a:lnTo>
                        <a:pt x="19" y="267"/>
                      </a:lnTo>
                      <a:lnTo>
                        <a:pt x="19" y="267"/>
                      </a:lnTo>
                      <a:lnTo>
                        <a:pt x="20" y="268"/>
                      </a:lnTo>
                      <a:lnTo>
                        <a:pt x="20" y="268"/>
                      </a:lnTo>
                      <a:lnTo>
                        <a:pt x="19" y="268"/>
                      </a:lnTo>
                      <a:lnTo>
                        <a:pt x="19" y="269"/>
                      </a:lnTo>
                      <a:lnTo>
                        <a:pt x="20" y="269"/>
                      </a:lnTo>
                      <a:lnTo>
                        <a:pt x="20" y="270"/>
                      </a:lnTo>
                      <a:lnTo>
                        <a:pt x="21" y="270"/>
                      </a:lnTo>
                      <a:lnTo>
                        <a:pt x="21" y="270"/>
                      </a:lnTo>
                      <a:lnTo>
                        <a:pt x="21" y="270"/>
                      </a:lnTo>
                      <a:lnTo>
                        <a:pt x="21" y="271"/>
                      </a:lnTo>
                      <a:lnTo>
                        <a:pt x="21" y="271"/>
                      </a:lnTo>
                      <a:lnTo>
                        <a:pt x="21" y="271"/>
                      </a:lnTo>
                      <a:lnTo>
                        <a:pt x="21" y="272"/>
                      </a:lnTo>
                      <a:lnTo>
                        <a:pt x="21" y="272"/>
                      </a:lnTo>
                      <a:lnTo>
                        <a:pt x="22" y="272"/>
                      </a:lnTo>
                      <a:lnTo>
                        <a:pt x="22" y="273"/>
                      </a:lnTo>
                      <a:lnTo>
                        <a:pt x="22" y="274"/>
                      </a:lnTo>
                      <a:lnTo>
                        <a:pt x="22" y="274"/>
                      </a:lnTo>
                      <a:lnTo>
                        <a:pt x="22" y="275"/>
                      </a:lnTo>
                      <a:lnTo>
                        <a:pt x="23" y="275"/>
                      </a:lnTo>
                      <a:lnTo>
                        <a:pt x="23" y="276"/>
                      </a:lnTo>
                      <a:lnTo>
                        <a:pt x="22" y="276"/>
                      </a:lnTo>
                      <a:lnTo>
                        <a:pt x="22" y="276"/>
                      </a:lnTo>
                      <a:lnTo>
                        <a:pt x="22" y="277"/>
                      </a:lnTo>
                      <a:lnTo>
                        <a:pt x="22" y="278"/>
                      </a:lnTo>
                      <a:lnTo>
                        <a:pt x="22" y="278"/>
                      </a:lnTo>
                      <a:lnTo>
                        <a:pt x="21" y="278"/>
                      </a:lnTo>
                      <a:lnTo>
                        <a:pt x="21" y="279"/>
                      </a:lnTo>
                      <a:lnTo>
                        <a:pt x="22" y="279"/>
                      </a:lnTo>
                      <a:lnTo>
                        <a:pt x="21" y="279"/>
                      </a:lnTo>
                      <a:lnTo>
                        <a:pt x="21" y="280"/>
                      </a:lnTo>
                      <a:lnTo>
                        <a:pt x="22" y="280"/>
                      </a:lnTo>
                      <a:lnTo>
                        <a:pt x="22" y="280"/>
                      </a:lnTo>
                      <a:lnTo>
                        <a:pt x="22" y="281"/>
                      </a:lnTo>
                      <a:lnTo>
                        <a:pt x="21" y="281"/>
                      </a:lnTo>
                      <a:lnTo>
                        <a:pt x="22" y="281"/>
                      </a:lnTo>
                      <a:lnTo>
                        <a:pt x="22" y="282"/>
                      </a:lnTo>
                      <a:lnTo>
                        <a:pt x="23" y="282"/>
                      </a:lnTo>
                      <a:lnTo>
                        <a:pt x="22" y="282"/>
                      </a:lnTo>
                      <a:lnTo>
                        <a:pt x="22" y="282"/>
                      </a:lnTo>
                      <a:lnTo>
                        <a:pt x="23" y="282"/>
                      </a:lnTo>
                      <a:lnTo>
                        <a:pt x="23" y="283"/>
                      </a:lnTo>
                      <a:lnTo>
                        <a:pt x="23" y="284"/>
                      </a:lnTo>
                      <a:lnTo>
                        <a:pt x="23" y="285"/>
                      </a:lnTo>
                      <a:lnTo>
                        <a:pt x="22" y="285"/>
                      </a:lnTo>
                      <a:lnTo>
                        <a:pt x="21" y="285"/>
                      </a:lnTo>
                      <a:lnTo>
                        <a:pt x="21" y="285"/>
                      </a:lnTo>
                      <a:lnTo>
                        <a:pt x="21" y="286"/>
                      </a:lnTo>
                      <a:lnTo>
                        <a:pt x="21" y="287"/>
                      </a:lnTo>
                      <a:lnTo>
                        <a:pt x="21" y="287"/>
                      </a:lnTo>
                      <a:lnTo>
                        <a:pt x="20" y="287"/>
                      </a:lnTo>
                      <a:lnTo>
                        <a:pt x="19" y="287"/>
                      </a:lnTo>
                      <a:lnTo>
                        <a:pt x="19" y="286"/>
                      </a:lnTo>
                      <a:lnTo>
                        <a:pt x="19" y="287"/>
                      </a:lnTo>
                      <a:lnTo>
                        <a:pt x="19" y="287"/>
                      </a:lnTo>
                      <a:lnTo>
                        <a:pt x="19" y="286"/>
                      </a:lnTo>
                      <a:lnTo>
                        <a:pt x="18" y="286"/>
                      </a:lnTo>
                      <a:lnTo>
                        <a:pt x="17" y="285"/>
                      </a:lnTo>
                      <a:lnTo>
                        <a:pt x="17" y="285"/>
                      </a:lnTo>
                      <a:lnTo>
                        <a:pt x="17" y="286"/>
                      </a:lnTo>
                      <a:lnTo>
                        <a:pt x="17" y="285"/>
                      </a:lnTo>
                      <a:lnTo>
                        <a:pt x="16" y="285"/>
                      </a:lnTo>
                      <a:lnTo>
                        <a:pt x="15" y="286"/>
                      </a:lnTo>
                      <a:lnTo>
                        <a:pt x="15" y="287"/>
                      </a:lnTo>
                      <a:lnTo>
                        <a:pt x="15" y="287"/>
                      </a:lnTo>
                      <a:lnTo>
                        <a:pt x="15" y="287"/>
                      </a:lnTo>
                      <a:lnTo>
                        <a:pt x="15" y="288"/>
                      </a:lnTo>
                      <a:lnTo>
                        <a:pt x="15" y="289"/>
                      </a:lnTo>
                      <a:lnTo>
                        <a:pt x="14" y="289"/>
                      </a:lnTo>
                      <a:lnTo>
                        <a:pt x="14" y="289"/>
                      </a:lnTo>
                      <a:lnTo>
                        <a:pt x="13" y="289"/>
                      </a:lnTo>
                      <a:lnTo>
                        <a:pt x="13" y="290"/>
                      </a:lnTo>
                      <a:lnTo>
                        <a:pt x="13" y="290"/>
                      </a:lnTo>
                      <a:lnTo>
                        <a:pt x="13" y="291"/>
                      </a:lnTo>
                      <a:lnTo>
                        <a:pt x="12" y="291"/>
                      </a:lnTo>
                      <a:lnTo>
                        <a:pt x="12" y="291"/>
                      </a:lnTo>
                      <a:lnTo>
                        <a:pt x="11" y="291"/>
                      </a:lnTo>
                      <a:lnTo>
                        <a:pt x="11" y="292"/>
                      </a:lnTo>
                      <a:lnTo>
                        <a:pt x="11" y="292"/>
                      </a:lnTo>
                      <a:lnTo>
                        <a:pt x="12" y="293"/>
                      </a:lnTo>
                      <a:lnTo>
                        <a:pt x="9" y="306"/>
                      </a:lnTo>
                      <a:lnTo>
                        <a:pt x="11" y="312"/>
                      </a:lnTo>
                      <a:lnTo>
                        <a:pt x="10" y="323"/>
                      </a:lnTo>
                      <a:lnTo>
                        <a:pt x="8" y="327"/>
                      </a:lnTo>
                      <a:lnTo>
                        <a:pt x="5" y="337"/>
                      </a:lnTo>
                      <a:lnTo>
                        <a:pt x="6" y="341"/>
                      </a:lnTo>
                      <a:lnTo>
                        <a:pt x="6" y="346"/>
                      </a:lnTo>
                      <a:lnTo>
                        <a:pt x="9" y="353"/>
                      </a:lnTo>
                      <a:lnTo>
                        <a:pt x="9" y="358"/>
                      </a:lnTo>
                      <a:lnTo>
                        <a:pt x="10" y="363"/>
                      </a:lnTo>
                      <a:lnTo>
                        <a:pt x="10" y="363"/>
                      </a:lnTo>
                      <a:lnTo>
                        <a:pt x="10" y="364"/>
                      </a:lnTo>
                      <a:lnTo>
                        <a:pt x="9" y="364"/>
                      </a:lnTo>
                      <a:lnTo>
                        <a:pt x="9" y="365"/>
                      </a:lnTo>
                      <a:lnTo>
                        <a:pt x="9" y="365"/>
                      </a:lnTo>
                      <a:lnTo>
                        <a:pt x="9" y="365"/>
                      </a:lnTo>
                      <a:lnTo>
                        <a:pt x="9" y="366"/>
                      </a:lnTo>
                      <a:lnTo>
                        <a:pt x="8" y="366"/>
                      </a:lnTo>
                      <a:lnTo>
                        <a:pt x="7" y="366"/>
                      </a:lnTo>
                      <a:lnTo>
                        <a:pt x="7" y="365"/>
                      </a:lnTo>
                      <a:lnTo>
                        <a:pt x="7" y="365"/>
                      </a:lnTo>
                      <a:lnTo>
                        <a:pt x="7" y="366"/>
                      </a:lnTo>
                      <a:lnTo>
                        <a:pt x="6" y="366"/>
                      </a:lnTo>
                      <a:lnTo>
                        <a:pt x="5" y="367"/>
                      </a:lnTo>
                      <a:lnTo>
                        <a:pt x="5" y="367"/>
                      </a:lnTo>
                      <a:lnTo>
                        <a:pt x="4" y="367"/>
                      </a:lnTo>
                      <a:lnTo>
                        <a:pt x="3" y="367"/>
                      </a:lnTo>
                      <a:lnTo>
                        <a:pt x="2" y="367"/>
                      </a:lnTo>
                      <a:lnTo>
                        <a:pt x="2" y="368"/>
                      </a:lnTo>
                      <a:lnTo>
                        <a:pt x="2" y="369"/>
                      </a:lnTo>
                      <a:lnTo>
                        <a:pt x="1" y="369"/>
                      </a:lnTo>
                      <a:lnTo>
                        <a:pt x="0" y="369"/>
                      </a:lnTo>
                      <a:lnTo>
                        <a:pt x="0" y="370"/>
                      </a:lnTo>
                      <a:lnTo>
                        <a:pt x="0" y="371"/>
                      </a:lnTo>
                      <a:lnTo>
                        <a:pt x="0" y="371"/>
                      </a:lnTo>
                      <a:lnTo>
                        <a:pt x="0" y="372"/>
                      </a:lnTo>
                      <a:lnTo>
                        <a:pt x="0" y="373"/>
                      </a:lnTo>
                      <a:lnTo>
                        <a:pt x="1" y="373"/>
                      </a:lnTo>
                      <a:lnTo>
                        <a:pt x="1" y="373"/>
                      </a:lnTo>
                      <a:lnTo>
                        <a:pt x="0" y="373"/>
                      </a:lnTo>
                      <a:lnTo>
                        <a:pt x="0" y="374"/>
                      </a:lnTo>
                      <a:lnTo>
                        <a:pt x="0" y="375"/>
                      </a:lnTo>
                      <a:lnTo>
                        <a:pt x="1" y="375"/>
                      </a:lnTo>
                      <a:lnTo>
                        <a:pt x="1" y="375"/>
                      </a:lnTo>
                      <a:lnTo>
                        <a:pt x="0" y="375"/>
                      </a:lnTo>
                      <a:lnTo>
                        <a:pt x="0" y="376"/>
                      </a:lnTo>
                      <a:lnTo>
                        <a:pt x="0" y="377"/>
                      </a:lnTo>
                      <a:lnTo>
                        <a:pt x="2" y="389"/>
                      </a:lnTo>
                      <a:lnTo>
                        <a:pt x="2" y="391"/>
                      </a:lnTo>
                      <a:lnTo>
                        <a:pt x="2" y="392"/>
                      </a:lnTo>
                      <a:lnTo>
                        <a:pt x="2" y="392"/>
                      </a:lnTo>
                      <a:lnTo>
                        <a:pt x="2" y="393"/>
                      </a:lnTo>
                      <a:lnTo>
                        <a:pt x="2" y="394"/>
                      </a:lnTo>
                      <a:lnTo>
                        <a:pt x="2" y="394"/>
                      </a:lnTo>
                      <a:lnTo>
                        <a:pt x="2" y="394"/>
                      </a:lnTo>
                      <a:lnTo>
                        <a:pt x="2" y="394"/>
                      </a:lnTo>
                      <a:lnTo>
                        <a:pt x="2" y="395"/>
                      </a:lnTo>
                      <a:lnTo>
                        <a:pt x="2" y="396"/>
                      </a:lnTo>
                      <a:lnTo>
                        <a:pt x="3" y="396"/>
                      </a:lnTo>
                      <a:lnTo>
                        <a:pt x="3" y="396"/>
                      </a:lnTo>
                      <a:lnTo>
                        <a:pt x="3" y="397"/>
                      </a:lnTo>
                      <a:lnTo>
                        <a:pt x="3" y="398"/>
                      </a:lnTo>
                      <a:lnTo>
                        <a:pt x="3" y="398"/>
                      </a:lnTo>
                      <a:lnTo>
                        <a:pt x="3" y="399"/>
                      </a:lnTo>
                      <a:lnTo>
                        <a:pt x="3" y="400"/>
                      </a:lnTo>
                      <a:lnTo>
                        <a:pt x="3" y="400"/>
                      </a:lnTo>
                      <a:lnTo>
                        <a:pt x="3" y="401"/>
                      </a:lnTo>
                      <a:lnTo>
                        <a:pt x="3" y="402"/>
                      </a:lnTo>
                      <a:lnTo>
                        <a:pt x="4" y="402"/>
                      </a:lnTo>
                      <a:lnTo>
                        <a:pt x="4" y="403"/>
                      </a:lnTo>
                      <a:lnTo>
                        <a:pt x="4" y="403"/>
                      </a:lnTo>
                      <a:lnTo>
                        <a:pt x="4" y="404"/>
                      </a:lnTo>
                      <a:lnTo>
                        <a:pt x="4" y="405"/>
                      </a:lnTo>
                      <a:lnTo>
                        <a:pt x="4" y="405"/>
                      </a:lnTo>
                      <a:lnTo>
                        <a:pt x="4" y="406"/>
                      </a:lnTo>
                      <a:lnTo>
                        <a:pt x="3" y="406"/>
                      </a:lnTo>
                      <a:lnTo>
                        <a:pt x="3" y="407"/>
                      </a:lnTo>
                      <a:lnTo>
                        <a:pt x="3" y="407"/>
                      </a:lnTo>
                      <a:lnTo>
                        <a:pt x="3" y="408"/>
                      </a:lnTo>
                      <a:lnTo>
                        <a:pt x="3" y="409"/>
                      </a:lnTo>
                      <a:lnTo>
                        <a:pt x="3" y="409"/>
                      </a:lnTo>
                      <a:lnTo>
                        <a:pt x="3" y="410"/>
                      </a:lnTo>
                      <a:lnTo>
                        <a:pt x="2" y="410"/>
                      </a:lnTo>
                      <a:lnTo>
                        <a:pt x="2" y="411"/>
                      </a:lnTo>
                      <a:lnTo>
                        <a:pt x="2" y="411"/>
                      </a:lnTo>
                      <a:lnTo>
                        <a:pt x="2" y="413"/>
                      </a:lnTo>
                      <a:lnTo>
                        <a:pt x="2" y="413"/>
                      </a:lnTo>
                      <a:lnTo>
                        <a:pt x="2" y="414"/>
                      </a:lnTo>
                      <a:lnTo>
                        <a:pt x="3" y="414"/>
                      </a:lnTo>
                      <a:lnTo>
                        <a:pt x="3" y="415"/>
                      </a:lnTo>
                      <a:lnTo>
                        <a:pt x="4" y="415"/>
                      </a:lnTo>
                      <a:lnTo>
                        <a:pt x="4" y="415"/>
                      </a:lnTo>
                      <a:lnTo>
                        <a:pt x="3" y="415"/>
                      </a:lnTo>
                      <a:lnTo>
                        <a:pt x="4" y="415"/>
                      </a:lnTo>
                      <a:lnTo>
                        <a:pt x="4" y="416"/>
                      </a:lnTo>
                      <a:lnTo>
                        <a:pt x="5" y="416"/>
                      </a:lnTo>
                      <a:lnTo>
                        <a:pt x="4" y="416"/>
                      </a:lnTo>
                      <a:lnTo>
                        <a:pt x="4" y="417"/>
                      </a:lnTo>
                      <a:lnTo>
                        <a:pt x="4" y="417"/>
                      </a:lnTo>
                      <a:lnTo>
                        <a:pt x="4" y="418"/>
                      </a:lnTo>
                      <a:lnTo>
                        <a:pt x="3" y="418"/>
                      </a:lnTo>
                      <a:lnTo>
                        <a:pt x="3" y="419"/>
                      </a:lnTo>
                      <a:lnTo>
                        <a:pt x="3" y="420"/>
                      </a:lnTo>
                      <a:lnTo>
                        <a:pt x="3" y="421"/>
                      </a:lnTo>
                      <a:lnTo>
                        <a:pt x="3" y="422"/>
                      </a:lnTo>
                      <a:lnTo>
                        <a:pt x="3" y="422"/>
                      </a:lnTo>
                      <a:lnTo>
                        <a:pt x="3" y="423"/>
                      </a:lnTo>
                      <a:lnTo>
                        <a:pt x="3" y="424"/>
                      </a:lnTo>
                      <a:lnTo>
                        <a:pt x="2" y="424"/>
                      </a:lnTo>
                      <a:lnTo>
                        <a:pt x="2" y="425"/>
                      </a:lnTo>
                      <a:lnTo>
                        <a:pt x="2" y="426"/>
                      </a:lnTo>
                      <a:lnTo>
                        <a:pt x="3" y="426"/>
                      </a:lnTo>
                      <a:lnTo>
                        <a:pt x="3" y="426"/>
                      </a:lnTo>
                      <a:lnTo>
                        <a:pt x="3" y="427"/>
                      </a:lnTo>
                      <a:lnTo>
                        <a:pt x="3" y="428"/>
                      </a:lnTo>
                      <a:lnTo>
                        <a:pt x="3" y="428"/>
                      </a:lnTo>
                      <a:lnTo>
                        <a:pt x="3" y="429"/>
                      </a:lnTo>
                      <a:lnTo>
                        <a:pt x="2" y="429"/>
                      </a:lnTo>
                      <a:lnTo>
                        <a:pt x="3" y="430"/>
                      </a:lnTo>
                      <a:lnTo>
                        <a:pt x="3" y="430"/>
                      </a:lnTo>
                      <a:lnTo>
                        <a:pt x="3" y="431"/>
                      </a:lnTo>
                      <a:lnTo>
                        <a:pt x="3" y="432"/>
                      </a:lnTo>
                      <a:lnTo>
                        <a:pt x="2" y="432"/>
                      </a:lnTo>
                      <a:lnTo>
                        <a:pt x="2" y="432"/>
                      </a:lnTo>
                      <a:lnTo>
                        <a:pt x="2" y="433"/>
                      </a:lnTo>
                      <a:lnTo>
                        <a:pt x="2" y="434"/>
                      </a:lnTo>
                      <a:lnTo>
                        <a:pt x="8" y="434"/>
                      </a:lnTo>
                      <a:lnTo>
                        <a:pt x="10" y="435"/>
                      </a:lnTo>
                      <a:lnTo>
                        <a:pt x="9" y="436"/>
                      </a:lnTo>
                      <a:lnTo>
                        <a:pt x="9" y="436"/>
                      </a:lnTo>
                      <a:lnTo>
                        <a:pt x="10" y="436"/>
                      </a:lnTo>
                      <a:lnTo>
                        <a:pt x="10" y="437"/>
                      </a:lnTo>
                      <a:lnTo>
                        <a:pt x="10" y="438"/>
                      </a:lnTo>
                      <a:lnTo>
                        <a:pt x="11" y="438"/>
                      </a:lnTo>
                      <a:lnTo>
                        <a:pt x="11" y="439"/>
                      </a:lnTo>
                      <a:lnTo>
                        <a:pt x="11" y="440"/>
                      </a:lnTo>
                      <a:lnTo>
                        <a:pt x="11" y="440"/>
                      </a:lnTo>
                      <a:lnTo>
                        <a:pt x="12" y="440"/>
                      </a:lnTo>
                      <a:lnTo>
                        <a:pt x="12" y="441"/>
                      </a:lnTo>
                      <a:lnTo>
                        <a:pt x="12" y="442"/>
                      </a:lnTo>
                      <a:lnTo>
                        <a:pt x="12" y="443"/>
                      </a:lnTo>
                      <a:lnTo>
                        <a:pt x="12" y="443"/>
                      </a:lnTo>
                      <a:lnTo>
                        <a:pt x="12" y="444"/>
                      </a:lnTo>
                      <a:lnTo>
                        <a:pt x="12" y="446"/>
                      </a:lnTo>
                      <a:lnTo>
                        <a:pt x="12" y="447"/>
                      </a:lnTo>
                      <a:lnTo>
                        <a:pt x="13" y="447"/>
                      </a:lnTo>
                      <a:lnTo>
                        <a:pt x="12" y="448"/>
                      </a:lnTo>
                      <a:lnTo>
                        <a:pt x="12" y="449"/>
                      </a:lnTo>
                      <a:lnTo>
                        <a:pt x="11" y="449"/>
                      </a:lnTo>
                      <a:lnTo>
                        <a:pt x="11" y="449"/>
                      </a:lnTo>
                      <a:lnTo>
                        <a:pt x="12" y="450"/>
                      </a:lnTo>
                      <a:lnTo>
                        <a:pt x="12" y="451"/>
                      </a:lnTo>
                      <a:lnTo>
                        <a:pt x="11" y="452"/>
                      </a:lnTo>
                      <a:lnTo>
                        <a:pt x="11" y="453"/>
                      </a:lnTo>
                      <a:lnTo>
                        <a:pt x="12" y="454"/>
                      </a:lnTo>
                      <a:lnTo>
                        <a:pt x="13" y="455"/>
                      </a:lnTo>
                      <a:lnTo>
                        <a:pt x="14" y="456"/>
                      </a:lnTo>
                      <a:lnTo>
                        <a:pt x="15" y="457"/>
                      </a:lnTo>
                      <a:lnTo>
                        <a:pt x="15" y="457"/>
                      </a:lnTo>
                      <a:lnTo>
                        <a:pt x="24" y="453"/>
                      </a:lnTo>
                      <a:lnTo>
                        <a:pt x="30" y="455"/>
                      </a:lnTo>
                      <a:lnTo>
                        <a:pt x="32" y="457"/>
                      </a:lnTo>
                      <a:lnTo>
                        <a:pt x="34" y="451"/>
                      </a:lnTo>
                      <a:lnTo>
                        <a:pt x="33" y="451"/>
                      </a:lnTo>
                      <a:lnTo>
                        <a:pt x="34" y="451"/>
                      </a:lnTo>
                      <a:lnTo>
                        <a:pt x="34" y="450"/>
                      </a:lnTo>
                      <a:lnTo>
                        <a:pt x="34" y="449"/>
                      </a:lnTo>
                      <a:lnTo>
                        <a:pt x="34" y="449"/>
                      </a:lnTo>
                      <a:lnTo>
                        <a:pt x="34" y="449"/>
                      </a:lnTo>
                      <a:lnTo>
                        <a:pt x="35" y="448"/>
                      </a:lnTo>
                      <a:lnTo>
                        <a:pt x="36" y="448"/>
                      </a:lnTo>
                      <a:lnTo>
                        <a:pt x="36" y="449"/>
                      </a:lnTo>
                      <a:lnTo>
                        <a:pt x="36" y="449"/>
                      </a:lnTo>
                      <a:lnTo>
                        <a:pt x="37" y="449"/>
                      </a:lnTo>
                      <a:lnTo>
                        <a:pt x="37" y="449"/>
                      </a:lnTo>
                      <a:lnTo>
                        <a:pt x="38" y="449"/>
                      </a:lnTo>
                      <a:lnTo>
                        <a:pt x="38" y="450"/>
                      </a:lnTo>
                      <a:lnTo>
                        <a:pt x="38" y="449"/>
                      </a:lnTo>
                      <a:lnTo>
                        <a:pt x="38" y="449"/>
                      </a:lnTo>
                      <a:lnTo>
                        <a:pt x="38" y="450"/>
                      </a:lnTo>
                      <a:lnTo>
                        <a:pt x="39" y="450"/>
                      </a:lnTo>
                      <a:lnTo>
                        <a:pt x="40" y="450"/>
                      </a:lnTo>
                      <a:lnTo>
                        <a:pt x="40" y="451"/>
                      </a:lnTo>
                      <a:lnTo>
                        <a:pt x="40" y="450"/>
                      </a:lnTo>
                      <a:lnTo>
                        <a:pt x="40" y="451"/>
                      </a:lnTo>
                      <a:lnTo>
                        <a:pt x="40" y="451"/>
                      </a:lnTo>
                      <a:lnTo>
                        <a:pt x="41" y="451"/>
                      </a:lnTo>
                      <a:lnTo>
                        <a:pt x="41" y="450"/>
                      </a:lnTo>
                      <a:lnTo>
                        <a:pt x="42" y="450"/>
                      </a:lnTo>
                      <a:lnTo>
                        <a:pt x="43" y="450"/>
                      </a:lnTo>
                      <a:lnTo>
                        <a:pt x="43" y="451"/>
                      </a:lnTo>
                      <a:lnTo>
                        <a:pt x="43" y="451"/>
                      </a:lnTo>
                      <a:lnTo>
                        <a:pt x="43" y="450"/>
                      </a:lnTo>
                      <a:lnTo>
                        <a:pt x="44" y="450"/>
                      </a:lnTo>
                      <a:lnTo>
                        <a:pt x="44" y="449"/>
                      </a:lnTo>
                      <a:lnTo>
                        <a:pt x="45" y="449"/>
                      </a:lnTo>
                      <a:lnTo>
                        <a:pt x="45" y="449"/>
                      </a:lnTo>
                      <a:lnTo>
                        <a:pt x="46" y="449"/>
                      </a:lnTo>
                      <a:lnTo>
                        <a:pt x="46" y="449"/>
                      </a:lnTo>
                      <a:lnTo>
                        <a:pt x="46" y="448"/>
                      </a:lnTo>
                      <a:lnTo>
                        <a:pt x="47" y="448"/>
                      </a:lnTo>
                      <a:lnTo>
                        <a:pt x="47" y="447"/>
                      </a:lnTo>
                      <a:lnTo>
                        <a:pt x="47" y="447"/>
                      </a:lnTo>
                      <a:lnTo>
                        <a:pt x="48" y="447"/>
                      </a:lnTo>
                      <a:lnTo>
                        <a:pt x="49" y="447"/>
                      </a:lnTo>
                      <a:lnTo>
                        <a:pt x="49" y="447"/>
                      </a:lnTo>
                      <a:lnTo>
                        <a:pt x="49" y="448"/>
                      </a:lnTo>
                      <a:lnTo>
                        <a:pt x="49" y="449"/>
                      </a:lnTo>
                      <a:lnTo>
                        <a:pt x="50" y="449"/>
                      </a:lnTo>
                      <a:lnTo>
                        <a:pt x="50" y="449"/>
                      </a:lnTo>
                      <a:lnTo>
                        <a:pt x="50" y="450"/>
                      </a:lnTo>
                      <a:lnTo>
                        <a:pt x="50" y="45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1" name="Freeform 68">
                  <a:extLst>
                    <a:ext uri="{FF2B5EF4-FFF2-40B4-BE49-F238E27FC236}">
                      <a16:creationId xmlns:a16="http://schemas.microsoft.com/office/drawing/2014/main" xmlns="" id="{F9A8A117-A939-14BF-549E-D5F5D641C0C9}"/>
                    </a:ext>
                  </a:extLst>
                </p:cNvPr>
                <p:cNvSpPr>
                  <a:spLocks/>
                </p:cNvSpPr>
                <p:nvPr/>
              </p:nvSpPr>
              <p:spPr bwMode="auto">
                <a:xfrm>
                  <a:off x="2265" y="3620"/>
                  <a:ext cx="862" cy="619"/>
                </a:xfrm>
                <a:custGeom>
                  <a:avLst/>
                  <a:gdLst>
                    <a:gd name="T0" fmla="*/ 845 w 862"/>
                    <a:gd name="T1" fmla="*/ 239 h 619"/>
                    <a:gd name="T2" fmla="*/ 844 w 862"/>
                    <a:gd name="T3" fmla="*/ 246 h 619"/>
                    <a:gd name="T4" fmla="*/ 843 w 862"/>
                    <a:gd name="T5" fmla="*/ 255 h 619"/>
                    <a:gd name="T6" fmla="*/ 840 w 862"/>
                    <a:gd name="T7" fmla="*/ 263 h 619"/>
                    <a:gd name="T8" fmla="*/ 839 w 862"/>
                    <a:gd name="T9" fmla="*/ 272 h 619"/>
                    <a:gd name="T10" fmla="*/ 837 w 862"/>
                    <a:gd name="T11" fmla="*/ 277 h 619"/>
                    <a:gd name="T12" fmla="*/ 831 w 862"/>
                    <a:gd name="T13" fmla="*/ 283 h 619"/>
                    <a:gd name="T14" fmla="*/ 831 w 862"/>
                    <a:gd name="T15" fmla="*/ 291 h 619"/>
                    <a:gd name="T16" fmla="*/ 828 w 862"/>
                    <a:gd name="T17" fmla="*/ 295 h 619"/>
                    <a:gd name="T18" fmla="*/ 827 w 862"/>
                    <a:gd name="T19" fmla="*/ 303 h 619"/>
                    <a:gd name="T20" fmla="*/ 824 w 862"/>
                    <a:gd name="T21" fmla="*/ 310 h 619"/>
                    <a:gd name="T22" fmla="*/ 820 w 862"/>
                    <a:gd name="T23" fmla="*/ 318 h 619"/>
                    <a:gd name="T24" fmla="*/ 814 w 862"/>
                    <a:gd name="T25" fmla="*/ 324 h 619"/>
                    <a:gd name="T26" fmla="*/ 810 w 862"/>
                    <a:gd name="T27" fmla="*/ 328 h 619"/>
                    <a:gd name="T28" fmla="*/ 807 w 862"/>
                    <a:gd name="T29" fmla="*/ 335 h 619"/>
                    <a:gd name="T30" fmla="*/ 803 w 862"/>
                    <a:gd name="T31" fmla="*/ 339 h 619"/>
                    <a:gd name="T32" fmla="*/ 809 w 862"/>
                    <a:gd name="T33" fmla="*/ 346 h 619"/>
                    <a:gd name="T34" fmla="*/ 815 w 862"/>
                    <a:gd name="T35" fmla="*/ 351 h 619"/>
                    <a:gd name="T36" fmla="*/ 822 w 862"/>
                    <a:gd name="T37" fmla="*/ 356 h 619"/>
                    <a:gd name="T38" fmla="*/ 830 w 862"/>
                    <a:gd name="T39" fmla="*/ 359 h 619"/>
                    <a:gd name="T40" fmla="*/ 839 w 862"/>
                    <a:gd name="T41" fmla="*/ 358 h 619"/>
                    <a:gd name="T42" fmla="*/ 848 w 862"/>
                    <a:gd name="T43" fmla="*/ 362 h 619"/>
                    <a:gd name="T44" fmla="*/ 856 w 862"/>
                    <a:gd name="T45" fmla="*/ 366 h 619"/>
                    <a:gd name="T46" fmla="*/ 861 w 862"/>
                    <a:gd name="T47" fmla="*/ 379 h 619"/>
                    <a:gd name="T48" fmla="*/ 793 w 862"/>
                    <a:gd name="T49" fmla="*/ 390 h 619"/>
                    <a:gd name="T50" fmla="*/ 784 w 862"/>
                    <a:gd name="T51" fmla="*/ 391 h 619"/>
                    <a:gd name="T52" fmla="*/ 770 w 862"/>
                    <a:gd name="T53" fmla="*/ 388 h 619"/>
                    <a:gd name="T54" fmla="*/ 764 w 862"/>
                    <a:gd name="T55" fmla="*/ 390 h 619"/>
                    <a:gd name="T56" fmla="*/ 761 w 862"/>
                    <a:gd name="T57" fmla="*/ 392 h 619"/>
                    <a:gd name="T58" fmla="*/ 755 w 862"/>
                    <a:gd name="T59" fmla="*/ 392 h 619"/>
                    <a:gd name="T60" fmla="*/ 747 w 862"/>
                    <a:gd name="T61" fmla="*/ 395 h 619"/>
                    <a:gd name="T62" fmla="*/ 737 w 862"/>
                    <a:gd name="T63" fmla="*/ 396 h 619"/>
                    <a:gd name="T64" fmla="*/ 729 w 862"/>
                    <a:gd name="T65" fmla="*/ 395 h 619"/>
                    <a:gd name="T66" fmla="*/ 720 w 862"/>
                    <a:gd name="T67" fmla="*/ 394 h 619"/>
                    <a:gd name="T68" fmla="*/ 714 w 862"/>
                    <a:gd name="T69" fmla="*/ 390 h 619"/>
                    <a:gd name="T70" fmla="*/ 702 w 862"/>
                    <a:gd name="T71" fmla="*/ 380 h 619"/>
                    <a:gd name="T72" fmla="*/ 662 w 862"/>
                    <a:gd name="T73" fmla="*/ 349 h 619"/>
                    <a:gd name="T74" fmla="*/ 600 w 862"/>
                    <a:gd name="T75" fmla="*/ 314 h 619"/>
                    <a:gd name="T76" fmla="*/ 600 w 862"/>
                    <a:gd name="T77" fmla="*/ 321 h 619"/>
                    <a:gd name="T78" fmla="*/ 600 w 862"/>
                    <a:gd name="T79" fmla="*/ 330 h 619"/>
                    <a:gd name="T80" fmla="*/ 598 w 862"/>
                    <a:gd name="T81" fmla="*/ 338 h 619"/>
                    <a:gd name="T82" fmla="*/ 595 w 862"/>
                    <a:gd name="T83" fmla="*/ 345 h 619"/>
                    <a:gd name="T84" fmla="*/ 594 w 862"/>
                    <a:gd name="T85" fmla="*/ 353 h 619"/>
                    <a:gd name="T86" fmla="*/ 592 w 862"/>
                    <a:gd name="T87" fmla="*/ 361 h 619"/>
                    <a:gd name="T88" fmla="*/ 591 w 862"/>
                    <a:gd name="T89" fmla="*/ 369 h 619"/>
                    <a:gd name="T90" fmla="*/ 590 w 862"/>
                    <a:gd name="T91" fmla="*/ 377 h 619"/>
                    <a:gd name="T92" fmla="*/ 589 w 862"/>
                    <a:gd name="T93" fmla="*/ 383 h 619"/>
                    <a:gd name="T94" fmla="*/ 589 w 862"/>
                    <a:gd name="T95" fmla="*/ 388 h 619"/>
                    <a:gd name="T96" fmla="*/ 587 w 862"/>
                    <a:gd name="T97" fmla="*/ 394 h 619"/>
                    <a:gd name="T98" fmla="*/ 580 w 862"/>
                    <a:gd name="T99" fmla="*/ 394 h 619"/>
                    <a:gd name="T100" fmla="*/ 577 w 862"/>
                    <a:gd name="T101" fmla="*/ 403 h 619"/>
                    <a:gd name="T102" fmla="*/ 503 w 862"/>
                    <a:gd name="T103" fmla="*/ 432 h 619"/>
                    <a:gd name="T104" fmla="*/ 410 w 862"/>
                    <a:gd name="T105" fmla="*/ 518 h 619"/>
                    <a:gd name="T106" fmla="*/ 212 w 862"/>
                    <a:gd name="T107" fmla="*/ 605 h 619"/>
                    <a:gd name="T108" fmla="*/ 180 w 862"/>
                    <a:gd name="T109" fmla="*/ 469 h 619"/>
                    <a:gd name="T110" fmla="*/ 169 w 862"/>
                    <a:gd name="T111" fmla="*/ 394 h 619"/>
                    <a:gd name="T112" fmla="*/ 116 w 862"/>
                    <a:gd name="T113" fmla="*/ 263 h 619"/>
                    <a:gd name="T114" fmla="*/ 42 w 862"/>
                    <a:gd name="T115" fmla="*/ 106 h 619"/>
                    <a:gd name="T116" fmla="*/ 15 w 862"/>
                    <a:gd name="T117" fmla="*/ 51 h 619"/>
                    <a:gd name="T118" fmla="*/ 23 w 862"/>
                    <a:gd name="T119" fmla="*/ 11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2" h="619">
                      <a:moveTo>
                        <a:pt x="844" y="232"/>
                      </a:moveTo>
                      <a:lnTo>
                        <a:pt x="844" y="232"/>
                      </a:lnTo>
                      <a:lnTo>
                        <a:pt x="845" y="232"/>
                      </a:lnTo>
                      <a:lnTo>
                        <a:pt x="845" y="233"/>
                      </a:lnTo>
                      <a:lnTo>
                        <a:pt x="845" y="234"/>
                      </a:lnTo>
                      <a:lnTo>
                        <a:pt x="845" y="234"/>
                      </a:lnTo>
                      <a:lnTo>
                        <a:pt x="845" y="235"/>
                      </a:lnTo>
                      <a:lnTo>
                        <a:pt x="844" y="235"/>
                      </a:lnTo>
                      <a:lnTo>
                        <a:pt x="844" y="236"/>
                      </a:lnTo>
                      <a:lnTo>
                        <a:pt x="843" y="236"/>
                      </a:lnTo>
                      <a:lnTo>
                        <a:pt x="843" y="236"/>
                      </a:lnTo>
                      <a:lnTo>
                        <a:pt x="843" y="237"/>
                      </a:lnTo>
                      <a:lnTo>
                        <a:pt x="843" y="238"/>
                      </a:lnTo>
                      <a:lnTo>
                        <a:pt x="843" y="238"/>
                      </a:lnTo>
                      <a:lnTo>
                        <a:pt x="843" y="238"/>
                      </a:lnTo>
                      <a:lnTo>
                        <a:pt x="844" y="239"/>
                      </a:lnTo>
                      <a:lnTo>
                        <a:pt x="845" y="239"/>
                      </a:lnTo>
                      <a:lnTo>
                        <a:pt x="845" y="240"/>
                      </a:lnTo>
                      <a:lnTo>
                        <a:pt x="845" y="240"/>
                      </a:lnTo>
                      <a:lnTo>
                        <a:pt x="844" y="240"/>
                      </a:lnTo>
                      <a:lnTo>
                        <a:pt x="844" y="241"/>
                      </a:lnTo>
                      <a:lnTo>
                        <a:pt x="845" y="241"/>
                      </a:lnTo>
                      <a:lnTo>
                        <a:pt x="845" y="242"/>
                      </a:lnTo>
                      <a:lnTo>
                        <a:pt x="844" y="242"/>
                      </a:lnTo>
                      <a:lnTo>
                        <a:pt x="844" y="243"/>
                      </a:lnTo>
                      <a:lnTo>
                        <a:pt x="844" y="243"/>
                      </a:lnTo>
                      <a:lnTo>
                        <a:pt x="845" y="243"/>
                      </a:lnTo>
                      <a:lnTo>
                        <a:pt x="845" y="244"/>
                      </a:lnTo>
                      <a:lnTo>
                        <a:pt x="845" y="245"/>
                      </a:lnTo>
                      <a:lnTo>
                        <a:pt x="844" y="245"/>
                      </a:lnTo>
                      <a:lnTo>
                        <a:pt x="843" y="245"/>
                      </a:lnTo>
                      <a:lnTo>
                        <a:pt x="843" y="245"/>
                      </a:lnTo>
                      <a:lnTo>
                        <a:pt x="843" y="246"/>
                      </a:lnTo>
                      <a:lnTo>
                        <a:pt x="844" y="246"/>
                      </a:lnTo>
                      <a:lnTo>
                        <a:pt x="844" y="247"/>
                      </a:lnTo>
                      <a:lnTo>
                        <a:pt x="845" y="247"/>
                      </a:lnTo>
                      <a:lnTo>
                        <a:pt x="845" y="248"/>
                      </a:lnTo>
                      <a:lnTo>
                        <a:pt x="845" y="249"/>
                      </a:lnTo>
                      <a:lnTo>
                        <a:pt x="844" y="249"/>
                      </a:lnTo>
                      <a:lnTo>
                        <a:pt x="845" y="249"/>
                      </a:lnTo>
                      <a:lnTo>
                        <a:pt x="845" y="250"/>
                      </a:lnTo>
                      <a:lnTo>
                        <a:pt x="845" y="251"/>
                      </a:lnTo>
                      <a:lnTo>
                        <a:pt x="845" y="251"/>
                      </a:lnTo>
                      <a:lnTo>
                        <a:pt x="845" y="252"/>
                      </a:lnTo>
                      <a:lnTo>
                        <a:pt x="844" y="252"/>
                      </a:lnTo>
                      <a:lnTo>
                        <a:pt x="844" y="253"/>
                      </a:lnTo>
                      <a:lnTo>
                        <a:pt x="843" y="253"/>
                      </a:lnTo>
                      <a:lnTo>
                        <a:pt x="843" y="253"/>
                      </a:lnTo>
                      <a:lnTo>
                        <a:pt x="843" y="254"/>
                      </a:lnTo>
                      <a:lnTo>
                        <a:pt x="843" y="254"/>
                      </a:lnTo>
                      <a:lnTo>
                        <a:pt x="843" y="255"/>
                      </a:lnTo>
                      <a:lnTo>
                        <a:pt x="843" y="255"/>
                      </a:lnTo>
                      <a:lnTo>
                        <a:pt x="843" y="255"/>
                      </a:lnTo>
                      <a:lnTo>
                        <a:pt x="843" y="256"/>
                      </a:lnTo>
                      <a:lnTo>
                        <a:pt x="843" y="257"/>
                      </a:lnTo>
                      <a:lnTo>
                        <a:pt x="843" y="257"/>
                      </a:lnTo>
                      <a:lnTo>
                        <a:pt x="843" y="257"/>
                      </a:lnTo>
                      <a:lnTo>
                        <a:pt x="843" y="258"/>
                      </a:lnTo>
                      <a:lnTo>
                        <a:pt x="843" y="259"/>
                      </a:lnTo>
                      <a:lnTo>
                        <a:pt x="843" y="259"/>
                      </a:lnTo>
                      <a:lnTo>
                        <a:pt x="843" y="260"/>
                      </a:lnTo>
                      <a:lnTo>
                        <a:pt x="842" y="260"/>
                      </a:lnTo>
                      <a:lnTo>
                        <a:pt x="841" y="260"/>
                      </a:lnTo>
                      <a:lnTo>
                        <a:pt x="841" y="261"/>
                      </a:lnTo>
                      <a:lnTo>
                        <a:pt x="841" y="262"/>
                      </a:lnTo>
                      <a:lnTo>
                        <a:pt x="841" y="262"/>
                      </a:lnTo>
                      <a:lnTo>
                        <a:pt x="840" y="262"/>
                      </a:lnTo>
                      <a:lnTo>
                        <a:pt x="840" y="263"/>
                      </a:lnTo>
                      <a:lnTo>
                        <a:pt x="841" y="263"/>
                      </a:lnTo>
                      <a:lnTo>
                        <a:pt x="841" y="264"/>
                      </a:lnTo>
                      <a:lnTo>
                        <a:pt x="840" y="264"/>
                      </a:lnTo>
                      <a:lnTo>
                        <a:pt x="840" y="265"/>
                      </a:lnTo>
                      <a:lnTo>
                        <a:pt x="840" y="266"/>
                      </a:lnTo>
                      <a:lnTo>
                        <a:pt x="840" y="266"/>
                      </a:lnTo>
                      <a:lnTo>
                        <a:pt x="840" y="267"/>
                      </a:lnTo>
                      <a:lnTo>
                        <a:pt x="841" y="267"/>
                      </a:lnTo>
                      <a:lnTo>
                        <a:pt x="841" y="268"/>
                      </a:lnTo>
                      <a:lnTo>
                        <a:pt x="841" y="268"/>
                      </a:lnTo>
                      <a:lnTo>
                        <a:pt x="841" y="269"/>
                      </a:lnTo>
                      <a:lnTo>
                        <a:pt x="841" y="270"/>
                      </a:lnTo>
                      <a:lnTo>
                        <a:pt x="840" y="270"/>
                      </a:lnTo>
                      <a:lnTo>
                        <a:pt x="840" y="270"/>
                      </a:lnTo>
                      <a:lnTo>
                        <a:pt x="839" y="270"/>
                      </a:lnTo>
                      <a:lnTo>
                        <a:pt x="839" y="271"/>
                      </a:lnTo>
                      <a:lnTo>
                        <a:pt x="839" y="272"/>
                      </a:lnTo>
                      <a:lnTo>
                        <a:pt x="839" y="272"/>
                      </a:lnTo>
                      <a:lnTo>
                        <a:pt x="838" y="272"/>
                      </a:lnTo>
                      <a:lnTo>
                        <a:pt x="837" y="272"/>
                      </a:lnTo>
                      <a:lnTo>
                        <a:pt x="837" y="272"/>
                      </a:lnTo>
                      <a:lnTo>
                        <a:pt x="837" y="272"/>
                      </a:lnTo>
                      <a:lnTo>
                        <a:pt x="837" y="273"/>
                      </a:lnTo>
                      <a:lnTo>
                        <a:pt x="837" y="273"/>
                      </a:lnTo>
                      <a:lnTo>
                        <a:pt x="838" y="273"/>
                      </a:lnTo>
                      <a:lnTo>
                        <a:pt x="838" y="274"/>
                      </a:lnTo>
                      <a:lnTo>
                        <a:pt x="839" y="274"/>
                      </a:lnTo>
                      <a:lnTo>
                        <a:pt x="839" y="274"/>
                      </a:lnTo>
                      <a:lnTo>
                        <a:pt x="838" y="274"/>
                      </a:lnTo>
                      <a:lnTo>
                        <a:pt x="837" y="274"/>
                      </a:lnTo>
                      <a:lnTo>
                        <a:pt x="837" y="275"/>
                      </a:lnTo>
                      <a:lnTo>
                        <a:pt x="837" y="276"/>
                      </a:lnTo>
                      <a:lnTo>
                        <a:pt x="837" y="276"/>
                      </a:lnTo>
                      <a:lnTo>
                        <a:pt x="837" y="277"/>
                      </a:lnTo>
                      <a:lnTo>
                        <a:pt x="837" y="277"/>
                      </a:lnTo>
                      <a:lnTo>
                        <a:pt x="836" y="277"/>
                      </a:lnTo>
                      <a:lnTo>
                        <a:pt x="835" y="277"/>
                      </a:lnTo>
                      <a:lnTo>
                        <a:pt x="835" y="278"/>
                      </a:lnTo>
                      <a:lnTo>
                        <a:pt x="835" y="278"/>
                      </a:lnTo>
                      <a:lnTo>
                        <a:pt x="834" y="278"/>
                      </a:lnTo>
                      <a:lnTo>
                        <a:pt x="834" y="278"/>
                      </a:lnTo>
                      <a:lnTo>
                        <a:pt x="834" y="279"/>
                      </a:lnTo>
                      <a:lnTo>
                        <a:pt x="833" y="279"/>
                      </a:lnTo>
                      <a:lnTo>
                        <a:pt x="833" y="280"/>
                      </a:lnTo>
                      <a:lnTo>
                        <a:pt x="832" y="280"/>
                      </a:lnTo>
                      <a:lnTo>
                        <a:pt x="832" y="280"/>
                      </a:lnTo>
                      <a:lnTo>
                        <a:pt x="832" y="281"/>
                      </a:lnTo>
                      <a:lnTo>
                        <a:pt x="832" y="282"/>
                      </a:lnTo>
                      <a:lnTo>
                        <a:pt x="832" y="283"/>
                      </a:lnTo>
                      <a:lnTo>
                        <a:pt x="831" y="283"/>
                      </a:lnTo>
                      <a:lnTo>
                        <a:pt x="831" y="283"/>
                      </a:lnTo>
                      <a:lnTo>
                        <a:pt x="830" y="283"/>
                      </a:lnTo>
                      <a:lnTo>
                        <a:pt x="830" y="284"/>
                      </a:lnTo>
                      <a:lnTo>
                        <a:pt x="831" y="285"/>
                      </a:lnTo>
                      <a:lnTo>
                        <a:pt x="831" y="285"/>
                      </a:lnTo>
                      <a:lnTo>
                        <a:pt x="831" y="286"/>
                      </a:lnTo>
                      <a:lnTo>
                        <a:pt x="831" y="287"/>
                      </a:lnTo>
                      <a:lnTo>
                        <a:pt x="830" y="287"/>
                      </a:lnTo>
                      <a:lnTo>
                        <a:pt x="830" y="287"/>
                      </a:lnTo>
                      <a:lnTo>
                        <a:pt x="830" y="287"/>
                      </a:lnTo>
                      <a:lnTo>
                        <a:pt x="830" y="288"/>
                      </a:lnTo>
                      <a:lnTo>
                        <a:pt x="830" y="289"/>
                      </a:lnTo>
                      <a:lnTo>
                        <a:pt x="830" y="289"/>
                      </a:lnTo>
                      <a:lnTo>
                        <a:pt x="831" y="289"/>
                      </a:lnTo>
                      <a:lnTo>
                        <a:pt x="831" y="289"/>
                      </a:lnTo>
                      <a:lnTo>
                        <a:pt x="832" y="290"/>
                      </a:lnTo>
                      <a:lnTo>
                        <a:pt x="832" y="291"/>
                      </a:lnTo>
                      <a:lnTo>
                        <a:pt x="831" y="291"/>
                      </a:lnTo>
                      <a:lnTo>
                        <a:pt x="832" y="291"/>
                      </a:lnTo>
                      <a:lnTo>
                        <a:pt x="832" y="292"/>
                      </a:lnTo>
                      <a:lnTo>
                        <a:pt x="832" y="292"/>
                      </a:lnTo>
                      <a:lnTo>
                        <a:pt x="833" y="292"/>
                      </a:lnTo>
                      <a:lnTo>
                        <a:pt x="833" y="293"/>
                      </a:lnTo>
                      <a:lnTo>
                        <a:pt x="834" y="293"/>
                      </a:lnTo>
                      <a:lnTo>
                        <a:pt x="834" y="294"/>
                      </a:lnTo>
                      <a:lnTo>
                        <a:pt x="834" y="295"/>
                      </a:lnTo>
                      <a:lnTo>
                        <a:pt x="833" y="295"/>
                      </a:lnTo>
                      <a:lnTo>
                        <a:pt x="832" y="295"/>
                      </a:lnTo>
                      <a:lnTo>
                        <a:pt x="832" y="295"/>
                      </a:lnTo>
                      <a:lnTo>
                        <a:pt x="832" y="295"/>
                      </a:lnTo>
                      <a:lnTo>
                        <a:pt x="831" y="295"/>
                      </a:lnTo>
                      <a:lnTo>
                        <a:pt x="830" y="295"/>
                      </a:lnTo>
                      <a:lnTo>
                        <a:pt x="830" y="295"/>
                      </a:lnTo>
                      <a:lnTo>
                        <a:pt x="829" y="295"/>
                      </a:lnTo>
                      <a:lnTo>
                        <a:pt x="828" y="295"/>
                      </a:lnTo>
                      <a:lnTo>
                        <a:pt x="828" y="295"/>
                      </a:lnTo>
                      <a:lnTo>
                        <a:pt x="828" y="296"/>
                      </a:lnTo>
                      <a:lnTo>
                        <a:pt x="828" y="297"/>
                      </a:lnTo>
                      <a:lnTo>
                        <a:pt x="828" y="297"/>
                      </a:lnTo>
                      <a:lnTo>
                        <a:pt x="828" y="297"/>
                      </a:lnTo>
                      <a:lnTo>
                        <a:pt x="828" y="298"/>
                      </a:lnTo>
                      <a:lnTo>
                        <a:pt x="828" y="299"/>
                      </a:lnTo>
                      <a:lnTo>
                        <a:pt x="828" y="299"/>
                      </a:lnTo>
                      <a:lnTo>
                        <a:pt x="827" y="299"/>
                      </a:lnTo>
                      <a:lnTo>
                        <a:pt x="827" y="300"/>
                      </a:lnTo>
                      <a:lnTo>
                        <a:pt x="827" y="301"/>
                      </a:lnTo>
                      <a:lnTo>
                        <a:pt x="826" y="301"/>
                      </a:lnTo>
                      <a:lnTo>
                        <a:pt x="826" y="302"/>
                      </a:lnTo>
                      <a:lnTo>
                        <a:pt x="826" y="302"/>
                      </a:lnTo>
                      <a:lnTo>
                        <a:pt x="826" y="302"/>
                      </a:lnTo>
                      <a:lnTo>
                        <a:pt x="826" y="303"/>
                      </a:lnTo>
                      <a:lnTo>
                        <a:pt x="827" y="303"/>
                      </a:lnTo>
                      <a:lnTo>
                        <a:pt x="827" y="304"/>
                      </a:lnTo>
                      <a:lnTo>
                        <a:pt x="827" y="304"/>
                      </a:lnTo>
                      <a:lnTo>
                        <a:pt x="826" y="304"/>
                      </a:lnTo>
                      <a:lnTo>
                        <a:pt x="826" y="305"/>
                      </a:lnTo>
                      <a:lnTo>
                        <a:pt x="826" y="305"/>
                      </a:lnTo>
                      <a:lnTo>
                        <a:pt x="826" y="306"/>
                      </a:lnTo>
                      <a:lnTo>
                        <a:pt x="825" y="306"/>
                      </a:lnTo>
                      <a:lnTo>
                        <a:pt x="825" y="306"/>
                      </a:lnTo>
                      <a:lnTo>
                        <a:pt x="825" y="307"/>
                      </a:lnTo>
                      <a:lnTo>
                        <a:pt x="824" y="307"/>
                      </a:lnTo>
                      <a:lnTo>
                        <a:pt x="824" y="308"/>
                      </a:lnTo>
                      <a:lnTo>
                        <a:pt x="825" y="308"/>
                      </a:lnTo>
                      <a:lnTo>
                        <a:pt x="825" y="308"/>
                      </a:lnTo>
                      <a:lnTo>
                        <a:pt x="825" y="309"/>
                      </a:lnTo>
                      <a:lnTo>
                        <a:pt x="825" y="310"/>
                      </a:lnTo>
                      <a:lnTo>
                        <a:pt x="824" y="310"/>
                      </a:lnTo>
                      <a:lnTo>
                        <a:pt x="824" y="310"/>
                      </a:lnTo>
                      <a:lnTo>
                        <a:pt x="824" y="310"/>
                      </a:lnTo>
                      <a:lnTo>
                        <a:pt x="824" y="311"/>
                      </a:lnTo>
                      <a:lnTo>
                        <a:pt x="824" y="312"/>
                      </a:lnTo>
                      <a:lnTo>
                        <a:pt x="824" y="312"/>
                      </a:lnTo>
                      <a:lnTo>
                        <a:pt x="824" y="313"/>
                      </a:lnTo>
                      <a:lnTo>
                        <a:pt x="823" y="313"/>
                      </a:lnTo>
                      <a:lnTo>
                        <a:pt x="823" y="314"/>
                      </a:lnTo>
                      <a:lnTo>
                        <a:pt x="824" y="314"/>
                      </a:lnTo>
                      <a:lnTo>
                        <a:pt x="823" y="314"/>
                      </a:lnTo>
                      <a:lnTo>
                        <a:pt x="823" y="315"/>
                      </a:lnTo>
                      <a:lnTo>
                        <a:pt x="822" y="315"/>
                      </a:lnTo>
                      <a:lnTo>
                        <a:pt x="822" y="316"/>
                      </a:lnTo>
                      <a:lnTo>
                        <a:pt x="821" y="316"/>
                      </a:lnTo>
                      <a:lnTo>
                        <a:pt x="820" y="316"/>
                      </a:lnTo>
                      <a:lnTo>
                        <a:pt x="820" y="316"/>
                      </a:lnTo>
                      <a:lnTo>
                        <a:pt x="820" y="317"/>
                      </a:lnTo>
                      <a:lnTo>
                        <a:pt x="820" y="318"/>
                      </a:lnTo>
                      <a:lnTo>
                        <a:pt x="820" y="318"/>
                      </a:lnTo>
                      <a:lnTo>
                        <a:pt x="820" y="319"/>
                      </a:lnTo>
                      <a:lnTo>
                        <a:pt x="820" y="320"/>
                      </a:lnTo>
                      <a:lnTo>
                        <a:pt x="820" y="321"/>
                      </a:lnTo>
                      <a:lnTo>
                        <a:pt x="820" y="321"/>
                      </a:lnTo>
                      <a:lnTo>
                        <a:pt x="819" y="321"/>
                      </a:lnTo>
                      <a:lnTo>
                        <a:pt x="819" y="322"/>
                      </a:lnTo>
                      <a:lnTo>
                        <a:pt x="819" y="323"/>
                      </a:lnTo>
                      <a:lnTo>
                        <a:pt x="819" y="323"/>
                      </a:lnTo>
                      <a:lnTo>
                        <a:pt x="818" y="323"/>
                      </a:lnTo>
                      <a:lnTo>
                        <a:pt x="818" y="323"/>
                      </a:lnTo>
                      <a:lnTo>
                        <a:pt x="817" y="323"/>
                      </a:lnTo>
                      <a:lnTo>
                        <a:pt x="816" y="323"/>
                      </a:lnTo>
                      <a:lnTo>
                        <a:pt x="816" y="324"/>
                      </a:lnTo>
                      <a:lnTo>
                        <a:pt x="815" y="324"/>
                      </a:lnTo>
                      <a:lnTo>
                        <a:pt x="815" y="324"/>
                      </a:lnTo>
                      <a:lnTo>
                        <a:pt x="814" y="324"/>
                      </a:lnTo>
                      <a:lnTo>
                        <a:pt x="814" y="323"/>
                      </a:lnTo>
                      <a:lnTo>
                        <a:pt x="813" y="323"/>
                      </a:lnTo>
                      <a:lnTo>
                        <a:pt x="813" y="323"/>
                      </a:lnTo>
                      <a:lnTo>
                        <a:pt x="812" y="323"/>
                      </a:lnTo>
                      <a:lnTo>
                        <a:pt x="812" y="323"/>
                      </a:lnTo>
                      <a:lnTo>
                        <a:pt x="811" y="324"/>
                      </a:lnTo>
                      <a:lnTo>
                        <a:pt x="811" y="325"/>
                      </a:lnTo>
                      <a:lnTo>
                        <a:pt x="811" y="325"/>
                      </a:lnTo>
                      <a:lnTo>
                        <a:pt x="811" y="324"/>
                      </a:lnTo>
                      <a:lnTo>
                        <a:pt x="810" y="324"/>
                      </a:lnTo>
                      <a:lnTo>
                        <a:pt x="810" y="325"/>
                      </a:lnTo>
                      <a:lnTo>
                        <a:pt x="810" y="325"/>
                      </a:lnTo>
                      <a:lnTo>
                        <a:pt x="810" y="326"/>
                      </a:lnTo>
                      <a:lnTo>
                        <a:pt x="809" y="326"/>
                      </a:lnTo>
                      <a:lnTo>
                        <a:pt x="810" y="327"/>
                      </a:lnTo>
                      <a:lnTo>
                        <a:pt x="810" y="327"/>
                      </a:lnTo>
                      <a:lnTo>
                        <a:pt x="810" y="328"/>
                      </a:lnTo>
                      <a:lnTo>
                        <a:pt x="810" y="329"/>
                      </a:lnTo>
                      <a:lnTo>
                        <a:pt x="810" y="329"/>
                      </a:lnTo>
                      <a:lnTo>
                        <a:pt x="810" y="330"/>
                      </a:lnTo>
                      <a:lnTo>
                        <a:pt x="809" y="330"/>
                      </a:lnTo>
                      <a:lnTo>
                        <a:pt x="809" y="331"/>
                      </a:lnTo>
                      <a:lnTo>
                        <a:pt x="809" y="331"/>
                      </a:lnTo>
                      <a:lnTo>
                        <a:pt x="809" y="332"/>
                      </a:lnTo>
                      <a:lnTo>
                        <a:pt x="809" y="332"/>
                      </a:lnTo>
                      <a:lnTo>
                        <a:pt x="809" y="333"/>
                      </a:lnTo>
                      <a:lnTo>
                        <a:pt x="808" y="333"/>
                      </a:lnTo>
                      <a:lnTo>
                        <a:pt x="808" y="333"/>
                      </a:lnTo>
                      <a:lnTo>
                        <a:pt x="809" y="333"/>
                      </a:lnTo>
                      <a:lnTo>
                        <a:pt x="809" y="334"/>
                      </a:lnTo>
                      <a:lnTo>
                        <a:pt x="808" y="334"/>
                      </a:lnTo>
                      <a:lnTo>
                        <a:pt x="808" y="335"/>
                      </a:lnTo>
                      <a:lnTo>
                        <a:pt x="807" y="335"/>
                      </a:lnTo>
                      <a:lnTo>
                        <a:pt x="807" y="335"/>
                      </a:lnTo>
                      <a:lnTo>
                        <a:pt x="806" y="335"/>
                      </a:lnTo>
                      <a:lnTo>
                        <a:pt x="805" y="335"/>
                      </a:lnTo>
                      <a:lnTo>
                        <a:pt x="805" y="335"/>
                      </a:lnTo>
                      <a:lnTo>
                        <a:pt x="805" y="335"/>
                      </a:lnTo>
                      <a:lnTo>
                        <a:pt x="805" y="335"/>
                      </a:lnTo>
                      <a:lnTo>
                        <a:pt x="804" y="335"/>
                      </a:lnTo>
                      <a:lnTo>
                        <a:pt x="803" y="335"/>
                      </a:lnTo>
                      <a:lnTo>
                        <a:pt x="803" y="335"/>
                      </a:lnTo>
                      <a:lnTo>
                        <a:pt x="804" y="335"/>
                      </a:lnTo>
                      <a:lnTo>
                        <a:pt x="804" y="336"/>
                      </a:lnTo>
                      <a:lnTo>
                        <a:pt x="804" y="337"/>
                      </a:lnTo>
                      <a:lnTo>
                        <a:pt x="804" y="337"/>
                      </a:lnTo>
                      <a:lnTo>
                        <a:pt x="803" y="337"/>
                      </a:lnTo>
                      <a:lnTo>
                        <a:pt x="803" y="338"/>
                      </a:lnTo>
                      <a:lnTo>
                        <a:pt x="803" y="338"/>
                      </a:lnTo>
                      <a:lnTo>
                        <a:pt x="803" y="339"/>
                      </a:lnTo>
                      <a:lnTo>
                        <a:pt x="803" y="339"/>
                      </a:lnTo>
                      <a:lnTo>
                        <a:pt x="804" y="339"/>
                      </a:lnTo>
                      <a:lnTo>
                        <a:pt x="804" y="340"/>
                      </a:lnTo>
                      <a:lnTo>
                        <a:pt x="805" y="340"/>
                      </a:lnTo>
                      <a:lnTo>
                        <a:pt x="805" y="341"/>
                      </a:lnTo>
                      <a:lnTo>
                        <a:pt x="805" y="342"/>
                      </a:lnTo>
                      <a:lnTo>
                        <a:pt x="805" y="342"/>
                      </a:lnTo>
                      <a:lnTo>
                        <a:pt x="805" y="342"/>
                      </a:lnTo>
                      <a:lnTo>
                        <a:pt x="805" y="343"/>
                      </a:lnTo>
                      <a:lnTo>
                        <a:pt x="805" y="344"/>
                      </a:lnTo>
                      <a:lnTo>
                        <a:pt x="806" y="344"/>
                      </a:lnTo>
                      <a:lnTo>
                        <a:pt x="806" y="344"/>
                      </a:lnTo>
                      <a:lnTo>
                        <a:pt x="807" y="344"/>
                      </a:lnTo>
                      <a:lnTo>
                        <a:pt x="807" y="345"/>
                      </a:lnTo>
                      <a:lnTo>
                        <a:pt x="807" y="345"/>
                      </a:lnTo>
                      <a:lnTo>
                        <a:pt x="807" y="346"/>
                      </a:lnTo>
                      <a:lnTo>
                        <a:pt x="808" y="346"/>
                      </a:lnTo>
                      <a:lnTo>
                        <a:pt x="809" y="346"/>
                      </a:lnTo>
                      <a:lnTo>
                        <a:pt x="809" y="346"/>
                      </a:lnTo>
                      <a:lnTo>
                        <a:pt x="809" y="347"/>
                      </a:lnTo>
                      <a:lnTo>
                        <a:pt x="809" y="347"/>
                      </a:lnTo>
                      <a:lnTo>
                        <a:pt x="809" y="348"/>
                      </a:lnTo>
                      <a:lnTo>
                        <a:pt x="810" y="348"/>
                      </a:lnTo>
                      <a:lnTo>
                        <a:pt x="811" y="348"/>
                      </a:lnTo>
                      <a:lnTo>
                        <a:pt x="811" y="348"/>
                      </a:lnTo>
                      <a:lnTo>
                        <a:pt x="811" y="348"/>
                      </a:lnTo>
                      <a:lnTo>
                        <a:pt x="812" y="348"/>
                      </a:lnTo>
                      <a:lnTo>
                        <a:pt x="813" y="348"/>
                      </a:lnTo>
                      <a:lnTo>
                        <a:pt x="813" y="349"/>
                      </a:lnTo>
                      <a:lnTo>
                        <a:pt x="813" y="349"/>
                      </a:lnTo>
                      <a:lnTo>
                        <a:pt x="813" y="350"/>
                      </a:lnTo>
                      <a:lnTo>
                        <a:pt x="814" y="350"/>
                      </a:lnTo>
                      <a:lnTo>
                        <a:pt x="814" y="350"/>
                      </a:lnTo>
                      <a:lnTo>
                        <a:pt x="815" y="350"/>
                      </a:lnTo>
                      <a:lnTo>
                        <a:pt x="815" y="351"/>
                      </a:lnTo>
                      <a:lnTo>
                        <a:pt x="815" y="351"/>
                      </a:lnTo>
                      <a:lnTo>
                        <a:pt x="816" y="351"/>
                      </a:lnTo>
                      <a:lnTo>
                        <a:pt x="817" y="351"/>
                      </a:lnTo>
                      <a:lnTo>
                        <a:pt x="817" y="352"/>
                      </a:lnTo>
                      <a:lnTo>
                        <a:pt x="818" y="352"/>
                      </a:lnTo>
                      <a:lnTo>
                        <a:pt x="818" y="352"/>
                      </a:lnTo>
                      <a:lnTo>
                        <a:pt x="819" y="352"/>
                      </a:lnTo>
                      <a:lnTo>
                        <a:pt x="819" y="353"/>
                      </a:lnTo>
                      <a:lnTo>
                        <a:pt x="820" y="353"/>
                      </a:lnTo>
                      <a:lnTo>
                        <a:pt x="820" y="354"/>
                      </a:lnTo>
                      <a:lnTo>
                        <a:pt x="820" y="354"/>
                      </a:lnTo>
                      <a:lnTo>
                        <a:pt x="820" y="354"/>
                      </a:lnTo>
                      <a:lnTo>
                        <a:pt x="821" y="354"/>
                      </a:lnTo>
                      <a:lnTo>
                        <a:pt x="821" y="355"/>
                      </a:lnTo>
                      <a:lnTo>
                        <a:pt x="822" y="355"/>
                      </a:lnTo>
                      <a:lnTo>
                        <a:pt x="822" y="355"/>
                      </a:lnTo>
                      <a:lnTo>
                        <a:pt x="822" y="356"/>
                      </a:lnTo>
                      <a:lnTo>
                        <a:pt x="823" y="356"/>
                      </a:lnTo>
                      <a:lnTo>
                        <a:pt x="823" y="356"/>
                      </a:lnTo>
                      <a:lnTo>
                        <a:pt x="824" y="356"/>
                      </a:lnTo>
                      <a:lnTo>
                        <a:pt x="824" y="356"/>
                      </a:lnTo>
                      <a:lnTo>
                        <a:pt x="824" y="357"/>
                      </a:lnTo>
                      <a:lnTo>
                        <a:pt x="825" y="357"/>
                      </a:lnTo>
                      <a:lnTo>
                        <a:pt x="826" y="357"/>
                      </a:lnTo>
                      <a:lnTo>
                        <a:pt x="826" y="357"/>
                      </a:lnTo>
                      <a:lnTo>
                        <a:pt x="826" y="358"/>
                      </a:lnTo>
                      <a:lnTo>
                        <a:pt x="827" y="358"/>
                      </a:lnTo>
                      <a:lnTo>
                        <a:pt x="828" y="358"/>
                      </a:lnTo>
                      <a:lnTo>
                        <a:pt x="828" y="358"/>
                      </a:lnTo>
                      <a:lnTo>
                        <a:pt x="828" y="358"/>
                      </a:lnTo>
                      <a:lnTo>
                        <a:pt x="829" y="358"/>
                      </a:lnTo>
                      <a:lnTo>
                        <a:pt x="829" y="359"/>
                      </a:lnTo>
                      <a:lnTo>
                        <a:pt x="830" y="359"/>
                      </a:lnTo>
                      <a:lnTo>
                        <a:pt x="830" y="359"/>
                      </a:lnTo>
                      <a:lnTo>
                        <a:pt x="830" y="360"/>
                      </a:lnTo>
                      <a:lnTo>
                        <a:pt x="831" y="360"/>
                      </a:lnTo>
                      <a:lnTo>
                        <a:pt x="832" y="360"/>
                      </a:lnTo>
                      <a:lnTo>
                        <a:pt x="832" y="360"/>
                      </a:lnTo>
                      <a:lnTo>
                        <a:pt x="833" y="360"/>
                      </a:lnTo>
                      <a:lnTo>
                        <a:pt x="834" y="360"/>
                      </a:lnTo>
                      <a:lnTo>
                        <a:pt x="834" y="360"/>
                      </a:lnTo>
                      <a:lnTo>
                        <a:pt x="834" y="359"/>
                      </a:lnTo>
                      <a:lnTo>
                        <a:pt x="835" y="359"/>
                      </a:lnTo>
                      <a:lnTo>
                        <a:pt x="836" y="359"/>
                      </a:lnTo>
                      <a:lnTo>
                        <a:pt x="837" y="359"/>
                      </a:lnTo>
                      <a:lnTo>
                        <a:pt x="837" y="358"/>
                      </a:lnTo>
                      <a:lnTo>
                        <a:pt x="837" y="358"/>
                      </a:lnTo>
                      <a:lnTo>
                        <a:pt x="838" y="358"/>
                      </a:lnTo>
                      <a:lnTo>
                        <a:pt x="839" y="358"/>
                      </a:lnTo>
                      <a:lnTo>
                        <a:pt x="839" y="358"/>
                      </a:lnTo>
                      <a:lnTo>
                        <a:pt x="839" y="358"/>
                      </a:lnTo>
                      <a:lnTo>
                        <a:pt x="840" y="358"/>
                      </a:lnTo>
                      <a:lnTo>
                        <a:pt x="841" y="358"/>
                      </a:lnTo>
                      <a:lnTo>
                        <a:pt x="841" y="358"/>
                      </a:lnTo>
                      <a:lnTo>
                        <a:pt x="842" y="358"/>
                      </a:lnTo>
                      <a:lnTo>
                        <a:pt x="843" y="358"/>
                      </a:lnTo>
                      <a:lnTo>
                        <a:pt x="843" y="358"/>
                      </a:lnTo>
                      <a:lnTo>
                        <a:pt x="844" y="359"/>
                      </a:lnTo>
                      <a:lnTo>
                        <a:pt x="845" y="359"/>
                      </a:lnTo>
                      <a:lnTo>
                        <a:pt x="845" y="359"/>
                      </a:lnTo>
                      <a:lnTo>
                        <a:pt x="845" y="360"/>
                      </a:lnTo>
                      <a:lnTo>
                        <a:pt x="846" y="360"/>
                      </a:lnTo>
                      <a:lnTo>
                        <a:pt x="846" y="361"/>
                      </a:lnTo>
                      <a:lnTo>
                        <a:pt x="847" y="361"/>
                      </a:lnTo>
                      <a:lnTo>
                        <a:pt x="847" y="361"/>
                      </a:lnTo>
                      <a:lnTo>
                        <a:pt x="847" y="362"/>
                      </a:lnTo>
                      <a:lnTo>
                        <a:pt x="847" y="362"/>
                      </a:lnTo>
                      <a:lnTo>
                        <a:pt x="848" y="362"/>
                      </a:lnTo>
                      <a:lnTo>
                        <a:pt x="848" y="363"/>
                      </a:lnTo>
                      <a:lnTo>
                        <a:pt x="849" y="363"/>
                      </a:lnTo>
                      <a:lnTo>
                        <a:pt x="849" y="363"/>
                      </a:lnTo>
                      <a:lnTo>
                        <a:pt x="849" y="363"/>
                      </a:lnTo>
                      <a:lnTo>
                        <a:pt x="850" y="363"/>
                      </a:lnTo>
                      <a:lnTo>
                        <a:pt x="850" y="364"/>
                      </a:lnTo>
                      <a:lnTo>
                        <a:pt x="851" y="364"/>
                      </a:lnTo>
                      <a:lnTo>
                        <a:pt x="851" y="364"/>
                      </a:lnTo>
                      <a:lnTo>
                        <a:pt x="852" y="364"/>
                      </a:lnTo>
                      <a:lnTo>
                        <a:pt x="853" y="364"/>
                      </a:lnTo>
                      <a:lnTo>
                        <a:pt x="853" y="365"/>
                      </a:lnTo>
                      <a:lnTo>
                        <a:pt x="853" y="365"/>
                      </a:lnTo>
                      <a:lnTo>
                        <a:pt x="854" y="365"/>
                      </a:lnTo>
                      <a:lnTo>
                        <a:pt x="854" y="365"/>
                      </a:lnTo>
                      <a:lnTo>
                        <a:pt x="855" y="365"/>
                      </a:lnTo>
                      <a:lnTo>
                        <a:pt x="855" y="366"/>
                      </a:lnTo>
                      <a:lnTo>
                        <a:pt x="856" y="366"/>
                      </a:lnTo>
                      <a:lnTo>
                        <a:pt x="856" y="367"/>
                      </a:lnTo>
                      <a:lnTo>
                        <a:pt x="856" y="367"/>
                      </a:lnTo>
                      <a:lnTo>
                        <a:pt x="856" y="367"/>
                      </a:lnTo>
                      <a:lnTo>
                        <a:pt x="857" y="367"/>
                      </a:lnTo>
                      <a:lnTo>
                        <a:pt x="857" y="368"/>
                      </a:lnTo>
                      <a:lnTo>
                        <a:pt x="858" y="369"/>
                      </a:lnTo>
                      <a:lnTo>
                        <a:pt x="858" y="369"/>
                      </a:lnTo>
                      <a:lnTo>
                        <a:pt x="859" y="369"/>
                      </a:lnTo>
                      <a:lnTo>
                        <a:pt x="860" y="369"/>
                      </a:lnTo>
                      <a:lnTo>
                        <a:pt x="860" y="369"/>
                      </a:lnTo>
                      <a:lnTo>
                        <a:pt x="861" y="369"/>
                      </a:lnTo>
                      <a:lnTo>
                        <a:pt x="862" y="369"/>
                      </a:lnTo>
                      <a:lnTo>
                        <a:pt x="862" y="369"/>
                      </a:lnTo>
                      <a:lnTo>
                        <a:pt x="862" y="370"/>
                      </a:lnTo>
                      <a:lnTo>
                        <a:pt x="862" y="371"/>
                      </a:lnTo>
                      <a:lnTo>
                        <a:pt x="862" y="372"/>
                      </a:lnTo>
                      <a:lnTo>
                        <a:pt x="861" y="379"/>
                      </a:lnTo>
                      <a:lnTo>
                        <a:pt x="860" y="386"/>
                      </a:lnTo>
                      <a:lnTo>
                        <a:pt x="861" y="388"/>
                      </a:lnTo>
                      <a:lnTo>
                        <a:pt x="820" y="389"/>
                      </a:lnTo>
                      <a:lnTo>
                        <a:pt x="808" y="390"/>
                      </a:lnTo>
                      <a:lnTo>
                        <a:pt x="805" y="390"/>
                      </a:lnTo>
                      <a:lnTo>
                        <a:pt x="803" y="390"/>
                      </a:lnTo>
                      <a:lnTo>
                        <a:pt x="802" y="390"/>
                      </a:lnTo>
                      <a:lnTo>
                        <a:pt x="801" y="390"/>
                      </a:lnTo>
                      <a:lnTo>
                        <a:pt x="801" y="390"/>
                      </a:lnTo>
                      <a:lnTo>
                        <a:pt x="799" y="390"/>
                      </a:lnTo>
                      <a:lnTo>
                        <a:pt x="798" y="390"/>
                      </a:lnTo>
                      <a:lnTo>
                        <a:pt x="797" y="390"/>
                      </a:lnTo>
                      <a:lnTo>
                        <a:pt x="796" y="390"/>
                      </a:lnTo>
                      <a:lnTo>
                        <a:pt x="795" y="390"/>
                      </a:lnTo>
                      <a:lnTo>
                        <a:pt x="794" y="390"/>
                      </a:lnTo>
                      <a:lnTo>
                        <a:pt x="794" y="390"/>
                      </a:lnTo>
                      <a:lnTo>
                        <a:pt x="793" y="390"/>
                      </a:lnTo>
                      <a:lnTo>
                        <a:pt x="792" y="390"/>
                      </a:lnTo>
                      <a:lnTo>
                        <a:pt x="791" y="390"/>
                      </a:lnTo>
                      <a:lnTo>
                        <a:pt x="791" y="390"/>
                      </a:lnTo>
                      <a:lnTo>
                        <a:pt x="790" y="390"/>
                      </a:lnTo>
                      <a:lnTo>
                        <a:pt x="790" y="390"/>
                      </a:lnTo>
                      <a:lnTo>
                        <a:pt x="790" y="390"/>
                      </a:lnTo>
                      <a:lnTo>
                        <a:pt x="790" y="391"/>
                      </a:lnTo>
                      <a:lnTo>
                        <a:pt x="789" y="391"/>
                      </a:lnTo>
                      <a:lnTo>
                        <a:pt x="789" y="392"/>
                      </a:lnTo>
                      <a:lnTo>
                        <a:pt x="788" y="392"/>
                      </a:lnTo>
                      <a:lnTo>
                        <a:pt x="788" y="392"/>
                      </a:lnTo>
                      <a:lnTo>
                        <a:pt x="787" y="392"/>
                      </a:lnTo>
                      <a:lnTo>
                        <a:pt x="786" y="392"/>
                      </a:lnTo>
                      <a:lnTo>
                        <a:pt x="786" y="391"/>
                      </a:lnTo>
                      <a:lnTo>
                        <a:pt x="785" y="391"/>
                      </a:lnTo>
                      <a:lnTo>
                        <a:pt x="784" y="391"/>
                      </a:lnTo>
                      <a:lnTo>
                        <a:pt x="784" y="391"/>
                      </a:lnTo>
                      <a:lnTo>
                        <a:pt x="783" y="391"/>
                      </a:lnTo>
                      <a:lnTo>
                        <a:pt x="782" y="390"/>
                      </a:lnTo>
                      <a:lnTo>
                        <a:pt x="782" y="390"/>
                      </a:lnTo>
                      <a:lnTo>
                        <a:pt x="781" y="390"/>
                      </a:lnTo>
                      <a:lnTo>
                        <a:pt x="780" y="390"/>
                      </a:lnTo>
                      <a:lnTo>
                        <a:pt x="780" y="390"/>
                      </a:lnTo>
                      <a:lnTo>
                        <a:pt x="778" y="390"/>
                      </a:lnTo>
                      <a:lnTo>
                        <a:pt x="777" y="390"/>
                      </a:lnTo>
                      <a:lnTo>
                        <a:pt x="777" y="390"/>
                      </a:lnTo>
                      <a:lnTo>
                        <a:pt x="776" y="390"/>
                      </a:lnTo>
                      <a:lnTo>
                        <a:pt x="775" y="389"/>
                      </a:lnTo>
                      <a:lnTo>
                        <a:pt x="775" y="389"/>
                      </a:lnTo>
                      <a:lnTo>
                        <a:pt x="773" y="389"/>
                      </a:lnTo>
                      <a:lnTo>
                        <a:pt x="773" y="388"/>
                      </a:lnTo>
                      <a:lnTo>
                        <a:pt x="772" y="388"/>
                      </a:lnTo>
                      <a:lnTo>
                        <a:pt x="771" y="388"/>
                      </a:lnTo>
                      <a:lnTo>
                        <a:pt x="770" y="388"/>
                      </a:lnTo>
                      <a:lnTo>
                        <a:pt x="769" y="388"/>
                      </a:lnTo>
                      <a:lnTo>
                        <a:pt x="769" y="388"/>
                      </a:lnTo>
                      <a:lnTo>
                        <a:pt x="768" y="388"/>
                      </a:lnTo>
                      <a:lnTo>
                        <a:pt x="767" y="387"/>
                      </a:lnTo>
                      <a:lnTo>
                        <a:pt x="766" y="387"/>
                      </a:lnTo>
                      <a:lnTo>
                        <a:pt x="765" y="387"/>
                      </a:lnTo>
                      <a:lnTo>
                        <a:pt x="765" y="387"/>
                      </a:lnTo>
                      <a:lnTo>
                        <a:pt x="765" y="388"/>
                      </a:lnTo>
                      <a:lnTo>
                        <a:pt x="764" y="388"/>
                      </a:lnTo>
                      <a:lnTo>
                        <a:pt x="764" y="388"/>
                      </a:lnTo>
                      <a:lnTo>
                        <a:pt x="764" y="389"/>
                      </a:lnTo>
                      <a:lnTo>
                        <a:pt x="764" y="390"/>
                      </a:lnTo>
                      <a:lnTo>
                        <a:pt x="763" y="390"/>
                      </a:lnTo>
                      <a:lnTo>
                        <a:pt x="763" y="389"/>
                      </a:lnTo>
                      <a:lnTo>
                        <a:pt x="763" y="390"/>
                      </a:lnTo>
                      <a:lnTo>
                        <a:pt x="763" y="390"/>
                      </a:lnTo>
                      <a:lnTo>
                        <a:pt x="764" y="390"/>
                      </a:lnTo>
                      <a:lnTo>
                        <a:pt x="763" y="390"/>
                      </a:lnTo>
                      <a:lnTo>
                        <a:pt x="763" y="390"/>
                      </a:lnTo>
                      <a:lnTo>
                        <a:pt x="763" y="391"/>
                      </a:lnTo>
                      <a:lnTo>
                        <a:pt x="763" y="391"/>
                      </a:lnTo>
                      <a:lnTo>
                        <a:pt x="763" y="392"/>
                      </a:lnTo>
                      <a:lnTo>
                        <a:pt x="763" y="392"/>
                      </a:lnTo>
                      <a:lnTo>
                        <a:pt x="763" y="392"/>
                      </a:lnTo>
                      <a:lnTo>
                        <a:pt x="763" y="392"/>
                      </a:lnTo>
                      <a:lnTo>
                        <a:pt x="763" y="392"/>
                      </a:lnTo>
                      <a:lnTo>
                        <a:pt x="763" y="392"/>
                      </a:lnTo>
                      <a:lnTo>
                        <a:pt x="763" y="392"/>
                      </a:lnTo>
                      <a:lnTo>
                        <a:pt x="763" y="393"/>
                      </a:lnTo>
                      <a:lnTo>
                        <a:pt x="762" y="393"/>
                      </a:lnTo>
                      <a:lnTo>
                        <a:pt x="762" y="392"/>
                      </a:lnTo>
                      <a:lnTo>
                        <a:pt x="762" y="393"/>
                      </a:lnTo>
                      <a:lnTo>
                        <a:pt x="761" y="393"/>
                      </a:lnTo>
                      <a:lnTo>
                        <a:pt x="761" y="392"/>
                      </a:lnTo>
                      <a:lnTo>
                        <a:pt x="761" y="393"/>
                      </a:lnTo>
                      <a:lnTo>
                        <a:pt x="761" y="392"/>
                      </a:lnTo>
                      <a:lnTo>
                        <a:pt x="761" y="392"/>
                      </a:lnTo>
                      <a:lnTo>
                        <a:pt x="760" y="392"/>
                      </a:lnTo>
                      <a:lnTo>
                        <a:pt x="759" y="392"/>
                      </a:lnTo>
                      <a:lnTo>
                        <a:pt x="758" y="392"/>
                      </a:lnTo>
                      <a:lnTo>
                        <a:pt x="758" y="393"/>
                      </a:lnTo>
                      <a:lnTo>
                        <a:pt x="758" y="392"/>
                      </a:lnTo>
                      <a:lnTo>
                        <a:pt x="758" y="392"/>
                      </a:lnTo>
                      <a:lnTo>
                        <a:pt x="758" y="392"/>
                      </a:lnTo>
                      <a:lnTo>
                        <a:pt x="757" y="392"/>
                      </a:lnTo>
                      <a:lnTo>
                        <a:pt x="757" y="392"/>
                      </a:lnTo>
                      <a:lnTo>
                        <a:pt x="756" y="392"/>
                      </a:lnTo>
                      <a:lnTo>
                        <a:pt x="756" y="392"/>
                      </a:lnTo>
                      <a:lnTo>
                        <a:pt x="756" y="393"/>
                      </a:lnTo>
                      <a:lnTo>
                        <a:pt x="755" y="393"/>
                      </a:lnTo>
                      <a:lnTo>
                        <a:pt x="755" y="392"/>
                      </a:lnTo>
                      <a:lnTo>
                        <a:pt x="754" y="392"/>
                      </a:lnTo>
                      <a:lnTo>
                        <a:pt x="754" y="393"/>
                      </a:lnTo>
                      <a:lnTo>
                        <a:pt x="754" y="393"/>
                      </a:lnTo>
                      <a:lnTo>
                        <a:pt x="754" y="394"/>
                      </a:lnTo>
                      <a:lnTo>
                        <a:pt x="753" y="394"/>
                      </a:lnTo>
                      <a:lnTo>
                        <a:pt x="753" y="394"/>
                      </a:lnTo>
                      <a:lnTo>
                        <a:pt x="752" y="394"/>
                      </a:lnTo>
                      <a:lnTo>
                        <a:pt x="752" y="394"/>
                      </a:lnTo>
                      <a:lnTo>
                        <a:pt x="751" y="394"/>
                      </a:lnTo>
                      <a:lnTo>
                        <a:pt x="750" y="394"/>
                      </a:lnTo>
                      <a:lnTo>
                        <a:pt x="750" y="395"/>
                      </a:lnTo>
                      <a:lnTo>
                        <a:pt x="750" y="395"/>
                      </a:lnTo>
                      <a:lnTo>
                        <a:pt x="750" y="396"/>
                      </a:lnTo>
                      <a:lnTo>
                        <a:pt x="749" y="395"/>
                      </a:lnTo>
                      <a:lnTo>
                        <a:pt x="748" y="395"/>
                      </a:lnTo>
                      <a:lnTo>
                        <a:pt x="748" y="395"/>
                      </a:lnTo>
                      <a:lnTo>
                        <a:pt x="747" y="395"/>
                      </a:lnTo>
                      <a:lnTo>
                        <a:pt x="746" y="395"/>
                      </a:lnTo>
                      <a:lnTo>
                        <a:pt x="746" y="396"/>
                      </a:lnTo>
                      <a:lnTo>
                        <a:pt x="746" y="396"/>
                      </a:lnTo>
                      <a:lnTo>
                        <a:pt x="745" y="396"/>
                      </a:lnTo>
                      <a:lnTo>
                        <a:pt x="744" y="396"/>
                      </a:lnTo>
                      <a:lnTo>
                        <a:pt x="744" y="396"/>
                      </a:lnTo>
                      <a:lnTo>
                        <a:pt x="743" y="396"/>
                      </a:lnTo>
                      <a:lnTo>
                        <a:pt x="742" y="396"/>
                      </a:lnTo>
                      <a:lnTo>
                        <a:pt x="742" y="396"/>
                      </a:lnTo>
                      <a:lnTo>
                        <a:pt x="741" y="397"/>
                      </a:lnTo>
                      <a:lnTo>
                        <a:pt x="740" y="397"/>
                      </a:lnTo>
                      <a:lnTo>
                        <a:pt x="740" y="396"/>
                      </a:lnTo>
                      <a:lnTo>
                        <a:pt x="739" y="396"/>
                      </a:lnTo>
                      <a:lnTo>
                        <a:pt x="739" y="396"/>
                      </a:lnTo>
                      <a:lnTo>
                        <a:pt x="738" y="396"/>
                      </a:lnTo>
                      <a:lnTo>
                        <a:pt x="737" y="396"/>
                      </a:lnTo>
                      <a:lnTo>
                        <a:pt x="737" y="396"/>
                      </a:lnTo>
                      <a:lnTo>
                        <a:pt x="737" y="396"/>
                      </a:lnTo>
                      <a:lnTo>
                        <a:pt x="737" y="395"/>
                      </a:lnTo>
                      <a:lnTo>
                        <a:pt x="736" y="394"/>
                      </a:lnTo>
                      <a:lnTo>
                        <a:pt x="735" y="394"/>
                      </a:lnTo>
                      <a:lnTo>
                        <a:pt x="735" y="394"/>
                      </a:lnTo>
                      <a:lnTo>
                        <a:pt x="734" y="394"/>
                      </a:lnTo>
                      <a:lnTo>
                        <a:pt x="733" y="394"/>
                      </a:lnTo>
                      <a:lnTo>
                        <a:pt x="733" y="394"/>
                      </a:lnTo>
                      <a:lnTo>
                        <a:pt x="732" y="394"/>
                      </a:lnTo>
                      <a:lnTo>
                        <a:pt x="731" y="394"/>
                      </a:lnTo>
                      <a:lnTo>
                        <a:pt x="731" y="393"/>
                      </a:lnTo>
                      <a:lnTo>
                        <a:pt x="731" y="393"/>
                      </a:lnTo>
                      <a:lnTo>
                        <a:pt x="730" y="394"/>
                      </a:lnTo>
                      <a:lnTo>
                        <a:pt x="730" y="394"/>
                      </a:lnTo>
                      <a:lnTo>
                        <a:pt x="729" y="394"/>
                      </a:lnTo>
                      <a:lnTo>
                        <a:pt x="729" y="395"/>
                      </a:lnTo>
                      <a:lnTo>
                        <a:pt x="729" y="395"/>
                      </a:lnTo>
                      <a:lnTo>
                        <a:pt x="729" y="396"/>
                      </a:lnTo>
                      <a:lnTo>
                        <a:pt x="728" y="396"/>
                      </a:lnTo>
                      <a:lnTo>
                        <a:pt x="727" y="396"/>
                      </a:lnTo>
                      <a:lnTo>
                        <a:pt x="727" y="396"/>
                      </a:lnTo>
                      <a:lnTo>
                        <a:pt x="727" y="396"/>
                      </a:lnTo>
                      <a:lnTo>
                        <a:pt x="726" y="396"/>
                      </a:lnTo>
                      <a:lnTo>
                        <a:pt x="725" y="396"/>
                      </a:lnTo>
                      <a:lnTo>
                        <a:pt x="725" y="396"/>
                      </a:lnTo>
                      <a:lnTo>
                        <a:pt x="724" y="396"/>
                      </a:lnTo>
                      <a:lnTo>
                        <a:pt x="723" y="396"/>
                      </a:lnTo>
                      <a:lnTo>
                        <a:pt x="723" y="396"/>
                      </a:lnTo>
                      <a:lnTo>
                        <a:pt x="723" y="396"/>
                      </a:lnTo>
                      <a:lnTo>
                        <a:pt x="722" y="396"/>
                      </a:lnTo>
                      <a:lnTo>
                        <a:pt x="721" y="396"/>
                      </a:lnTo>
                      <a:lnTo>
                        <a:pt x="721" y="395"/>
                      </a:lnTo>
                      <a:lnTo>
                        <a:pt x="720" y="395"/>
                      </a:lnTo>
                      <a:lnTo>
                        <a:pt x="720" y="394"/>
                      </a:lnTo>
                      <a:lnTo>
                        <a:pt x="720" y="394"/>
                      </a:lnTo>
                      <a:lnTo>
                        <a:pt x="719" y="394"/>
                      </a:lnTo>
                      <a:lnTo>
                        <a:pt x="718" y="394"/>
                      </a:lnTo>
                      <a:lnTo>
                        <a:pt x="718" y="394"/>
                      </a:lnTo>
                      <a:lnTo>
                        <a:pt x="718" y="394"/>
                      </a:lnTo>
                      <a:lnTo>
                        <a:pt x="717" y="394"/>
                      </a:lnTo>
                      <a:lnTo>
                        <a:pt x="717" y="393"/>
                      </a:lnTo>
                      <a:lnTo>
                        <a:pt x="716" y="393"/>
                      </a:lnTo>
                      <a:lnTo>
                        <a:pt x="716" y="392"/>
                      </a:lnTo>
                      <a:lnTo>
                        <a:pt x="716" y="392"/>
                      </a:lnTo>
                      <a:lnTo>
                        <a:pt x="715" y="392"/>
                      </a:lnTo>
                      <a:lnTo>
                        <a:pt x="715" y="392"/>
                      </a:lnTo>
                      <a:lnTo>
                        <a:pt x="715" y="391"/>
                      </a:lnTo>
                      <a:lnTo>
                        <a:pt x="714" y="391"/>
                      </a:lnTo>
                      <a:lnTo>
                        <a:pt x="714" y="391"/>
                      </a:lnTo>
                      <a:lnTo>
                        <a:pt x="714" y="390"/>
                      </a:lnTo>
                      <a:lnTo>
                        <a:pt x="714" y="390"/>
                      </a:lnTo>
                      <a:lnTo>
                        <a:pt x="713" y="390"/>
                      </a:lnTo>
                      <a:lnTo>
                        <a:pt x="713" y="389"/>
                      </a:lnTo>
                      <a:lnTo>
                        <a:pt x="713" y="390"/>
                      </a:lnTo>
                      <a:lnTo>
                        <a:pt x="712" y="390"/>
                      </a:lnTo>
                      <a:lnTo>
                        <a:pt x="712" y="389"/>
                      </a:lnTo>
                      <a:lnTo>
                        <a:pt x="712" y="389"/>
                      </a:lnTo>
                      <a:lnTo>
                        <a:pt x="712" y="388"/>
                      </a:lnTo>
                      <a:lnTo>
                        <a:pt x="711" y="388"/>
                      </a:lnTo>
                      <a:lnTo>
                        <a:pt x="710" y="388"/>
                      </a:lnTo>
                      <a:lnTo>
                        <a:pt x="710" y="388"/>
                      </a:lnTo>
                      <a:lnTo>
                        <a:pt x="709" y="388"/>
                      </a:lnTo>
                      <a:lnTo>
                        <a:pt x="708" y="388"/>
                      </a:lnTo>
                      <a:lnTo>
                        <a:pt x="707" y="386"/>
                      </a:lnTo>
                      <a:lnTo>
                        <a:pt x="706" y="384"/>
                      </a:lnTo>
                      <a:lnTo>
                        <a:pt x="705" y="383"/>
                      </a:lnTo>
                      <a:lnTo>
                        <a:pt x="704" y="382"/>
                      </a:lnTo>
                      <a:lnTo>
                        <a:pt x="702" y="380"/>
                      </a:lnTo>
                      <a:lnTo>
                        <a:pt x="701" y="378"/>
                      </a:lnTo>
                      <a:lnTo>
                        <a:pt x="700" y="377"/>
                      </a:lnTo>
                      <a:lnTo>
                        <a:pt x="699" y="376"/>
                      </a:lnTo>
                      <a:lnTo>
                        <a:pt x="697" y="374"/>
                      </a:lnTo>
                      <a:lnTo>
                        <a:pt x="696" y="373"/>
                      </a:lnTo>
                      <a:lnTo>
                        <a:pt x="695" y="371"/>
                      </a:lnTo>
                      <a:lnTo>
                        <a:pt x="694" y="370"/>
                      </a:lnTo>
                      <a:lnTo>
                        <a:pt x="692" y="367"/>
                      </a:lnTo>
                      <a:lnTo>
                        <a:pt x="691" y="366"/>
                      </a:lnTo>
                      <a:lnTo>
                        <a:pt x="690" y="365"/>
                      </a:lnTo>
                      <a:lnTo>
                        <a:pt x="688" y="363"/>
                      </a:lnTo>
                      <a:lnTo>
                        <a:pt x="686" y="361"/>
                      </a:lnTo>
                      <a:lnTo>
                        <a:pt x="685" y="358"/>
                      </a:lnTo>
                      <a:lnTo>
                        <a:pt x="678" y="351"/>
                      </a:lnTo>
                      <a:lnTo>
                        <a:pt x="672" y="350"/>
                      </a:lnTo>
                      <a:lnTo>
                        <a:pt x="666" y="350"/>
                      </a:lnTo>
                      <a:lnTo>
                        <a:pt x="662" y="349"/>
                      </a:lnTo>
                      <a:lnTo>
                        <a:pt x="651" y="348"/>
                      </a:lnTo>
                      <a:lnTo>
                        <a:pt x="647" y="348"/>
                      </a:lnTo>
                      <a:lnTo>
                        <a:pt x="648" y="340"/>
                      </a:lnTo>
                      <a:lnTo>
                        <a:pt x="649" y="335"/>
                      </a:lnTo>
                      <a:lnTo>
                        <a:pt x="640" y="325"/>
                      </a:lnTo>
                      <a:lnTo>
                        <a:pt x="628" y="321"/>
                      </a:lnTo>
                      <a:lnTo>
                        <a:pt x="616" y="317"/>
                      </a:lnTo>
                      <a:lnTo>
                        <a:pt x="611" y="316"/>
                      </a:lnTo>
                      <a:lnTo>
                        <a:pt x="604" y="312"/>
                      </a:lnTo>
                      <a:lnTo>
                        <a:pt x="604" y="312"/>
                      </a:lnTo>
                      <a:lnTo>
                        <a:pt x="604" y="312"/>
                      </a:lnTo>
                      <a:lnTo>
                        <a:pt x="603" y="313"/>
                      </a:lnTo>
                      <a:lnTo>
                        <a:pt x="603" y="314"/>
                      </a:lnTo>
                      <a:lnTo>
                        <a:pt x="602" y="314"/>
                      </a:lnTo>
                      <a:lnTo>
                        <a:pt x="602" y="314"/>
                      </a:lnTo>
                      <a:lnTo>
                        <a:pt x="601" y="314"/>
                      </a:lnTo>
                      <a:lnTo>
                        <a:pt x="600" y="314"/>
                      </a:lnTo>
                      <a:lnTo>
                        <a:pt x="600" y="314"/>
                      </a:lnTo>
                      <a:lnTo>
                        <a:pt x="599" y="314"/>
                      </a:lnTo>
                      <a:lnTo>
                        <a:pt x="599" y="314"/>
                      </a:lnTo>
                      <a:lnTo>
                        <a:pt x="599" y="315"/>
                      </a:lnTo>
                      <a:lnTo>
                        <a:pt x="598" y="315"/>
                      </a:lnTo>
                      <a:lnTo>
                        <a:pt x="599" y="316"/>
                      </a:lnTo>
                      <a:lnTo>
                        <a:pt x="599" y="316"/>
                      </a:lnTo>
                      <a:lnTo>
                        <a:pt x="599" y="317"/>
                      </a:lnTo>
                      <a:lnTo>
                        <a:pt x="599" y="318"/>
                      </a:lnTo>
                      <a:lnTo>
                        <a:pt x="600" y="318"/>
                      </a:lnTo>
                      <a:lnTo>
                        <a:pt x="600" y="318"/>
                      </a:lnTo>
                      <a:lnTo>
                        <a:pt x="600" y="319"/>
                      </a:lnTo>
                      <a:lnTo>
                        <a:pt x="600" y="320"/>
                      </a:lnTo>
                      <a:lnTo>
                        <a:pt x="600" y="320"/>
                      </a:lnTo>
                      <a:lnTo>
                        <a:pt x="600" y="321"/>
                      </a:lnTo>
                      <a:lnTo>
                        <a:pt x="600" y="321"/>
                      </a:lnTo>
                      <a:lnTo>
                        <a:pt x="600" y="321"/>
                      </a:lnTo>
                      <a:lnTo>
                        <a:pt x="600" y="322"/>
                      </a:lnTo>
                      <a:lnTo>
                        <a:pt x="600" y="322"/>
                      </a:lnTo>
                      <a:lnTo>
                        <a:pt x="600" y="323"/>
                      </a:lnTo>
                      <a:lnTo>
                        <a:pt x="600" y="323"/>
                      </a:lnTo>
                      <a:lnTo>
                        <a:pt x="600" y="324"/>
                      </a:lnTo>
                      <a:lnTo>
                        <a:pt x="600" y="325"/>
                      </a:lnTo>
                      <a:lnTo>
                        <a:pt x="599" y="325"/>
                      </a:lnTo>
                      <a:lnTo>
                        <a:pt x="599" y="325"/>
                      </a:lnTo>
                      <a:lnTo>
                        <a:pt x="599" y="326"/>
                      </a:lnTo>
                      <a:lnTo>
                        <a:pt x="600" y="326"/>
                      </a:lnTo>
                      <a:lnTo>
                        <a:pt x="600" y="327"/>
                      </a:lnTo>
                      <a:lnTo>
                        <a:pt x="600" y="327"/>
                      </a:lnTo>
                      <a:lnTo>
                        <a:pt x="600" y="328"/>
                      </a:lnTo>
                      <a:lnTo>
                        <a:pt x="600" y="329"/>
                      </a:lnTo>
                      <a:lnTo>
                        <a:pt x="600" y="329"/>
                      </a:lnTo>
                      <a:lnTo>
                        <a:pt x="600" y="329"/>
                      </a:lnTo>
                      <a:lnTo>
                        <a:pt x="600" y="330"/>
                      </a:lnTo>
                      <a:lnTo>
                        <a:pt x="601" y="330"/>
                      </a:lnTo>
                      <a:lnTo>
                        <a:pt x="601" y="331"/>
                      </a:lnTo>
                      <a:lnTo>
                        <a:pt x="600" y="331"/>
                      </a:lnTo>
                      <a:lnTo>
                        <a:pt x="600" y="331"/>
                      </a:lnTo>
                      <a:lnTo>
                        <a:pt x="600" y="332"/>
                      </a:lnTo>
                      <a:lnTo>
                        <a:pt x="600" y="333"/>
                      </a:lnTo>
                      <a:lnTo>
                        <a:pt x="600" y="333"/>
                      </a:lnTo>
                      <a:lnTo>
                        <a:pt x="599" y="333"/>
                      </a:lnTo>
                      <a:lnTo>
                        <a:pt x="600" y="334"/>
                      </a:lnTo>
                      <a:lnTo>
                        <a:pt x="600" y="335"/>
                      </a:lnTo>
                      <a:lnTo>
                        <a:pt x="599" y="335"/>
                      </a:lnTo>
                      <a:lnTo>
                        <a:pt x="599" y="335"/>
                      </a:lnTo>
                      <a:lnTo>
                        <a:pt x="599" y="336"/>
                      </a:lnTo>
                      <a:lnTo>
                        <a:pt x="599" y="337"/>
                      </a:lnTo>
                      <a:lnTo>
                        <a:pt x="598" y="337"/>
                      </a:lnTo>
                      <a:lnTo>
                        <a:pt x="598" y="337"/>
                      </a:lnTo>
                      <a:lnTo>
                        <a:pt x="598" y="338"/>
                      </a:lnTo>
                      <a:lnTo>
                        <a:pt x="598" y="339"/>
                      </a:lnTo>
                      <a:lnTo>
                        <a:pt x="598" y="339"/>
                      </a:lnTo>
                      <a:lnTo>
                        <a:pt x="598" y="339"/>
                      </a:lnTo>
                      <a:lnTo>
                        <a:pt x="598" y="340"/>
                      </a:lnTo>
                      <a:lnTo>
                        <a:pt x="598" y="340"/>
                      </a:lnTo>
                      <a:lnTo>
                        <a:pt x="598" y="341"/>
                      </a:lnTo>
                      <a:lnTo>
                        <a:pt x="597" y="341"/>
                      </a:lnTo>
                      <a:lnTo>
                        <a:pt x="597" y="342"/>
                      </a:lnTo>
                      <a:lnTo>
                        <a:pt x="598" y="342"/>
                      </a:lnTo>
                      <a:lnTo>
                        <a:pt x="598" y="342"/>
                      </a:lnTo>
                      <a:lnTo>
                        <a:pt x="598" y="343"/>
                      </a:lnTo>
                      <a:lnTo>
                        <a:pt x="597" y="343"/>
                      </a:lnTo>
                      <a:lnTo>
                        <a:pt x="597" y="344"/>
                      </a:lnTo>
                      <a:lnTo>
                        <a:pt x="597" y="344"/>
                      </a:lnTo>
                      <a:lnTo>
                        <a:pt x="596" y="344"/>
                      </a:lnTo>
                      <a:lnTo>
                        <a:pt x="596" y="344"/>
                      </a:lnTo>
                      <a:lnTo>
                        <a:pt x="595" y="345"/>
                      </a:lnTo>
                      <a:lnTo>
                        <a:pt x="595" y="346"/>
                      </a:lnTo>
                      <a:lnTo>
                        <a:pt x="595" y="346"/>
                      </a:lnTo>
                      <a:lnTo>
                        <a:pt x="595" y="347"/>
                      </a:lnTo>
                      <a:lnTo>
                        <a:pt x="596" y="347"/>
                      </a:lnTo>
                      <a:lnTo>
                        <a:pt x="596" y="348"/>
                      </a:lnTo>
                      <a:lnTo>
                        <a:pt x="596" y="348"/>
                      </a:lnTo>
                      <a:lnTo>
                        <a:pt x="595" y="348"/>
                      </a:lnTo>
                      <a:lnTo>
                        <a:pt x="595" y="349"/>
                      </a:lnTo>
                      <a:lnTo>
                        <a:pt x="595" y="350"/>
                      </a:lnTo>
                      <a:lnTo>
                        <a:pt x="595" y="350"/>
                      </a:lnTo>
                      <a:lnTo>
                        <a:pt x="594" y="350"/>
                      </a:lnTo>
                      <a:lnTo>
                        <a:pt x="594" y="351"/>
                      </a:lnTo>
                      <a:lnTo>
                        <a:pt x="594" y="352"/>
                      </a:lnTo>
                      <a:lnTo>
                        <a:pt x="595" y="352"/>
                      </a:lnTo>
                      <a:lnTo>
                        <a:pt x="595" y="353"/>
                      </a:lnTo>
                      <a:lnTo>
                        <a:pt x="594" y="353"/>
                      </a:lnTo>
                      <a:lnTo>
                        <a:pt x="594" y="353"/>
                      </a:lnTo>
                      <a:lnTo>
                        <a:pt x="594" y="354"/>
                      </a:lnTo>
                      <a:lnTo>
                        <a:pt x="593" y="354"/>
                      </a:lnTo>
                      <a:lnTo>
                        <a:pt x="593" y="354"/>
                      </a:lnTo>
                      <a:lnTo>
                        <a:pt x="593" y="355"/>
                      </a:lnTo>
                      <a:lnTo>
                        <a:pt x="592" y="355"/>
                      </a:lnTo>
                      <a:lnTo>
                        <a:pt x="592" y="355"/>
                      </a:lnTo>
                      <a:lnTo>
                        <a:pt x="592" y="356"/>
                      </a:lnTo>
                      <a:lnTo>
                        <a:pt x="592" y="356"/>
                      </a:lnTo>
                      <a:lnTo>
                        <a:pt x="592" y="356"/>
                      </a:lnTo>
                      <a:lnTo>
                        <a:pt x="592" y="356"/>
                      </a:lnTo>
                      <a:lnTo>
                        <a:pt x="592" y="357"/>
                      </a:lnTo>
                      <a:lnTo>
                        <a:pt x="592" y="358"/>
                      </a:lnTo>
                      <a:lnTo>
                        <a:pt x="592" y="358"/>
                      </a:lnTo>
                      <a:lnTo>
                        <a:pt x="592" y="358"/>
                      </a:lnTo>
                      <a:lnTo>
                        <a:pt x="592" y="359"/>
                      </a:lnTo>
                      <a:lnTo>
                        <a:pt x="592" y="360"/>
                      </a:lnTo>
                      <a:lnTo>
                        <a:pt x="592" y="361"/>
                      </a:lnTo>
                      <a:lnTo>
                        <a:pt x="592" y="361"/>
                      </a:lnTo>
                      <a:lnTo>
                        <a:pt x="592" y="361"/>
                      </a:lnTo>
                      <a:lnTo>
                        <a:pt x="592" y="362"/>
                      </a:lnTo>
                      <a:lnTo>
                        <a:pt x="591" y="363"/>
                      </a:lnTo>
                      <a:lnTo>
                        <a:pt x="591" y="363"/>
                      </a:lnTo>
                      <a:lnTo>
                        <a:pt x="592" y="364"/>
                      </a:lnTo>
                      <a:lnTo>
                        <a:pt x="592" y="365"/>
                      </a:lnTo>
                      <a:lnTo>
                        <a:pt x="591" y="365"/>
                      </a:lnTo>
                      <a:lnTo>
                        <a:pt x="590" y="365"/>
                      </a:lnTo>
                      <a:lnTo>
                        <a:pt x="589" y="365"/>
                      </a:lnTo>
                      <a:lnTo>
                        <a:pt x="589" y="366"/>
                      </a:lnTo>
                      <a:lnTo>
                        <a:pt x="589" y="367"/>
                      </a:lnTo>
                      <a:lnTo>
                        <a:pt x="589" y="367"/>
                      </a:lnTo>
                      <a:lnTo>
                        <a:pt x="590" y="367"/>
                      </a:lnTo>
                      <a:lnTo>
                        <a:pt x="590" y="368"/>
                      </a:lnTo>
                      <a:lnTo>
                        <a:pt x="591" y="368"/>
                      </a:lnTo>
                      <a:lnTo>
                        <a:pt x="591" y="369"/>
                      </a:lnTo>
                      <a:lnTo>
                        <a:pt x="591" y="369"/>
                      </a:lnTo>
                      <a:lnTo>
                        <a:pt x="591" y="370"/>
                      </a:lnTo>
                      <a:lnTo>
                        <a:pt x="591" y="371"/>
                      </a:lnTo>
                      <a:lnTo>
                        <a:pt x="591" y="371"/>
                      </a:lnTo>
                      <a:lnTo>
                        <a:pt x="591" y="372"/>
                      </a:lnTo>
                      <a:lnTo>
                        <a:pt x="591" y="373"/>
                      </a:lnTo>
                      <a:lnTo>
                        <a:pt x="591" y="373"/>
                      </a:lnTo>
                      <a:lnTo>
                        <a:pt x="590" y="373"/>
                      </a:lnTo>
                      <a:lnTo>
                        <a:pt x="590" y="374"/>
                      </a:lnTo>
                      <a:lnTo>
                        <a:pt x="590" y="375"/>
                      </a:lnTo>
                      <a:lnTo>
                        <a:pt x="591" y="375"/>
                      </a:lnTo>
                      <a:lnTo>
                        <a:pt x="591" y="375"/>
                      </a:lnTo>
                      <a:lnTo>
                        <a:pt x="592" y="375"/>
                      </a:lnTo>
                      <a:lnTo>
                        <a:pt x="592" y="376"/>
                      </a:lnTo>
                      <a:lnTo>
                        <a:pt x="591" y="377"/>
                      </a:lnTo>
                      <a:lnTo>
                        <a:pt x="590" y="377"/>
                      </a:lnTo>
                      <a:lnTo>
                        <a:pt x="590" y="377"/>
                      </a:lnTo>
                      <a:lnTo>
                        <a:pt x="589" y="377"/>
                      </a:lnTo>
                      <a:lnTo>
                        <a:pt x="590" y="378"/>
                      </a:lnTo>
                      <a:lnTo>
                        <a:pt x="589" y="378"/>
                      </a:lnTo>
                      <a:lnTo>
                        <a:pt x="589" y="378"/>
                      </a:lnTo>
                      <a:lnTo>
                        <a:pt x="588" y="378"/>
                      </a:lnTo>
                      <a:lnTo>
                        <a:pt x="588" y="379"/>
                      </a:lnTo>
                      <a:lnTo>
                        <a:pt x="588" y="379"/>
                      </a:lnTo>
                      <a:lnTo>
                        <a:pt x="588" y="380"/>
                      </a:lnTo>
                      <a:lnTo>
                        <a:pt x="589" y="381"/>
                      </a:lnTo>
                      <a:lnTo>
                        <a:pt x="589" y="381"/>
                      </a:lnTo>
                      <a:lnTo>
                        <a:pt x="589" y="382"/>
                      </a:lnTo>
                      <a:lnTo>
                        <a:pt x="589" y="382"/>
                      </a:lnTo>
                      <a:lnTo>
                        <a:pt x="588" y="383"/>
                      </a:lnTo>
                      <a:lnTo>
                        <a:pt x="588" y="384"/>
                      </a:lnTo>
                      <a:lnTo>
                        <a:pt x="588" y="384"/>
                      </a:lnTo>
                      <a:lnTo>
                        <a:pt x="589" y="384"/>
                      </a:lnTo>
                      <a:lnTo>
                        <a:pt x="589" y="383"/>
                      </a:lnTo>
                      <a:lnTo>
                        <a:pt x="589" y="383"/>
                      </a:lnTo>
                      <a:lnTo>
                        <a:pt x="590" y="383"/>
                      </a:lnTo>
                      <a:lnTo>
                        <a:pt x="590" y="384"/>
                      </a:lnTo>
                      <a:lnTo>
                        <a:pt x="589" y="384"/>
                      </a:lnTo>
                      <a:lnTo>
                        <a:pt x="589" y="384"/>
                      </a:lnTo>
                      <a:lnTo>
                        <a:pt x="589" y="385"/>
                      </a:lnTo>
                      <a:lnTo>
                        <a:pt x="589" y="385"/>
                      </a:lnTo>
                      <a:lnTo>
                        <a:pt x="589" y="386"/>
                      </a:lnTo>
                      <a:lnTo>
                        <a:pt x="588" y="386"/>
                      </a:lnTo>
                      <a:lnTo>
                        <a:pt x="588" y="386"/>
                      </a:lnTo>
                      <a:lnTo>
                        <a:pt x="587" y="386"/>
                      </a:lnTo>
                      <a:lnTo>
                        <a:pt x="587" y="387"/>
                      </a:lnTo>
                      <a:lnTo>
                        <a:pt x="588" y="387"/>
                      </a:lnTo>
                      <a:lnTo>
                        <a:pt x="588" y="388"/>
                      </a:lnTo>
                      <a:lnTo>
                        <a:pt x="589" y="388"/>
                      </a:lnTo>
                      <a:lnTo>
                        <a:pt x="589" y="388"/>
                      </a:lnTo>
                      <a:lnTo>
                        <a:pt x="589" y="388"/>
                      </a:lnTo>
                      <a:lnTo>
                        <a:pt x="589" y="388"/>
                      </a:lnTo>
                      <a:lnTo>
                        <a:pt x="590" y="388"/>
                      </a:lnTo>
                      <a:lnTo>
                        <a:pt x="589" y="388"/>
                      </a:lnTo>
                      <a:lnTo>
                        <a:pt x="589" y="389"/>
                      </a:lnTo>
                      <a:lnTo>
                        <a:pt x="589" y="389"/>
                      </a:lnTo>
                      <a:lnTo>
                        <a:pt x="589" y="390"/>
                      </a:lnTo>
                      <a:lnTo>
                        <a:pt x="588" y="390"/>
                      </a:lnTo>
                      <a:lnTo>
                        <a:pt x="588" y="390"/>
                      </a:lnTo>
                      <a:lnTo>
                        <a:pt x="589" y="390"/>
                      </a:lnTo>
                      <a:lnTo>
                        <a:pt x="589" y="391"/>
                      </a:lnTo>
                      <a:lnTo>
                        <a:pt x="589" y="392"/>
                      </a:lnTo>
                      <a:lnTo>
                        <a:pt x="589" y="392"/>
                      </a:lnTo>
                      <a:lnTo>
                        <a:pt x="589" y="393"/>
                      </a:lnTo>
                      <a:lnTo>
                        <a:pt x="589" y="394"/>
                      </a:lnTo>
                      <a:lnTo>
                        <a:pt x="588" y="394"/>
                      </a:lnTo>
                      <a:lnTo>
                        <a:pt x="587" y="394"/>
                      </a:lnTo>
                      <a:lnTo>
                        <a:pt x="587" y="394"/>
                      </a:lnTo>
                      <a:lnTo>
                        <a:pt x="586" y="394"/>
                      </a:lnTo>
                      <a:lnTo>
                        <a:pt x="585" y="394"/>
                      </a:lnTo>
                      <a:lnTo>
                        <a:pt x="585" y="394"/>
                      </a:lnTo>
                      <a:lnTo>
                        <a:pt x="585" y="395"/>
                      </a:lnTo>
                      <a:lnTo>
                        <a:pt x="584" y="395"/>
                      </a:lnTo>
                      <a:lnTo>
                        <a:pt x="584" y="394"/>
                      </a:lnTo>
                      <a:lnTo>
                        <a:pt x="583" y="394"/>
                      </a:lnTo>
                      <a:lnTo>
                        <a:pt x="583" y="394"/>
                      </a:lnTo>
                      <a:lnTo>
                        <a:pt x="583" y="394"/>
                      </a:lnTo>
                      <a:lnTo>
                        <a:pt x="582" y="394"/>
                      </a:lnTo>
                      <a:lnTo>
                        <a:pt x="582" y="393"/>
                      </a:lnTo>
                      <a:lnTo>
                        <a:pt x="582" y="392"/>
                      </a:lnTo>
                      <a:lnTo>
                        <a:pt x="581" y="392"/>
                      </a:lnTo>
                      <a:lnTo>
                        <a:pt x="581" y="393"/>
                      </a:lnTo>
                      <a:lnTo>
                        <a:pt x="581" y="393"/>
                      </a:lnTo>
                      <a:lnTo>
                        <a:pt x="580" y="394"/>
                      </a:lnTo>
                      <a:lnTo>
                        <a:pt x="580" y="394"/>
                      </a:lnTo>
                      <a:lnTo>
                        <a:pt x="581" y="394"/>
                      </a:lnTo>
                      <a:lnTo>
                        <a:pt x="581" y="395"/>
                      </a:lnTo>
                      <a:lnTo>
                        <a:pt x="580" y="395"/>
                      </a:lnTo>
                      <a:lnTo>
                        <a:pt x="581" y="396"/>
                      </a:lnTo>
                      <a:lnTo>
                        <a:pt x="580" y="396"/>
                      </a:lnTo>
                      <a:lnTo>
                        <a:pt x="580" y="396"/>
                      </a:lnTo>
                      <a:lnTo>
                        <a:pt x="580" y="397"/>
                      </a:lnTo>
                      <a:lnTo>
                        <a:pt x="579" y="398"/>
                      </a:lnTo>
                      <a:lnTo>
                        <a:pt x="579" y="398"/>
                      </a:lnTo>
                      <a:lnTo>
                        <a:pt x="579" y="399"/>
                      </a:lnTo>
                      <a:lnTo>
                        <a:pt x="579" y="400"/>
                      </a:lnTo>
                      <a:lnTo>
                        <a:pt x="579" y="400"/>
                      </a:lnTo>
                      <a:lnTo>
                        <a:pt x="579" y="401"/>
                      </a:lnTo>
                      <a:lnTo>
                        <a:pt x="579" y="401"/>
                      </a:lnTo>
                      <a:lnTo>
                        <a:pt x="579" y="402"/>
                      </a:lnTo>
                      <a:lnTo>
                        <a:pt x="578" y="402"/>
                      </a:lnTo>
                      <a:lnTo>
                        <a:pt x="577" y="403"/>
                      </a:lnTo>
                      <a:lnTo>
                        <a:pt x="577" y="402"/>
                      </a:lnTo>
                      <a:lnTo>
                        <a:pt x="577" y="402"/>
                      </a:lnTo>
                      <a:lnTo>
                        <a:pt x="577" y="401"/>
                      </a:lnTo>
                      <a:lnTo>
                        <a:pt x="576" y="401"/>
                      </a:lnTo>
                      <a:lnTo>
                        <a:pt x="576" y="402"/>
                      </a:lnTo>
                      <a:lnTo>
                        <a:pt x="575" y="403"/>
                      </a:lnTo>
                      <a:lnTo>
                        <a:pt x="575" y="402"/>
                      </a:lnTo>
                      <a:lnTo>
                        <a:pt x="575" y="403"/>
                      </a:lnTo>
                      <a:lnTo>
                        <a:pt x="574" y="403"/>
                      </a:lnTo>
                      <a:lnTo>
                        <a:pt x="574" y="403"/>
                      </a:lnTo>
                      <a:lnTo>
                        <a:pt x="575" y="405"/>
                      </a:lnTo>
                      <a:lnTo>
                        <a:pt x="573" y="406"/>
                      </a:lnTo>
                      <a:lnTo>
                        <a:pt x="558" y="409"/>
                      </a:lnTo>
                      <a:lnTo>
                        <a:pt x="549" y="412"/>
                      </a:lnTo>
                      <a:lnTo>
                        <a:pt x="543" y="413"/>
                      </a:lnTo>
                      <a:lnTo>
                        <a:pt x="507" y="424"/>
                      </a:lnTo>
                      <a:lnTo>
                        <a:pt x="503" y="432"/>
                      </a:lnTo>
                      <a:lnTo>
                        <a:pt x="500" y="430"/>
                      </a:lnTo>
                      <a:lnTo>
                        <a:pt x="492" y="428"/>
                      </a:lnTo>
                      <a:lnTo>
                        <a:pt x="479" y="436"/>
                      </a:lnTo>
                      <a:lnTo>
                        <a:pt x="475" y="451"/>
                      </a:lnTo>
                      <a:lnTo>
                        <a:pt x="474" y="459"/>
                      </a:lnTo>
                      <a:lnTo>
                        <a:pt x="473" y="465"/>
                      </a:lnTo>
                      <a:lnTo>
                        <a:pt x="469" y="480"/>
                      </a:lnTo>
                      <a:lnTo>
                        <a:pt x="469" y="481"/>
                      </a:lnTo>
                      <a:lnTo>
                        <a:pt x="469" y="484"/>
                      </a:lnTo>
                      <a:lnTo>
                        <a:pt x="469" y="485"/>
                      </a:lnTo>
                      <a:lnTo>
                        <a:pt x="469" y="488"/>
                      </a:lnTo>
                      <a:lnTo>
                        <a:pt x="469" y="489"/>
                      </a:lnTo>
                      <a:lnTo>
                        <a:pt x="465" y="491"/>
                      </a:lnTo>
                      <a:lnTo>
                        <a:pt x="448" y="499"/>
                      </a:lnTo>
                      <a:lnTo>
                        <a:pt x="433" y="504"/>
                      </a:lnTo>
                      <a:lnTo>
                        <a:pt x="423" y="518"/>
                      </a:lnTo>
                      <a:lnTo>
                        <a:pt x="410" y="518"/>
                      </a:lnTo>
                      <a:lnTo>
                        <a:pt x="412" y="533"/>
                      </a:lnTo>
                      <a:lnTo>
                        <a:pt x="414" y="548"/>
                      </a:lnTo>
                      <a:lnTo>
                        <a:pt x="386" y="567"/>
                      </a:lnTo>
                      <a:lnTo>
                        <a:pt x="374" y="592"/>
                      </a:lnTo>
                      <a:lnTo>
                        <a:pt x="357" y="596"/>
                      </a:lnTo>
                      <a:lnTo>
                        <a:pt x="349" y="599"/>
                      </a:lnTo>
                      <a:lnTo>
                        <a:pt x="343" y="600"/>
                      </a:lnTo>
                      <a:lnTo>
                        <a:pt x="330" y="603"/>
                      </a:lnTo>
                      <a:lnTo>
                        <a:pt x="311" y="608"/>
                      </a:lnTo>
                      <a:lnTo>
                        <a:pt x="281" y="617"/>
                      </a:lnTo>
                      <a:lnTo>
                        <a:pt x="275" y="619"/>
                      </a:lnTo>
                      <a:lnTo>
                        <a:pt x="269" y="618"/>
                      </a:lnTo>
                      <a:lnTo>
                        <a:pt x="234" y="614"/>
                      </a:lnTo>
                      <a:lnTo>
                        <a:pt x="231" y="614"/>
                      </a:lnTo>
                      <a:lnTo>
                        <a:pt x="222" y="614"/>
                      </a:lnTo>
                      <a:lnTo>
                        <a:pt x="214" y="606"/>
                      </a:lnTo>
                      <a:lnTo>
                        <a:pt x="212" y="605"/>
                      </a:lnTo>
                      <a:lnTo>
                        <a:pt x="201" y="602"/>
                      </a:lnTo>
                      <a:lnTo>
                        <a:pt x="202" y="593"/>
                      </a:lnTo>
                      <a:lnTo>
                        <a:pt x="198" y="571"/>
                      </a:lnTo>
                      <a:lnTo>
                        <a:pt x="199" y="567"/>
                      </a:lnTo>
                      <a:lnTo>
                        <a:pt x="199" y="564"/>
                      </a:lnTo>
                      <a:lnTo>
                        <a:pt x="203" y="564"/>
                      </a:lnTo>
                      <a:lnTo>
                        <a:pt x="203" y="561"/>
                      </a:lnTo>
                      <a:lnTo>
                        <a:pt x="203" y="559"/>
                      </a:lnTo>
                      <a:lnTo>
                        <a:pt x="201" y="557"/>
                      </a:lnTo>
                      <a:lnTo>
                        <a:pt x="206" y="529"/>
                      </a:lnTo>
                      <a:lnTo>
                        <a:pt x="199" y="517"/>
                      </a:lnTo>
                      <a:lnTo>
                        <a:pt x="197" y="516"/>
                      </a:lnTo>
                      <a:lnTo>
                        <a:pt x="196" y="513"/>
                      </a:lnTo>
                      <a:lnTo>
                        <a:pt x="196" y="509"/>
                      </a:lnTo>
                      <a:lnTo>
                        <a:pt x="194" y="493"/>
                      </a:lnTo>
                      <a:lnTo>
                        <a:pt x="188" y="485"/>
                      </a:lnTo>
                      <a:lnTo>
                        <a:pt x="180" y="469"/>
                      </a:lnTo>
                      <a:lnTo>
                        <a:pt x="183" y="464"/>
                      </a:lnTo>
                      <a:lnTo>
                        <a:pt x="183" y="460"/>
                      </a:lnTo>
                      <a:lnTo>
                        <a:pt x="186" y="454"/>
                      </a:lnTo>
                      <a:lnTo>
                        <a:pt x="186" y="448"/>
                      </a:lnTo>
                      <a:lnTo>
                        <a:pt x="186" y="445"/>
                      </a:lnTo>
                      <a:lnTo>
                        <a:pt x="183" y="436"/>
                      </a:lnTo>
                      <a:lnTo>
                        <a:pt x="180" y="430"/>
                      </a:lnTo>
                      <a:lnTo>
                        <a:pt x="178" y="428"/>
                      </a:lnTo>
                      <a:lnTo>
                        <a:pt x="177" y="422"/>
                      </a:lnTo>
                      <a:lnTo>
                        <a:pt x="178" y="421"/>
                      </a:lnTo>
                      <a:lnTo>
                        <a:pt x="181" y="412"/>
                      </a:lnTo>
                      <a:lnTo>
                        <a:pt x="181" y="410"/>
                      </a:lnTo>
                      <a:lnTo>
                        <a:pt x="177" y="405"/>
                      </a:lnTo>
                      <a:lnTo>
                        <a:pt x="175" y="403"/>
                      </a:lnTo>
                      <a:lnTo>
                        <a:pt x="174" y="401"/>
                      </a:lnTo>
                      <a:lnTo>
                        <a:pt x="174" y="396"/>
                      </a:lnTo>
                      <a:lnTo>
                        <a:pt x="169" y="394"/>
                      </a:lnTo>
                      <a:lnTo>
                        <a:pt x="165" y="392"/>
                      </a:lnTo>
                      <a:lnTo>
                        <a:pt x="163" y="392"/>
                      </a:lnTo>
                      <a:lnTo>
                        <a:pt x="163" y="390"/>
                      </a:lnTo>
                      <a:lnTo>
                        <a:pt x="161" y="388"/>
                      </a:lnTo>
                      <a:lnTo>
                        <a:pt x="157" y="385"/>
                      </a:lnTo>
                      <a:lnTo>
                        <a:pt x="154" y="383"/>
                      </a:lnTo>
                      <a:lnTo>
                        <a:pt x="147" y="377"/>
                      </a:lnTo>
                      <a:lnTo>
                        <a:pt x="147" y="372"/>
                      </a:lnTo>
                      <a:lnTo>
                        <a:pt x="148" y="343"/>
                      </a:lnTo>
                      <a:lnTo>
                        <a:pt x="148" y="323"/>
                      </a:lnTo>
                      <a:lnTo>
                        <a:pt x="138" y="308"/>
                      </a:lnTo>
                      <a:lnTo>
                        <a:pt x="133" y="297"/>
                      </a:lnTo>
                      <a:lnTo>
                        <a:pt x="131" y="295"/>
                      </a:lnTo>
                      <a:lnTo>
                        <a:pt x="129" y="293"/>
                      </a:lnTo>
                      <a:lnTo>
                        <a:pt x="128" y="292"/>
                      </a:lnTo>
                      <a:lnTo>
                        <a:pt x="116" y="278"/>
                      </a:lnTo>
                      <a:lnTo>
                        <a:pt x="116" y="263"/>
                      </a:lnTo>
                      <a:lnTo>
                        <a:pt x="115" y="218"/>
                      </a:lnTo>
                      <a:lnTo>
                        <a:pt x="114" y="201"/>
                      </a:lnTo>
                      <a:lnTo>
                        <a:pt x="114" y="198"/>
                      </a:lnTo>
                      <a:lnTo>
                        <a:pt x="101" y="175"/>
                      </a:lnTo>
                      <a:lnTo>
                        <a:pt x="101" y="174"/>
                      </a:lnTo>
                      <a:lnTo>
                        <a:pt x="92" y="158"/>
                      </a:lnTo>
                      <a:lnTo>
                        <a:pt x="84" y="145"/>
                      </a:lnTo>
                      <a:lnTo>
                        <a:pt x="76" y="135"/>
                      </a:lnTo>
                      <a:lnTo>
                        <a:pt x="70" y="127"/>
                      </a:lnTo>
                      <a:lnTo>
                        <a:pt x="66" y="120"/>
                      </a:lnTo>
                      <a:lnTo>
                        <a:pt x="52" y="104"/>
                      </a:lnTo>
                      <a:lnTo>
                        <a:pt x="51" y="104"/>
                      </a:lnTo>
                      <a:lnTo>
                        <a:pt x="49" y="105"/>
                      </a:lnTo>
                      <a:lnTo>
                        <a:pt x="47" y="106"/>
                      </a:lnTo>
                      <a:lnTo>
                        <a:pt x="47" y="106"/>
                      </a:lnTo>
                      <a:lnTo>
                        <a:pt x="45" y="106"/>
                      </a:lnTo>
                      <a:lnTo>
                        <a:pt x="42" y="106"/>
                      </a:lnTo>
                      <a:lnTo>
                        <a:pt x="40" y="106"/>
                      </a:lnTo>
                      <a:lnTo>
                        <a:pt x="40" y="106"/>
                      </a:lnTo>
                      <a:lnTo>
                        <a:pt x="36" y="105"/>
                      </a:lnTo>
                      <a:lnTo>
                        <a:pt x="35" y="106"/>
                      </a:lnTo>
                      <a:lnTo>
                        <a:pt x="30" y="106"/>
                      </a:lnTo>
                      <a:lnTo>
                        <a:pt x="23" y="98"/>
                      </a:lnTo>
                      <a:lnTo>
                        <a:pt x="20" y="95"/>
                      </a:lnTo>
                      <a:lnTo>
                        <a:pt x="13" y="93"/>
                      </a:lnTo>
                      <a:lnTo>
                        <a:pt x="17" y="85"/>
                      </a:lnTo>
                      <a:lnTo>
                        <a:pt x="18" y="81"/>
                      </a:lnTo>
                      <a:lnTo>
                        <a:pt x="18" y="78"/>
                      </a:lnTo>
                      <a:lnTo>
                        <a:pt x="18" y="75"/>
                      </a:lnTo>
                      <a:lnTo>
                        <a:pt x="19" y="73"/>
                      </a:lnTo>
                      <a:lnTo>
                        <a:pt x="19" y="68"/>
                      </a:lnTo>
                      <a:lnTo>
                        <a:pt x="19" y="60"/>
                      </a:lnTo>
                      <a:lnTo>
                        <a:pt x="16" y="54"/>
                      </a:lnTo>
                      <a:lnTo>
                        <a:pt x="15" y="51"/>
                      </a:lnTo>
                      <a:lnTo>
                        <a:pt x="16" y="50"/>
                      </a:lnTo>
                      <a:lnTo>
                        <a:pt x="17" y="49"/>
                      </a:lnTo>
                      <a:lnTo>
                        <a:pt x="18" y="48"/>
                      </a:lnTo>
                      <a:lnTo>
                        <a:pt x="21" y="47"/>
                      </a:lnTo>
                      <a:lnTo>
                        <a:pt x="22" y="45"/>
                      </a:lnTo>
                      <a:lnTo>
                        <a:pt x="22" y="40"/>
                      </a:lnTo>
                      <a:lnTo>
                        <a:pt x="26" y="37"/>
                      </a:lnTo>
                      <a:lnTo>
                        <a:pt x="28" y="34"/>
                      </a:lnTo>
                      <a:lnTo>
                        <a:pt x="28" y="32"/>
                      </a:lnTo>
                      <a:lnTo>
                        <a:pt x="33" y="32"/>
                      </a:lnTo>
                      <a:lnTo>
                        <a:pt x="37" y="30"/>
                      </a:lnTo>
                      <a:lnTo>
                        <a:pt x="41" y="26"/>
                      </a:lnTo>
                      <a:lnTo>
                        <a:pt x="44" y="26"/>
                      </a:lnTo>
                      <a:lnTo>
                        <a:pt x="44" y="25"/>
                      </a:lnTo>
                      <a:lnTo>
                        <a:pt x="41" y="20"/>
                      </a:lnTo>
                      <a:lnTo>
                        <a:pt x="32" y="15"/>
                      </a:lnTo>
                      <a:lnTo>
                        <a:pt x="23" y="11"/>
                      </a:lnTo>
                      <a:lnTo>
                        <a:pt x="10" y="9"/>
                      </a:lnTo>
                      <a:lnTo>
                        <a:pt x="7" y="4"/>
                      </a:lnTo>
                      <a:lnTo>
                        <a:pt x="4" y="1"/>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2" name="Freeform 69">
                  <a:extLst>
                    <a:ext uri="{FF2B5EF4-FFF2-40B4-BE49-F238E27FC236}">
                      <a16:creationId xmlns:a16="http://schemas.microsoft.com/office/drawing/2014/main" xmlns="" id="{C0C37C07-CB4B-7F61-D6B1-3390BC6BD4AD}"/>
                    </a:ext>
                  </a:extLst>
                </p:cNvPr>
                <p:cNvSpPr>
                  <a:spLocks/>
                </p:cNvSpPr>
                <p:nvPr/>
              </p:nvSpPr>
              <p:spPr bwMode="auto">
                <a:xfrm>
                  <a:off x="2220" y="3294"/>
                  <a:ext cx="463" cy="326"/>
                </a:xfrm>
                <a:custGeom>
                  <a:avLst/>
                  <a:gdLst>
                    <a:gd name="T0" fmla="*/ 8 w 463"/>
                    <a:gd name="T1" fmla="*/ 217 h 326"/>
                    <a:gd name="T2" fmla="*/ 58 w 463"/>
                    <a:gd name="T3" fmla="*/ 145 h 326"/>
                    <a:gd name="T4" fmla="*/ 78 w 463"/>
                    <a:gd name="T5" fmla="*/ 32 h 326"/>
                    <a:gd name="T6" fmla="*/ 85 w 463"/>
                    <a:gd name="T7" fmla="*/ 36 h 326"/>
                    <a:gd name="T8" fmla="*/ 92 w 463"/>
                    <a:gd name="T9" fmla="*/ 44 h 326"/>
                    <a:gd name="T10" fmla="*/ 101 w 463"/>
                    <a:gd name="T11" fmla="*/ 52 h 326"/>
                    <a:gd name="T12" fmla="*/ 110 w 463"/>
                    <a:gd name="T13" fmla="*/ 52 h 326"/>
                    <a:gd name="T14" fmla="*/ 117 w 463"/>
                    <a:gd name="T15" fmla="*/ 55 h 326"/>
                    <a:gd name="T16" fmla="*/ 119 w 463"/>
                    <a:gd name="T17" fmla="*/ 60 h 326"/>
                    <a:gd name="T18" fmla="*/ 129 w 463"/>
                    <a:gd name="T19" fmla="*/ 63 h 326"/>
                    <a:gd name="T20" fmla="*/ 134 w 463"/>
                    <a:gd name="T21" fmla="*/ 68 h 326"/>
                    <a:gd name="T22" fmla="*/ 140 w 463"/>
                    <a:gd name="T23" fmla="*/ 71 h 326"/>
                    <a:gd name="T24" fmla="*/ 149 w 463"/>
                    <a:gd name="T25" fmla="*/ 76 h 326"/>
                    <a:gd name="T26" fmla="*/ 158 w 463"/>
                    <a:gd name="T27" fmla="*/ 72 h 326"/>
                    <a:gd name="T28" fmla="*/ 164 w 463"/>
                    <a:gd name="T29" fmla="*/ 69 h 326"/>
                    <a:gd name="T30" fmla="*/ 172 w 463"/>
                    <a:gd name="T31" fmla="*/ 69 h 326"/>
                    <a:gd name="T32" fmla="*/ 178 w 463"/>
                    <a:gd name="T33" fmla="*/ 75 h 326"/>
                    <a:gd name="T34" fmla="*/ 227 w 463"/>
                    <a:gd name="T35" fmla="*/ 116 h 326"/>
                    <a:gd name="T36" fmla="*/ 256 w 463"/>
                    <a:gd name="T37" fmla="*/ 128 h 326"/>
                    <a:gd name="T38" fmla="*/ 263 w 463"/>
                    <a:gd name="T39" fmla="*/ 126 h 326"/>
                    <a:gd name="T40" fmla="*/ 292 w 463"/>
                    <a:gd name="T41" fmla="*/ 140 h 326"/>
                    <a:gd name="T42" fmla="*/ 300 w 463"/>
                    <a:gd name="T43" fmla="*/ 143 h 326"/>
                    <a:gd name="T44" fmla="*/ 304 w 463"/>
                    <a:gd name="T45" fmla="*/ 138 h 326"/>
                    <a:gd name="T46" fmla="*/ 310 w 463"/>
                    <a:gd name="T47" fmla="*/ 134 h 326"/>
                    <a:gd name="T48" fmla="*/ 313 w 463"/>
                    <a:gd name="T49" fmla="*/ 129 h 326"/>
                    <a:gd name="T50" fmla="*/ 307 w 463"/>
                    <a:gd name="T51" fmla="*/ 125 h 326"/>
                    <a:gd name="T52" fmla="*/ 308 w 463"/>
                    <a:gd name="T53" fmla="*/ 119 h 326"/>
                    <a:gd name="T54" fmla="*/ 305 w 463"/>
                    <a:gd name="T55" fmla="*/ 116 h 326"/>
                    <a:gd name="T56" fmla="*/ 301 w 463"/>
                    <a:gd name="T57" fmla="*/ 115 h 326"/>
                    <a:gd name="T58" fmla="*/ 301 w 463"/>
                    <a:gd name="T59" fmla="*/ 110 h 326"/>
                    <a:gd name="T60" fmla="*/ 301 w 463"/>
                    <a:gd name="T61" fmla="*/ 99 h 326"/>
                    <a:gd name="T62" fmla="*/ 309 w 463"/>
                    <a:gd name="T63" fmla="*/ 99 h 326"/>
                    <a:gd name="T64" fmla="*/ 319 w 463"/>
                    <a:gd name="T65" fmla="*/ 96 h 326"/>
                    <a:gd name="T66" fmla="*/ 330 w 463"/>
                    <a:gd name="T67" fmla="*/ 95 h 326"/>
                    <a:gd name="T68" fmla="*/ 341 w 463"/>
                    <a:gd name="T69" fmla="*/ 97 h 326"/>
                    <a:gd name="T70" fmla="*/ 354 w 463"/>
                    <a:gd name="T71" fmla="*/ 99 h 326"/>
                    <a:gd name="T72" fmla="*/ 362 w 463"/>
                    <a:gd name="T73" fmla="*/ 104 h 326"/>
                    <a:gd name="T74" fmla="*/ 370 w 463"/>
                    <a:gd name="T75" fmla="*/ 109 h 326"/>
                    <a:gd name="T76" fmla="*/ 377 w 463"/>
                    <a:gd name="T77" fmla="*/ 97 h 326"/>
                    <a:gd name="T78" fmla="*/ 379 w 463"/>
                    <a:gd name="T79" fmla="*/ 91 h 326"/>
                    <a:gd name="T80" fmla="*/ 388 w 463"/>
                    <a:gd name="T81" fmla="*/ 87 h 326"/>
                    <a:gd name="T82" fmla="*/ 390 w 463"/>
                    <a:gd name="T83" fmla="*/ 81 h 326"/>
                    <a:gd name="T84" fmla="*/ 389 w 463"/>
                    <a:gd name="T85" fmla="*/ 71 h 326"/>
                    <a:gd name="T86" fmla="*/ 387 w 463"/>
                    <a:gd name="T87" fmla="*/ 64 h 326"/>
                    <a:gd name="T88" fmla="*/ 384 w 463"/>
                    <a:gd name="T89" fmla="*/ 57 h 326"/>
                    <a:gd name="T90" fmla="*/ 384 w 463"/>
                    <a:gd name="T91" fmla="*/ 47 h 326"/>
                    <a:gd name="T92" fmla="*/ 383 w 463"/>
                    <a:gd name="T93" fmla="*/ 38 h 326"/>
                    <a:gd name="T94" fmla="*/ 379 w 463"/>
                    <a:gd name="T95" fmla="*/ 31 h 326"/>
                    <a:gd name="T96" fmla="*/ 376 w 463"/>
                    <a:gd name="T97" fmla="*/ 26 h 326"/>
                    <a:gd name="T98" fmla="*/ 375 w 463"/>
                    <a:gd name="T99" fmla="*/ 21 h 326"/>
                    <a:gd name="T100" fmla="*/ 387 w 463"/>
                    <a:gd name="T101" fmla="*/ 24 h 326"/>
                    <a:gd name="T102" fmla="*/ 398 w 463"/>
                    <a:gd name="T103" fmla="*/ 23 h 326"/>
                    <a:gd name="T104" fmla="*/ 409 w 463"/>
                    <a:gd name="T105" fmla="*/ 17 h 326"/>
                    <a:gd name="T106" fmla="*/ 415 w 463"/>
                    <a:gd name="T107" fmla="*/ 10 h 326"/>
                    <a:gd name="T108" fmla="*/ 421 w 463"/>
                    <a:gd name="T109" fmla="*/ 0 h 326"/>
                    <a:gd name="T110" fmla="*/ 425 w 463"/>
                    <a:gd name="T111" fmla="*/ 4 h 326"/>
                    <a:gd name="T112" fmla="*/ 433 w 463"/>
                    <a:gd name="T113" fmla="*/ 4 h 326"/>
                    <a:gd name="T114" fmla="*/ 444 w 463"/>
                    <a:gd name="T115" fmla="*/ 4 h 326"/>
                    <a:gd name="T116" fmla="*/ 453 w 463"/>
                    <a:gd name="T117" fmla="*/ 3 h 326"/>
                    <a:gd name="T118" fmla="*/ 459 w 463"/>
                    <a:gd name="T119" fmla="*/ 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3" h="326">
                      <a:moveTo>
                        <a:pt x="45" y="326"/>
                      </a:moveTo>
                      <a:lnTo>
                        <a:pt x="30" y="320"/>
                      </a:lnTo>
                      <a:lnTo>
                        <a:pt x="12" y="304"/>
                      </a:lnTo>
                      <a:lnTo>
                        <a:pt x="10" y="281"/>
                      </a:lnTo>
                      <a:lnTo>
                        <a:pt x="18" y="280"/>
                      </a:lnTo>
                      <a:lnTo>
                        <a:pt x="30" y="272"/>
                      </a:lnTo>
                      <a:lnTo>
                        <a:pt x="30" y="268"/>
                      </a:lnTo>
                      <a:lnTo>
                        <a:pt x="29" y="263"/>
                      </a:lnTo>
                      <a:lnTo>
                        <a:pt x="22" y="261"/>
                      </a:lnTo>
                      <a:lnTo>
                        <a:pt x="22" y="257"/>
                      </a:lnTo>
                      <a:lnTo>
                        <a:pt x="16" y="248"/>
                      </a:lnTo>
                      <a:lnTo>
                        <a:pt x="16" y="235"/>
                      </a:lnTo>
                      <a:lnTo>
                        <a:pt x="21" y="229"/>
                      </a:lnTo>
                      <a:lnTo>
                        <a:pt x="18" y="225"/>
                      </a:lnTo>
                      <a:lnTo>
                        <a:pt x="18" y="221"/>
                      </a:lnTo>
                      <a:lnTo>
                        <a:pt x="13" y="219"/>
                      </a:lnTo>
                      <a:lnTo>
                        <a:pt x="8" y="217"/>
                      </a:lnTo>
                      <a:lnTo>
                        <a:pt x="3" y="219"/>
                      </a:lnTo>
                      <a:lnTo>
                        <a:pt x="0" y="218"/>
                      </a:lnTo>
                      <a:lnTo>
                        <a:pt x="1" y="213"/>
                      </a:lnTo>
                      <a:lnTo>
                        <a:pt x="1" y="210"/>
                      </a:lnTo>
                      <a:lnTo>
                        <a:pt x="2" y="204"/>
                      </a:lnTo>
                      <a:lnTo>
                        <a:pt x="15" y="202"/>
                      </a:lnTo>
                      <a:lnTo>
                        <a:pt x="20" y="201"/>
                      </a:lnTo>
                      <a:lnTo>
                        <a:pt x="33" y="195"/>
                      </a:lnTo>
                      <a:lnTo>
                        <a:pt x="47" y="195"/>
                      </a:lnTo>
                      <a:lnTo>
                        <a:pt x="52" y="195"/>
                      </a:lnTo>
                      <a:lnTo>
                        <a:pt x="55" y="187"/>
                      </a:lnTo>
                      <a:lnTo>
                        <a:pt x="56" y="182"/>
                      </a:lnTo>
                      <a:lnTo>
                        <a:pt x="60" y="168"/>
                      </a:lnTo>
                      <a:lnTo>
                        <a:pt x="62" y="161"/>
                      </a:lnTo>
                      <a:lnTo>
                        <a:pt x="58" y="156"/>
                      </a:lnTo>
                      <a:lnTo>
                        <a:pt x="56" y="152"/>
                      </a:lnTo>
                      <a:lnTo>
                        <a:pt x="58" y="145"/>
                      </a:lnTo>
                      <a:lnTo>
                        <a:pt x="60" y="140"/>
                      </a:lnTo>
                      <a:lnTo>
                        <a:pt x="43" y="137"/>
                      </a:lnTo>
                      <a:lnTo>
                        <a:pt x="41" y="136"/>
                      </a:lnTo>
                      <a:lnTo>
                        <a:pt x="35" y="126"/>
                      </a:lnTo>
                      <a:lnTo>
                        <a:pt x="28" y="122"/>
                      </a:lnTo>
                      <a:lnTo>
                        <a:pt x="24" y="116"/>
                      </a:lnTo>
                      <a:lnTo>
                        <a:pt x="18" y="116"/>
                      </a:lnTo>
                      <a:lnTo>
                        <a:pt x="19" y="108"/>
                      </a:lnTo>
                      <a:lnTo>
                        <a:pt x="25" y="105"/>
                      </a:lnTo>
                      <a:lnTo>
                        <a:pt x="34" y="103"/>
                      </a:lnTo>
                      <a:lnTo>
                        <a:pt x="39" y="93"/>
                      </a:lnTo>
                      <a:lnTo>
                        <a:pt x="40" y="86"/>
                      </a:lnTo>
                      <a:lnTo>
                        <a:pt x="46" y="77"/>
                      </a:lnTo>
                      <a:lnTo>
                        <a:pt x="50" y="74"/>
                      </a:lnTo>
                      <a:lnTo>
                        <a:pt x="63" y="55"/>
                      </a:lnTo>
                      <a:lnTo>
                        <a:pt x="74" y="38"/>
                      </a:lnTo>
                      <a:lnTo>
                        <a:pt x="78" y="32"/>
                      </a:lnTo>
                      <a:lnTo>
                        <a:pt x="81" y="31"/>
                      </a:lnTo>
                      <a:lnTo>
                        <a:pt x="81" y="31"/>
                      </a:lnTo>
                      <a:lnTo>
                        <a:pt x="82" y="31"/>
                      </a:lnTo>
                      <a:lnTo>
                        <a:pt x="83" y="31"/>
                      </a:lnTo>
                      <a:lnTo>
                        <a:pt x="83" y="31"/>
                      </a:lnTo>
                      <a:lnTo>
                        <a:pt x="84" y="31"/>
                      </a:lnTo>
                      <a:lnTo>
                        <a:pt x="84" y="31"/>
                      </a:lnTo>
                      <a:lnTo>
                        <a:pt x="85" y="31"/>
                      </a:lnTo>
                      <a:lnTo>
                        <a:pt x="85" y="31"/>
                      </a:lnTo>
                      <a:lnTo>
                        <a:pt x="85" y="32"/>
                      </a:lnTo>
                      <a:lnTo>
                        <a:pt x="85" y="32"/>
                      </a:lnTo>
                      <a:lnTo>
                        <a:pt x="85" y="33"/>
                      </a:lnTo>
                      <a:lnTo>
                        <a:pt x="85" y="33"/>
                      </a:lnTo>
                      <a:lnTo>
                        <a:pt x="85" y="34"/>
                      </a:lnTo>
                      <a:lnTo>
                        <a:pt x="85" y="35"/>
                      </a:lnTo>
                      <a:lnTo>
                        <a:pt x="85" y="35"/>
                      </a:lnTo>
                      <a:lnTo>
                        <a:pt x="85" y="36"/>
                      </a:lnTo>
                      <a:lnTo>
                        <a:pt x="86" y="36"/>
                      </a:lnTo>
                      <a:lnTo>
                        <a:pt x="86" y="37"/>
                      </a:lnTo>
                      <a:lnTo>
                        <a:pt x="87" y="37"/>
                      </a:lnTo>
                      <a:lnTo>
                        <a:pt x="87" y="38"/>
                      </a:lnTo>
                      <a:lnTo>
                        <a:pt x="87" y="38"/>
                      </a:lnTo>
                      <a:lnTo>
                        <a:pt x="87" y="38"/>
                      </a:lnTo>
                      <a:lnTo>
                        <a:pt x="87" y="39"/>
                      </a:lnTo>
                      <a:lnTo>
                        <a:pt x="87" y="40"/>
                      </a:lnTo>
                      <a:lnTo>
                        <a:pt x="87" y="40"/>
                      </a:lnTo>
                      <a:lnTo>
                        <a:pt x="88" y="40"/>
                      </a:lnTo>
                      <a:lnTo>
                        <a:pt x="89" y="40"/>
                      </a:lnTo>
                      <a:lnTo>
                        <a:pt x="89" y="41"/>
                      </a:lnTo>
                      <a:lnTo>
                        <a:pt x="89" y="42"/>
                      </a:lnTo>
                      <a:lnTo>
                        <a:pt x="90" y="42"/>
                      </a:lnTo>
                      <a:lnTo>
                        <a:pt x="90" y="43"/>
                      </a:lnTo>
                      <a:lnTo>
                        <a:pt x="91" y="44"/>
                      </a:lnTo>
                      <a:lnTo>
                        <a:pt x="92" y="44"/>
                      </a:lnTo>
                      <a:lnTo>
                        <a:pt x="92" y="44"/>
                      </a:lnTo>
                      <a:lnTo>
                        <a:pt x="92" y="45"/>
                      </a:lnTo>
                      <a:lnTo>
                        <a:pt x="93" y="46"/>
                      </a:lnTo>
                      <a:lnTo>
                        <a:pt x="94" y="46"/>
                      </a:lnTo>
                      <a:lnTo>
                        <a:pt x="94" y="47"/>
                      </a:lnTo>
                      <a:lnTo>
                        <a:pt x="95" y="48"/>
                      </a:lnTo>
                      <a:lnTo>
                        <a:pt x="96" y="48"/>
                      </a:lnTo>
                      <a:lnTo>
                        <a:pt x="96" y="48"/>
                      </a:lnTo>
                      <a:lnTo>
                        <a:pt x="97" y="48"/>
                      </a:lnTo>
                      <a:lnTo>
                        <a:pt x="97" y="49"/>
                      </a:lnTo>
                      <a:lnTo>
                        <a:pt x="98" y="49"/>
                      </a:lnTo>
                      <a:lnTo>
                        <a:pt x="98" y="50"/>
                      </a:lnTo>
                      <a:lnTo>
                        <a:pt x="98" y="50"/>
                      </a:lnTo>
                      <a:lnTo>
                        <a:pt x="99" y="50"/>
                      </a:lnTo>
                      <a:lnTo>
                        <a:pt x="100" y="51"/>
                      </a:lnTo>
                      <a:lnTo>
                        <a:pt x="100" y="52"/>
                      </a:lnTo>
                      <a:lnTo>
                        <a:pt x="101" y="52"/>
                      </a:lnTo>
                      <a:lnTo>
                        <a:pt x="102" y="52"/>
                      </a:lnTo>
                      <a:lnTo>
                        <a:pt x="102" y="52"/>
                      </a:lnTo>
                      <a:lnTo>
                        <a:pt x="102" y="52"/>
                      </a:lnTo>
                      <a:lnTo>
                        <a:pt x="102" y="52"/>
                      </a:lnTo>
                      <a:lnTo>
                        <a:pt x="103" y="52"/>
                      </a:lnTo>
                      <a:lnTo>
                        <a:pt x="104" y="52"/>
                      </a:lnTo>
                      <a:lnTo>
                        <a:pt x="104" y="51"/>
                      </a:lnTo>
                      <a:lnTo>
                        <a:pt x="104" y="51"/>
                      </a:lnTo>
                      <a:lnTo>
                        <a:pt x="105" y="51"/>
                      </a:lnTo>
                      <a:lnTo>
                        <a:pt x="106" y="51"/>
                      </a:lnTo>
                      <a:lnTo>
                        <a:pt x="106" y="51"/>
                      </a:lnTo>
                      <a:lnTo>
                        <a:pt x="107" y="52"/>
                      </a:lnTo>
                      <a:lnTo>
                        <a:pt x="108" y="52"/>
                      </a:lnTo>
                      <a:lnTo>
                        <a:pt x="109" y="52"/>
                      </a:lnTo>
                      <a:lnTo>
                        <a:pt x="109" y="52"/>
                      </a:lnTo>
                      <a:lnTo>
                        <a:pt x="109" y="52"/>
                      </a:lnTo>
                      <a:lnTo>
                        <a:pt x="110" y="52"/>
                      </a:lnTo>
                      <a:lnTo>
                        <a:pt x="111" y="53"/>
                      </a:lnTo>
                      <a:lnTo>
                        <a:pt x="111" y="53"/>
                      </a:lnTo>
                      <a:lnTo>
                        <a:pt x="112" y="53"/>
                      </a:lnTo>
                      <a:lnTo>
                        <a:pt x="113" y="53"/>
                      </a:lnTo>
                      <a:lnTo>
                        <a:pt x="113" y="54"/>
                      </a:lnTo>
                      <a:lnTo>
                        <a:pt x="113" y="53"/>
                      </a:lnTo>
                      <a:lnTo>
                        <a:pt x="114" y="53"/>
                      </a:lnTo>
                      <a:lnTo>
                        <a:pt x="114" y="54"/>
                      </a:lnTo>
                      <a:lnTo>
                        <a:pt x="115" y="54"/>
                      </a:lnTo>
                      <a:lnTo>
                        <a:pt x="115" y="53"/>
                      </a:lnTo>
                      <a:lnTo>
                        <a:pt x="115" y="54"/>
                      </a:lnTo>
                      <a:lnTo>
                        <a:pt x="116" y="53"/>
                      </a:lnTo>
                      <a:lnTo>
                        <a:pt x="117" y="53"/>
                      </a:lnTo>
                      <a:lnTo>
                        <a:pt x="116" y="53"/>
                      </a:lnTo>
                      <a:lnTo>
                        <a:pt x="116" y="54"/>
                      </a:lnTo>
                      <a:lnTo>
                        <a:pt x="117" y="54"/>
                      </a:lnTo>
                      <a:lnTo>
                        <a:pt x="117" y="55"/>
                      </a:lnTo>
                      <a:lnTo>
                        <a:pt x="117" y="55"/>
                      </a:lnTo>
                      <a:lnTo>
                        <a:pt x="117" y="55"/>
                      </a:lnTo>
                      <a:lnTo>
                        <a:pt x="117" y="56"/>
                      </a:lnTo>
                      <a:lnTo>
                        <a:pt x="117" y="57"/>
                      </a:lnTo>
                      <a:lnTo>
                        <a:pt x="116" y="57"/>
                      </a:lnTo>
                      <a:lnTo>
                        <a:pt x="116" y="57"/>
                      </a:lnTo>
                      <a:lnTo>
                        <a:pt x="115" y="57"/>
                      </a:lnTo>
                      <a:lnTo>
                        <a:pt x="115" y="58"/>
                      </a:lnTo>
                      <a:lnTo>
                        <a:pt x="115" y="59"/>
                      </a:lnTo>
                      <a:lnTo>
                        <a:pt x="116" y="59"/>
                      </a:lnTo>
                      <a:lnTo>
                        <a:pt x="116" y="59"/>
                      </a:lnTo>
                      <a:lnTo>
                        <a:pt x="117" y="59"/>
                      </a:lnTo>
                      <a:lnTo>
                        <a:pt x="117" y="59"/>
                      </a:lnTo>
                      <a:lnTo>
                        <a:pt x="117" y="60"/>
                      </a:lnTo>
                      <a:lnTo>
                        <a:pt x="118" y="60"/>
                      </a:lnTo>
                      <a:lnTo>
                        <a:pt x="119" y="60"/>
                      </a:lnTo>
                      <a:lnTo>
                        <a:pt x="119" y="60"/>
                      </a:lnTo>
                      <a:lnTo>
                        <a:pt x="120" y="60"/>
                      </a:lnTo>
                      <a:lnTo>
                        <a:pt x="121" y="60"/>
                      </a:lnTo>
                      <a:lnTo>
                        <a:pt x="121" y="61"/>
                      </a:lnTo>
                      <a:lnTo>
                        <a:pt x="122" y="61"/>
                      </a:lnTo>
                      <a:lnTo>
                        <a:pt x="123" y="61"/>
                      </a:lnTo>
                      <a:lnTo>
                        <a:pt x="123" y="61"/>
                      </a:lnTo>
                      <a:lnTo>
                        <a:pt x="124" y="61"/>
                      </a:lnTo>
                      <a:lnTo>
                        <a:pt x="124" y="62"/>
                      </a:lnTo>
                      <a:lnTo>
                        <a:pt x="125" y="62"/>
                      </a:lnTo>
                      <a:lnTo>
                        <a:pt x="125" y="63"/>
                      </a:lnTo>
                      <a:lnTo>
                        <a:pt x="125" y="63"/>
                      </a:lnTo>
                      <a:lnTo>
                        <a:pt x="126" y="63"/>
                      </a:lnTo>
                      <a:lnTo>
                        <a:pt x="127" y="63"/>
                      </a:lnTo>
                      <a:lnTo>
                        <a:pt x="127" y="63"/>
                      </a:lnTo>
                      <a:lnTo>
                        <a:pt x="128" y="63"/>
                      </a:lnTo>
                      <a:lnTo>
                        <a:pt x="128" y="63"/>
                      </a:lnTo>
                      <a:lnTo>
                        <a:pt x="129" y="63"/>
                      </a:lnTo>
                      <a:lnTo>
                        <a:pt x="130" y="63"/>
                      </a:lnTo>
                      <a:lnTo>
                        <a:pt x="130" y="64"/>
                      </a:lnTo>
                      <a:lnTo>
                        <a:pt x="131" y="64"/>
                      </a:lnTo>
                      <a:lnTo>
                        <a:pt x="131" y="65"/>
                      </a:lnTo>
                      <a:lnTo>
                        <a:pt x="131" y="65"/>
                      </a:lnTo>
                      <a:lnTo>
                        <a:pt x="132" y="65"/>
                      </a:lnTo>
                      <a:lnTo>
                        <a:pt x="132" y="66"/>
                      </a:lnTo>
                      <a:lnTo>
                        <a:pt x="132" y="67"/>
                      </a:lnTo>
                      <a:lnTo>
                        <a:pt x="132" y="67"/>
                      </a:lnTo>
                      <a:lnTo>
                        <a:pt x="132" y="67"/>
                      </a:lnTo>
                      <a:lnTo>
                        <a:pt x="133" y="67"/>
                      </a:lnTo>
                      <a:lnTo>
                        <a:pt x="134" y="67"/>
                      </a:lnTo>
                      <a:lnTo>
                        <a:pt x="133" y="67"/>
                      </a:lnTo>
                      <a:lnTo>
                        <a:pt x="134" y="67"/>
                      </a:lnTo>
                      <a:lnTo>
                        <a:pt x="134" y="67"/>
                      </a:lnTo>
                      <a:lnTo>
                        <a:pt x="134" y="67"/>
                      </a:lnTo>
                      <a:lnTo>
                        <a:pt x="134" y="68"/>
                      </a:lnTo>
                      <a:lnTo>
                        <a:pt x="135" y="68"/>
                      </a:lnTo>
                      <a:lnTo>
                        <a:pt x="136" y="68"/>
                      </a:lnTo>
                      <a:lnTo>
                        <a:pt x="136" y="68"/>
                      </a:lnTo>
                      <a:lnTo>
                        <a:pt x="137" y="68"/>
                      </a:lnTo>
                      <a:lnTo>
                        <a:pt x="137" y="69"/>
                      </a:lnTo>
                      <a:lnTo>
                        <a:pt x="137" y="68"/>
                      </a:lnTo>
                      <a:lnTo>
                        <a:pt x="138" y="68"/>
                      </a:lnTo>
                      <a:lnTo>
                        <a:pt x="138" y="68"/>
                      </a:lnTo>
                      <a:lnTo>
                        <a:pt x="138" y="69"/>
                      </a:lnTo>
                      <a:lnTo>
                        <a:pt x="138" y="69"/>
                      </a:lnTo>
                      <a:lnTo>
                        <a:pt x="138" y="69"/>
                      </a:lnTo>
                      <a:lnTo>
                        <a:pt x="138" y="69"/>
                      </a:lnTo>
                      <a:lnTo>
                        <a:pt x="139" y="69"/>
                      </a:lnTo>
                      <a:lnTo>
                        <a:pt x="139" y="70"/>
                      </a:lnTo>
                      <a:lnTo>
                        <a:pt x="140" y="70"/>
                      </a:lnTo>
                      <a:lnTo>
                        <a:pt x="140" y="71"/>
                      </a:lnTo>
                      <a:lnTo>
                        <a:pt x="140" y="71"/>
                      </a:lnTo>
                      <a:lnTo>
                        <a:pt x="140" y="71"/>
                      </a:lnTo>
                      <a:lnTo>
                        <a:pt x="141" y="71"/>
                      </a:lnTo>
                      <a:lnTo>
                        <a:pt x="142" y="71"/>
                      </a:lnTo>
                      <a:lnTo>
                        <a:pt x="142" y="71"/>
                      </a:lnTo>
                      <a:lnTo>
                        <a:pt x="143" y="71"/>
                      </a:lnTo>
                      <a:lnTo>
                        <a:pt x="143" y="72"/>
                      </a:lnTo>
                      <a:lnTo>
                        <a:pt x="144" y="72"/>
                      </a:lnTo>
                      <a:lnTo>
                        <a:pt x="144" y="72"/>
                      </a:lnTo>
                      <a:lnTo>
                        <a:pt x="145" y="72"/>
                      </a:lnTo>
                      <a:lnTo>
                        <a:pt x="146" y="72"/>
                      </a:lnTo>
                      <a:lnTo>
                        <a:pt x="147" y="72"/>
                      </a:lnTo>
                      <a:lnTo>
                        <a:pt x="147" y="73"/>
                      </a:lnTo>
                      <a:lnTo>
                        <a:pt x="147" y="73"/>
                      </a:lnTo>
                      <a:lnTo>
                        <a:pt x="148" y="74"/>
                      </a:lnTo>
                      <a:lnTo>
                        <a:pt x="148" y="75"/>
                      </a:lnTo>
                      <a:lnTo>
                        <a:pt x="149" y="75"/>
                      </a:lnTo>
                      <a:lnTo>
                        <a:pt x="149" y="76"/>
                      </a:lnTo>
                      <a:lnTo>
                        <a:pt x="148" y="76"/>
                      </a:lnTo>
                      <a:lnTo>
                        <a:pt x="149" y="76"/>
                      </a:lnTo>
                      <a:lnTo>
                        <a:pt x="149" y="76"/>
                      </a:lnTo>
                      <a:lnTo>
                        <a:pt x="149" y="76"/>
                      </a:lnTo>
                      <a:lnTo>
                        <a:pt x="150" y="76"/>
                      </a:lnTo>
                      <a:lnTo>
                        <a:pt x="151" y="76"/>
                      </a:lnTo>
                      <a:lnTo>
                        <a:pt x="151" y="75"/>
                      </a:lnTo>
                      <a:lnTo>
                        <a:pt x="152" y="74"/>
                      </a:lnTo>
                      <a:lnTo>
                        <a:pt x="153" y="73"/>
                      </a:lnTo>
                      <a:lnTo>
                        <a:pt x="153" y="73"/>
                      </a:lnTo>
                      <a:lnTo>
                        <a:pt x="154" y="73"/>
                      </a:lnTo>
                      <a:lnTo>
                        <a:pt x="155" y="73"/>
                      </a:lnTo>
                      <a:lnTo>
                        <a:pt x="155" y="73"/>
                      </a:lnTo>
                      <a:lnTo>
                        <a:pt x="156" y="73"/>
                      </a:lnTo>
                      <a:lnTo>
                        <a:pt x="157" y="73"/>
                      </a:lnTo>
                      <a:lnTo>
                        <a:pt x="157" y="72"/>
                      </a:lnTo>
                      <a:lnTo>
                        <a:pt x="158" y="72"/>
                      </a:lnTo>
                      <a:lnTo>
                        <a:pt x="158" y="71"/>
                      </a:lnTo>
                      <a:lnTo>
                        <a:pt x="159" y="71"/>
                      </a:lnTo>
                      <a:lnTo>
                        <a:pt x="159" y="71"/>
                      </a:lnTo>
                      <a:lnTo>
                        <a:pt x="159" y="71"/>
                      </a:lnTo>
                      <a:lnTo>
                        <a:pt x="160" y="71"/>
                      </a:lnTo>
                      <a:lnTo>
                        <a:pt x="161" y="71"/>
                      </a:lnTo>
                      <a:lnTo>
                        <a:pt x="161" y="71"/>
                      </a:lnTo>
                      <a:lnTo>
                        <a:pt x="161" y="70"/>
                      </a:lnTo>
                      <a:lnTo>
                        <a:pt x="161" y="69"/>
                      </a:lnTo>
                      <a:lnTo>
                        <a:pt x="161" y="69"/>
                      </a:lnTo>
                      <a:lnTo>
                        <a:pt x="161" y="69"/>
                      </a:lnTo>
                      <a:lnTo>
                        <a:pt x="161" y="69"/>
                      </a:lnTo>
                      <a:lnTo>
                        <a:pt x="162" y="69"/>
                      </a:lnTo>
                      <a:lnTo>
                        <a:pt x="162" y="69"/>
                      </a:lnTo>
                      <a:lnTo>
                        <a:pt x="163" y="69"/>
                      </a:lnTo>
                      <a:lnTo>
                        <a:pt x="164" y="69"/>
                      </a:lnTo>
                      <a:lnTo>
                        <a:pt x="164" y="69"/>
                      </a:lnTo>
                      <a:lnTo>
                        <a:pt x="164" y="69"/>
                      </a:lnTo>
                      <a:lnTo>
                        <a:pt x="165" y="69"/>
                      </a:lnTo>
                      <a:lnTo>
                        <a:pt x="166" y="69"/>
                      </a:lnTo>
                      <a:lnTo>
                        <a:pt x="166" y="69"/>
                      </a:lnTo>
                      <a:lnTo>
                        <a:pt x="166" y="69"/>
                      </a:lnTo>
                      <a:lnTo>
                        <a:pt x="166" y="68"/>
                      </a:lnTo>
                      <a:lnTo>
                        <a:pt x="167" y="68"/>
                      </a:lnTo>
                      <a:lnTo>
                        <a:pt x="167" y="67"/>
                      </a:lnTo>
                      <a:lnTo>
                        <a:pt x="167" y="67"/>
                      </a:lnTo>
                      <a:lnTo>
                        <a:pt x="168" y="66"/>
                      </a:lnTo>
                      <a:lnTo>
                        <a:pt x="168" y="65"/>
                      </a:lnTo>
                      <a:lnTo>
                        <a:pt x="170" y="67"/>
                      </a:lnTo>
                      <a:lnTo>
                        <a:pt x="170" y="67"/>
                      </a:lnTo>
                      <a:lnTo>
                        <a:pt x="170" y="68"/>
                      </a:lnTo>
                      <a:lnTo>
                        <a:pt x="171" y="68"/>
                      </a:lnTo>
                      <a:lnTo>
                        <a:pt x="171" y="69"/>
                      </a:lnTo>
                      <a:lnTo>
                        <a:pt x="172" y="69"/>
                      </a:lnTo>
                      <a:lnTo>
                        <a:pt x="172" y="69"/>
                      </a:lnTo>
                      <a:lnTo>
                        <a:pt x="172" y="69"/>
                      </a:lnTo>
                      <a:lnTo>
                        <a:pt x="173" y="69"/>
                      </a:lnTo>
                      <a:lnTo>
                        <a:pt x="174" y="69"/>
                      </a:lnTo>
                      <a:lnTo>
                        <a:pt x="174" y="70"/>
                      </a:lnTo>
                      <a:lnTo>
                        <a:pt x="175" y="70"/>
                      </a:lnTo>
                      <a:lnTo>
                        <a:pt x="175" y="71"/>
                      </a:lnTo>
                      <a:lnTo>
                        <a:pt x="176" y="71"/>
                      </a:lnTo>
                      <a:lnTo>
                        <a:pt x="175" y="71"/>
                      </a:lnTo>
                      <a:lnTo>
                        <a:pt x="176" y="71"/>
                      </a:lnTo>
                      <a:lnTo>
                        <a:pt x="176" y="72"/>
                      </a:lnTo>
                      <a:lnTo>
                        <a:pt x="176" y="73"/>
                      </a:lnTo>
                      <a:lnTo>
                        <a:pt x="176" y="73"/>
                      </a:lnTo>
                      <a:lnTo>
                        <a:pt x="176" y="73"/>
                      </a:lnTo>
                      <a:lnTo>
                        <a:pt x="176" y="74"/>
                      </a:lnTo>
                      <a:lnTo>
                        <a:pt x="177" y="74"/>
                      </a:lnTo>
                      <a:lnTo>
                        <a:pt x="178" y="75"/>
                      </a:lnTo>
                      <a:lnTo>
                        <a:pt x="180" y="76"/>
                      </a:lnTo>
                      <a:lnTo>
                        <a:pt x="181" y="76"/>
                      </a:lnTo>
                      <a:lnTo>
                        <a:pt x="183" y="77"/>
                      </a:lnTo>
                      <a:lnTo>
                        <a:pt x="185" y="80"/>
                      </a:lnTo>
                      <a:lnTo>
                        <a:pt x="187" y="84"/>
                      </a:lnTo>
                      <a:lnTo>
                        <a:pt x="191" y="89"/>
                      </a:lnTo>
                      <a:lnTo>
                        <a:pt x="193" y="94"/>
                      </a:lnTo>
                      <a:lnTo>
                        <a:pt x="198" y="99"/>
                      </a:lnTo>
                      <a:lnTo>
                        <a:pt x="202" y="104"/>
                      </a:lnTo>
                      <a:lnTo>
                        <a:pt x="202" y="105"/>
                      </a:lnTo>
                      <a:lnTo>
                        <a:pt x="205" y="105"/>
                      </a:lnTo>
                      <a:lnTo>
                        <a:pt x="208" y="106"/>
                      </a:lnTo>
                      <a:lnTo>
                        <a:pt x="213" y="108"/>
                      </a:lnTo>
                      <a:lnTo>
                        <a:pt x="216" y="112"/>
                      </a:lnTo>
                      <a:lnTo>
                        <a:pt x="223" y="113"/>
                      </a:lnTo>
                      <a:lnTo>
                        <a:pt x="223" y="114"/>
                      </a:lnTo>
                      <a:lnTo>
                        <a:pt x="227" y="116"/>
                      </a:lnTo>
                      <a:lnTo>
                        <a:pt x="231" y="122"/>
                      </a:lnTo>
                      <a:lnTo>
                        <a:pt x="237" y="125"/>
                      </a:lnTo>
                      <a:lnTo>
                        <a:pt x="242" y="126"/>
                      </a:lnTo>
                      <a:lnTo>
                        <a:pt x="246" y="124"/>
                      </a:lnTo>
                      <a:lnTo>
                        <a:pt x="247" y="124"/>
                      </a:lnTo>
                      <a:lnTo>
                        <a:pt x="252" y="124"/>
                      </a:lnTo>
                      <a:lnTo>
                        <a:pt x="252" y="124"/>
                      </a:lnTo>
                      <a:lnTo>
                        <a:pt x="252" y="125"/>
                      </a:lnTo>
                      <a:lnTo>
                        <a:pt x="252" y="125"/>
                      </a:lnTo>
                      <a:lnTo>
                        <a:pt x="252" y="126"/>
                      </a:lnTo>
                      <a:lnTo>
                        <a:pt x="253" y="126"/>
                      </a:lnTo>
                      <a:lnTo>
                        <a:pt x="253" y="125"/>
                      </a:lnTo>
                      <a:lnTo>
                        <a:pt x="254" y="126"/>
                      </a:lnTo>
                      <a:lnTo>
                        <a:pt x="254" y="126"/>
                      </a:lnTo>
                      <a:lnTo>
                        <a:pt x="254" y="126"/>
                      </a:lnTo>
                      <a:lnTo>
                        <a:pt x="255" y="127"/>
                      </a:lnTo>
                      <a:lnTo>
                        <a:pt x="256" y="128"/>
                      </a:lnTo>
                      <a:lnTo>
                        <a:pt x="256" y="128"/>
                      </a:lnTo>
                      <a:lnTo>
                        <a:pt x="256" y="128"/>
                      </a:lnTo>
                      <a:lnTo>
                        <a:pt x="257" y="128"/>
                      </a:lnTo>
                      <a:lnTo>
                        <a:pt x="258" y="129"/>
                      </a:lnTo>
                      <a:lnTo>
                        <a:pt x="258" y="130"/>
                      </a:lnTo>
                      <a:lnTo>
                        <a:pt x="258" y="130"/>
                      </a:lnTo>
                      <a:lnTo>
                        <a:pt x="259" y="130"/>
                      </a:lnTo>
                      <a:lnTo>
                        <a:pt x="259" y="130"/>
                      </a:lnTo>
                      <a:lnTo>
                        <a:pt x="259" y="130"/>
                      </a:lnTo>
                      <a:lnTo>
                        <a:pt x="260" y="130"/>
                      </a:lnTo>
                      <a:lnTo>
                        <a:pt x="261" y="129"/>
                      </a:lnTo>
                      <a:lnTo>
                        <a:pt x="261" y="129"/>
                      </a:lnTo>
                      <a:lnTo>
                        <a:pt x="262" y="129"/>
                      </a:lnTo>
                      <a:lnTo>
                        <a:pt x="263" y="128"/>
                      </a:lnTo>
                      <a:lnTo>
                        <a:pt x="263" y="128"/>
                      </a:lnTo>
                      <a:lnTo>
                        <a:pt x="263" y="127"/>
                      </a:lnTo>
                      <a:lnTo>
                        <a:pt x="263" y="126"/>
                      </a:lnTo>
                      <a:lnTo>
                        <a:pt x="263" y="126"/>
                      </a:lnTo>
                      <a:lnTo>
                        <a:pt x="263" y="125"/>
                      </a:lnTo>
                      <a:lnTo>
                        <a:pt x="273" y="130"/>
                      </a:lnTo>
                      <a:lnTo>
                        <a:pt x="276" y="132"/>
                      </a:lnTo>
                      <a:lnTo>
                        <a:pt x="281" y="132"/>
                      </a:lnTo>
                      <a:lnTo>
                        <a:pt x="284" y="134"/>
                      </a:lnTo>
                      <a:lnTo>
                        <a:pt x="288" y="137"/>
                      </a:lnTo>
                      <a:lnTo>
                        <a:pt x="289" y="137"/>
                      </a:lnTo>
                      <a:lnTo>
                        <a:pt x="289" y="137"/>
                      </a:lnTo>
                      <a:lnTo>
                        <a:pt x="290" y="137"/>
                      </a:lnTo>
                      <a:lnTo>
                        <a:pt x="290" y="138"/>
                      </a:lnTo>
                      <a:lnTo>
                        <a:pt x="290" y="138"/>
                      </a:lnTo>
                      <a:lnTo>
                        <a:pt x="291" y="138"/>
                      </a:lnTo>
                      <a:lnTo>
                        <a:pt x="292" y="138"/>
                      </a:lnTo>
                      <a:lnTo>
                        <a:pt x="292" y="139"/>
                      </a:lnTo>
                      <a:lnTo>
                        <a:pt x="292" y="139"/>
                      </a:lnTo>
                      <a:lnTo>
                        <a:pt x="292" y="140"/>
                      </a:lnTo>
                      <a:lnTo>
                        <a:pt x="293" y="140"/>
                      </a:lnTo>
                      <a:lnTo>
                        <a:pt x="294" y="140"/>
                      </a:lnTo>
                      <a:lnTo>
                        <a:pt x="294" y="141"/>
                      </a:lnTo>
                      <a:lnTo>
                        <a:pt x="294" y="141"/>
                      </a:lnTo>
                      <a:lnTo>
                        <a:pt x="295" y="141"/>
                      </a:lnTo>
                      <a:lnTo>
                        <a:pt x="295" y="140"/>
                      </a:lnTo>
                      <a:lnTo>
                        <a:pt x="296" y="140"/>
                      </a:lnTo>
                      <a:lnTo>
                        <a:pt x="296" y="141"/>
                      </a:lnTo>
                      <a:lnTo>
                        <a:pt x="297" y="141"/>
                      </a:lnTo>
                      <a:lnTo>
                        <a:pt x="297" y="141"/>
                      </a:lnTo>
                      <a:lnTo>
                        <a:pt x="298" y="141"/>
                      </a:lnTo>
                      <a:lnTo>
                        <a:pt x="298" y="141"/>
                      </a:lnTo>
                      <a:lnTo>
                        <a:pt x="299" y="141"/>
                      </a:lnTo>
                      <a:lnTo>
                        <a:pt x="299" y="142"/>
                      </a:lnTo>
                      <a:lnTo>
                        <a:pt x="299" y="142"/>
                      </a:lnTo>
                      <a:lnTo>
                        <a:pt x="300" y="143"/>
                      </a:lnTo>
                      <a:lnTo>
                        <a:pt x="300" y="143"/>
                      </a:lnTo>
                      <a:lnTo>
                        <a:pt x="300" y="144"/>
                      </a:lnTo>
                      <a:lnTo>
                        <a:pt x="301" y="144"/>
                      </a:lnTo>
                      <a:lnTo>
                        <a:pt x="301" y="143"/>
                      </a:lnTo>
                      <a:lnTo>
                        <a:pt x="301" y="143"/>
                      </a:lnTo>
                      <a:lnTo>
                        <a:pt x="301" y="143"/>
                      </a:lnTo>
                      <a:lnTo>
                        <a:pt x="301" y="142"/>
                      </a:lnTo>
                      <a:lnTo>
                        <a:pt x="301" y="141"/>
                      </a:lnTo>
                      <a:lnTo>
                        <a:pt x="302" y="141"/>
                      </a:lnTo>
                      <a:lnTo>
                        <a:pt x="302" y="141"/>
                      </a:lnTo>
                      <a:lnTo>
                        <a:pt x="302" y="140"/>
                      </a:lnTo>
                      <a:lnTo>
                        <a:pt x="302" y="139"/>
                      </a:lnTo>
                      <a:lnTo>
                        <a:pt x="303" y="139"/>
                      </a:lnTo>
                      <a:lnTo>
                        <a:pt x="303" y="139"/>
                      </a:lnTo>
                      <a:lnTo>
                        <a:pt x="303" y="138"/>
                      </a:lnTo>
                      <a:lnTo>
                        <a:pt x="303" y="139"/>
                      </a:lnTo>
                      <a:lnTo>
                        <a:pt x="303" y="138"/>
                      </a:lnTo>
                      <a:lnTo>
                        <a:pt x="304" y="138"/>
                      </a:lnTo>
                      <a:lnTo>
                        <a:pt x="305" y="138"/>
                      </a:lnTo>
                      <a:lnTo>
                        <a:pt x="305" y="138"/>
                      </a:lnTo>
                      <a:lnTo>
                        <a:pt x="306" y="138"/>
                      </a:lnTo>
                      <a:lnTo>
                        <a:pt x="307" y="138"/>
                      </a:lnTo>
                      <a:lnTo>
                        <a:pt x="307" y="137"/>
                      </a:lnTo>
                      <a:lnTo>
                        <a:pt x="307" y="137"/>
                      </a:lnTo>
                      <a:lnTo>
                        <a:pt x="307" y="137"/>
                      </a:lnTo>
                      <a:lnTo>
                        <a:pt x="307" y="136"/>
                      </a:lnTo>
                      <a:lnTo>
                        <a:pt x="307" y="135"/>
                      </a:lnTo>
                      <a:lnTo>
                        <a:pt x="308" y="135"/>
                      </a:lnTo>
                      <a:lnTo>
                        <a:pt x="308" y="135"/>
                      </a:lnTo>
                      <a:lnTo>
                        <a:pt x="309" y="135"/>
                      </a:lnTo>
                      <a:lnTo>
                        <a:pt x="309" y="134"/>
                      </a:lnTo>
                      <a:lnTo>
                        <a:pt x="309" y="134"/>
                      </a:lnTo>
                      <a:lnTo>
                        <a:pt x="309" y="133"/>
                      </a:lnTo>
                      <a:lnTo>
                        <a:pt x="310" y="133"/>
                      </a:lnTo>
                      <a:lnTo>
                        <a:pt x="310" y="134"/>
                      </a:lnTo>
                      <a:lnTo>
                        <a:pt x="310" y="133"/>
                      </a:lnTo>
                      <a:lnTo>
                        <a:pt x="311" y="133"/>
                      </a:lnTo>
                      <a:lnTo>
                        <a:pt x="311" y="134"/>
                      </a:lnTo>
                      <a:lnTo>
                        <a:pt x="311" y="133"/>
                      </a:lnTo>
                      <a:lnTo>
                        <a:pt x="311" y="132"/>
                      </a:lnTo>
                      <a:lnTo>
                        <a:pt x="310" y="132"/>
                      </a:lnTo>
                      <a:lnTo>
                        <a:pt x="310" y="132"/>
                      </a:lnTo>
                      <a:lnTo>
                        <a:pt x="310" y="131"/>
                      </a:lnTo>
                      <a:lnTo>
                        <a:pt x="310" y="130"/>
                      </a:lnTo>
                      <a:lnTo>
                        <a:pt x="311" y="130"/>
                      </a:lnTo>
                      <a:lnTo>
                        <a:pt x="311" y="130"/>
                      </a:lnTo>
                      <a:lnTo>
                        <a:pt x="311" y="130"/>
                      </a:lnTo>
                      <a:lnTo>
                        <a:pt x="311" y="130"/>
                      </a:lnTo>
                      <a:lnTo>
                        <a:pt x="311" y="130"/>
                      </a:lnTo>
                      <a:lnTo>
                        <a:pt x="312" y="130"/>
                      </a:lnTo>
                      <a:lnTo>
                        <a:pt x="313" y="130"/>
                      </a:lnTo>
                      <a:lnTo>
                        <a:pt x="313" y="129"/>
                      </a:lnTo>
                      <a:lnTo>
                        <a:pt x="313" y="128"/>
                      </a:lnTo>
                      <a:lnTo>
                        <a:pt x="312" y="128"/>
                      </a:lnTo>
                      <a:lnTo>
                        <a:pt x="312" y="129"/>
                      </a:lnTo>
                      <a:lnTo>
                        <a:pt x="311" y="130"/>
                      </a:lnTo>
                      <a:lnTo>
                        <a:pt x="311" y="130"/>
                      </a:lnTo>
                      <a:lnTo>
                        <a:pt x="310" y="130"/>
                      </a:lnTo>
                      <a:lnTo>
                        <a:pt x="310" y="129"/>
                      </a:lnTo>
                      <a:lnTo>
                        <a:pt x="310" y="128"/>
                      </a:lnTo>
                      <a:lnTo>
                        <a:pt x="310" y="128"/>
                      </a:lnTo>
                      <a:lnTo>
                        <a:pt x="309" y="128"/>
                      </a:lnTo>
                      <a:lnTo>
                        <a:pt x="309" y="128"/>
                      </a:lnTo>
                      <a:lnTo>
                        <a:pt x="308" y="127"/>
                      </a:lnTo>
                      <a:lnTo>
                        <a:pt x="307" y="127"/>
                      </a:lnTo>
                      <a:lnTo>
                        <a:pt x="307" y="126"/>
                      </a:lnTo>
                      <a:lnTo>
                        <a:pt x="307" y="126"/>
                      </a:lnTo>
                      <a:lnTo>
                        <a:pt x="307" y="126"/>
                      </a:lnTo>
                      <a:lnTo>
                        <a:pt x="307" y="125"/>
                      </a:lnTo>
                      <a:lnTo>
                        <a:pt x="307" y="126"/>
                      </a:lnTo>
                      <a:lnTo>
                        <a:pt x="307" y="125"/>
                      </a:lnTo>
                      <a:lnTo>
                        <a:pt x="307" y="124"/>
                      </a:lnTo>
                      <a:lnTo>
                        <a:pt x="306" y="124"/>
                      </a:lnTo>
                      <a:lnTo>
                        <a:pt x="306" y="124"/>
                      </a:lnTo>
                      <a:lnTo>
                        <a:pt x="306" y="123"/>
                      </a:lnTo>
                      <a:lnTo>
                        <a:pt x="305" y="123"/>
                      </a:lnTo>
                      <a:lnTo>
                        <a:pt x="305" y="122"/>
                      </a:lnTo>
                      <a:lnTo>
                        <a:pt x="305" y="122"/>
                      </a:lnTo>
                      <a:lnTo>
                        <a:pt x="306" y="122"/>
                      </a:lnTo>
                      <a:lnTo>
                        <a:pt x="306" y="121"/>
                      </a:lnTo>
                      <a:lnTo>
                        <a:pt x="307" y="121"/>
                      </a:lnTo>
                      <a:lnTo>
                        <a:pt x="307" y="120"/>
                      </a:lnTo>
                      <a:lnTo>
                        <a:pt x="307" y="120"/>
                      </a:lnTo>
                      <a:lnTo>
                        <a:pt x="307" y="120"/>
                      </a:lnTo>
                      <a:lnTo>
                        <a:pt x="308" y="120"/>
                      </a:lnTo>
                      <a:lnTo>
                        <a:pt x="308" y="119"/>
                      </a:lnTo>
                      <a:lnTo>
                        <a:pt x="309" y="119"/>
                      </a:lnTo>
                      <a:lnTo>
                        <a:pt x="309" y="118"/>
                      </a:lnTo>
                      <a:lnTo>
                        <a:pt x="309" y="118"/>
                      </a:lnTo>
                      <a:lnTo>
                        <a:pt x="308" y="118"/>
                      </a:lnTo>
                      <a:lnTo>
                        <a:pt x="308" y="117"/>
                      </a:lnTo>
                      <a:lnTo>
                        <a:pt x="308" y="116"/>
                      </a:lnTo>
                      <a:lnTo>
                        <a:pt x="307" y="116"/>
                      </a:lnTo>
                      <a:lnTo>
                        <a:pt x="308" y="116"/>
                      </a:lnTo>
                      <a:lnTo>
                        <a:pt x="307" y="116"/>
                      </a:lnTo>
                      <a:lnTo>
                        <a:pt x="307" y="117"/>
                      </a:lnTo>
                      <a:lnTo>
                        <a:pt x="307" y="117"/>
                      </a:lnTo>
                      <a:lnTo>
                        <a:pt x="306" y="117"/>
                      </a:lnTo>
                      <a:lnTo>
                        <a:pt x="306" y="116"/>
                      </a:lnTo>
                      <a:lnTo>
                        <a:pt x="305" y="116"/>
                      </a:lnTo>
                      <a:lnTo>
                        <a:pt x="305" y="116"/>
                      </a:lnTo>
                      <a:lnTo>
                        <a:pt x="305" y="116"/>
                      </a:lnTo>
                      <a:lnTo>
                        <a:pt x="305" y="116"/>
                      </a:lnTo>
                      <a:lnTo>
                        <a:pt x="305" y="116"/>
                      </a:lnTo>
                      <a:lnTo>
                        <a:pt x="305" y="117"/>
                      </a:lnTo>
                      <a:lnTo>
                        <a:pt x="305" y="117"/>
                      </a:lnTo>
                      <a:lnTo>
                        <a:pt x="304" y="117"/>
                      </a:lnTo>
                      <a:lnTo>
                        <a:pt x="304" y="116"/>
                      </a:lnTo>
                      <a:lnTo>
                        <a:pt x="303" y="116"/>
                      </a:lnTo>
                      <a:lnTo>
                        <a:pt x="303" y="117"/>
                      </a:lnTo>
                      <a:lnTo>
                        <a:pt x="303" y="117"/>
                      </a:lnTo>
                      <a:lnTo>
                        <a:pt x="303" y="116"/>
                      </a:lnTo>
                      <a:lnTo>
                        <a:pt x="303" y="117"/>
                      </a:lnTo>
                      <a:lnTo>
                        <a:pt x="303" y="116"/>
                      </a:lnTo>
                      <a:lnTo>
                        <a:pt x="303" y="116"/>
                      </a:lnTo>
                      <a:lnTo>
                        <a:pt x="302" y="116"/>
                      </a:lnTo>
                      <a:lnTo>
                        <a:pt x="302" y="115"/>
                      </a:lnTo>
                      <a:lnTo>
                        <a:pt x="301" y="115"/>
                      </a:lnTo>
                      <a:lnTo>
                        <a:pt x="301" y="114"/>
                      </a:lnTo>
                      <a:lnTo>
                        <a:pt x="301" y="115"/>
                      </a:lnTo>
                      <a:lnTo>
                        <a:pt x="302" y="115"/>
                      </a:lnTo>
                      <a:lnTo>
                        <a:pt x="302" y="114"/>
                      </a:lnTo>
                      <a:lnTo>
                        <a:pt x="303" y="114"/>
                      </a:lnTo>
                      <a:lnTo>
                        <a:pt x="303" y="114"/>
                      </a:lnTo>
                      <a:lnTo>
                        <a:pt x="302" y="114"/>
                      </a:lnTo>
                      <a:lnTo>
                        <a:pt x="303" y="114"/>
                      </a:lnTo>
                      <a:lnTo>
                        <a:pt x="303" y="113"/>
                      </a:lnTo>
                      <a:lnTo>
                        <a:pt x="302" y="113"/>
                      </a:lnTo>
                      <a:lnTo>
                        <a:pt x="302" y="112"/>
                      </a:lnTo>
                      <a:lnTo>
                        <a:pt x="302" y="113"/>
                      </a:lnTo>
                      <a:lnTo>
                        <a:pt x="301" y="112"/>
                      </a:lnTo>
                      <a:lnTo>
                        <a:pt x="301" y="111"/>
                      </a:lnTo>
                      <a:lnTo>
                        <a:pt x="301" y="111"/>
                      </a:lnTo>
                      <a:lnTo>
                        <a:pt x="300" y="111"/>
                      </a:lnTo>
                      <a:lnTo>
                        <a:pt x="301" y="111"/>
                      </a:lnTo>
                      <a:lnTo>
                        <a:pt x="301" y="111"/>
                      </a:lnTo>
                      <a:lnTo>
                        <a:pt x="301" y="110"/>
                      </a:lnTo>
                      <a:lnTo>
                        <a:pt x="301" y="109"/>
                      </a:lnTo>
                      <a:lnTo>
                        <a:pt x="300" y="109"/>
                      </a:lnTo>
                      <a:lnTo>
                        <a:pt x="300" y="108"/>
                      </a:lnTo>
                      <a:lnTo>
                        <a:pt x="300" y="107"/>
                      </a:lnTo>
                      <a:lnTo>
                        <a:pt x="300" y="107"/>
                      </a:lnTo>
                      <a:lnTo>
                        <a:pt x="300" y="106"/>
                      </a:lnTo>
                      <a:lnTo>
                        <a:pt x="299" y="105"/>
                      </a:lnTo>
                      <a:lnTo>
                        <a:pt x="299" y="105"/>
                      </a:lnTo>
                      <a:lnTo>
                        <a:pt x="299" y="104"/>
                      </a:lnTo>
                      <a:lnTo>
                        <a:pt x="299" y="103"/>
                      </a:lnTo>
                      <a:lnTo>
                        <a:pt x="299" y="103"/>
                      </a:lnTo>
                      <a:lnTo>
                        <a:pt x="299" y="102"/>
                      </a:lnTo>
                      <a:lnTo>
                        <a:pt x="299" y="102"/>
                      </a:lnTo>
                      <a:lnTo>
                        <a:pt x="299" y="101"/>
                      </a:lnTo>
                      <a:lnTo>
                        <a:pt x="299" y="101"/>
                      </a:lnTo>
                      <a:lnTo>
                        <a:pt x="300" y="100"/>
                      </a:lnTo>
                      <a:lnTo>
                        <a:pt x="301" y="99"/>
                      </a:lnTo>
                      <a:lnTo>
                        <a:pt x="301" y="99"/>
                      </a:lnTo>
                      <a:lnTo>
                        <a:pt x="301" y="99"/>
                      </a:lnTo>
                      <a:lnTo>
                        <a:pt x="302" y="99"/>
                      </a:lnTo>
                      <a:lnTo>
                        <a:pt x="303" y="99"/>
                      </a:lnTo>
                      <a:lnTo>
                        <a:pt x="303" y="98"/>
                      </a:lnTo>
                      <a:lnTo>
                        <a:pt x="304" y="98"/>
                      </a:lnTo>
                      <a:lnTo>
                        <a:pt x="305" y="98"/>
                      </a:lnTo>
                      <a:lnTo>
                        <a:pt x="305" y="98"/>
                      </a:lnTo>
                      <a:lnTo>
                        <a:pt x="306" y="98"/>
                      </a:lnTo>
                      <a:lnTo>
                        <a:pt x="307" y="98"/>
                      </a:lnTo>
                      <a:lnTo>
                        <a:pt x="307" y="97"/>
                      </a:lnTo>
                      <a:lnTo>
                        <a:pt x="307" y="98"/>
                      </a:lnTo>
                      <a:lnTo>
                        <a:pt x="307" y="98"/>
                      </a:lnTo>
                      <a:lnTo>
                        <a:pt x="308" y="98"/>
                      </a:lnTo>
                      <a:lnTo>
                        <a:pt x="308" y="99"/>
                      </a:lnTo>
                      <a:lnTo>
                        <a:pt x="309" y="99"/>
                      </a:lnTo>
                      <a:lnTo>
                        <a:pt x="309" y="99"/>
                      </a:lnTo>
                      <a:lnTo>
                        <a:pt x="310" y="99"/>
                      </a:lnTo>
                      <a:lnTo>
                        <a:pt x="311" y="99"/>
                      </a:lnTo>
                      <a:lnTo>
                        <a:pt x="311" y="99"/>
                      </a:lnTo>
                      <a:lnTo>
                        <a:pt x="312" y="98"/>
                      </a:lnTo>
                      <a:lnTo>
                        <a:pt x="313" y="98"/>
                      </a:lnTo>
                      <a:lnTo>
                        <a:pt x="313" y="98"/>
                      </a:lnTo>
                      <a:lnTo>
                        <a:pt x="313" y="97"/>
                      </a:lnTo>
                      <a:lnTo>
                        <a:pt x="314" y="97"/>
                      </a:lnTo>
                      <a:lnTo>
                        <a:pt x="315" y="97"/>
                      </a:lnTo>
                      <a:lnTo>
                        <a:pt x="316" y="97"/>
                      </a:lnTo>
                      <a:lnTo>
                        <a:pt x="316" y="97"/>
                      </a:lnTo>
                      <a:lnTo>
                        <a:pt x="317" y="97"/>
                      </a:lnTo>
                      <a:lnTo>
                        <a:pt x="317" y="97"/>
                      </a:lnTo>
                      <a:lnTo>
                        <a:pt x="318" y="97"/>
                      </a:lnTo>
                      <a:lnTo>
                        <a:pt x="318" y="96"/>
                      </a:lnTo>
                      <a:lnTo>
                        <a:pt x="318" y="96"/>
                      </a:lnTo>
                      <a:lnTo>
                        <a:pt x="319" y="96"/>
                      </a:lnTo>
                      <a:lnTo>
                        <a:pt x="320" y="95"/>
                      </a:lnTo>
                      <a:lnTo>
                        <a:pt x="320" y="95"/>
                      </a:lnTo>
                      <a:lnTo>
                        <a:pt x="321" y="95"/>
                      </a:lnTo>
                      <a:lnTo>
                        <a:pt x="322" y="95"/>
                      </a:lnTo>
                      <a:lnTo>
                        <a:pt x="322" y="95"/>
                      </a:lnTo>
                      <a:lnTo>
                        <a:pt x="322" y="95"/>
                      </a:lnTo>
                      <a:lnTo>
                        <a:pt x="323" y="95"/>
                      </a:lnTo>
                      <a:lnTo>
                        <a:pt x="324" y="95"/>
                      </a:lnTo>
                      <a:lnTo>
                        <a:pt x="324" y="95"/>
                      </a:lnTo>
                      <a:lnTo>
                        <a:pt x="325" y="95"/>
                      </a:lnTo>
                      <a:lnTo>
                        <a:pt x="326" y="95"/>
                      </a:lnTo>
                      <a:lnTo>
                        <a:pt x="326" y="95"/>
                      </a:lnTo>
                      <a:lnTo>
                        <a:pt x="327" y="95"/>
                      </a:lnTo>
                      <a:lnTo>
                        <a:pt x="328" y="95"/>
                      </a:lnTo>
                      <a:lnTo>
                        <a:pt x="328" y="95"/>
                      </a:lnTo>
                      <a:lnTo>
                        <a:pt x="329" y="95"/>
                      </a:lnTo>
                      <a:lnTo>
                        <a:pt x="330" y="95"/>
                      </a:lnTo>
                      <a:lnTo>
                        <a:pt x="330" y="95"/>
                      </a:lnTo>
                      <a:lnTo>
                        <a:pt x="330" y="96"/>
                      </a:lnTo>
                      <a:lnTo>
                        <a:pt x="331" y="96"/>
                      </a:lnTo>
                      <a:lnTo>
                        <a:pt x="332" y="97"/>
                      </a:lnTo>
                      <a:lnTo>
                        <a:pt x="332" y="97"/>
                      </a:lnTo>
                      <a:lnTo>
                        <a:pt x="333" y="97"/>
                      </a:lnTo>
                      <a:lnTo>
                        <a:pt x="334" y="97"/>
                      </a:lnTo>
                      <a:lnTo>
                        <a:pt x="335" y="97"/>
                      </a:lnTo>
                      <a:lnTo>
                        <a:pt x="335" y="97"/>
                      </a:lnTo>
                      <a:lnTo>
                        <a:pt x="336" y="97"/>
                      </a:lnTo>
                      <a:lnTo>
                        <a:pt x="337" y="97"/>
                      </a:lnTo>
                      <a:lnTo>
                        <a:pt x="337" y="97"/>
                      </a:lnTo>
                      <a:lnTo>
                        <a:pt x="338" y="97"/>
                      </a:lnTo>
                      <a:lnTo>
                        <a:pt x="339" y="97"/>
                      </a:lnTo>
                      <a:lnTo>
                        <a:pt x="339" y="97"/>
                      </a:lnTo>
                      <a:lnTo>
                        <a:pt x="340" y="97"/>
                      </a:lnTo>
                      <a:lnTo>
                        <a:pt x="341" y="97"/>
                      </a:lnTo>
                      <a:lnTo>
                        <a:pt x="341" y="97"/>
                      </a:lnTo>
                      <a:lnTo>
                        <a:pt x="343" y="97"/>
                      </a:lnTo>
                      <a:lnTo>
                        <a:pt x="343" y="97"/>
                      </a:lnTo>
                      <a:lnTo>
                        <a:pt x="344" y="97"/>
                      </a:lnTo>
                      <a:lnTo>
                        <a:pt x="345" y="97"/>
                      </a:lnTo>
                      <a:lnTo>
                        <a:pt x="345" y="97"/>
                      </a:lnTo>
                      <a:lnTo>
                        <a:pt x="346" y="97"/>
                      </a:lnTo>
                      <a:lnTo>
                        <a:pt x="347" y="97"/>
                      </a:lnTo>
                      <a:lnTo>
                        <a:pt x="348" y="97"/>
                      </a:lnTo>
                      <a:lnTo>
                        <a:pt x="349" y="97"/>
                      </a:lnTo>
                      <a:lnTo>
                        <a:pt x="349" y="97"/>
                      </a:lnTo>
                      <a:lnTo>
                        <a:pt x="350" y="97"/>
                      </a:lnTo>
                      <a:lnTo>
                        <a:pt x="351" y="97"/>
                      </a:lnTo>
                      <a:lnTo>
                        <a:pt x="351" y="98"/>
                      </a:lnTo>
                      <a:lnTo>
                        <a:pt x="352" y="98"/>
                      </a:lnTo>
                      <a:lnTo>
                        <a:pt x="353" y="98"/>
                      </a:lnTo>
                      <a:lnTo>
                        <a:pt x="354" y="99"/>
                      </a:lnTo>
                      <a:lnTo>
                        <a:pt x="354" y="99"/>
                      </a:lnTo>
                      <a:lnTo>
                        <a:pt x="355" y="99"/>
                      </a:lnTo>
                      <a:lnTo>
                        <a:pt x="356" y="99"/>
                      </a:lnTo>
                      <a:lnTo>
                        <a:pt x="356" y="99"/>
                      </a:lnTo>
                      <a:lnTo>
                        <a:pt x="356" y="99"/>
                      </a:lnTo>
                      <a:lnTo>
                        <a:pt x="356" y="100"/>
                      </a:lnTo>
                      <a:lnTo>
                        <a:pt x="357" y="100"/>
                      </a:lnTo>
                      <a:lnTo>
                        <a:pt x="358" y="101"/>
                      </a:lnTo>
                      <a:lnTo>
                        <a:pt x="358" y="101"/>
                      </a:lnTo>
                      <a:lnTo>
                        <a:pt x="358" y="101"/>
                      </a:lnTo>
                      <a:lnTo>
                        <a:pt x="359" y="102"/>
                      </a:lnTo>
                      <a:lnTo>
                        <a:pt x="359" y="103"/>
                      </a:lnTo>
                      <a:lnTo>
                        <a:pt x="360" y="103"/>
                      </a:lnTo>
                      <a:lnTo>
                        <a:pt x="360" y="103"/>
                      </a:lnTo>
                      <a:lnTo>
                        <a:pt x="361" y="104"/>
                      </a:lnTo>
                      <a:lnTo>
                        <a:pt x="362" y="104"/>
                      </a:lnTo>
                      <a:lnTo>
                        <a:pt x="362" y="104"/>
                      </a:lnTo>
                      <a:lnTo>
                        <a:pt x="362" y="105"/>
                      </a:lnTo>
                      <a:lnTo>
                        <a:pt x="363" y="104"/>
                      </a:lnTo>
                      <a:lnTo>
                        <a:pt x="364" y="105"/>
                      </a:lnTo>
                      <a:lnTo>
                        <a:pt x="364" y="105"/>
                      </a:lnTo>
                      <a:lnTo>
                        <a:pt x="365" y="105"/>
                      </a:lnTo>
                      <a:lnTo>
                        <a:pt x="366" y="105"/>
                      </a:lnTo>
                      <a:lnTo>
                        <a:pt x="366" y="105"/>
                      </a:lnTo>
                      <a:lnTo>
                        <a:pt x="367" y="106"/>
                      </a:lnTo>
                      <a:lnTo>
                        <a:pt x="367" y="107"/>
                      </a:lnTo>
                      <a:lnTo>
                        <a:pt x="368" y="107"/>
                      </a:lnTo>
                      <a:lnTo>
                        <a:pt x="368" y="107"/>
                      </a:lnTo>
                      <a:lnTo>
                        <a:pt x="368" y="107"/>
                      </a:lnTo>
                      <a:lnTo>
                        <a:pt x="369" y="107"/>
                      </a:lnTo>
                      <a:lnTo>
                        <a:pt x="369" y="108"/>
                      </a:lnTo>
                      <a:lnTo>
                        <a:pt x="370" y="108"/>
                      </a:lnTo>
                      <a:lnTo>
                        <a:pt x="370" y="109"/>
                      </a:lnTo>
                      <a:lnTo>
                        <a:pt x="370" y="109"/>
                      </a:lnTo>
                      <a:lnTo>
                        <a:pt x="370" y="110"/>
                      </a:lnTo>
                      <a:lnTo>
                        <a:pt x="370" y="109"/>
                      </a:lnTo>
                      <a:lnTo>
                        <a:pt x="374" y="106"/>
                      </a:lnTo>
                      <a:lnTo>
                        <a:pt x="374" y="105"/>
                      </a:lnTo>
                      <a:lnTo>
                        <a:pt x="374" y="105"/>
                      </a:lnTo>
                      <a:lnTo>
                        <a:pt x="375" y="104"/>
                      </a:lnTo>
                      <a:lnTo>
                        <a:pt x="375" y="103"/>
                      </a:lnTo>
                      <a:lnTo>
                        <a:pt x="375" y="103"/>
                      </a:lnTo>
                      <a:lnTo>
                        <a:pt x="375" y="103"/>
                      </a:lnTo>
                      <a:lnTo>
                        <a:pt x="375" y="102"/>
                      </a:lnTo>
                      <a:lnTo>
                        <a:pt x="375" y="101"/>
                      </a:lnTo>
                      <a:lnTo>
                        <a:pt x="375" y="101"/>
                      </a:lnTo>
                      <a:lnTo>
                        <a:pt x="376" y="100"/>
                      </a:lnTo>
                      <a:lnTo>
                        <a:pt x="376" y="99"/>
                      </a:lnTo>
                      <a:lnTo>
                        <a:pt x="377" y="99"/>
                      </a:lnTo>
                      <a:lnTo>
                        <a:pt x="377" y="98"/>
                      </a:lnTo>
                      <a:lnTo>
                        <a:pt x="377" y="97"/>
                      </a:lnTo>
                      <a:lnTo>
                        <a:pt x="377" y="97"/>
                      </a:lnTo>
                      <a:lnTo>
                        <a:pt x="378" y="97"/>
                      </a:lnTo>
                      <a:lnTo>
                        <a:pt x="378" y="96"/>
                      </a:lnTo>
                      <a:lnTo>
                        <a:pt x="377" y="96"/>
                      </a:lnTo>
                      <a:lnTo>
                        <a:pt x="378" y="95"/>
                      </a:lnTo>
                      <a:lnTo>
                        <a:pt x="377" y="95"/>
                      </a:lnTo>
                      <a:lnTo>
                        <a:pt x="377" y="95"/>
                      </a:lnTo>
                      <a:lnTo>
                        <a:pt x="378" y="95"/>
                      </a:lnTo>
                      <a:lnTo>
                        <a:pt x="377" y="95"/>
                      </a:lnTo>
                      <a:lnTo>
                        <a:pt x="377" y="94"/>
                      </a:lnTo>
                      <a:lnTo>
                        <a:pt x="378" y="94"/>
                      </a:lnTo>
                      <a:lnTo>
                        <a:pt x="378" y="93"/>
                      </a:lnTo>
                      <a:lnTo>
                        <a:pt x="378" y="92"/>
                      </a:lnTo>
                      <a:lnTo>
                        <a:pt x="378" y="92"/>
                      </a:lnTo>
                      <a:lnTo>
                        <a:pt x="379" y="92"/>
                      </a:lnTo>
                      <a:lnTo>
                        <a:pt x="379" y="91"/>
                      </a:lnTo>
                      <a:lnTo>
                        <a:pt x="379" y="91"/>
                      </a:lnTo>
                      <a:lnTo>
                        <a:pt x="380" y="90"/>
                      </a:lnTo>
                      <a:lnTo>
                        <a:pt x="381" y="90"/>
                      </a:lnTo>
                      <a:lnTo>
                        <a:pt x="381" y="90"/>
                      </a:lnTo>
                      <a:lnTo>
                        <a:pt x="381" y="90"/>
                      </a:lnTo>
                      <a:lnTo>
                        <a:pt x="382" y="90"/>
                      </a:lnTo>
                      <a:lnTo>
                        <a:pt x="383" y="90"/>
                      </a:lnTo>
                      <a:lnTo>
                        <a:pt x="383" y="90"/>
                      </a:lnTo>
                      <a:lnTo>
                        <a:pt x="384" y="90"/>
                      </a:lnTo>
                      <a:lnTo>
                        <a:pt x="385" y="90"/>
                      </a:lnTo>
                      <a:lnTo>
                        <a:pt x="385" y="90"/>
                      </a:lnTo>
                      <a:lnTo>
                        <a:pt x="385" y="89"/>
                      </a:lnTo>
                      <a:lnTo>
                        <a:pt x="386" y="89"/>
                      </a:lnTo>
                      <a:lnTo>
                        <a:pt x="386" y="88"/>
                      </a:lnTo>
                      <a:lnTo>
                        <a:pt x="387" y="88"/>
                      </a:lnTo>
                      <a:lnTo>
                        <a:pt x="387" y="88"/>
                      </a:lnTo>
                      <a:lnTo>
                        <a:pt x="388" y="88"/>
                      </a:lnTo>
                      <a:lnTo>
                        <a:pt x="388" y="87"/>
                      </a:lnTo>
                      <a:lnTo>
                        <a:pt x="389" y="87"/>
                      </a:lnTo>
                      <a:lnTo>
                        <a:pt x="388" y="87"/>
                      </a:lnTo>
                      <a:lnTo>
                        <a:pt x="388" y="86"/>
                      </a:lnTo>
                      <a:lnTo>
                        <a:pt x="389" y="86"/>
                      </a:lnTo>
                      <a:lnTo>
                        <a:pt x="389" y="86"/>
                      </a:lnTo>
                      <a:lnTo>
                        <a:pt x="389" y="85"/>
                      </a:lnTo>
                      <a:lnTo>
                        <a:pt x="389" y="85"/>
                      </a:lnTo>
                      <a:lnTo>
                        <a:pt x="389" y="86"/>
                      </a:lnTo>
                      <a:lnTo>
                        <a:pt x="389" y="85"/>
                      </a:lnTo>
                      <a:lnTo>
                        <a:pt x="390" y="85"/>
                      </a:lnTo>
                      <a:lnTo>
                        <a:pt x="389" y="84"/>
                      </a:lnTo>
                      <a:lnTo>
                        <a:pt x="390" y="84"/>
                      </a:lnTo>
                      <a:lnTo>
                        <a:pt x="390" y="84"/>
                      </a:lnTo>
                      <a:lnTo>
                        <a:pt x="390" y="83"/>
                      </a:lnTo>
                      <a:lnTo>
                        <a:pt x="390" y="82"/>
                      </a:lnTo>
                      <a:lnTo>
                        <a:pt x="390" y="82"/>
                      </a:lnTo>
                      <a:lnTo>
                        <a:pt x="390" y="81"/>
                      </a:lnTo>
                      <a:lnTo>
                        <a:pt x="389" y="81"/>
                      </a:lnTo>
                      <a:lnTo>
                        <a:pt x="389" y="80"/>
                      </a:lnTo>
                      <a:lnTo>
                        <a:pt x="389" y="80"/>
                      </a:lnTo>
                      <a:lnTo>
                        <a:pt x="389" y="80"/>
                      </a:lnTo>
                      <a:lnTo>
                        <a:pt x="389" y="79"/>
                      </a:lnTo>
                      <a:lnTo>
                        <a:pt x="389" y="78"/>
                      </a:lnTo>
                      <a:lnTo>
                        <a:pt x="389" y="78"/>
                      </a:lnTo>
                      <a:lnTo>
                        <a:pt x="389" y="77"/>
                      </a:lnTo>
                      <a:lnTo>
                        <a:pt x="389" y="76"/>
                      </a:lnTo>
                      <a:lnTo>
                        <a:pt x="389" y="76"/>
                      </a:lnTo>
                      <a:lnTo>
                        <a:pt x="389" y="75"/>
                      </a:lnTo>
                      <a:lnTo>
                        <a:pt x="389" y="74"/>
                      </a:lnTo>
                      <a:lnTo>
                        <a:pt x="389" y="73"/>
                      </a:lnTo>
                      <a:lnTo>
                        <a:pt x="389" y="73"/>
                      </a:lnTo>
                      <a:lnTo>
                        <a:pt x="389" y="72"/>
                      </a:lnTo>
                      <a:lnTo>
                        <a:pt x="389" y="71"/>
                      </a:lnTo>
                      <a:lnTo>
                        <a:pt x="389" y="71"/>
                      </a:lnTo>
                      <a:lnTo>
                        <a:pt x="389" y="70"/>
                      </a:lnTo>
                      <a:lnTo>
                        <a:pt x="390" y="70"/>
                      </a:lnTo>
                      <a:lnTo>
                        <a:pt x="391" y="70"/>
                      </a:lnTo>
                      <a:lnTo>
                        <a:pt x="391" y="69"/>
                      </a:lnTo>
                      <a:lnTo>
                        <a:pt x="390" y="69"/>
                      </a:lnTo>
                      <a:lnTo>
                        <a:pt x="390" y="69"/>
                      </a:lnTo>
                      <a:lnTo>
                        <a:pt x="390" y="68"/>
                      </a:lnTo>
                      <a:lnTo>
                        <a:pt x="390" y="67"/>
                      </a:lnTo>
                      <a:lnTo>
                        <a:pt x="389" y="67"/>
                      </a:lnTo>
                      <a:lnTo>
                        <a:pt x="389" y="67"/>
                      </a:lnTo>
                      <a:lnTo>
                        <a:pt x="389" y="66"/>
                      </a:lnTo>
                      <a:lnTo>
                        <a:pt x="389" y="66"/>
                      </a:lnTo>
                      <a:lnTo>
                        <a:pt x="389" y="65"/>
                      </a:lnTo>
                      <a:lnTo>
                        <a:pt x="388" y="65"/>
                      </a:lnTo>
                      <a:lnTo>
                        <a:pt x="388" y="65"/>
                      </a:lnTo>
                      <a:lnTo>
                        <a:pt x="387" y="65"/>
                      </a:lnTo>
                      <a:lnTo>
                        <a:pt x="387" y="64"/>
                      </a:lnTo>
                      <a:lnTo>
                        <a:pt x="387" y="64"/>
                      </a:lnTo>
                      <a:lnTo>
                        <a:pt x="386" y="64"/>
                      </a:lnTo>
                      <a:lnTo>
                        <a:pt x="386" y="63"/>
                      </a:lnTo>
                      <a:lnTo>
                        <a:pt x="385" y="63"/>
                      </a:lnTo>
                      <a:lnTo>
                        <a:pt x="385" y="63"/>
                      </a:lnTo>
                      <a:lnTo>
                        <a:pt x="385" y="63"/>
                      </a:lnTo>
                      <a:lnTo>
                        <a:pt x="385" y="62"/>
                      </a:lnTo>
                      <a:lnTo>
                        <a:pt x="384" y="62"/>
                      </a:lnTo>
                      <a:lnTo>
                        <a:pt x="383" y="62"/>
                      </a:lnTo>
                      <a:lnTo>
                        <a:pt x="383" y="61"/>
                      </a:lnTo>
                      <a:lnTo>
                        <a:pt x="383" y="61"/>
                      </a:lnTo>
                      <a:lnTo>
                        <a:pt x="383" y="60"/>
                      </a:lnTo>
                      <a:lnTo>
                        <a:pt x="383" y="59"/>
                      </a:lnTo>
                      <a:lnTo>
                        <a:pt x="383" y="59"/>
                      </a:lnTo>
                      <a:lnTo>
                        <a:pt x="383" y="58"/>
                      </a:lnTo>
                      <a:lnTo>
                        <a:pt x="383" y="57"/>
                      </a:lnTo>
                      <a:lnTo>
                        <a:pt x="384" y="57"/>
                      </a:lnTo>
                      <a:lnTo>
                        <a:pt x="384" y="57"/>
                      </a:lnTo>
                      <a:lnTo>
                        <a:pt x="385" y="57"/>
                      </a:lnTo>
                      <a:lnTo>
                        <a:pt x="385" y="56"/>
                      </a:lnTo>
                      <a:lnTo>
                        <a:pt x="386" y="56"/>
                      </a:lnTo>
                      <a:lnTo>
                        <a:pt x="386" y="55"/>
                      </a:lnTo>
                      <a:lnTo>
                        <a:pt x="387" y="55"/>
                      </a:lnTo>
                      <a:lnTo>
                        <a:pt x="387" y="54"/>
                      </a:lnTo>
                      <a:lnTo>
                        <a:pt x="386" y="53"/>
                      </a:lnTo>
                      <a:lnTo>
                        <a:pt x="385" y="52"/>
                      </a:lnTo>
                      <a:lnTo>
                        <a:pt x="384" y="51"/>
                      </a:lnTo>
                      <a:lnTo>
                        <a:pt x="383" y="48"/>
                      </a:lnTo>
                      <a:lnTo>
                        <a:pt x="384" y="48"/>
                      </a:lnTo>
                      <a:lnTo>
                        <a:pt x="384" y="48"/>
                      </a:lnTo>
                      <a:lnTo>
                        <a:pt x="384" y="48"/>
                      </a:lnTo>
                      <a:lnTo>
                        <a:pt x="385" y="48"/>
                      </a:lnTo>
                      <a:lnTo>
                        <a:pt x="384" y="48"/>
                      </a:lnTo>
                      <a:lnTo>
                        <a:pt x="384" y="47"/>
                      </a:lnTo>
                      <a:lnTo>
                        <a:pt x="384" y="46"/>
                      </a:lnTo>
                      <a:lnTo>
                        <a:pt x="383" y="46"/>
                      </a:lnTo>
                      <a:lnTo>
                        <a:pt x="383" y="46"/>
                      </a:lnTo>
                      <a:lnTo>
                        <a:pt x="383" y="45"/>
                      </a:lnTo>
                      <a:lnTo>
                        <a:pt x="383" y="44"/>
                      </a:lnTo>
                      <a:lnTo>
                        <a:pt x="383" y="44"/>
                      </a:lnTo>
                      <a:lnTo>
                        <a:pt x="383" y="43"/>
                      </a:lnTo>
                      <a:lnTo>
                        <a:pt x="383" y="42"/>
                      </a:lnTo>
                      <a:lnTo>
                        <a:pt x="383" y="42"/>
                      </a:lnTo>
                      <a:lnTo>
                        <a:pt x="382" y="42"/>
                      </a:lnTo>
                      <a:lnTo>
                        <a:pt x="382" y="41"/>
                      </a:lnTo>
                      <a:lnTo>
                        <a:pt x="381" y="41"/>
                      </a:lnTo>
                      <a:lnTo>
                        <a:pt x="381" y="40"/>
                      </a:lnTo>
                      <a:lnTo>
                        <a:pt x="382" y="40"/>
                      </a:lnTo>
                      <a:lnTo>
                        <a:pt x="382" y="40"/>
                      </a:lnTo>
                      <a:lnTo>
                        <a:pt x="383" y="39"/>
                      </a:lnTo>
                      <a:lnTo>
                        <a:pt x="383" y="38"/>
                      </a:lnTo>
                      <a:lnTo>
                        <a:pt x="383" y="38"/>
                      </a:lnTo>
                      <a:lnTo>
                        <a:pt x="384" y="38"/>
                      </a:lnTo>
                      <a:lnTo>
                        <a:pt x="384" y="38"/>
                      </a:lnTo>
                      <a:lnTo>
                        <a:pt x="384" y="37"/>
                      </a:lnTo>
                      <a:lnTo>
                        <a:pt x="384" y="36"/>
                      </a:lnTo>
                      <a:lnTo>
                        <a:pt x="384" y="36"/>
                      </a:lnTo>
                      <a:lnTo>
                        <a:pt x="384" y="35"/>
                      </a:lnTo>
                      <a:lnTo>
                        <a:pt x="384" y="34"/>
                      </a:lnTo>
                      <a:lnTo>
                        <a:pt x="383" y="34"/>
                      </a:lnTo>
                      <a:lnTo>
                        <a:pt x="383" y="34"/>
                      </a:lnTo>
                      <a:lnTo>
                        <a:pt x="382" y="34"/>
                      </a:lnTo>
                      <a:lnTo>
                        <a:pt x="381" y="33"/>
                      </a:lnTo>
                      <a:lnTo>
                        <a:pt x="381" y="33"/>
                      </a:lnTo>
                      <a:lnTo>
                        <a:pt x="381" y="33"/>
                      </a:lnTo>
                      <a:lnTo>
                        <a:pt x="380" y="33"/>
                      </a:lnTo>
                      <a:lnTo>
                        <a:pt x="380" y="32"/>
                      </a:lnTo>
                      <a:lnTo>
                        <a:pt x="379" y="31"/>
                      </a:lnTo>
                      <a:lnTo>
                        <a:pt x="379" y="31"/>
                      </a:lnTo>
                      <a:lnTo>
                        <a:pt x="379" y="31"/>
                      </a:lnTo>
                      <a:lnTo>
                        <a:pt x="378" y="31"/>
                      </a:lnTo>
                      <a:lnTo>
                        <a:pt x="377" y="31"/>
                      </a:lnTo>
                      <a:lnTo>
                        <a:pt x="377" y="30"/>
                      </a:lnTo>
                      <a:lnTo>
                        <a:pt x="377" y="30"/>
                      </a:lnTo>
                      <a:lnTo>
                        <a:pt x="377" y="29"/>
                      </a:lnTo>
                      <a:lnTo>
                        <a:pt x="377" y="30"/>
                      </a:lnTo>
                      <a:lnTo>
                        <a:pt x="377" y="29"/>
                      </a:lnTo>
                      <a:lnTo>
                        <a:pt x="376" y="29"/>
                      </a:lnTo>
                      <a:lnTo>
                        <a:pt x="376" y="29"/>
                      </a:lnTo>
                      <a:lnTo>
                        <a:pt x="376" y="28"/>
                      </a:lnTo>
                      <a:lnTo>
                        <a:pt x="375" y="28"/>
                      </a:lnTo>
                      <a:lnTo>
                        <a:pt x="375" y="27"/>
                      </a:lnTo>
                      <a:lnTo>
                        <a:pt x="375" y="27"/>
                      </a:lnTo>
                      <a:lnTo>
                        <a:pt x="376" y="27"/>
                      </a:lnTo>
                      <a:lnTo>
                        <a:pt x="376" y="26"/>
                      </a:lnTo>
                      <a:lnTo>
                        <a:pt x="375" y="26"/>
                      </a:lnTo>
                      <a:lnTo>
                        <a:pt x="375" y="25"/>
                      </a:lnTo>
                      <a:lnTo>
                        <a:pt x="375" y="26"/>
                      </a:lnTo>
                      <a:lnTo>
                        <a:pt x="375" y="26"/>
                      </a:lnTo>
                      <a:lnTo>
                        <a:pt x="375" y="25"/>
                      </a:lnTo>
                      <a:lnTo>
                        <a:pt x="375" y="25"/>
                      </a:lnTo>
                      <a:lnTo>
                        <a:pt x="375" y="24"/>
                      </a:lnTo>
                      <a:lnTo>
                        <a:pt x="374" y="24"/>
                      </a:lnTo>
                      <a:lnTo>
                        <a:pt x="374" y="23"/>
                      </a:lnTo>
                      <a:lnTo>
                        <a:pt x="373" y="23"/>
                      </a:lnTo>
                      <a:lnTo>
                        <a:pt x="373" y="23"/>
                      </a:lnTo>
                      <a:lnTo>
                        <a:pt x="373" y="22"/>
                      </a:lnTo>
                      <a:lnTo>
                        <a:pt x="373" y="22"/>
                      </a:lnTo>
                      <a:lnTo>
                        <a:pt x="373" y="21"/>
                      </a:lnTo>
                      <a:lnTo>
                        <a:pt x="373" y="21"/>
                      </a:lnTo>
                      <a:lnTo>
                        <a:pt x="374" y="21"/>
                      </a:lnTo>
                      <a:lnTo>
                        <a:pt x="375" y="21"/>
                      </a:lnTo>
                      <a:lnTo>
                        <a:pt x="375" y="21"/>
                      </a:lnTo>
                      <a:lnTo>
                        <a:pt x="376" y="21"/>
                      </a:lnTo>
                      <a:lnTo>
                        <a:pt x="377" y="21"/>
                      </a:lnTo>
                      <a:lnTo>
                        <a:pt x="377" y="21"/>
                      </a:lnTo>
                      <a:lnTo>
                        <a:pt x="378" y="21"/>
                      </a:lnTo>
                      <a:lnTo>
                        <a:pt x="379" y="21"/>
                      </a:lnTo>
                      <a:lnTo>
                        <a:pt x="379" y="22"/>
                      </a:lnTo>
                      <a:lnTo>
                        <a:pt x="379" y="22"/>
                      </a:lnTo>
                      <a:lnTo>
                        <a:pt x="380" y="22"/>
                      </a:lnTo>
                      <a:lnTo>
                        <a:pt x="381" y="22"/>
                      </a:lnTo>
                      <a:lnTo>
                        <a:pt x="381" y="22"/>
                      </a:lnTo>
                      <a:lnTo>
                        <a:pt x="382" y="22"/>
                      </a:lnTo>
                      <a:lnTo>
                        <a:pt x="383" y="23"/>
                      </a:lnTo>
                      <a:lnTo>
                        <a:pt x="384" y="24"/>
                      </a:lnTo>
                      <a:lnTo>
                        <a:pt x="386" y="23"/>
                      </a:lnTo>
                      <a:lnTo>
                        <a:pt x="387" y="24"/>
                      </a:lnTo>
                      <a:lnTo>
                        <a:pt x="387" y="24"/>
                      </a:lnTo>
                      <a:lnTo>
                        <a:pt x="387" y="25"/>
                      </a:lnTo>
                      <a:lnTo>
                        <a:pt x="388" y="25"/>
                      </a:lnTo>
                      <a:lnTo>
                        <a:pt x="389" y="25"/>
                      </a:lnTo>
                      <a:lnTo>
                        <a:pt x="389" y="25"/>
                      </a:lnTo>
                      <a:lnTo>
                        <a:pt x="390" y="25"/>
                      </a:lnTo>
                      <a:lnTo>
                        <a:pt x="391" y="25"/>
                      </a:lnTo>
                      <a:lnTo>
                        <a:pt x="392" y="25"/>
                      </a:lnTo>
                      <a:lnTo>
                        <a:pt x="392" y="25"/>
                      </a:lnTo>
                      <a:lnTo>
                        <a:pt x="393" y="25"/>
                      </a:lnTo>
                      <a:lnTo>
                        <a:pt x="394" y="25"/>
                      </a:lnTo>
                      <a:lnTo>
                        <a:pt x="394" y="25"/>
                      </a:lnTo>
                      <a:lnTo>
                        <a:pt x="395" y="24"/>
                      </a:lnTo>
                      <a:lnTo>
                        <a:pt x="396" y="24"/>
                      </a:lnTo>
                      <a:lnTo>
                        <a:pt x="396" y="24"/>
                      </a:lnTo>
                      <a:lnTo>
                        <a:pt x="397" y="24"/>
                      </a:lnTo>
                      <a:lnTo>
                        <a:pt x="398" y="23"/>
                      </a:lnTo>
                      <a:lnTo>
                        <a:pt x="398" y="23"/>
                      </a:lnTo>
                      <a:lnTo>
                        <a:pt x="399" y="23"/>
                      </a:lnTo>
                      <a:lnTo>
                        <a:pt x="399" y="23"/>
                      </a:lnTo>
                      <a:lnTo>
                        <a:pt x="400" y="23"/>
                      </a:lnTo>
                      <a:lnTo>
                        <a:pt x="400" y="22"/>
                      </a:lnTo>
                      <a:lnTo>
                        <a:pt x="400" y="22"/>
                      </a:lnTo>
                      <a:lnTo>
                        <a:pt x="401" y="21"/>
                      </a:lnTo>
                      <a:lnTo>
                        <a:pt x="402" y="19"/>
                      </a:lnTo>
                      <a:lnTo>
                        <a:pt x="403" y="19"/>
                      </a:lnTo>
                      <a:lnTo>
                        <a:pt x="404" y="19"/>
                      </a:lnTo>
                      <a:lnTo>
                        <a:pt x="404" y="18"/>
                      </a:lnTo>
                      <a:lnTo>
                        <a:pt x="404" y="18"/>
                      </a:lnTo>
                      <a:lnTo>
                        <a:pt x="404" y="17"/>
                      </a:lnTo>
                      <a:lnTo>
                        <a:pt x="405" y="17"/>
                      </a:lnTo>
                      <a:lnTo>
                        <a:pt x="406" y="17"/>
                      </a:lnTo>
                      <a:lnTo>
                        <a:pt x="407" y="17"/>
                      </a:lnTo>
                      <a:lnTo>
                        <a:pt x="408" y="17"/>
                      </a:lnTo>
                      <a:lnTo>
                        <a:pt x="409" y="17"/>
                      </a:lnTo>
                      <a:lnTo>
                        <a:pt x="409" y="16"/>
                      </a:lnTo>
                      <a:lnTo>
                        <a:pt x="410" y="16"/>
                      </a:lnTo>
                      <a:lnTo>
                        <a:pt x="411" y="16"/>
                      </a:lnTo>
                      <a:lnTo>
                        <a:pt x="412" y="15"/>
                      </a:lnTo>
                      <a:lnTo>
                        <a:pt x="413" y="15"/>
                      </a:lnTo>
                      <a:lnTo>
                        <a:pt x="413" y="15"/>
                      </a:lnTo>
                      <a:lnTo>
                        <a:pt x="413" y="15"/>
                      </a:lnTo>
                      <a:lnTo>
                        <a:pt x="413" y="14"/>
                      </a:lnTo>
                      <a:lnTo>
                        <a:pt x="414" y="14"/>
                      </a:lnTo>
                      <a:lnTo>
                        <a:pt x="414" y="13"/>
                      </a:lnTo>
                      <a:lnTo>
                        <a:pt x="414" y="12"/>
                      </a:lnTo>
                      <a:lnTo>
                        <a:pt x="415" y="12"/>
                      </a:lnTo>
                      <a:lnTo>
                        <a:pt x="415" y="12"/>
                      </a:lnTo>
                      <a:lnTo>
                        <a:pt x="415" y="11"/>
                      </a:lnTo>
                      <a:lnTo>
                        <a:pt x="415" y="10"/>
                      </a:lnTo>
                      <a:lnTo>
                        <a:pt x="415" y="10"/>
                      </a:lnTo>
                      <a:lnTo>
                        <a:pt x="415" y="10"/>
                      </a:lnTo>
                      <a:lnTo>
                        <a:pt x="416" y="9"/>
                      </a:lnTo>
                      <a:lnTo>
                        <a:pt x="416" y="8"/>
                      </a:lnTo>
                      <a:lnTo>
                        <a:pt x="417" y="8"/>
                      </a:lnTo>
                      <a:lnTo>
                        <a:pt x="417" y="7"/>
                      </a:lnTo>
                      <a:lnTo>
                        <a:pt x="417" y="6"/>
                      </a:lnTo>
                      <a:lnTo>
                        <a:pt x="418" y="6"/>
                      </a:lnTo>
                      <a:lnTo>
                        <a:pt x="418" y="5"/>
                      </a:lnTo>
                      <a:lnTo>
                        <a:pt x="418" y="4"/>
                      </a:lnTo>
                      <a:lnTo>
                        <a:pt x="418" y="3"/>
                      </a:lnTo>
                      <a:lnTo>
                        <a:pt x="419" y="2"/>
                      </a:lnTo>
                      <a:lnTo>
                        <a:pt x="419" y="2"/>
                      </a:lnTo>
                      <a:lnTo>
                        <a:pt x="419" y="1"/>
                      </a:lnTo>
                      <a:lnTo>
                        <a:pt x="419" y="0"/>
                      </a:lnTo>
                      <a:lnTo>
                        <a:pt x="420" y="0"/>
                      </a:lnTo>
                      <a:lnTo>
                        <a:pt x="420" y="1"/>
                      </a:lnTo>
                      <a:lnTo>
                        <a:pt x="421" y="1"/>
                      </a:lnTo>
                      <a:lnTo>
                        <a:pt x="421" y="0"/>
                      </a:lnTo>
                      <a:lnTo>
                        <a:pt x="421" y="1"/>
                      </a:lnTo>
                      <a:lnTo>
                        <a:pt x="421" y="1"/>
                      </a:lnTo>
                      <a:lnTo>
                        <a:pt x="421" y="2"/>
                      </a:lnTo>
                      <a:lnTo>
                        <a:pt x="422" y="2"/>
                      </a:lnTo>
                      <a:lnTo>
                        <a:pt x="422" y="2"/>
                      </a:lnTo>
                      <a:lnTo>
                        <a:pt x="423" y="2"/>
                      </a:lnTo>
                      <a:lnTo>
                        <a:pt x="423" y="3"/>
                      </a:lnTo>
                      <a:lnTo>
                        <a:pt x="423" y="4"/>
                      </a:lnTo>
                      <a:lnTo>
                        <a:pt x="423" y="4"/>
                      </a:lnTo>
                      <a:lnTo>
                        <a:pt x="423" y="4"/>
                      </a:lnTo>
                      <a:lnTo>
                        <a:pt x="424" y="4"/>
                      </a:lnTo>
                      <a:lnTo>
                        <a:pt x="424" y="5"/>
                      </a:lnTo>
                      <a:lnTo>
                        <a:pt x="425" y="5"/>
                      </a:lnTo>
                      <a:lnTo>
                        <a:pt x="425" y="4"/>
                      </a:lnTo>
                      <a:lnTo>
                        <a:pt x="425" y="5"/>
                      </a:lnTo>
                      <a:lnTo>
                        <a:pt x="425" y="5"/>
                      </a:lnTo>
                      <a:lnTo>
                        <a:pt x="425" y="4"/>
                      </a:lnTo>
                      <a:lnTo>
                        <a:pt x="425" y="4"/>
                      </a:lnTo>
                      <a:lnTo>
                        <a:pt x="426" y="4"/>
                      </a:lnTo>
                      <a:lnTo>
                        <a:pt x="427" y="4"/>
                      </a:lnTo>
                      <a:lnTo>
                        <a:pt x="427" y="4"/>
                      </a:lnTo>
                      <a:lnTo>
                        <a:pt x="427" y="5"/>
                      </a:lnTo>
                      <a:lnTo>
                        <a:pt x="428" y="5"/>
                      </a:lnTo>
                      <a:lnTo>
                        <a:pt x="428" y="6"/>
                      </a:lnTo>
                      <a:lnTo>
                        <a:pt x="428" y="6"/>
                      </a:lnTo>
                      <a:lnTo>
                        <a:pt x="429" y="6"/>
                      </a:lnTo>
                      <a:lnTo>
                        <a:pt x="429" y="6"/>
                      </a:lnTo>
                      <a:lnTo>
                        <a:pt x="430" y="6"/>
                      </a:lnTo>
                      <a:lnTo>
                        <a:pt x="430" y="6"/>
                      </a:lnTo>
                      <a:lnTo>
                        <a:pt x="430" y="6"/>
                      </a:lnTo>
                      <a:lnTo>
                        <a:pt x="431" y="5"/>
                      </a:lnTo>
                      <a:lnTo>
                        <a:pt x="432" y="4"/>
                      </a:lnTo>
                      <a:lnTo>
                        <a:pt x="432" y="4"/>
                      </a:lnTo>
                      <a:lnTo>
                        <a:pt x="433" y="4"/>
                      </a:lnTo>
                      <a:lnTo>
                        <a:pt x="434" y="4"/>
                      </a:lnTo>
                      <a:lnTo>
                        <a:pt x="434" y="3"/>
                      </a:lnTo>
                      <a:lnTo>
                        <a:pt x="435" y="3"/>
                      </a:lnTo>
                      <a:lnTo>
                        <a:pt x="436" y="3"/>
                      </a:lnTo>
                      <a:lnTo>
                        <a:pt x="436" y="3"/>
                      </a:lnTo>
                      <a:lnTo>
                        <a:pt x="437" y="4"/>
                      </a:lnTo>
                      <a:lnTo>
                        <a:pt x="438" y="4"/>
                      </a:lnTo>
                      <a:lnTo>
                        <a:pt x="438" y="4"/>
                      </a:lnTo>
                      <a:lnTo>
                        <a:pt x="440" y="6"/>
                      </a:lnTo>
                      <a:lnTo>
                        <a:pt x="440" y="6"/>
                      </a:lnTo>
                      <a:lnTo>
                        <a:pt x="440" y="6"/>
                      </a:lnTo>
                      <a:lnTo>
                        <a:pt x="441" y="6"/>
                      </a:lnTo>
                      <a:lnTo>
                        <a:pt x="442" y="6"/>
                      </a:lnTo>
                      <a:lnTo>
                        <a:pt x="442" y="5"/>
                      </a:lnTo>
                      <a:lnTo>
                        <a:pt x="442" y="5"/>
                      </a:lnTo>
                      <a:lnTo>
                        <a:pt x="443" y="4"/>
                      </a:lnTo>
                      <a:lnTo>
                        <a:pt x="444" y="4"/>
                      </a:lnTo>
                      <a:lnTo>
                        <a:pt x="444" y="4"/>
                      </a:lnTo>
                      <a:lnTo>
                        <a:pt x="445" y="4"/>
                      </a:lnTo>
                      <a:lnTo>
                        <a:pt x="446" y="4"/>
                      </a:lnTo>
                      <a:lnTo>
                        <a:pt x="447" y="4"/>
                      </a:lnTo>
                      <a:lnTo>
                        <a:pt x="447" y="3"/>
                      </a:lnTo>
                      <a:lnTo>
                        <a:pt x="447" y="3"/>
                      </a:lnTo>
                      <a:lnTo>
                        <a:pt x="447" y="4"/>
                      </a:lnTo>
                      <a:lnTo>
                        <a:pt x="448" y="4"/>
                      </a:lnTo>
                      <a:lnTo>
                        <a:pt x="448" y="3"/>
                      </a:lnTo>
                      <a:lnTo>
                        <a:pt x="449" y="3"/>
                      </a:lnTo>
                      <a:lnTo>
                        <a:pt x="449" y="3"/>
                      </a:lnTo>
                      <a:lnTo>
                        <a:pt x="450" y="3"/>
                      </a:lnTo>
                      <a:lnTo>
                        <a:pt x="450" y="2"/>
                      </a:lnTo>
                      <a:lnTo>
                        <a:pt x="451" y="2"/>
                      </a:lnTo>
                      <a:lnTo>
                        <a:pt x="451" y="2"/>
                      </a:lnTo>
                      <a:lnTo>
                        <a:pt x="452" y="3"/>
                      </a:lnTo>
                      <a:lnTo>
                        <a:pt x="453" y="3"/>
                      </a:lnTo>
                      <a:lnTo>
                        <a:pt x="453" y="4"/>
                      </a:lnTo>
                      <a:lnTo>
                        <a:pt x="453" y="4"/>
                      </a:lnTo>
                      <a:lnTo>
                        <a:pt x="453" y="4"/>
                      </a:lnTo>
                      <a:lnTo>
                        <a:pt x="453" y="5"/>
                      </a:lnTo>
                      <a:lnTo>
                        <a:pt x="454" y="5"/>
                      </a:lnTo>
                      <a:lnTo>
                        <a:pt x="455" y="5"/>
                      </a:lnTo>
                      <a:lnTo>
                        <a:pt x="455" y="5"/>
                      </a:lnTo>
                      <a:lnTo>
                        <a:pt x="455" y="6"/>
                      </a:lnTo>
                      <a:lnTo>
                        <a:pt x="456" y="6"/>
                      </a:lnTo>
                      <a:lnTo>
                        <a:pt x="456" y="6"/>
                      </a:lnTo>
                      <a:lnTo>
                        <a:pt x="457" y="6"/>
                      </a:lnTo>
                      <a:lnTo>
                        <a:pt x="457" y="6"/>
                      </a:lnTo>
                      <a:lnTo>
                        <a:pt x="457" y="7"/>
                      </a:lnTo>
                      <a:lnTo>
                        <a:pt x="458" y="7"/>
                      </a:lnTo>
                      <a:lnTo>
                        <a:pt x="458" y="8"/>
                      </a:lnTo>
                      <a:lnTo>
                        <a:pt x="459" y="8"/>
                      </a:lnTo>
                      <a:lnTo>
                        <a:pt x="459" y="8"/>
                      </a:lnTo>
                      <a:lnTo>
                        <a:pt x="460" y="9"/>
                      </a:lnTo>
                      <a:lnTo>
                        <a:pt x="461" y="9"/>
                      </a:lnTo>
                      <a:lnTo>
                        <a:pt x="462" y="10"/>
                      </a:lnTo>
                      <a:lnTo>
                        <a:pt x="463" y="1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3" name="Freeform 70">
                  <a:extLst>
                    <a:ext uri="{FF2B5EF4-FFF2-40B4-BE49-F238E27FC236}">
                      <a16:creationId xmlns:a16="http://schemas.microsoft.com/office/drawing/2014/main" xmlns="" id="{227ADCC3-3339-AA5D-2460-A0A0333DF7F4}"/>
                    </a:ext>
                  </a:extLst>
                </p:cNvPr>
                <p:cNvSpPr>
                  <a:spLocks/>
                </p:cNvSpPr>
                <p:nvPr/>
              </p:nvSpPr>
              <p:spPr bwMode="auto">
                <a:xfrm>
                  <a:off x="2683" y="2879"/>
                  <a:ext cx="206" cy="440"/>
                </a:xfrm>
                <a:custGeom>
                  <a:avLst/>
                  <a:gdLst>
                    <a:gd name="T0" fmla="*/ 9 w 206"/>
                    <a:gd name="T1" fmla="*/ 432 h 440"/>
                    <a:gd name="T2" fmla="*/ 14 w 206"/>
                    <a:gd name="T3" fmla="*/ 438 h 440"/>
                    <a:gd name="T4" fmla="*/ 23 w 206"/>
                    <a:gd name="T5" fmla="*/ 439 h 440"/>
                    <a:gd name="T6" fmla="*/ 30 w 206"/>
                    <a:gd name="T7" fmla="*/ 435 h 440"/>
                    <a:gd name="T8" fmla="*/ 38 w 206"/>
                    <a:gd name="T9" fmla="*/ 433 h 440"/>
                    <a:gd name="T10" fmla="*/ 45 w 206"/>
                    <a:gd name="T11" fmla="*/ 433 h 440"/>
                    <a:gd name="T12" fmla="*/ 60 w 206"/>
                    <a:gd name="T13" fmla="*/ 434 h 440"/>
                    <a:gd name="T14" fmla="*/ 74 w 206"/>
                    <a:gd name="T15" fmla="*/ 431 h 440"/>
                    <a:gd name="T16" fmla="*/ 140 w 206"/>
                    <a:gd name="T17" fmla="*/ 437 h 440"/>
                    <a:gd name="T18" fmla="*/ 173 w 206"/>
                    <a:gd name="T19" fmla="*/ 385 h 440"/>
                    <a:gd name="T20" fmla="*/ 186 w 206"/>
                    <a:gd name="T21" fmla="*/ 379 h 440"/>
                    <a:gd name="T22" fmla="*/ 194 w 206"/>
                    <a:gd name="T23" fmla="*/ 381 h 440"/>
                    <a:gd name="T24" fmla="*/ 203 w 206"/>
                    <a:gd name="T25" fmla="*/ 361 h 440"/>
                    <a:gd name="T26" fmla="*/ 205 w 206"/>
                    <a:gd name="T27" fmla="*/ 343 h 440"/>
                    <a:gd name="T28" fmla="*/ 193 w 206"/>
                    <a:gd name="T29" fmla="*/ 330 h 440"/>
                    <a:gd name="T30" fmla="*/ 178 w 206"/>
                    <a:gd name="T31" fmla="*/ 312 h 440"/>
                    <a:gd name="T32" fmla="*/ 172 w 206"/>
                    <a:gd name="T33" fmla="*/ 315 h 440"/>
                    <a:gd name="T34" fmla="*/ 151 w 206"/>
                    <a:gd name="T35" fmla="*/ 303 h 440"/>
                    <a:gd name="T36" fmla="*/ 144 w 206"/>
                    <a:gd name="T37" fmla="*/ 282 h 440"/>
                    <a:gd name="T38" fmla="*/ 135 w 206"/>
                    <a:gd name="T39" fmla="*/ 256 h 440"/>
                    <a:gd name="T40" fmla="*/ 127 w 206"/>
                    <a:gd name="T41" fmla="*/ 242 h 440"/>
                    <a:gd name="T42" fmla="*/ 117 w 206"/>
                    <a:gd name="T43" fmla="*/ 240 h 440"/>
                    <a:gd name="T44" fmla="*/ 109 w 206"/>
                    <a:gd name="T45" fmla="*/ 240 h 440"/>
                    <a:gd name="T46" fmla="*/ 92 w 206"/>
                    <a:gd name="T47" fmla="*/ 258 h 440"/>
                    <a:gd name="T48" fmla="*/ 79 w 206"/>
                    <a:gd name="T49" fmla="*/ 240 h 440"/>
                    <a:gd name="T50" fmla="*/ 74 w 206"/>
                    <a:gd name="T51" fmla="*/ 229 h 440"/>
                    <a:gd name="T52" fmla="*/ 65 w 206"/>
                    <a:gd name="T53" fmla="*/ 223 h 440"/>
                    <a:gd name="T54" fmla="*/ 61 w 206"/>
                    <a:gd name="T55" fmla="*/ 206 h 440"/>
                    <a:gd name="T56" fmla="*/ 59 w 206"/>
                    <a:gd name="T57" fmla="*/ 198 h 440"/>
                    <a:gd name="T58" fmla="*/ 52 w 206"/>
                    <a:gd name="T59" fmla="*/ 180 h 440"/>
                    <a:gd name="T60" fmla="*/ 43 w 206"/>
                    <a:gd name="T61" fmla="*/ 149 h 440"/>
                    <a:gd name="T62" fmla="*/ 62 w 206"/>
                    <a:gd name="T63" fmla="*/ 131 h 440"/>
                    <a:gd name="T64" fmla="*/ 70 w 206"/>
                    <a:gd name="T65" fmla="*/ 127 h 440"/>
                    <a:gd name="T66" fmla="*/ 80 w 206"/>
                    <a:gd name="T67" fmla="*/ 127 h 440"/>
                    <a:gd name="T68" fmla="*/ 85 w 206"/>
                    <a:gd name="T69" fmla="*/ 125 h 440"/>
                    <a:gd name="T70" fmla="*/ 89 w 206"/>
                    <a:gd name="T71" fmla="*/ 122 h 440"/>
                    <a:gd name="T72" fmla="*/ 85 w 206"/>
                    <a:gd name="T73" fmla="*/ 118 h 440"/>
                    <a:gd name="T74" fmla="*/ 77 w 206"/>
                    <a:gd name="T75" fmla="*/ 118 h 440"/>
                    <a:gd name="T76" fmla="*/ 69 w 206"/>
                    <a:gd name="T77" fmla="*/ 116 h 440"/>
                    <a:gd name="T78" fmla="*/ 59 w 206"/>
                    <a:gd name="T79" fmla="*/ 117 h 440"/>
                    <a:gd name="T80" fmla="*/ 53 w 206"/>
                    <a:gd name="T81" fmla="*/ 115 h 440"/>
                    <a:gd name="T82" fmla="*/ 38 w 206"/>
                    <a:gd name="T83" fmla="*/ 118 h 440"/>
                    <a:gd name="T84" fmla="*/ 32 w 206"/>
                    <a:gd name="T85" fmla="*/ 109 h 440"/>
                    <a:gd name="T86" fmla="*/ 24 w 206"/>
                    <a:gd name="T87" fmla="*/ 90 h 440"/>
                    <a:gd name="T88" fmla="*/ 51 w 206"/>
                    <a:gd name="T89" fmla="*/ 83 h 440"/>
                    <a:gd name="T90" fmla="*/ 59 w 206"/>
                    <a:gd name="T91" fmla="*/ 85 h 440"/>
                    <a:gd name="T92" fmla="*/ 66 w 206"/>
                    <a:gd name="T93" fmla="*/ 82 h 440"/>
                    <a:gd name="T94" fmla="*/ 74 w 206"/>
                    <a:gd name="T95" fmla="*/ 75 h 440"/>
                    <a:gd name="T96" fmla="*/ 83 w 206"/>
                    <a:gd name="T97" fmla="*/ 74 h 440"/>
                    <a:gd name="T98" fmla="*/ 90 w 206"/>
                    <a:gd name="T99" fmla="*/ 75 h 440"/>
                    <a:gd name="T100" fmla="*/ 100 w 206"/>
                    <a:gd name="T101" fmla="*/ 56 h 440"/>
                    <a:gd name="T102" fmla="*/ 118 w 206"/>
                    <a:gd name="T103" fmla="*/ 44 h 440"/>
                    <a:gd name="T104" fmla="*/ 136 w 206"/>
                    <a:gd name="T105" fmla="*/ 40 h 440"/>
                    <a:gd name="T106" fmla="*/ 145 w 206"/>
                    <a:gd name="T107" fmla="*/ 42 h 440"/>
                    <a:gd name="T108" fmla="*/ 155 w 206"/>
                    <a:gd name="T109" fmla="*/ 39 h 440"/>
                    <a:gd name="T110" fmla="*/ 163 w 206"/>
                    <a:gd name="T111" fmla="*/ 38 h 440"/>
                    <a:gd name="T112" fmla="*/ 176 w 206"/>
                    <a:gd name="T113" fmla="*/ 33 h 440"/>
                    <a:gd name="T114" fmla="*/ 181 w 206"/>
                    <a:gd name="T115" fmla="*/ 27 h 440"/>
                    <a:gd name="T116" fmla="*/ 193 w 206"/>
                    <a:gd name="T117" fmla="*/ 9 h 440"/>
                    <a:gd name="T118" fmla="*/ 195 w 206"/>
                    <a:gd name="T119" fmla="*/ 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6" h="440">
                      <a:moveTo>
                        <a:pt x="0" y="426"/>
                      </a:moveTo>
                      <a:lnTo>
                        <a:pt x="1" y="427"/>
                      </a:lnTo>
                      <a:lnTo>
                        <a:pt x="3" y="427"/>
                      </a:lnTo>
                      <a:lnTo>
                        <a:pt x="3" y="428"/>
                      </a:lnTo>
                      <a:lnTo>
                        <a:pt x="5" y="428"/>
                      </a:lnTo>
                      <a:lnTo>
                        <a:pt x="5" y="428"/>
                      </a:lnTo>
                      <a:lnTo>
                        <a:pt x="5" y="429"/>
                      </a:lnTo>
                      <a:lnTo>
                        <a:pt x="6" y="429"/>
                      </a:lnTo>
                      <a:lnTo>
                        <a:pt x="7" y="429"/>
                      </a:lnTo>
                      <a:lnTo>
                        <a:pt x="7" y="429"/>
                      </a:lnTo>
                      <a:lnTo>
                        <a:pt x="7" y="430"/>
                      </a:lnTo>
                      <a:lnTo>
                        <a:pt x="7" y="430"/>
                      </a:lnTo>
                      <a:lnTo>
                        <a:pt x="7" y="431"/>
                      </a:lnTo>
                      <a:lnTo>
                        <a:pt x="7" y="432"/>
                      </a:lnTo>
                      <a:lnTo>
                        <a:pt x="8" y="432"/>
                      </a:lnTo>
                      <a:lnTo>
                        <a:pt x="9" y="432"/>
                      </a:lnTo>
                      <a:lnTo>
                        <a:pt x="9" y="432"/>
                      </a:lnTo>
                      <a:lnTo>
                        <a:pt x="9" y="433"/>
                      </a:lnTo>
                      <a:lnTo>
                        <a:pt x="9" y="434"/>
                      </a:lnTo>
                      <a:lnTo>
                        <a:pt x="10" y="434"/>
                      </a:lnTo>
                      <a:lnTo>
                        <a:pt x="9" y="434"/>
                      </a:lnTo>
                      <a:lnTo>
                        <a:pt x="10" y="434"/>
                      </a:lnTo>
                      <a:lnTo>
                        <a:pt x="10" y="435"/>
                      </a:lnTo>
                      <a:lnTo>
                        <a:pt x="11" y="436"/>
                      </a:lnTo>
                      <a:lnTo>
                        <a:pt x="11" y="436"/>
                      </a:lnTo>
                      <a:lnTo>
                        <a:pt x="12" y="436"/>
                      </a:lnTo>
                      <a:lnTo>
                        <a:pt x="12" y="436"/>
                      </a:lnTo>
                      <a:lnTo>
                        <a:pt x="13" y="437"/>
                      </a:lnTo>
                      <a:lnTo>
                        <a:pt x="13" y="437"/>
                      </a:lnTo>
                      <a:lnTo>
                        <a:pt x="13" y="438"/>
                      </a:lnTo>
                      <a:lnTo>
                        <a:pt x="14" y="438"/>
                      </a:lnTo>
                      <a:lnTo>
                        <a:pt x="14" y="438"/>
                      </a:lnTo>
                      <a:lnTo>
                        <a:pt x="15" y="438"/>
                      </a:lnTo>
                      <a:lnTo>
                        <a:pt x="15" y="438"/>
                      </a:lnTo>
                      <a:lnTo>
                        <a:pt x="15" y="438"/>
                      </a:lnTo>
                      <a:lnTo>
                        <a:pt x="16" y="438"/>
                      </a:lnTo>
                      <a:lnTo>
                        <a:pt x="16" y="439"/>
                      </a:lnTo>
                      <a:lnTo>
                        <a:pt x="17" y="440"/>
                      </a:lnTo>
                      <a:lnTo>
                        <a:pt x="17" y="440"/>
                      </a:lnTo>
                      <a:lnTo>
                        <a:pt x="18" y="440"/>
                      </a:lnTo>
                      <a:lnTo>
                        <a:pt x="19" y="440"/>
                      </a:lnTo>
                      <a:lnTo>
                        <a:pt x="19" y="440"/>
                      </a:lnTo>
                      <a:lnTo>
                        <a:pt x="20" y="440"/>
                      </a:lnTo>
                      <a:lnTo>
                        <a:pt x="21" y="440"/>
                      </a:lnTo>
                      <a:lnTo>
                        <a:pt x="22" y="440"/>
                      </a:lnTo>
                      <a:lnTo>
                        <a:pt x="22" y="440"/>
                      </a:lnTo>
                      <a:lnTo>
                        <a:pt x="23" y="440"/>
                      </a:lnTo>
                      <a:lnTo>
                        <a:pt x="23" y="439"/>
                      </a:lnTo>
                      <a:lnTo>
                        <a:pt x="24" y="439"/>
                      </a:lnTo>
                      <a:lnTo>
                        <a:pt x="24" y="438"/>
                      </a:lnTo>
                      <a:lnTo>
                        <a:pt x="24" y="438"/>
                      </a:lnTo>
                      <a:lnTo>
                        <a:pt x="25" y="438"/>
                      </a:lnTo>
                      <a:lnTo>
                        <a:pt x="26" y="438"/>
                      </a:lnTo>
                      <a:lnTo>
                        <a:pt x="26" y="438"/>
                      </a:lnTo>
                      <a:lnTo>
                        <a:pt x="27" y="438"/>
                      </a:lnTo>
                      <a:lnTo>
                        <a:pt x="27" y="438"/>
                      </a:lnTo>
                      <a:lnTo>
                        <a:pt x="28" y="438"/>
                      </a:lnTo>
                      <a:lnTo>
                        <a:pt x="28" y="437"/>
                      </a:lnTo>
                      <a:lnTo>
                        <a:pt x="28" y="436"/>
                      </a:lnTo>
                      <a:lnTo>
                        <a:pt x="28" y="436"/>
                      </a:lnTo>
                      <a:lnTo>
                        <a:pt x="29" y="436"/>
                      </a:lnTo>
                      <a:lnTo>
                        <a:pt x="29" y="436"/>
                      </a:lnTo>
                      <a:lnTo>
                        <a:pt x="30" y="436"/>
                      </a:lnTo>
                      <a:lnTo>
                        <a:pt x="30" y="435"/>
                      </a:lnTo>
                      <a:lnTo>
                        <a:pt x="30" y="435"/>
                      </a:lnTo>
                      <a:lnTo>
                        <a:pt x="30" y="434"/>
                      </a:lnTo>
                      <a:lnTo>
                        <a:pt x="31" y="434"/>
                      </a:lnTo>
                      <a:lnTo>
                        <a:pt x="31" y="434"/>
                      </a:lnTo>
                      <a:lnTo>
                        <a:pt x="32" y="434"/>
                      </a:lnTo>
                      <a:lnTo>
                        <a:pt x="32" y="434"/>
                      </a:lnTo>
                      <a:lnTo>
                        <a:pt x="33" y="434"/>
                      </a:lnTo>
                      <a:lnTo>
                        <a:pt x="34" y="434"/>
                      </a:lnTo>
                      <a:lnTo>
                        <a:pt x="34" y="433"/>
                      </a:lnTo>
                      <a:lnTo>
                        <a:pt x="34" y="433"/>
                      </a:lnTo>
                      <a:lnTo>
                        <a:pt x="35" y="433"/>
                      </a:lnTo>
                      <a:lnTo>
                        <a:pt x="36" y="433"/>
                      </a:lnTo>
                      <a:lnTo>
                        <a:pt x="36" y="433"/>
                      </a:lnTo>
                      <a:lnTo>
                        <a:pt x="37" y="433"/>
                      </a:lnTo>
                      <a:lnTo>
                        <a:pt x="38" y="433"/>
                      </a:lnTo>
                      <a:lnTo>
                        <a:pt x="38" y="433"/>
                      </a:lnTo>
                      <a:lnTo>
                        <a:pt x="38" y="432"/>
                      </a:lnTo>
                      <a:lnTo>
                        <a:pt x="39" y="432"/>
                      </a:lnTo>
                      <a:lnTo>
                        <a:pt x="40" y="432"/>
                      </a:lnTo>
                      <a:lnTo>
                        <a:pt x="40" y="433"/>
                      </a:lnTo>
                      <a:lnTo>
                        <a:pt x="40" y="434"/>
                      </a:lnTo>
                      <a:lnTo>
                        <a:pt x="40" y="434"/>
                      </a:lnTo>
                      <a:lnTo>
                        <a:pt x="41" y="434"/>
                      </a:lnTo>
                      <a:lnTo>
                        <a:pt x="41" y="435"/>
                      </a:lnTo>
                      <a:lnTo>
                        <a:pt x="41" y="434"/>
                      </a:lnTo>
                      <a:lnTo>
                        <a:pt x="41" y="434"/>
                      </a:lnTo>
                      <a:lnTo>
                        <a:pt x="42" y="434"/>
                      </a:lnTo>
                      <a:lnTo>
                        <a:pt x="43" y="434"/>
                      </a:lnTo>
                      <a:lnTo>
                        <a:pt x="43" y="434"/>
                      </a:lnTo>
                      <a:lnTo>
                        <a:pt x="44" y="434"/>
                      </a:lnTo>
                      <a:lnTo>
                        <a:pt x="45" y="432"/>
                      </a:lnTo>
                      <a:lnTo>
                        <a:pt x="45" y="433"/>
                      </a:lnTo>
                      <a:lnTo>
                        <a:pt x="46" y="433"/>
                      </a:lnTo>
                      <a:lnTo>
                        <a:pt x="46" y="434"/>
                      </a:lnTo>
                      <a:lnTo>
                        <a:pt x="46" y="434"/>
                      </a:lnTo>
                      <a:lnTo>
                        <a:pt x="47" y="434"/>
                      </a:lnTo>
                      <a:lnTo>
                        <a:pt x="47" y="435"/>
                      </a:lnTo>
                      <a:lnTo>
                        <a:pt x="49" y="436"/>
                      </a:lnTo>
                      <a:lnTo>
                        <a:pt x="49" y="436"/>
                      </a:lnTo>
                      <a:lnTo>
                        <a:pt x="51" y="437"/>
                      </a:lnTo>
                      <a:lnTo>
                        <a:pt x="51" y="437"/>
                      </a:lnTo>
                      <a:lnTo>
                        <a:pt x="53" y="438"/>
                      </a:lnTo>
                      <a:lnTo>
                        <a:pt x="55" y="437"/>
                      </a:lnTo>
                      <a:lnTo>
                        <a:pt x="57" y="437"/>
                      </a:lnTo>
                      <a:lnTo>
                        <a:pt x="58" y="436"/>
                      </a:lnTo>
                      <a:lnTo>
                        <a:pt x="59" y="436"/>
                      </a:lnTo>
                      <a:lnTo>
                        <a:pt x="60" y="435"/>
                      </a:lnTo>
                      <a:lnTo>
                        <a:pt x="60" y="434"/>
                      </a:lnTo>
                      <a:lnTo>
                        <a:pt x="61" y="434"/>
                      </a:lnTo>
                      <a:lnTo>
                        <a:pt x="61" y="434"/>
                      </a:lnTo>
                      <a:lnTo>
                        <a:pt x="62" y="434"/>
                      </a:lnTo>
                      <a:lnTo>
                        <a:pt x="62" y="433"/>
                      </a:lnTo>
                      <a:lnTo>
                        <a:pt x="62" y="433"/>
                      </a:lnTo>
                      <a:lnTo>
                        <a:pt x="62" y="432"/>
                      </a:lnTo>
                      <a:lnTo>
                        <a:pt x="63" y="432"/>
                      </a:lnTo>
                      <a:lnTo>
                        <a:pt x="64" y="432"/>
                      </a:lnTo>
                      <a:lnTo>
                        <a:pt x="64" y="433"/>
                      </a:lnTo>
                      <a:lnTo>
                        <a:pt x="64" y="433"/>
                      </a:lnTo>
                      <a:lnTo>
                        <a:pt x="67" y="432"/>
                      </a:lnTo>
                      <a:lnTo>
                        <a:pt x="68" y="432"/>
                      </a:lnTo>
                      <a:lnTo>
                        <a:pt x="70" y="432"/>
                      </a:lnTo>
                      <a:lnTo>
                        <a:pt x="71" y="431"/>
                      </a:lnTo>
                      <a:lnTo>
                        <a:pt x="73" y="431"/>
                      </a:lnTo>
                      <a:lnTo>
                        <a:pt x="74" y="431"/>
                      </a:lnTo>
                      <a:lnTo>
                        <a:pt x="76" y="432"/>
                      </a:lnTo>
                      <a:lnTo>
                        <a:pt x="78" y="432"/>
                      </a:lnTo>
                      <a:lnTo>
                        <a:pt x="80" y="431"/>
                      </a:lnTo>
                      <a:lnTo>
                        <a:pt x="81" y="431"/>
                      </a:lnTo>
                      <a:lnTo>
                        <a:pt x="83" y="430"/>
                      </a:lnTo>
                      <a:lnTo>
                        <a:pt x="83" y="429"/>
                      </a:lnTo>
                      <a:lnTo>
                        <a:pt x="85" y="424"/>
                      </a:lnTo>
                      <a:lnTo>
                        <a:pt x="87" y="423"/>
                      </a:lnTo>
                      <a:lnTo>
                        <a:pt x="89" y="423"/>
                      </a:lnTo>
                      <a:lnTo>
                        <a:pt x="91" y="421"/>
                      </a:lnTo>
                      <a:lnTo>
                        <a:pt x="91" y="420"/>
                      </a:lnTo>
                      <a:lnTo>
                        <a:pt x="102" y="413"/>
                      </a:lnTo>
                      <a:lnTo>
                        <a:pt x="113" y="418"/>
                      </a:lnTo>
                      <a:lnTo>
                        <a:pt x="121" y="425"/>
                      </a:lnTo>
                      <a:lnTo>
                        <a:pt x="131" y="438"/>
                      </a:lnTo>
                      <a:lnTo>
                        <a:pt x="140" y="437"/>
                      </a:lnTo>
                      <a:lnTo>
                        <a:pt x="144" y="427"/>
                      </a:lnTo>
                      <a:lnTo>
                        <a:pt x="152" y="415"/>
                      </a:lnTo>
                      <a:lnTo>
                        <a:pt x="157" y="404"/>
                      </a:lnTo>
                      <a:lnTo>
                        <a:pt x="159" y="400"/>
                      </a:lnTo>
                      <a:lnTo>
                        <a:pt x="161" y="400"/>
                      </a:lnTo>
                      <a:lnTo>
                        <a:pt x="160" y="398"/>
                      </a:lnTo>
                      <a:lnTo>
                        <a:pt x="160" y="397"/>
                      </a:lnTo>
                      <a:lnTo>
                        <a:pt x="161" y="396"/>
                      </a:lnTo>
                      <a:lnTo>
                        <a:pt x="163" y="396"/>
                      </a:lnTo>
                      <a:lnTo>
                        <a:pt x="164" y="396"/>
                      </a:lnTo>
                      <a:lnTo>
                        <a:pt x="165" y="396"/>
                      </a:lnTo>
                      <a:lnTo>
                        <a:pt x="167" y="394"/>
                      </a:lnTo>
                      <a:lnTo>
                        <a:pt x="171" y="392"/>
                      </a:lnTo>
                      <a:lnTo>
                        <a:pt x="171" y="390"/>
                      </a:lnTo>
                      <a:lnTo>
                        <a:pt x="172" y="389"/>
                      </a:lnTo>
                      <a:lnTo>
                        <a:pt x="173" y="385"/>
                      </a:lnTo>
                      <a:lnTo>
                        <a:pt x="174" y="384"/>
                      </a:lnTo>
                      <a:lnTo>
                        <a:pt x="178" y="383"/>
                      </a:lnTo>
                      <a:lnTo>
                        <a:pt x="179" y="381"/>
                      </a:lnTo>
                      <a:lnTo>
                        <a:pt x="180" y="381"/>
                      </a:lnTo>
                      <a:lnTo>
                        <a:pt x="181" y="380"/>
                      </a:lnTo>
                      <a:lnTo>
                        <a:pt x="182" y="380"/>
                      </a:lnTo>
                      <a:lnTo>
                        <a:pt x="182" y="380"/>
                      </a:lnTo>
                      <a:lnTo>
                        <a:pt x="183" y="380"/>
                      </a:lnTo>
                      <a:lnTo>
                        <a:pt x="184" y="380"/>
                      </a:lnTo>
                      <a:lnTo>
                        <a:pt x="184" y="379"/>
                      </a:lnTo>
                      <a:lnTo>
                        <a:pt x="184" y="379"/>
                      </a:lnTo>
                      <a:lnTo>
                        <a:pt x="185" y="379"/>
                      </a:lnTo>
                      <a:lnTo>
                        <a:pt x="185" y="379"/>
                      </a:lnTo>
                      <a:lnTo>
                        <a:pt x="186" y="379"/>
                      </a:lnTo>
                      <a:lnTo>
                        <a:pt x="186" y="379"/>
                      </a:lnTo>
                      <a:lnTo>
                        <a:pt x="186" y="379"/>
                      </a:lnTo>
                      <a:lnTo>
                        <a:pt x="186" y="379"/>
                      </a:lnTo>
                      <a:lnTo>
                        <a:pt x="187" y="379"/>
                      </a:lnTo>
                      <a:lnTo>
                        <a:pt x="187" y="378"/>
                      </a:lnTo>
                      <a:lnTo>
                        <a:pt x="188" y="378"/>
                      </a:lnTo>
                      <a:lnTo>
                        <a:pt x="188" y="378"/>
                      </a:lnTo>
                      <a:lnTo>
                        <a:pt x="189" y="378"/>
                      </a:lnTo>
                      <a:lnTo>
                        <a:pt x="190" y="378"/>
                      </a:lnTo>
                      <a:lnTo>
                        <a:pt x="190" y="379"/>
                      </a:lnTo>
                      <a:lnTo>
                        <a:pt x="190" y="379"/>
                      </a:lnTo>
                      <a:lnTo>
                        <a:pt x="190" y="379"/>
                      </a:lnTo>
                      <a:lnTo>
                        <a:pt x="191" y="379"/>
                      </a:lnTo>
                      <a:lnTo>
                        <a:pt x="192" y="379"/>
                      </a:lnTo>
                      <a:lnTo>
                        <a:pt x="192" y="380"/>
                      </a:lnTo>
                      <a:lnTo>
                        <a:pt x="193" y="380"/>
                      </a:lnTo>
                      <a:lnTo>
                        <a:pt x="193" y="381"/>
                      </a:lnTo>
                      <a:lnTo>
                        <a:pt x="194" y="381"/>
                      </a:lnTo>
                      <a:lnTo>
                        <a:pt x="195" y="381"/>
                      </a:lnTo>
                      <a:lnTo>
                        <a:pt x="195" y="381"/>
                      </a:lnTo>
                      <a:lnTo>
                        <a:pt x="196" y="381"/>
                      </a:lnTo>
                      <a:lnTo>
                        <a:pt x="196" y="380"/>
                      </a:lnTo>
                      <a:lnTo>
                        <a:pt x="197" y="379"/>
                      </a:lnTo>
                      <a:lnTo>
                        <a:pt x="196" y="375"/>
                      </a:lnTo>
                      <a:lnTo>
                        <a:pt x="196" y="374"/>
                      </a:lnTo>
                      <a:lnTo>
                        <a:pt x="197" y="373"/>
                      </a:lnTo>
                      <a:lnTo>
                        <a:pt x="197" y="371"/>
                      </a:lnTo>
                      <a:lnTo>
                        <a:pt x="198" y="368"/>
                      </a:lnTo>
                      <a:lnTo>
                        <a:pt x="199" y="366"/>
                      </a:lnTo>
                      <a:lnTo>
                        <a:pt x="201" y="364"/>
                      </a:lnTo>
                      <a:lnTo>
                        <a:pt x="202" y="364"/>
                      </a:lnTo>
                      <a:lnTo>
                        <a:pt x="203" y="362"/>
                      </a:lnTo>
                      <a:lnTo>
                        <a:pt x="203" y="362"/>
                      </a:lnTo>
                      <a:lnTo>
                        <a:pt x="203" y="361"/>
                      </a:lnTo>
                      <a:lnTo>
                        <a:pt x="202" y="361"/>
                      </a:lnTo>
                      <a:lnTo>
                        <a:pt x="201" y="360"/>
                      </a:lnTo>
                      <a:lnTo>
                        <a:pt x="201" y="360"/>
                      </a:lnTo>
                      <a:lnTo>
                        <a:pt x="201" y="359"/>
                      </a:lnTo>
                      <a:lnTo>
                        <a:pt x="201" y="358"/>
                      </a:lnTo>
                      <a:lnTo>
                        <a:pt x="200" y="358"/>
                      </a:lnTo>
                      <a:lnTo>
                        <a:pt x="200" y="358"/>
                      </a:lnTo>
                      <a:lnTo>
                        <a:pt x="199" y="357"/>
                      </a:lnTo>
                      <a:lnTo>
                        <a:pt x="199" y="356"/>
                      </a:lnTo>
                      <a:lnTo>
                        <a:pt x="202" y="353"/>
                      </a:lnTo>
                      <a:lnTo>
                        <a:pt x="203" y="349"/>
                      </a:lnTo>
                      <a:lnTo>
                        <a:pt x="202" y="347"/>
                      </a:lnTo>
                      <a:lnTo>
                        <a:pt x="203" y="345"/>
                      </a:lnTo>
                      <a:lnTo>
                        <a:pt x="204" y="343"/>
                      </a:lnTo>
                      <a:lnTo>
                        <a:pt x="205" y="343"/>
                      </a:lnTo>
                      <a:lnTo>
                        <a:pt x="205" y="343"/>
                      </a:lnTo>
                      <a:lnTo>
                        <a:pt x="206" y="342"/>
                      </a:lnTo>
                      <a:lnTo>
                        <a:pt x="205" y="341"/>
                      </a:lnTo>
                      <a:lnTo>
                        <a:pt x="205" y="341"/>
                      </a:lnTo>
                      <a:lnTo>
                        <a:pt x="205" y="340"/>
                      </a:lnTo>
                      <a:lnTo>
                        <a:pt x="204" y="338"/>
                      </a:lnTo>
                      <a:lnTo>
                        <a:pt x="203" y="338"/>
                      </a:lnTo>
                      <a:lnTo>
                        <a:pt x="202" y="339"/>
                      </a:lnTo>
                      <a:lnTo>
                        <a:pt x="201" y="338"/>
                      </a:lnTo>
                      <a:lnTo>
                        <a:pt x="201" y="337"/>
                      </a:lnTo>
                      <a:lnTo>
                        <a:pt x="201" y="337"/>
                      </a:lnTo>
                      <a:lnTo>
                        <a:pt x="201" y="336"/>
                      </a:lnTo>
                      <a:lnTo>
                        <a:pt x="199" y="335"/>
                      </a:lnTo>
                      <a:lnTo>
                        <a:pt x="197" y="332"/>
                      </a:lnTo>
                      <a:lnTo>
                        <a:pt x="196" y="331"/>
                      </a:lnTo>
                      <a:lnTo>
                        <a:pt x="195" y="330"/>
                      </a:lnTo>
                      <a:lnTo>
                        <a:pt x="193" y="330"/>
                      </a:lnTo>
                      <a:lnTo>
                        <a:pt x="192" y="328"/>
                      </a:lnTo>
                      <a:lnTo>
                        <a:pt x="191" y="327"/>
                      </a:lnTo>
                      <a:lnTo>
                        <a:pt x="189" y="324"/>
                      </a:lnTo>
                      <a:lnTo>
                        <a:pt x="184" y="321"/>
                      </a:lnTo>
                      <a:lnTo>
                        <a:pt x="183" y="322"/>
                      </a:lnTo>
                      <a:lnTo>
                        <a:pt x="183" y="320"/>
                      </a:lnTo>
                      <a:lnTo>
                        <a:pt x="182" y="316"/>
                      </a:lnTo>
                      <a:lnTo>
                        <a:pt x="182" y="314"/>
                      </a:lnTo>
                      <a:lnTo>
                        <a:pt x="182" y="314"/>
                      </a:lnTo>
                      <a:lnTo>
                        <a:pt x="182" y="312"/>
                      </a:lnTo>
                      <a:lnTo>
                        <a:pt x="181" y="312"/>
                      </a:lnTo>
                      <a:lnTo>
                        <a:pt x="181" y="312"/>
                      </a:lnTo>
                      <a:lnTo>
                        <a:pt x="180" y="312"/>
                      </a:lnTo>
                      <a:lnTo>
                        <a:pt x="180" y="312"/>
                      </a:lnTo>
                      <a:lnTo>
                        <a:pt x="179" y="312"/>
                      </a:lnTo>
                      <a:lnTo>
                        <a:pt x="178" y="312"/>
                      </a:lnTo>
                      <a:lnTo>
                        <a:pt x="178" y="313"/>
                      </a:lnTo>
                      <a:lnTo>
                        <a:pt x="178" y="312"/>
                      </a:lnTo>
                      <a:lnTo>
                        <a:pt x="178" y="313"/>
                      </a:lnTo>
                      <a:lnTo>
                        <a:pt x="178" y="313"/>
                      </a:lnTo>
                      <a:lnTo>
                        <a:pt x="177" y="313"/>
                      </a:lnTo>
                      <a:lnTo>
                        <a:pt x="176" y="314"/>
                      </a:lnTo>
                      <a:lnTo>
                        <a:pt x="176" y="314"/>
                      </a:lnTo>
                      <a:lnTo>
                        <a:pt x="175" y="314"/>
                      </a:lnTo>
                      <a:lnTo>
                        <a:pt x="175" y="314"/>
                      </a:lnTo>
                      <a:lnTo>
                        <a:pt x="174" y="314"/>
                      </a:lnTo>
                      <a:lnTo>
                        <a:pt x="174" y="314"/>
                      </a:lnTo>
                      <a:lnTo>
                        <a:pt x="174" y="315"/>
                      </a:lnTo>
                      <a:lnTo>
                        <a:pt x="174" y="314"/>
                      </a:lnTo>
                      <a:lnTo>
                        <a:pt x="173" y="314"/>
                      </a:lnTo>
                      <a:lnTo>
                        <a:pt x="173" y="315"/>
                      </a:lnTo>
                      <a:lnTo>
                        <a:pt x="172" y="315"/>
                      </a:lnTo>
                      <a:lnTo>
                        <a:pt x="171" y="315"/>
                      </a:lnTo>
                      <a:lnTo>
                        <a:pt x="171" y="315"/>
                      </a:lnTo>
                      <a:lnTo>
                        <a:pt x="170" y="315"/>
                      </a:lnTo>
                      <a:lnTo>
                        <a:pt x="169" y="315"/>
                      </a:lnTo>
                      <a:lnTo>
                        <a:pt x="169" y="316"/>
                      </a:lnTo>
                      <a:lnTo>
                        <a:pt x="168" y="316"/>
                      </a:lnTo>
                      <a:lnTo>
                        <a:pt x="167" y="317"/>
                      </a:lnTo>
                      <a:lnTo>
                        <a:pt x="166" y="318"/>
                      </a:lnTo>
                      <a:lnTo>
                        <a:pt x="165" y="318"/>
                      </a:lnTo>
                      <a:lnTo>
                        <a:pt x="159" y="319"/>
                      </a:lnTo>
                      <a:lnTo>
                        <a:pt x="157" y="320"/>
                      </a:lnTo>
                      <a:lnTo>
                        <a:pt x="152" y="316"/>
                      </a:lnTo>
                      <a:lnTo>
                        <a:pt x="151" y="314"/>
                      </a:lnTo>
                      <a:lnTo>
                        <a:pt x="152" y="311"/>
                      </a:lnTo>
                      <a:lnTo>
                        <a:pt x="152" y="309"/>
                      </a:lnTo>
                      <a:lnTo>
                        <a:pt x="151" y="303"/>
                      </a:lnTo>
                      <a:lnTo>
                        <a:pt x="151" y="299"/>
                      </a:lnTo>
                      <a:lnTo>
                        <a:pt x="150" y="298"/>
                      </a:lnTo>
                      <a:lnTo>
                        <a:pt x="148" y="296"/>
                      </a:lnTo>
                      <a:lnTo>
                        <a:pt x="148" y="293"/>
                      </a:lnTo>
                      <a:lnTo>
                        <a:pt x="148" y="292"/>
                      </a:lnTo>
                      <a:lnTo>
                        <a:pt x="147" y="290"/>
                      </a:lnTo>
                      <a:lnTo>
                        <a:pt x="146" y="289"/>
                      </a:lnTo>
                      <a:lnTo>
                        <a:pt x="146" y="288"/>
                      </a:lnTo>
                      <a:lnTo>
                        <a:pt x="146" y="287"/>
                      </a:lnTo>
                      <a:lnTo>
                        <a:pt x="146" y="286"/>
                      </a:lnTo>
                      <a:lnTo>
                        <a:pt x="145" y="286"/>
                      </a:lnTo>
                      <a:lnTo>
                        <a:pt x="145" y="284"/>
                      </a:lnTo>
                      <a:lnTo>
                        <a:pt x="144" y="284"/>
                      </a:lnTo>
                      <a:lnTo>
                        <a:pt x="144" y="283"/>
                      </a:lnTo>
                      <a:lnTo>
                        <a:pt x="144" y="283"/>
                      </a:lnTo>
                      <a:lnTo>
                        <a:pt x="144" y="282"/>
                      </a:lnTo>
                      <a:lnTo>
                        <a:pt x="143" y="282"/>
                      </a:lnTo>
                      <a:lnTo>
                        <a:pt x="143" y="280"/>
                      </a:lnTo>
                      <a:lnTo>
                        <a:pt x="144" y="280"/>
                      </a:lnTo>
                      <a:lnTo>
                        <a:pt x="142" y="278"/>
                      </a:lnTo>
                      <a:lnTo>
                        <a:pt x="142" y="276"/>
                      </a:lnTo>
                      <a:lnTo>
                        <a:pt x="140" y="274"/>
                      </a:lnTo>
                      <a:lnTo>
                        <a:pt x="140" y="272"/>
                      </a:lnTo>
                      <a:lnTo>
                        <a:pt x="140" y="271"/>
                      </a:lnTo>
                      <a:lnTo>
                        <a:pt x="140" y="270"/>
                      </a:lnTo>
                      <a:lnTo>
                        <a:pt x="140" y="269"/>
                      </a:lnTo>
                      <a:lnTo>
                        <a:pt x="139" y="267"/>
                      </a:lnTo>
                      <a:lnTo>
                        <a:pt x="138" y="265"/>
                      </a:lnTo>
                      <a:lnTo>
                        <a:pt x="138" y="263"/>
                      </a:lnTo>
                      <a:lnTo>
                        <a:pt x="138" y="262"/>
                      </a:lnTo>
                      <a:lnTo>
                        <a:pt x="136" y="259"/>
                      </a:lnTo>
                      <a:lnTo>
                        <a:pt x="135" y="256"/>
                      </a:lnTo>
                      <a:lnTo>
                        <a:pt x="134" y="256"/>
                      </a:lnTo>
                      <a:lnTo>
                        <a:pt x="134" y="255"/>
                      </a:lnTo>
                      <a:lnTo>
                        <a:pt x="133" y="254"/>
                      </a:lnTo>
                      <a:lnTo>
                        <a:pt x="133" y="253"/>
                      </a:lnTo>
                      <a:lnTo>
                        <a:pt x="133" y="253"/>
                      </a:lnTo>
                      <a:lnTo>
                        <a:pt x="132" y="252"/>
                      </a:lnTo>
                      <a:lnTo>
                        <a:pt x="131" y="251"/>
                      </a:lnTo>
                      <a:lnTo>
                        <a:pt x="131" y="250"/>
                      </a:lnTo>
                      <a:lnTo>
                        <a:pt x="131" y="249"/>
                      </a:lnTo>
                      <a:lnTo>
                        <a:pt x="131" y="248"/>
                      </a:lnTo>
                      <a:lnTo>
                        <a:pt x="130" y="248"/>
                      </a:lnTo>
                      <a:lnTo>
                        <a:pt x="130" y="247"/>
                      </a:lnTo>
                      <a:lnTo>
                        <a:pt x="129" y="246"/>
                      </a:lnTo>
                      <a:lnTo>
                        <a:pt x="129" y="245"/>
                      </a:lnTo>
                      <a:lnTo>
                        <a:pt x="128" y="244"/>
                      </a:lnTo>
                      <a:lnTo>
                        <a:pt x="127" y="242"/>
                      </a:lnTo>
                      <a:lnTo>
                        <a:pt x="127" y="242"/>
                      </a:lnTo>
                      <a:lnTo>
                        <a:pt x="125" y="241"/>
                      </a:lnTo>
                      <a:lnTo>
                        <a:pt x="125" y="241"/>
                      </a:lnTo>
                      <a:lnTo>
                        <a:pt x="123" y="241"/>
                      </a:lnTo>
                      <a:lnTo>
                        <a:pt x="123" y="241"/>
                      </a:lnTo>
                      <a:lnTo>
                        <a:pt x="122" y="240"/>
                      </a:lnTo>
                      <a:lnTo>
                        <a:pt x="121" y="240"/>
                      </a:lnTo>
                      <a:lnTo>
                        <a:pt x="121" y="240"/>
                      </a:lnTo>
                      <a:lnTo>
                        <a:pt x="119" y="240"/>
                      </a:lnTo>
                      <a:lnTo>
                        <a:pt x="119" y="240"/>
                      </a:lnTo>
                      <a:lnTo>
                        <a:pt x="119" y="240"/>
                      </a:lnTo>
                      <a:lnTo>
                        <a:pt x="119" y="239"/>
                      </a:lnTo>
                      <a:lnTo>
                        <a:pt x="118" y="239"/>
                      </a:lnTo>
                      <a:lnTo>
                        <a:pt x="117" y="239"/>
                      </a:lnTo>
                      <a:lnTo>
                        <a:pt x="117" y="240"/>
                      </a:lnTo>
                      <a:lnTo>
                        <a:pt x="117" y="240"/>
                      </a:lnTo>
                      <a:lnTo>
                        <a:pt x="116" y="240"/>
                      </a:lnTo>
                      <a:lnTo>
                        <a:pt x="116" y="240"/>
                      </a:lnTo>
                      <a:lnTo>
                        <a:pt x="115" y="240"/>
                      </a:lnTo>
                      <a:lnTo>
                        <a:pt x="115" y="240"/>
                      </a:lnTo>
                      <a:lnTo>
                        <a:pt x="114" y="239"/>
                      </a:lnTo>
                      <a:lnTo>
                        <a:pt x="114" y="238"/>
                      </a:lnTo>
                      <a:lnTo>
                        <a:pt x="114" y="238"/>
                      </a:lnTo>
                      <a:lnTo>
                        <a:pt x="114" y="239"/>
                      </a:lnTo>
                      <a:lnTo>
                        <a:pt x="113" y="239"/>
                      </a:lnTo>
                      <a:lnTo>
                        <a:pt x="112" y="239"/>
                      </a:lnTo>
                      <a:lnTo>
                        <a:pt x="112" y="239"/>
                      </a:lnTo>
                      <a:lnTo>
                        <a:pt x="112" y="240"/>
                      </a:lnTo>
                      <a:lnTo>
                        <a:pt x="111" y="240"/>
                      </a:lnTo>
                      <a:lnTo>
                        <a:pt x="110" y="240"/>
                      </a:lnTo>
                      <a:lnTo>
                        <a:pt x="110" y="240"/>
                      </a:lnTo>
                      <a:lnTo>
                        <a:pt x="109" y="240"/>
                      </a:lnTo>
                      <a:lnTo>
                        <a:pt x="107" y="243"/>
                      </a:lnTo>
                      <a:lnTo>
                        <a:pt x="106" y="246"/>
                      </a:lnTo>
                      <a:lnTo>
                        <a:pt x="106" y="248"/>
                      </a:lnTo>
                      <a:lnTo>
                        <a:pt x="106" y="249"/>
                      </a:lnTo>
                      <a:lnTo>
                        <a:pt x="106" y="252"/>
                      </a:lnTo>
                      <a:lnTo>
                        <a:pt x="106" y="253"/>
                      </a:lnTo>
                      <a:lnTo>
                        <a:pt x="106" y="254"/>
                      </a:lnTo>
                      <a:lnTo>
                        <a:pt x="104" y="257"/>
                      </a:lnTo>
                      <a:lnTo>
                        <a:pt x="103" y="257"/>
                      </a:lnTo>
                      <a:lnTo>
                        <a:pt x="102" y="259"/>
                      </a:lnTo>
                      <a:lnTo>
                        <a:pt x="100" y="261"/>
                      </a:lnTo>
                      <a:lnTo>
                        <a:pt x="100" y="261"/>
                      </a:lnTo>
                      <a:lnTo>
                        <a:pt x="98" y="261"/>
                      </a:lnTo>
                      <a:lnTo>
                        <a:pt x="95" y="260"/>
                      </a:lnTo>
                      <a:lnTo>
                        <a:pt x="93" y="259"/>
                      </a:lnTo>
                      <a:lnTo>
                        <a:pt x="92" y="258"/>
                      </a:lnTo>
                      <a:lnTo>
                        <a:pt x="91" y="255"/>
                      </a:lnTo>
                      <a:lnTo>
                        <a:pt x="91" y="253"/>
                      </a:lnTo>
                      <a:lnTo>
                        <a:pt x="91" y="251"/>
                      </a:lnTo>
                      <a:lnTo>
                        <a:pt x="90" y="250"/>
                      </a:lnTo>
                      <a:lnTo>
                        <a:pt x="90" y="248"/>
                      </a:lnTo>
                      <a:lnTo>
                        <a:pt x="90" y="244"/>
                      </a:lnTo>
                      <a:lnTo>
                        <a:pt x="88" y="244"/>
                      </a:lnTo>
                      <a:lnTo>
                        <a:pt x="85" y="244"/>
                      </a:lnTo>
                      <a:lnTo>
                        <a:pt x="84" y="243"/>
                      </a:lnTo>
                      <a:lnTo>
                        <a:pt x="83" y="243"/>
                      </a:lnTo>
                      <a:lnTo>
                        <a:pt x="83" y="243"/>
                      </a:lnTo>
                      <a:lnTo>
                        <a:pt x="81" y="242"/>
                      </a:lnTo>
                      <a:lnTo>
                        <a:pt x="81" y="241"/>
                      </a:lnTo>
                      <a:lnTo>
                        <a:pt x="81" y="240"/>
                      </a:lnTo>
                      <a:lnTo>
                        <a:pt x="80" y="240"/>
                      </a:lnTo>
                      <a:lnTo>
                        <a:pt x="79" y="240"/>
                      </a:lnTo>
                      <a:lnTo>
                        <a:pt x="79" y="239"/>
                      </a:lnTo>
                      <a:lnTo>
                        <a:pt x="79" y="238"/>
                      </a:lnTo>
                      <a:lnTo>
                        <a:pt x="77" y="238"/>
                      </a:lnTo>
                      <a:lnTo>
                        <a:pt x="76" y="238"/>
                      </a:lnTo>
                      <a:lnTo>
                        <a:pt x="75" y="238"/>
                      </a:lnTo>
                      <a:lnTo>
                        <a:pt x="74" y="238"/>
                      </a:lnTo>
                      <a:lnTo>
                        <a:pt x="74" y="237"/>
                      </a:lnTo>
                      <a:lnTo>
                        <a:pt x="74" y="236"/>
                      </a:lnTo>
                      <a:lnTo>
                        <a:pt x="76" y="235"/>
                      </a:lnTo>
                      <a:lnTo>
                        <a:pt x="76" y="234"/>
                      </a:lnTo>
                      <a:lnTo>
                        <a:pt x="75" y="234"/>
                      </a:lnTo>
                      <a:lnTo>
                        <a:pt x="76" y="234"/>
                      </a:lnTo>
                      <a:lnTo>
                        <a:pt x="76" y="233"/>
                      </a:lnTo>
                      <a:lnTo>
                        <a:pt x="75" y="231"/>
                      </a:lnTo>
                      <a:lnTo>
                        <a:pt x="74" y="231"/>
                      </a:lnTo>
                      <a:lnTo>
                        <a:pt x="74" y="229"/>
                      </a:lnTo>
                      <a:lnTo>
                        <a:pt x="73" y="229"/>
                      </a:lnTo>
                      <a:lnTo>
                        <a:pt x="73" y="229"/>
                      </a:lnTo>
                      <a:lnTo>
                        <a:pt x="72" y="228"/>
                      </a:lnTo>
                      <a:lnTo>
                        <a:pt x="71" y="228"/>
                      </a:lnTo>
                      <a:lnTo>
                        <a:pt x="71" y="227"/>
                      </a:lnTo>
                      <a:lnTo>
                        <a:pt x="72" y="225"/>
                      </a:lnTo>
                      <a:lnTo>
                        <a:pt x="72" y="225"/>
                      </a:lnTo>
                      <a:lnTo>
                        <a:pt x="70" y="225"/>
                      </a:lnTo>
                      <a:lnTo>
                        <a:pt x="70" y="224"/>
                      </a:lnTo>
                      <a:lnTo>
                        <a:pt x="68" y="225"/>
                      </a:lnTo>
                      <a:lnTo>
                        <a:pt x="67" y="225"/>
                      </a:lnTo>
                      <a:lnTo>
                        <a:pt x="66" y="225"/>
                      </a:lnTo>
                      <a:lnTo>
                        <a:pt x="66" y="225"/>
                      </a:lnTo>
                      <a:lnTo>
                        <a:pt x="65" y="225"/>
                      </a:lnTo>
                      <a:lnTo>
                        <a:pt x="65" y="224"/>
                      </a:lnTo>
                      <a:lnTo>
                        <a:pt x="65" y="223"/>
                      </a:lnTo>
                      <a:lnTo>
                        <a:pt x="64" y="223"/>
                      </a:lnTo>
                      <a:lnTo>
                        <a:pt x="64" y="223"/>
                      </a:lnTo>
                      <a:lnTo>
                        <a:pt x="64" y="222"/>
                      </a:lnTo>
                      <a:lnTo>
                        <a:pt x="63" y="221"/>
                      </a:lnTo>
                      <a:lnTo>
                        <a:pt x="62" y="218"/>
                      </a:lnTo>
                      <a:lnTo>
                        <a:pt x="62" y="217"/>
                      </a:lnTo>
                      <a:lnTo>
                        <a:pt x="62" y="216"/>
                      </a:lnTo>
                      <a:lnTo>
                        <a:pt x="64" y="215"/>
                      </a:lnTo>
                      <a:lnTo>
                        <a:pt x="64" y="214"/>
                      </a:lnTo>
                      <a:lnTo>
                        <a:pt x="64" y="213"/>
                      </a:lnTo>
                      <a:lnTo>
                        <a:pt x="64" y="212"/>
                      </a:lnTo>
                      <a:lnTo>
                        <a:pt x="64" y="210"/>
                      </a:lnTo>
                      <a:lnTo>
                        <a:pt x="63" y="210"/>
                      </a:lnTo>
                      <a:lnTo>
                        <a:pt x="62" y="208"/>
                      </a:lnTo>
                      <a:lnTo>
                        <a:pt x="61" y="206"/>
                      </a:lnTo>
                      <a:lnTo>
                        <a:pt x="61" y="206"/>
                      </a:lnTo>
                      <a:lnTo>
                        <a:pt x="61" y="205"/>
                      </a:lnTo>
                      <a:lnTo>
                        <a:pt x="60" y="204"/>
                      </a:lnTo>
                      <a:lnTo>
                        <a:pt x="60" y="204"/>
                      </a:lnTo>
                      <a:lnTo>
                        <a:pt x="60" y="204"/>
                      </a:lnTo>
                      <a:lnTo>
                        <a:pt x="59" y="204"/>
                      </a:lnTo>
                      <a:lnTo>
                        <a:pt x="59" y="203"/>
                      </a:lnTo>
                      <a:lnTo>
                        <a:pt x="59" y="202"/>
                      </a:lnTo>
                      <a:lnTo>
                        <a:pt x="60" y="202"/>
                      </a:lnTo>
                      <a:lnTo>
                        <a:pt x="59" y="202"/>
                      </a:lnTo>
                      <a:lnTo>
                        <a:pt x="59" y="202"/>
                      </a:lnTo>
                      <a:lnTo>
                        <a:pt x="59" y="201"/>
                      </a:lnTo>
                      <a:lnTo>
                        <a:pt x="59" y="200"/>
                      </a:lnTo>
                      <a:lnTo>
                        <a:pt x="60" y="200"/>
                      </a:lnTo>
                      <a:lnTo>
                        <a:pt x="59" y="200"/>
                      </a:lnTo>
                      <a:lnTo>
                        <a:pt x="59" y="199"/>
                      </a:lnTo>
                      <a:lnTo>
                        <a:pt x="59" y="198"/>
                      </a:lnTo>
                      <a:lnTo>
                        <a:pt x="58" y="198"/>
                      </a:lnTo>
                      <a:lnTo>
                        <a:pt x="57" y="197"/>
                      </a:lnTo>
                      <a:lnTo>
                        <a:pt x="57" y="196"/>
                      </a:lnTo>
                      <a:lnTo>
                        <a:pt x="57" y="196"/>
                      </a:lnTo>
                      <a:lnTo>
                        <a:pt x="57" y="195"/>
                      </a:lnTo>
                      <a:lnTo>
                        <a:pt x="57" y="193"/>
                      </a:lnTo>
                      <a:lnTo>
                        <a:pt x="57" y="191"/>
                      </a:lnTo>
                      <a:lnTo>
                        <a:pt x="55" y="190"/>
                      </a:lnTo>
                      <a:lnTo>
                        <a:pt x="54" y="187"/>
                      </a:lnTo>
                      <a:lnTo>
                        <a:pt x="53" y="186"/>
                      </a:lnTo>
                      <a:lnTo>
                        <a:pt x="53" y="185"/>
                      </a:lnTo>
                      <a:lnTo>
                        <a:pt x="53" y="184"/>
                      </a:lnTo>
                      <a:lnTo>
                        <a:pt x="53" y="183"/>
                      </a:lnTo>
                      <a:lnTo>
                        <a:pt x="52" y="181"/>
                      </a:lnTo>
                      <a:lnTo>
                        <a:pt x="52" y="181"/>
                      </a:lnTo>
                      <a:lnTo>
                        <a:pt x="52" y="180"/>
                      </a:lnTo>
                      <a:lnTo>
                        <a:pt x="52" y="179"/>
                      </a:lnTo>
                      <a:lnTo>
                        <a:pt x="53" y="179"/>
                      </a:lnTo>
                      <a:lnTo>
                        <a:pt x="52" y="178"/>
                      </a:lnTo>
                      <a:lnTo>
                        <a:pt x="51" y="176"/>
                      </a:lnTo>
                      <a:lnTo>
                        <a:pt x="49" y="170"/>
                      </a:lnTo>
                      <a:lnTo>
                        <a:pt x="48" y="169"/>
                      </a:lnTo>
                      <a:lnTo>
                        <a:pt x="48" y="166"/>
                      </a:lnTo>
                      <a:lnTo>
                        <a:pt x="47" y="164"/>
                      </a:lnTo>
                      <a:lnTo>
                        <a:pt x="48" y="164"/>
                      </a:lnTo>
                      <a:lnTo>
                        <a:pt x="48" y="162"/>
                      </a:lnTo>
                      <a:lnTo>
                        <a:pt x="48" y="160"/>
                      </a:lnTo>
                      <a:lnTo>
                        <a:pt x="47" y="158"/>
                      </a:lnTo>
                      <a:lnTo>
                        <a:pt x="45" y="157"/>
                      </a:lnTo>
                      <a:lnTo>
                        <a:pt x="44" y="154"/>
                      </a:lnTo>
                      <a:lnTo>
                        <a:pt x="44" y="153"/>
                      </a:lnTo>
                      <a:lnTo>
                        <a:pt x="43" y="149"/>
                      </a:lnTo>
                      <a:lnTo>
                        <a:pt x="40" y="144"/>
                      </a:lnTo>
                      <a:lnTo>
                        <a:pt x="43" y="141"/>
                      </a:lnTo>
                      <a:lnTo>
                        <a:pt x="45" y="141"/>
                      </a:lnTo>
                      <a:lnTo>
                        <a:pt x="46" y="139"/>
                      </a:lnTo>
                      <a:lnTo>
                        <a:pt x="52" y="137"/>
                      </a:lnTo>
                      <a:lnTo>
                        <a:pt x="55" y="135"/>
                      </a:lnTo>
                      <a:lnTo>
                        <a:pt x="56" y="134"/>
                      </a:lnTo>
                      <a:lnTo>
                        <a:pt x="57" y="132"/>
                      </a:lnTo>
                      <a:lnTo>
                        <a:pt x="57" y="132"/>
                      </a:lnTo>
                      <a:lnTo>
                        <a:pt x="58" y="132"/>
                      </a:lnTo>
                      <a:lnTo>
                        <a:pt x="59" y="131"/>
                      </a:lnTo>
                      <a:lnTo>
                        <a:pt x="60" y="131"/>
                      </a:lnTo>
                      <a:lnTo>
                        <a:pt x="60" y="132"/>
                      </a:lnTo>
                      <a:lnTo>
                        <a:pt x="60" y="131"/>
                      </a:lnTo>
                      <a:lnTo>
                        <a:pt x="61" y="131"/>
                      </a:lnTo>
                      <a:lnTo>
                        <a:pt x="62" y="131"/>
                      </a:lnTo>
                      <a:lnTo>
                        <a:pt x="62" y="130"/>
                      </a:lnTo>
                      <a:lnTo>
                        <a:pt x="62" y="130"/>
                      </a:lnTo>
                      <a:lnTo>
                        <a:pt x="63" y="130"/>
                      </a:lnTo>
                      <a:lnTo>
                        <a:pt x="63" y="129"/>
                      </a:lnTo>
                      <a:lnTo>
                        <a:pt x="64" y="129"/>
                      </a:lnTo>
                      <a:lnTo>
                        <a:pt x="64" y="129"/>
                      </a:lnTo>
                      <a:lnTo>
                        <a:pt x="65" y="129"/>
                      </a:lnTo>
                      <a:lnTo>
                        <a:pt x="66" y="129"/>
                      </a:lnTo>
                      <a:lnTo>
                        <a:pt x="66" y="129"/>
                      </a:lnTo>
                      <a:lnTo>
                        <a:pt x="66" y="128"/>
                      </a:lnTo>
                      <a:lnTo>
                        <a:pt x="67" y="128"/>
                      </a:lnTo>
                      <a:lnTo>
                        <a:pt x="67" y="128"/>
                      </a:lnTo>
                      <a:lnTo>
                        <a:pt x="68" y="128"/>
                      </a:lnTo>
                      <a:lnTo>
                        <a:pt x="68" y="127"/>
                      </a:lnTo>
                      <a:lnTo>
                        <a:pt x="69" y="127"/>
                      </a:lnTo>
                      <a:lnTo>
                        <a:pt x="70" y="127"/>
                      </a:lnTo>
                      <a:lnTo>
                        <a:pt x="70" y="127"/>
                      </a:lnTo>
                      <a:lnTo>
                        <a:pt x="70" y="128"/>
                      </a:lnTo>
                      <a:lnTo>
                        <a:pt x="70" y="127"/>
                      </a:lnTo>
                      <a:lnTo>
                        <a:pt x="71" y="127"/>
                      </a:lnTo>
                      <a:lnTo>
                        <a:pt x="71" y="128"/>
                      </a:lnTo>
                      <a:lnTo>
                        <a:pt x="71" y="127"/>
                      </a:lnTo>
                      <a:lnTo>
                        <a:pt x="72" y="127"/>
                      </a:lnTo>
                      <a:lnTo>
                        <a:pt x="72" y="128"/>
                      </a:lnTo>
                      <a:lnTo>
                        <a:pt x="72" y="128"/>
                      </a:lnTo>
                      <a:lnTo>
                        <a:pt x="76" y="128"/>
                      </a:lnTo>
                      <a:lnTo>
                        <a:pt x="77" y="127"/>
                      </a:lnTo>
                      <a:lnTo>
                        <a:pt x="78" y="127"/>
                      </a:lnTo>
                      <a:lnTo>
                        <a:pt x="79" y="127"/>
                      </a:lnTo>
                      <a:lnTo>
                        <a:pt x="79" y="126"/>
                      </a:lnTo>
                      <a:lnTo>
                        <a:pt x="79" y="127"/>
                      </a:lnTo>
                      <a:lnTo>
                        <a:pt x="80" y="127"/>
                      </a:lnTo>
                      <a:lnTo>
                        <a:pt x="81" y="127"/>
                      </a:lnTo>
                      <a:lnTo>
                        <a:pt x="81" y="126"/>
                      </a:lnTo>
                      <a:lnTo>
                        <a:pt x="81" y="126"/>
                      </a:lnTo>
                      <a:lnTo>
                        <a:pt x="82" y="126"/>
                      </a:lnTo>
                      <a:lnTo>
                        <a:pt x="82" y="126"/>
                      </a:lnTo>
                      <a:lnTo>
                        <a:pt x="83" y="126"/>
                      </a:lnTo>
                      <a:lnTo>
                        <a:pt x="83" y="126"/>
                      </a:lnTo>
                      <a:lnTo>
                        <a:pt x="83" y="126"/>
                      </a:lnTo>
                      <a:lnTo>
                        <a:pt x="83" y="126"/>
                      </a:lnTo>
                      <a:lnTo>
                        <a:pt x="83" y="126"/>
                      </a:lnTo>
                      <a:lnTo>
                        <a:pt x="84" y="126"/>
                      </a:lnTo>
                      <a:lnTo>
                        <a:pt x="84" y="126"/>
                      </a:lnTo>
                      <a:lnTo>
                        <a:pt x="85" y="126"/>
                      </a:lnTo>
                      <a:lnTo>
                        <a:pt x="85" y="125"/>
                      </a:lnTo>
                      <a:lnTo>
                        <a:pt x="85" y="125"/>
                      </a:lnTo>
                      <a:lnTo>
                        <a:pt x="85" y="125"/>
                      </a:lnTo>
                      <a:lnTo>
                        <a:pt x="85" y="124"/>
                      </a:lnTo>
                      <a:lnTo>
                        <a:pt x="85" y="125"/>
                      </a:lnTo>
                      <a:lnTo>
                        <a:pt x="86" y="125"/>
                      </a:lnTo>
                      <a:lnTo>
                        <a:pt x="86" y="124"/>
                      </a:lnTo>
                      <a:lnTo>
                        <a:pt x="86" y="124"/>
                      </a:lnTo>
                      <a:lnTo>
                        <a:pt x="86" y="123"/>
                      </a:lnTo>
                      <a:lnTo>
                        <a:pt x="87" y="123"/>
                      </a:lnTo>
                      <a:lnTo>
                        <a:pt x="87" y="124"/>
                      </a:lnTo>
                      <a:lnTo>
                        <a:pt x="87" y="124"/>
                      </a:lnTo>
                      <a:lnTo>
                        <a:pt x="87" y="124"/>
                      </a:lnTo>
                      <a:lnTo>
                        <a:pt x="87" y="124"/>
                      </a:lnTo>
                      <a:lnTo>
                        <a:pt x="88" y="123"/>
                      </a:lnTo>
                      <a:lnTo>
                        <a:pt x="88" y="124"/>
                      </a:lnTo>
                      <a:lnTo>
                        <a:pt x="89" y="124"/>
                      </a:lnTo>
                      <a:lnTo>
                        <a:pt x="89" y="123"/>
                      </a:lnTo>
                      <a:lnTo>
                        <a:pt x="89" y="122"/>
                      </a:lnTo>
                      <a:lnTo>
                        <a:pt x="89" y="122"/>
                      </a:lnTo>
                      <a:lnTo>
                        <a:pt x="90" y="122"/>
                      </a:lnTo>
                      <a:lnTo>
                        <a:pt x="90" y="122"/>
                      </a:lnTo>
                      <a:lnTo>
                        <a:pt x="90" y="121"/>
                      </a:lnTo>
                      <a:lnTo>
                        <a:pt x="90" y="120"/>
                      </a:lnTo>
                      <a:lnTo>
                        <a:pt x="90" y="120"/>
                      </a:lnTo>
                      <a:lnTo>
                        <a:pt x="90" y="119"/>
                      </a:lnTo>
                      <a:lnTo>
                        <a:pt x="90" y="118"/>
                      </a:lnTo>
                      <a:lnTo>
                        <a:pt x="89" y="118"/>
                      </a:lnTo>
                      <a:lnTo>
                        <a:pt x="89" y="118"/>
                      </a:lnTo>
                      <a:lnTo>
                        <a:pt x="88" y="118"/>
                      </a:lnTo>
                      <a:lnTo>
                        <a:pt x="87" y="118"/>
                      </a:lnTo>
                      <a:lnTo>
                        <a:pt x="87" y="118"/>
                      </a:lnTo>
                      <a:lnTo>
                        <a:pt x="86" y="118"/>
                      </a:lnTo>
                      <a:lnTo>
                        <a:pt x="86" y="118"/>
                      </a:lnTo>
                      <a:lnTo>
                        <a:pt x="85" y="118"/>
                      </a:lnTo>
                      <a:lnTo>
                        <a:pt x="85" y="117"/>
                      </a:lnTo>
                      <a:lnTo>
                        <a:pt x="85" y="118"/>
                      </a:lnTo>
                      <a:lnTo>
                        <a:pt x="84" y="118"/>
                      </a:lnTo>
                      <a:lnTo>
                        <a:pt x="83" y="118"/>
                      </a:lnTo>
                      <a:lnTo>
                        <a:pt x="83" y="118"/>
                      </a:lnTo>
                      <a:lnTo>
                        <a:pt x="82" y="118"/>
                      </a:lnTo>
                      <a:lnTo>
                        <a:pt x="82" y="118"/>
                      </a:lnTo>
                      <a:lnTo>
                        <a:pt x="81" y="118"/>
                      </a:lnTo>
                      <a:lnTo>
                        <a:pt x="81" y="119"/>
                      </a:lnTo>
                      <a:lnTo>
                        <a:pt x="81" y="119"/>
                      </a:lnTo>
                      <a:lnTo>
                        <a:pt x="80" y="119"/>
                      </a:lnTo>
                      <a:lnTo>
                        <a:pt x="79" y="119"/>
                      </a:lnTo>
                      <a:lnTo>
                        <a:pt x="79" y="119"/>
                      </a:lnTo>
                      <a:lnTo>
                        <a:pt x="78" y="119"/>
                      </a:lnTo>
                      <a:lnTo>
                        <a:pt x="78" y="118"/>
                      </a:lnTo>
                      <a:lnTo>
                        <a:pt x="77" y="118"/>
                      </a:lnTo>
                      <a:lnTo>
                        <a:pt x="76" y="118"/>
                      </a:lnTo>
                      <a:lnTo>
                        <a:pt x="76" y="118"/>
                      </a:lnTo>
                      <a:lnTo>
                        <a:pt x="75" y="118"/>
                      </a:lnTo>
                      <a:lnTo>
                        <a:pt x="75" y="117"/>
                      </a:lnTo>
                      <a:lnTo>
                        <a:pt x="74" y="117"/>
                      </a:lnTo>
                      <a:lnTo>
                        <a:pt x="74" y="117"/>
                      </a:lnTo>
                      <a:lnTo>
                        <a:pt x="74" y="116"/>
                      </a:lnTo>
                      <a:lnTo>
                        <a:pt x="73" y="116"/>
                      </a:lnTo>
                      <a:lnTo>
                        <a:pt x="73" y="116"/>
                      </a:lnTo>
                      <a:lnTo>
                        <a:pt x="72" y="116"/>
                      </a:lnTo>
                      <a:lnTo>
                        <a:pt x="72" y="116"/>
                      </a:lnTo>
                      <a:lnTo>
                        <a:pt x="72" y="116"/>
                      </a:lnTo>
                      <a:lnTo>
                        <a:pt x="71" y="116"/>
                      </a:lnTo>
                      <a:lnTo>
                        <a:pt x="70" y="116"/>
                      </a:lnTo>
                      <a:lnTo>
                        <a:pt x="70" y="116"/>
                      </a:lnTo>
                      <a:lnTo>
                        <a:pt x="69" y="116"/>
                      </a:lnTo>
                      <a:lnTo>
                        <a:pt x="68" y="116"/>
                      </a:lnTo>
                      <a:lnTo>
                        <a:pt x="68" y="116"/>
                      </a:lnTo>
                      <a:lnTo>
                        <a:pt x="67" y="116"/>
                      </a:lnTo>
                      <a:lnTo>
                        <a:pt x="66" y="116"/>
                      </a:lnTo>
                      <a:lnTo>
                        <a:pt x="66" y="116"/>
                      </a:lnTo>
                      <a:lnTo>
                        <a:pt x="65" y="116"/>
                      </a:lnTo>
                      <a:lnTo>
                        <a:pt x="64" y="116"/>
                      </a:lnTo>
                      <a:lnTo>
                        <a:pt x="64" y="116"/>
                      </a:lnTo>
                      <a:lnTo>
                        <a:pt x="63" y="116"/>
                      </a:lnTo>
                      <a:lnTo>
                        <a:pt x="63" y="117"/>
                      </a:lnTo>
                      <a:lnTo>
                        <a:pt x="62" y="117"/>
                      </a:lnTo>
                      <a:lnTo>
                        <a:pt x="62" y="117"/>
                      </a:lnTo>
                      <a:lnTo>
                        <a:pt x="61" y="117"/>
                      </a:lnTo>
                      <a:lnTo>
                        <a:pt x="60" y="117"/>
                      </a:lnTo>
                      <a:lnTo>
                        <a:pt x="60" y="117"/>
                      </a:lnTo>
                      <a:lnTo>
                        <a:pt x="59" y="117"/>
                      </a:lnTo>
                      <a:lnTo>
                        <a:pt x="59" y="116"/>
                      </a:lnTo>
                      <a:lnTo>
                        <a:pt x="58" y="116"/>
                      </a:lnTo>
                      <a:lnTo>
                        <a:pt x="57" y="116"/>
                      </a:lnTo>
                      <a:lnTo>
                        <a:pt x="57" y="116"/>
                      </a:lnTo>
                      <a:lnTo>
                        <a:pt x="57" y="116"/>
                      </a:lnTo>
                      <a:lnTo>
                        <a:pt x="57" y="116"/>
                      </a:lnTo>
                      <a:lnTo>
                        <a:pt x="56" y="116"/>
                      </a:lnTo>
                      <a:lnTo>
                        <a:pt x="55" y="116"/>
                      </a:lnTo>
                      <a:lnTo>
                        <a:pt x="55" y="117"/>
                      </a:lnTo>
                      <a:lnTo>
                        <a:pt x="55" y="117"/>
                      </a:lnTo>
                      <a:lnTo>
                        <a:pt x="55" y="116"/>
                      </a:lnTo>
                      <a:lnTo>
                        <a:pt x="54" y="116"/>
                      </a:lnTo>
                      <a:lnTo>
                        <a:pt x="53" y="116"/>
                      </a:lnTo>
                      <a:lnTo>
                        <a:pt x="53" y="116"/>
                      </a:lnTo>
                      <a:lnTo>
                        <a:pt x="53" y="116"/>
                      </a:lnTo>
                      <a:lnTo>
                        <a:pt x="53" y="115"/>
                      </a:lnTo>
                      <a:lnTo>
                        <a:pt x="52" y="115"/>
                      </a:lnTo>
                      <a:lnTo>
                        <a:pt x="49" y="115"/>
                      </a:lnTo>
                      <a:lnTo>
                        <a:pt x="47" y="116"/>
                      </a:lnTo>
                      <a:lnTo>
                        <a:pt x="46" y="116"/>
                      </a:lnTo>
                      <a:lnTo>
                        <a:pt x="44" y="118"/>
                      </a:lnTo>
                      <a:lnTo>
                        <a:pt x="43" y="118"/>
                      </a:lnTo>
                      <a:lnTo>
                        <a:pt x="43" y="118"/>
                      </a:lnTo>
                      <a:lnTo>
                        <a:pt x="43" y="118"/>
                      </a:lnTo>
                      <a:lnTo>
                        <a:pt x="42" y="118"/>
                      </a:lnTo>
                      <a:lnTo>
                        <a:pt x="41" y="118"/>
                      </a:lnTo>
                      <a:lnTo>
                        <a:pt x="41" y="119"/>
                      </a:lnTo>
                      <a:lnTo>
                        <a:pt x="41" y="118"/>
                      </a:lnTo>
                      <a:lnTo>
                        <a:pt x="40" y="118"/>
                      </a:lnTo>
                      <a:lnTo>
                        <a:pt x="40" y="118"/>
                      </a:lnTo>
                      <a:lnTo>
                        <a:pt x="39" y="118"/>
                      </a:lnTo>
                      <a:lnTo>
                        <a:pt x="38" y="118"/>
                      </a:lnTo>
                      <a:lnTo>
                        <a:pt x="38" y="118"/>
                      </a:lnTo>
                      <a:lnTo>
                        <a:pt x="37" y="118"/>
                      </a:lnTo>
                      <a:lnTo>
                        <a:pt x="36" y="118"/>
                      </a:lnTo>
                      <a:lnTo>
                        <a:pt x="36" y="118"/>
                      </a:lnTo>
                      <a:lnTo>
                        <a:pt x="35" y="118"/>
                      </a:lnTo>
                      <a:lnTo>
                        <a:pt x="34" y="118"/>
                      </a:lnTo>
                      <a:lnTo>
                        <a:pt x="34" y="117"/>
                      </a:lnTo>
                      <a:lnTo>
                        <a:pt x="35" y="117"/>
                      </a:lnTo>
                      <a:lnTo>
                        <a:pt x="34" y="117"/>
                      </a:lnTo>
                      <a:lnTo>
                        <a:pt x="34" y="116"/>
                      </a:lnTo>
                      <a:lnTo>
                        <a:pt x="34" y="116"/>
                      </a:lnTo>
                      <a:lnTo>
                        <a:pt x="32" y="114"/>
                      </a:lnTo>
                      <a:lnTo>
                        <a:pt x="32" y="114"/>
                      </a:lnTo>
                      <a:lnTo>
                        <a:pt x="30" y="111"/>
                      </a:lnTo>
                      <a:lnTo>
                        <a:pt x="30" y="109"/>
                      </a:lnTo>
                      <a:lnTo>
                        <a:pt x="32" y="109"/>
                      </a:lnTo>
                      <a:lnTo>
                        <a:pt x="32" y="107"/>
                      </a:lnTo>
                      <a:lnTo>
                        <a:pt x="32" y="106"/>
                      </a:lnTo>
                      <a:lnTo>
                        <a:pt x="32" y="105"/>
                      </a:lnTo>
                      <a:lnTo>
                        <a:pt x="31" y="103"/>
                      </a:lnTo>
                      <a:lnTo>
                        <a:pt x="31" y="101"/>
                      </a:lnTo>
                      <a:lnTo>
                        <a:pt x="31" y="101"/>
                      </a:lnTo>
                      <a:lnTo>
                        <a:pt x="31" y="100"/>
                      </a:lnTo>
                      <a:lnTo>
                        <a:pt x="31" y="99"/>
                      </a:lnTo>
                      <a:lnTo>
                        <a:pt x="30" y="98"/>
                      </a:lnTo>
                      <a:lnTo>
                        <a:pt x="30" y="98"/>
                      </a:lnTo>
                      <a:lnTo>
                        <a:pt x="29" y="98"/>
                      </a:lnTo>
                      <a:lnTo>
                        <a:pt x="28" y="97"/>
                      </a:lnTo>
                      <a:lnTo>
                        <a:pt x="28" y="97"/>
                      </a:lnTo>
                      <a:lnTo>
                        <a:pt x="26" y="94"/>
                      </a:lnTo>
                      <a:lnTo>
                        <a:pt x="25" y="90"/>
                      </a:lnTo>
                      <a:lnTo>
                        <a:pt x="24" y="90"/>
                      </a:lnTo>
                      <a:lnTo>
                        <a:pt x="30" y="90"/>
                      </a:lnTo>
                      <a:lnTo>
                        <a:pt x="32" y="90"/>
                      </a:lnTo>
                      <a:lnTo>
                        <a:pt x="40" y="84"/>
                      </a:lnTo>
                      <a:lnTo>
                        <a:pt x="43" y="84"/>
                      </a:lnTo>
                      <a:lnTo>
                        <a:pt x="45" y="86"/>
                      </a:lnTo>
                      <a:lnTo>
                        <a:pt x="47" y="86"/>
                      </a:lnTo>
                      <a:lnTo>
                        <a:pt x="48" y="86"/>
                      </a:lnTo>
                      <a:lnTo>
                        <a:pt x="49" y="86"/>
                      </a:lnTo>
                      <a:lnTo>
                        <a:pt x="49" y="85"/>
                      </a:lnTo>
                      <a:lnTo>
                        <a:pt x="49" y="85"/>
                      </a:lnTo>
                      <a:lnTo>
                        <a:pt x="49" y="84"/>
                      </a:lnTo>
                      <a:lnTo>
                        <a:pt x="50" y="84"/>
                      </a:lnTo>
                      <a:lnTo>
                        <a:pt x="50" y="84"/>
                      </a:lnTo>
                      <a:lnTo>
                        <a:pt x="49" y="84"/>
                      </a:lnTo>
                      <a:lnTo>
                        <a:pt x="50" y="83"/>
                      </a:lnTo>
                      <a:lnTo>
                        <a:pt x="51" y="83"/>
                      </a:lnTo>
                      <a:lnTo>
                        <a:pt x="51" y="84"/>
                      </a:lnTo>
                      <a:lnTo>
                        <a:pt x="51" y="84"/>
                      </a:lnTo>
                      <a:lnTo>
                        <a:pt x="51" y="83"/>
                      </a:lnTo>
                      <a:lnTo>
                        <a:pt x="52" y="82"/>
                      </a:lnTo>
                      <a:lnTo>
                        <a:pt x="53" y="83"/>
                      </a:lnTo>
                      <a:lnTo>
                        <a:pt x="53" y="83"/>
                      </a:lnTo>
                      <a:lnTo>
                        <a:pt x="54" y="83"/>
                      </a:lnTo>
                      <a:lnTo>
                        <a:pt x="54" y="84"/>
                      </a:lnTo>
                      <a:lnTo>
                        <a:pt x="55" y="84"/>
                      </a:lnTo>
                      <a:lnTo>
                        <a:pt x="55" y="84"/>
                      </a:lnTo>
                      <a:lnTo>
                        <a:pt x="55" y="84"/>
                      </a:lnTo>
                      <a:lnTo>
                        <a:pt x="56" y="84"/>
                      </a:lnTo>
                      <a:lnTo>
                        <a:pt x="57" y="84"/>
                      </a:lnTo>
                      <a:lnTo>
                        <a:pt x="57" y="85"/>
                      </a:lnTo>
                      <a:lnTo>
                        <a:pt x="58" y="85"/>
                      </a:lnTo>
                      <a:lnTo>
                        <a:pt x="59" y="85"/>
                      </a:lnTo>
                      <a:lnTo>
                        <a:pt x="60" y="85"/>
                      </a:lnTo>
                      <a:lnTo>
                        <a:pt x="60" y="84"/>
                      </a:lnTo>
                      <a:lnTo>
                        <a:pt x="60" y="85"/>
                      </a:lnTo>
                      <a:lnTo>
                        <a:pt x="61" y="85"/>
                      </a:lnTo>
                      <a:lnTo>
                        <a:pt x="62" y="85"/>
                      </a:lnTo>
                      <a:lnTo>
                        <a:pt x="62" y="85"/>
                      </a:lnTo>
                      <a:lnTo>
                        <a:pt x="62" y="84"/>
                      </a:lnTo>
                      <a:lnTo>
                        <a:pt x="63" y="84"/>
                      </a:lnTo>
                      <a:lnTo>
                        <a:pt x="64" y="84"/>
                      </a:lnTo>
                      <a:lnTo>
                        <a:pt x="64" y="84"/>
                      </a:lnTo>
                      <a:lnTo>
                        <a:pt x="64" y="84"/>
                      </a:lnTo>
                      <a:lnTo>
                        <a:pt x="64" y="83"/>
                      </a:lnTo>
                      <a:lnTo>
                        <a:pt x="65" y="83"/>
                      </a:lnTo>
                      <a:lnTo>
                        <a:pt x="65" y="82"/>
                      </a:lnTo>
                      <a:lnTo>
                        <a:pt x="66" y="82"/>
                      </a:lnTo>
                      <a:lnTo>
                        <a:pt x="66" y="82"/>
                      </a:lnTo>
                      <a:lnTo>
                        <a:pt x="66" y="81"/>
                      </a:lnTo>
                      <a:lnTo>
                        <a:pt x="66" y="80"/>
                      </a:lnTo>
                      <a:lnTo>
                        <a:pt x="66" y="80"/>
                      </a:lnTo>
                      <a:lnTo>
                        <a:pt x="66" y="79"/>
                      </a:lnTo>
                      <a:lnTo>
                        <a:pt x="67" y="79"/>
                      </a:lnTo>
                      <a:lnTo>
                        <a:pt x="68" y="79"/>
                      </a:lnTo>
                      <a:lnTo>
                        <a:pt x="68" y="78"/>
                      </a:lnTo>
                      <a:lnTo>
                        <a:pt x="68" y="78"/>
                      </a:lnTo>
                      <a:lnTo>
                        <a:pt x="68" y="78"/>
                      </a:lnTo>
                      <a:lnTo>
                        <a:pt x="68" y="77"/>
                      </a:lnTo>
                      <a:lnTo>
                        <a:pt x="69" y="76"/>
                      </a:lnTo>
                      <a:lnTo>
                        <a:pt x="69" y="76"/>
                      </a:lnTo>
                      <a:lnTo>
                        <a:pt x="70" y="76"/>
                      </a:lnTo>
                      <a:lnTo>
                        <a:pt x="71" y="75"/>
                      </a:lnTo>
                      <a:lnTo>
                        <a:pt x="72" y="76"/>
                      </a:lnTo>
                      <a:lnTo>
                        <a:pt x="74" y="75"/>
                      </a:lnTo>
                      <a:lnTo>
                        <a:pt x="76" y="75"/>
                      </a:lnTo>
                      <a:lnTo>
                        <a:pt x="76" y="75"/>
                      </a:lnTo>
                      <a:lnTo>
                        <a:pt x="77" y="75"/>
                      </a:lnTo>
                      <a:lnTo>
                        <a:pt x="77" y="74"/>
                      </a:lnTo>
                      <a:lnTo>
                        <a:pt x="78" y="74"/>
                      </a:lnTo>
                      <a:lnTo>
                        <a:pt x="79" y="74"/>
                      </a:lnTo>
                      <a:lnTo>
                        <a:pt x="79" y="73"/>
                      </a:lnTo>
                      <a:lnTo>
                        <a:pt x="79" y="73"/>
                      </a:lnTo>
                      <a:lnTo>
                        <a:pt x="80" y="73"/>
                      </a:lnTo>
                      <a:lnTo>
                        <a:pt x="80" y="73"/>
                      </a:lnTo>
                      <a:lnTo>
                        <a:pt x="81" y="73"/>
                      </a:lnTo>
                      <a:lnTo>
                        <a:pt x="81" y="73"/>
                      </a:lnTo>
                      <a:lnTo>
                        <a:pt x="81" y="73"/>
                      </a:lnTo>
                      <a:lnTo>
                        <a:pt x="82" y="73"/>
                      </a:lnTo>
                      <a:lnTo>
                        <a:pt x="83" y="74"/>
                      </a:lnTo>
                      <a:lnTo>
                        <a:pt x="83" y="74"/>
                      </a:lnTo>
                      <a:lnTo>
                        <a:pt x="84" y="74"/>
                      </a:lnTo>
                      <a:lnTo>
                        <a:pt x="85" y="74"/>
                      </a:lnTo>
                      <a:lnTo>
                        <a:pt x="85" y="75"/>
                      </a:lnTo>
                      <a:lnTo>
                        <a:pt x="85" y="75"/>
                      </a:lnTo>
                      <a:lnTo>
                        <a:pt x="86" y="75"/>
                      </a:lnTo>
                      <a:lnTo>
                        <a:pt x="87" y="75"/>
                      </a:lnTo>
                      <a:lnTo>
                        <a:pt x="87" y="75"/>
                      </a:lnTo>
                      <a:lnTo>
                        <a:pt x="87" y="76"/>
                      </a:lnTo>
                      <a:lnTo>
                        <a:pt x="88" y="76"/>
                      </a:lnTo>
                      <a:lnTo>
                        <a:pt x="89" y="76"/>
                      </a:lnTo>
                      <a:lnTo>
                        <a:pt x="89" y="76"/>
                      </a:lnTo>
                      <a:lnTo>
                        <a:pt x="89" y="76"/>
                      </a:lnTo>
                      <a:lnTo>
                        <a:pt x="90" y="76"/>
                      </a:lnTo>
                      <a:lnTo>
                        <a:pt x="91" y="76"/>
                      </a:lnTo>
                      <a:lnTo>
                        <a:pt x="91" y="76"/>
                      </a:lnTo>
                      <a:lnTo>
                        <a:pt x="90" y="75"/>
                      </a:lnTo>
                      <a:lnTo>
                        <a:pt x="90" y="74"/>
                      </a:lnTo>
                      <a:lnTo>
                        <a:pt x="90" y="73"/>
                      </a:lnTo>
                      <a:lnTo>
                        <a:pt x="89" y="73"/>
                      </a:lnTo>
                      <a:lnTo>
                        <a:pt x="89" y="72"/>
                      </a:lnTo>
                      <a:lnTo>
                        <a:pt x="89" y="71"/>
                      </a:lnTo>
                      <a:lnTo>
                        <a:pt x="89" y="71"/>
                      </a:lnTo>
                      <a:lnTo>
                        <a:pt x="89" y="71"/>
                      </a:lnTo>
                      <a:lnTo>
                        <a:pt x="88" y="70"/>
                      </a:lnTo>
                      <a:lnTo>
                        <a:pt x="88" y="69"/>
                      </a:lnTo>
                      <a:lnTo>
                        <a:pt x="88" y="68"/>
                      </a:lnTo>
                      <a:lnTo>
                        <a:pt x="91" y="65"/>
                      </a:lnTo>
                      <a:lnTo>
                        <a:pt x="93" y="62"/>
                      </a:lnTo>
                      <a:lnTo>
                        <a:pt x="95" y="60"/>
                      </a:lnTo>
                      <a:lnTo>
                        <a:pt x="97" y="59"/>
                      </a:lnTo>
                      <a:lnTo>
                        <a:pt x="98" y="59"/>
                      </a:lnTo>
                      <a:lnTo>
                        <a:pt x="100" y="56"/>
                      </a:lnTo>
                      <a:lnTo>
                        <a:pt x="102" y="55"/>
                      </a:lnTo>
                      <a:lnTo>
                        <a:pt x="102" y="55"/>
                      </a:lnTo>
                      <a:lnTo>
                        <a:pt x="103" y="53"/>
                      </a:lnTo>
                      <a:lnTo>
                        <a:pt x="103" y="52"/>
                      </a:lnTo>
                      <a:lnTo>
                        <a:pt x="106" y="50"/>
                      </a:lnTo>
                      <a:lnTo>
                        <a:pt x="110" y="47"/>
                      </a:lnTo>
                      <a:lnTo>
                        <a:pt x="110" y="46"/>
                      </a:lnTo>
                      <a:lnTo>
                        <a:pt x="112" y="46"/>
                      </a:lnTo>
                      <a:lnTo>
                        <a:pt x="112" y="46"/>
                      </a:lnTo>
                      <a:lnTo>
                        <a:pt x="113" y="45"/>
                      </a:lnTo>
                      <a:lnTo>
                        <a:pt x="114" y="46"/>
                      </a:lnTo>
                      <a:lnTo>
                        <a:pt x="115" y="46"/>
                      </a:lnTo>
                      <a:lnTo>
                        <a:pt x="117" y="46"/>
                      </a:lnTo>
                      <a:lnTo>
                        <a:pt x="117" y="46"/>
                      </a:lnTo>
                      <a:lnTo>
                        <a:pt x="117" y="45"/>
                      </a:lnTo>
                      <a:lnTo>
                        <a:pt x="118" y="44"/>
                      </a:lnTo>
                      <a:lnTo>
                        <a:pt x="120" y="44"/>
                      </a:lnTo>
                      <a:lnTo>
                        <a:pt x="123" y="42"/>
                      </a:lnTo>
                      <a:lnTo>
                        <a:pt x="123" y="43"/>
                      </a:lnTo>
                      <a:lnTo>
                        <a:pt x="123" y="42"/>
                      </a:lnTo>
                      <a:lnTo>
                        <a:pt x="124" y="42"/>
                      </a:lnTo>
                      <a:lnTo>
                        <a:pt x="125" y="42"/>
                      </a:lnTo>
                      <a:lnTo>
                        <a:pt x="125" y="42"/>
                      </a:lnTo>
                      <a:lnTo>
                        <a:pt x="126" y="42"/>
                      </a:lnTo>
                      <a:lnTo>
                        <a:pt x="127" y="42"/>
                      </a:lnTo>
                      <a:lnTo>
                        <a:pt x="128" y="41"/>
                      </a:lnTo>
                      <a:lnTo>
                        <a:pt x="128" y="40"/>
                      </a:lnTo>
                      <a:lnTo>
                        <a:pt x="131" y="40"/>
                      </a:lnTo>
                      <a:lnTo>
                        <a:pt x="133" y="42"/>
                      </a:lnTo>
                      <a:lnTo>
                        <a:pt x="134" y="41"/>
                      </a:lnTo>
                      <a:lnTo>
                        <a:pt x="136" y="41"/>
                      </a:lnTo>
                      <a:lnTo>
                        <a:pt x="136" y="40"/>
                      </a:lnTo>
                      <a:lnTo>
                        <a:pt x="137" y="40"/>
                      </a:lnTo>
                      <a:lnTo>
                        <a:pt x="139" y="40"/>
                      </a:lnTo>
                      <a:lnTo>
                        <a:pt x="140" y="40"/>
                      </a:lnTo>
                      <a:lnTo>
                        <a:pt x="140" y="39"/>
                      </a:lnTo>
                      <a:lnTo>
                        <a:pt x="140" y="39"/>
                      </a:lnTo>
                      <a:lnTo>
                        <a:pt x="141" y="39"/>
                      </a:lnTo>
                      <a:lnTo>
                        <a:pt x="141" y="38"/>
                      </a:lnTo>
                      <a:lnTo>
                        <a:pt x="142" y="38"/>
                      </a:lnTo>
                      <a:lnTo>
                        <a:pt x="142" y="39"/>
                      </a:lnTo>
                      <a:lnTo>
                        <a:pt x="142" y="39"/>
                      </a:lnTo>
                      <a:lnTo>
                        <a:pt x="142" y="40"/>
                      </a:lnTo>
                      <a:lnTo>
                        <a:pt x="143" y="40"/>
                      </a:lnTo>
                      <a:lnTo>
                        <a:pt x="144" y="40"/>
                      </a:lnTo>
                      <a:lnTo>
                        <a:pt x="144" y="41"/>
                      </a:lnTo>
                      <a:lnTo>
                        <a:pt x="144" y="42"/>
                      </a:lnTo>
                      <a:lnTo>
                        <a:pt x="145" y="42"/>
                      </a:lnTo>
                      <a:lnTo>
                        <a:pt x="146" y="42"/>
                      </a:lnTo>
                      <a:lnTo>
                        <a:pt x="146" y="42"/>
                      </a:lnTo>
                      <a:lnTo>
                        <a:pt x="147" y="42"/>
                      </a:lnTo>
                      <a:lnTo>
                        <a:pt x="148" y="42"/>
                      </a:lnTo>
                      <a:lnTo>
                        <a:pt x="148" y="42"/>
                      </a:lnTo>
                      <a:lnTo>
                        <a:pt x="149" y="42"/>
                      </a:lnTo>
                      <a:lnTo>
                        <a:pt x="150" y="42"/>
                      </a:lnTo>
                      <a:lnTo>
                        <a:pt x="150" y="42"/>
                      </a:lnTo>
                      <a:lnTo>
                        <a:pt x="151" y="42"/>
                      </a:lnTo>
                      <a:lnTo>
                        <a:pt x="152" y="42"/>
                      </a:lnTo>
                      <a:lnTo>
                        <a:pt x="152" y="41"/>
                      </a:lnTo>
                      <a:lnTo>
                        <a:pt x="153" y="40"/>
                      </a:lnTo>
                      <a:lnTo>
                        <a:pt x="154" y="40"/>
                      </a:lnTo>
                      <a:lnTo>
                        <a:pt x="154" y="39"/>
                      </a:lnTo>
                      <a:lnTo>
                        <a:pt x="155" y="39"/>
                      </a:lnTo>
                      <a:lnTo>
                        <a:pt x="155" y="39"/>
                      </a:lnTo>
                      <a:lnTo>
                        <a:pt x="155" y="38"/>
                      </a:lnTo>
                      <a:lnTo>
                        <a:pt x="155" y="38"/>
                      </a:lnTo>
                      <a:lnTo>
                        <a:pt x="155" y="37"/>
                      </a:lnTo>
                      <a:lnTo>
                        <a:pt x="156" y="37"/>
                      </a:lnTo>
                      <a:lnTo>
                        <a:pt x="156" y="36"/>
                      </a:lnTo>
                      <a:lnTo>
                        <a:pt x="156" y="36"/>
                      </a:lnTo>
                      <a:lnTo>
                        <a:pt x="157" y="36"/>
                      </a:lnTo>
                      <a:lnTo>
                        <a:pt x="157" y="35"/>
                      </a:lnTo>
                      <a:lnTo>
                        <a:pt x="157" y="35"/>
                      </a:lnTo>
                      <a:lnTo>
                        <a:pt x="159" y="34"/>
                      </a:lnTo>
                      <a:lnTo>
                        <a:pt x="159" y="35"/>
                      </a:lnTo>
                      <a:lnTo>
                        <a:pt x="160" y="37"/>
                      </a:lnTo>
                      <a:lnTo>
                        <a:pt x="159" y="38"/>
                      </a:lnTo>
                      <a:lnTo>
                        <a:pt x="160" y="39"/>
                      </a:lnTo>
                      <a:lnTo>
                        <a:pt x="161" y="38"/>
                      </a:lnTo>
                      <a:lnTo>
                        <a:pt x="163" y="38"/>
                      </a:lnTo>
                      <a:lnTo>
                        <a:pt x="164" y="38"/>
                      </a:lnTo>
                      <a:lnTo>
                        <a:pt x="165" y="39"/>
                      </a:lnTo>
                      <a:lnTo>
                        <a:pt x="165" y="39"/>
                      </a:lnTo>
                      <a:lnTo>
                        <a:pt x="166" y="38"/>
                      </a:lnTo>
                      <a:lnTo>
                        <a:pt x="166" y="36"/>
                      </a:lnTo>
                      <a:lnTo>
                        <a:pt x="167" y="36"/>
                      </a:lnTo>
                      <a:lnTo>
                        <a:pt x="167" y="35"/>
                      </a:lnTo>
                      <a:lnTo>
                        <a:pt x="167" y="34"/>
                      </a:lnTo>
                      <a:lnTo>
                        <a:pt x="169" y="34"/>
                      </a:lnTo>
                      <a:lnTo>
                        <a:pt x="169" y="33"/>
                      </a:lnTo>
                      <a:lnTo>
                        <a:pt x="170" y="33"/>
                      </a:lnTo>
                      <a:lnTo>
                        <a:pt x="171" y="33"/>
                      </a:lnTo>
                      <a:lnTo>
                        <a:pt x="173" y="31"/>
                      </a:lnTo>
                      <a:lnTo>
                        <a:pt x="174" y="33"/>
                      </a:lnTo>
                      <a:lnTo>
                        <a:pt x="175" y="33"/>
                      </a:lnTo>
                      <a:lnTo>
                        <a:pt x="176" y="33"/>
                      </a:lnTo>
                      <a:lnTo>
                        <a:pt x="176" y="33"/>
                      </a:lnTo>
                      <a:lnTo>
                        <a:pt x="177" y="33"/>
                      </a:lnTo>
                      <a:lnTo>
                        <a:pt x="178" y="33"/>
                      </a:lnTo>
                      <a:lnTo>
                        <a:pt x="178" y="33"/>
                      </a:lnTo>
                      <a:lnTo>
                        <a:pt x="179" y="32"/>
                      </a:lnTo>
                      <a:lnTo>
                        <a:pt x="180" y="31"/>
                      </a:lnTo>
                      <a:lnTo>
                        <a:pt x="181" y="31"/>
                      </a:lnTo>
                      <a:lnTo>
                        <a:pt x="180" y="31"/>
                      </a:lnTo>
                      <a:lnTo>
                        <a:pt x="180" y="30"/>
                      </a:lnTo>
                      <a:lnTo>
                        <a:pt x="180" y="29"/>
                      </a:lnTo>
                      <a:lnTo>
                        <a:pt x="180" y="29"/>
                      </a:lnTo>
                      <a:lnTo>
                        <a:pt x="180" y="28"/>
                      </a:lnTo>
                      <a:lnTo>
                        <a:pt x="181" y="28"/>
                      </a:lnTo>
                      <a:lnTo>
                        <a:pt x="182" y="27"/>
                      </a:lnTo>
                      <a:lnTo>
                        <a:pt x="181" y="27"/>
                      </a:lnTo>
                      <a:lnTo>
                        <a:pt x="181" y="27"/>
                      </a:lnTo>
                      <a:lnTo>
                        <a:pt x="182" y="26"/>
                      </a:lnTo>
                      <a:lnTo>
                        <a:pt x="182" y="25"/>
                      </a:lnTo>
                      <a:lnTo>
                        <a:pt x="182" y="25"/>
                      </a:lnTo>
                      <a:lnTo>
                        <a:pt x="182" y="25"/>
                      </a:lnTo>
                      <a:lnTo>
                        <a:pt x="184" y="22"/>
                      </a:lnTo>
                      <a:lnTo>
                        <a:pt x="185" y="21"/>
                      </a:lnTo>
                      <a:lnTo>
                        <a:pt x="188" y="19"/>
                      </a:lnTo>
                      <a:lnTo>
                        <a:pt x="192" y="14"/>
                      </a:lnTo>
                      <a:lnTo>
                        <a:pt x="193" y="14"/>
                      </a:lnTo>
                      <a:lnTo>
                        <a:pt x="193" y="13"/>
                      </a:lnTo>
                      <a:lnTo>
                        <a:pt x="193" y="12"/>
                      </a:lnTo>
                      <a:lnTo>
                        <a:pt x="193" y="12"/>
                      </a:lnTo>
                      <a:lnTo>
                        <a:pt x="193" y="11"/>
                      </a:lnTo>
                      <a:lnTo>
                        <a:pt x="193" y="10"/>
                      </a:lnTo>
                      <a:lnTo>
                        <a:pt x="193" y="10"/>
                      </a:lnTo>
                      <a:lnTo>
                        <a:pt x="193" y="9"/>
                      </a:lnTo>
                      <a:lnTo>
                        <a:pt x="193" y="8"/>
                      </a:lnTo>
                      <a:lnTo>
                        <a:pt x="193" y="8"/>
                      </a:lnTo>
                      <a:lnTo>
                        <a:pt x="193" y="8"/>
                      </a:lnTo>
                      <a:lnTo>
                        <a:pt x="193" y="7"/>
                      </a:lnTo>
                      <a:lnTo>
                        <a:pt x="193" y="6"/>
                      </a:lnTo>
                      <a:lnTo>
                        <a:pt x="193" y="6"/>
                      </a:lnTo>
                      <a:lnTo>
                        <a:pt x="194" y="6"/>
                      </a:lnTo>
                      <a:lnTo>
                        <a:pt x="193" y="6"/>
                      </a:lnTo>
                      <a:lnTo>
                        <a:pt x="193" y="5"/>
                      </a:lnTo>
                      <a:lnTo>
                        <a:pt x="194" y="5"/>
                      </a:lnTo>
                      <a:lnTo>
                        <a:pt x="195" y="5"/>
                      </a:lnTo>
                      <a:lnTo>
                        <a:pt x="195" y="4"/>
                      </a:lnTo>
                      <a:lnTo>
                        <a:pt x="195" y="4"/>
                      </a:lnTo>
                      <a:lnTo>
                        <a:pt x="195" y="3"/>
                      </a:lnTo>
                      <a:lnTo>
                        <a:pt x="195" y="3"/>
                      </a:lnTo>
                      <a:lnTo>
                        <a:pt x="195" y="2"/>
                      </a:lnTo>
                      <a:lnTo>
                        <a:pt x="196" y="2"/>
                      </a:lnTo>
                      <a:lnTo>
                        <a:pt x="196" y="2"/>
                      </a:lnTo>
                      <a:lnTo>
                        <a:pt x="196" y="1"/>
                      </a:lnTo>
                      <a:lnTo>
                        <a:pt x="196" y="0"/>
                      </a:lnTo>
                      <a:lnTo>
                        <a:pt x="197" y="0"/>
                      </a:lnTo>
                      <a:lnTo>
                        <a:pt x="197"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4" name="Freeform 71">
                  <a:extLst>
                    <a:ext uri="{FF2B5EF4-FFF2-40B4-BE49-F238E27FC236}">
                      <a16:creationId xmlns:a16="http://schemas.microsoft.com/office/drawing/2014/main" xmlns="" id="{E5ABEAE1-9113-514F-EACA-1741914EEDA6}"/>
                    </a:ext>
                  </a:extLst>
                </p:cNvPr>
                <p:cNvSpPr>
                  <a:spLocks/>
                </p:cNvSpPr>
                <p:nvPr/>
              </p:nvSpPr>
              <p:spPr bwMode="auto">
                <a:xfrm>
                  <a:off x="2530" y="3431"/>
                  <a:ext cx="1" cy="2"/>
                </a:xfrm>
                <a:custGeom>
                  <a:avLst/>
                  <a:gdLst>
                    <a:gd name="T0" fmla="*/ 0 w 1"/>
                    <a:gd name="T1" fmla="*/ 0 h 2"/>
                    <a:gd name="T2" fmla="*/ 0 w 1"/>
                    <a:gd name="T3" fmla="*/ 0 h 2"/>
                    <a:gd name="T4" fmla="*/ 0 w 1"/>
                    <a:gd name="T5" fmla="*/ 1 h 2"/>
                    <a:gd name="T6" fmla="*/ 0 w 1"/>
                    <a:gd name="T7" fmla="*/ 2 h 2"/>
                    <a:gd name="T8" fmla="*/ 0 w 1"/>
                    <a:gd name="T9" fmla="*/ 1 h 2"/>
                    <a:gd name="T10" fmla="*/ 0 w 1"/>
                    <a:gd name="T11" fmla="*/ 0 h 2"/>
                    <a:gd name="T12" fmla="*/ 1 w 1"/>
                    <a:gd name="T13" fmla="*/ 0 h 2"/>
                    <a:gd name="T14" fmla="*/ 1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0 w 1"/>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2">
                      <a:moveTo>
                        <a:pt x="0" y="0"/>
                      </a:moveTo>
                      <a:lnTo>
                        <a:pt x="0" y="0"/>
                      </a:lnTo>
                      <a:lnTo>
                        <a:pt x="0" y="1"/>
                      </a:lnTo>
                      <a:lnTo>
                        <a:pt x="0" y="2"/>
                      </a:lnTo>
                      <a:lnTo>
                        <a:pt x="0" y="1"/>
                      </a:lnTo>
                      <a:lnTo>
                        <a:pt x="0" y="0"/>
                      </a:lnTo>
                      <a:lnTo>
                        <a:pt x="1" y="0"/>
                      </a:lnTo>
                      <a:lnTo>
                        <a:pt x="1" y="0"/>
                      </a:lnTo>
                      <a:lnTo>
                        <a:pt x="1" y="0"/>
                      </a:lnTo>
                      <a:lnTo>
                        <a:pt x="1" y="0"/>
                      </a:lnTo>
                      <a:lnTo>
                        <a:pt x="1" y="0"/>
                      </a:lnTo>
                      <a:lnTo>
                        <a:pt x="1" y="0"/>
                      </a:lnTo>
                      <a:lnTo>
                        <a:pt x="1" y="0"/>
                      </a:lnTo>
                      <a:lnTo>
                        <a:pt x="1" y="0"/>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6" name="Freeform 72">
                  <a:extLst>
                    <a:ext uri="{FF2B5EF4-FFF2-40B4-BE49-F238E27FC236}">
                      <a16:creationId xmlns:a16="http://schemas.microsoft.com/office/drawing/2014/main" xmlns="" id="{8082B999-F88D-1577-479C-1D09155FA5C4}"/>
                    </a:ext>
                  </a:extLst>
                </p:cNvPr>
                <p:cNvSpPr>
                  <a:spLocks/>
                </p:cNvSpPr>
                <p:nvPr/>
              </p:nvSpPr>
              <p:spPr bwMode="auto">
                <a:xfrm>
                  <a:off x="4181" y="1736"/>
                  <a:ext cx="315" cy="737"/>
                </a:xfrm>
                <a:custGeom>
                  <a:avLst/>
                  <a:gdLst>
                    <a:gd name="T0" fmla="*/ 1 w 315"/>
                    <a:gd name="T1" fmla="*/ 4 h 737"/>
                    <a:gd name="T2" fmla="*/ 0 w 315"/>
                    <a:gd name="T3" fmla="*/ 7 h 737"/>
                    <a:gd name="T4" fmla="*/ 5 w 315"/>
                    <a:gd name="T5" fmla="*/ 11 h 737"/>
                    <a:gd name="T6" fmla="*/ 12 w 315"/>
                    <a:gd name="T7" fmla="*/ 9 h 737"/>
                    <a:gd name="T8" fmla="*/ 18 w 315"/>
                    <a:gd name="T9" fmla="*/ 11 h 737"/>
                    <a:gd name="T10" fmla="*/ 23 w 315"/>
                    <a:gd name="T11" fmla="*/ 14 h 737"/>
                    <a:gd name="T12" fmla="*/ 26 w 315"/>
                    <a:gd name="T13" fmla="*/ 22 h 737"/>
                    <a:gd name="T14" fmla="*/ 33 w 315"/>
                    <a:gd name="T15" fmla="*/ 28 h 737"/>
                    <a:gd name="T16" fmla="*/ 40 w 315"/>
                    <a:gd name="T17" fmla="*/ 34 h 737"/>
                    <a:gd name="T18" fmla="*/ 49 w 315"/>
                    <a:gd name="T19" fmla="*/ 35 h 737"/>
                    <a:gd name="T20" fmla="*/ 55 w 315"/>
                    <a:gd name="T21" fmla="*/ 41 h 737"/>
                    <a:gd name="T22" fmla="*/ 62 w 315"/>
                    <a:gd name="T23" fmla="*/ 44 h 737"/>
                    <a:gd name="T24" fmla="*/ 69 w 315"/>
                    <a:gd name="T25" fmla="*/ 48 h 737"/>
                    <a:gd name="T26" fmla="*/ 78 w 315"/>
                    <a:gd name="T27" fmla="*/ 50 h 737"/>
                    <a:gd name="T28" fmla="*/ 81 w 315"/>
                    <a:gd name="T29" fmla="*/ 53 h 737"/>
                    <a:gd name="T30" fmla="*/ 86 w 315"/>
                    <a:gd name="T31" fmla="*/ 58 h 737"/>
                    <a:gd name="T32" fmla="*/ 93 w 315"/>
                    <a:gd name="T33" fmla="*/ 60 h 737"/>
                    <a:gd name="T34" fmla="*/ 99 w 315"/>
                    <a:gd name="T35" fmla="*/ 58 h 737"/>
                    <a:gd name="T36" fmla="*/ 104 w 315"/>
                    <a:gd name="T37" fmla="*/ 63 h 737"/>
                    <a:gd name="T38" fmla="*/ 109 w 315"/>
                    <a:gd name="T39" fmla="*/ 64 h 737"/>
                    <a:gd name="T40" fmla="*/ 114 w 315"/>
                    <a:gd name="T41" fmla="*/ 68 h 737"/>
                    <a:gd name="T42" fmla="*/ 118 w 315"/>
                    <a:gd name="T43" fmla="*/ 75 h 737"/>
                    <a:gd name="T44" fmla="*/ 124 w 315"/>
                    <a:gd name="T45" fmla="*/ 73 h 737"/>
                    <a:gd name="T46" fmla="*/ 125 w 315"/>
                    <a:gd name="T47" fmla="*/ 79 h 737"/>
                    <a:gd name="T48" fmla="*/ 132 w 315"/>
                    <a:gd name="T49" fmla="*/ 77 h 737"/>
                    <a:gd name="T50" fmla="*/ 142 w 315"/>
                    <a:gd name="T51" fmla="*/ 81 h 737"/>
                    <a:gd name="T52" fmla="*/ 140 w 315"/>
                    <a:gd name="T53" fmla="*/ 91 h 737"/>
                    <a:gd name="T54" fmla="*/ 144 w 315"/>
                    <a:gd name="T55" fmla="*/ 98 h 737"/>
                    <a:gd name="T56" fmla="*/ 146 w 315"/>
                    <a:gd name="T57" fmla="*/ 108 h 737"/>
                    <a:gd name="T58" fmla="*/ 148 w 315"/>
                    <a:gd name="T59" fmla="*/ 119 h 737"/>
                    <a:gd name="T60" fmla="*/ 154 w 315"/>
                    <a:gd name="T61" fmla="*/ 129 h 737"/>
                    <a:gd name="T62" fmla="*/ 154 w 315"/>
                    <a:gd name="T63" fmla="*/ 141 h 737"/>
                    <a:gd name="T64" fmla="*/ 145 w 315"/>
                    <a:gd name="T65" fmla="*/ 153 h 737"/>
                    <a:gd name="T66" fmla="*/ 138 w 315"/>
                    <a:gd name="T67" fmla="*/ 164 h 737"/>
                    <a:gd name="T68" fmla="*/ 135 w 315"/>
                    <a:gd name="T69" fmla="*/ 181 h 737"/>
                    <a:gd name="T70" fmla="*/ 141 w 315"/>
                    <a:gd name="T71" fmla="*/ 193 h 737"/>
                    <a:gd name="T72" fmla="*/ 142 w 315"/>
                    <a:gd name="T73" fmla="*/ 205 h 737"/>
                    <a:gd name="T74" fmla="*/ 149 w 315"/>
                    <a:gd name="T75" fmla="*/ 218 h 737"/>
                    <a:gd name="T76" fmla="*/ 158 w 315"/>
                    <a:gd name="T77" fmla="*/ 230 h 737"/>
                    <a:gd name="T78" fmla="*/ 156 w 315"/>
                    <a:gd name="T79" fmla="*/ 240 h 737"/>
                    <a:gd name="T80" fmla="*/ 163 w 315"/>
                    <a:gd name="T81" fmla="*/ 256 h 737"/>
                    <a:gd name="T82" fmla="*/ 170 w 315"/>
                    <a:gd name="T83" fmla="*/ 271 h 737"/>
                    <a:gd name="T84" fmla="*/ 172 w 315"/>
                    <a:gd name="T85" fmla="*/ 277 h 737"/>
                    <a:gd name="T86" fmla="*/ 174 w 315"/>
                    <a:gd name="T87" fmla="*/ 288 h 737"/>
                    <a:gd name="T88" fmla="*/ 178 w 315"/>
                    <a:gd name="T89" fmla="*/ 296 h 737"/>
                    <a:gd name="T90" fmla="*/ 188 w 315"/>
                    <a:gd name="T91" fmla="*/ 298 h 737"/>
                    <a:gd name="T92" fmla="*/ 188 w 315"/>
                    <a:gd name="T93" fmla="*/ 310 h 737"/>
                    <a:gd name="T94" fmla="*/ 189 w 315"/>
                    <a:gd name="T95" fmla="*/ 321 h 737"/>
                    <a:gd name="T96" fmla="*/ 192 w 315"/>
                    <a:gd name="T97" fmla="*/ 378 h 737"/>
                    <a:gd name="T98" fmla="*/ 165 w 315"/>
                    <a:gd name="T99" fmla="*/ 423 h 737"/>
                    <a:gd name="T100" fmla="*/ 143 w 315"/>
                    <a:gd name="T101" fmla="*/ 423 h 737"/>
                    <a:gd name="T102" fmla="*/ 129 w 315"/>
                    <a:gd name="T103" fmla="*/ 446 h 737"/>
                    <a:gd name="T104" fmla="*/ 195 w 315"/>
                    <a:gd name="T105" fmla="*/ 530 h 737"/>
                    <a:gd name="T106" fmla="*/ 208 w 315"/>
                    <a:gd name="T107" fmla="*/ 721 h 737"/>
                    <a:gd name="T108" fmla="*/ 240 w 315"/>
                    <a:gd name="T109" fmla="*/ 734 h 737"/>
                    <a:gd name="T110" fmla="*/ 266 w 315"/>
                    <a:gd name="T111" fmla="*/ 735 h 737"/>
                    <a:gd name="T112" fmla="*/ 277 w 315"/>
                    <a:gd name="T113" fmla="*/ 736 h 737"/>
                    <a:gd name="T114" fmla="*/ 289 w 315"/>
                    <a:gd name="T115" fmla="*/ 736 h 737"/>
                    <a:gd name="T116" fmla="*/ 300 w 315"/>
                    <a:gd name="T117" fmla="*/ 736 h 737"/>
                    <a:gd name="T118" fmla="*/ 312 w 315"/>
                    <a:gd name="T119" fmla="*/ 7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5" h="737">
                      <a:moveTo>
                        <a:pt x="6" y="0"/>
                      </a:moveTo>
                      <a:lnTo>
                        <a:pt x="6" y="1"/>
                      </a:lnTo>
                      <a:lnTo>
                        <a:pt x="5" y="1"/>
                      </a:lnTo>
                      <a:lnTo>
                        <a:pt x="4" y="1"/>
                      </a:lnTo>
                      <a:lnTo>
                        <a:pt x="4" y="0"/>
                      </a:lnTo>
                      <a:lnTo>
                        <a:pt x="4" y="0"/>
                      </a:lnTo>
                      <a:lnTo>
                        <a:pt x="3" y="0"/>
                      </a:lnTo>
                      <a:lnTo>
                        <a:pt x="2" y="0"/>
                      </a:lnTo>
                      <a:lnTo>
                        <a:pt x="2" y="0"/>
                      </a:lnTo>
                      <a:lnTo>
                        <a:pt x="1" y="0"/>
                      </a:lnTo>
                      <a:lnTo>
                        <a:pt x="1" y="1"/>
                      </a:lnTo>
                      <a:lnTo>
                        <a:pt x="0" y="1"/>
                      </a:lnTo>
                      <a:lnTo>
                        <a:pt x="0" y="1"/>
                      </a:lnTo>
                      <a:lnTo>
                        <a:pt x="0" y="2"/>
                      </a:lnTo>
                      <a:lnTo>
                        <a:pt x="0" y="3"/>
                      </a:lnTo>
                      <a:lnTo>
                        <a:pt x="0" y="3"/>
                      </a:lnTo>
                      <a:lnTo>
                        <a:pt x="1" y="4"/>
                      </a:lnTo>
                      <a:lnTo>
                        <a:pt x="2" y="4"/>
                      </a:lnTo>
                      <a:lnTo>
                        <a:pt x="2" y="5"/>
                      </a:lnTo>
                      <a:lnTo>
                        <a:pt x="2" y="5"/>
                      </a:lnTo>
                      <a:lnTo>
                        <a:pt x="2" y="6"/>
                      </a:lnTo>
                      <a:lnTo>
                        <a:pt x="3" y="6"/>
                      </a:lnTo>
                      <a:lnTo>
                        <a:pt x="3" y="7"/>
                      </a:lnTo>
                      <a:lnTo>
                        <a:pt x="3" y="7"/>
                      </a:lnTo>
                      <a:lnTo>
                        <a:pt x="3" y="8"/>
                      </a:lnTo>
                      <a:lnTo>
                        <a:pt x="2" y="8"/>
                      </a:lnTo>
                      <a:lnTo>
                        <a:pt x="2" y="7"/>
                      </a:lnTo>
                      <a:lnTo>
                        <a:pt x="2" y="7"/>
                      </a:lnTo>
                      <a:lnTo>
                        <a:pt x="2" y="7"/>
                      </a:lnTo>
                      <a:lnTo>
                        <a:pt x="2" y="6"/>
                      </a:lnTo>
                      <a:lnTo>
                        <a:pt x="1" y="6"/>
                      </a:lnTo>
                      <a:lnTo>
                        <a:pt x="0" y="6"/>
                      </a:lnTo>
                      <a:lnTo>
                        <a:pt x="0" y="6"/>
                      </a:lnTo>
                      <a:lnTo>
                        <a:pt x="0" y="7"/>
                      </a:lnTo>
                      <a:lnTo>
                        <a:pt x="0" y="7"/>
                      </a:lnTo>
                      <a:lnTo>
                        <a:pt x="0" y="8"/>
                      </a:lnTo>
                      <a:lnTo>
                        <a:pt x="0" y="8"/>
                      </a:lnTo>
                      <a:lnTo>
                        <a:pt x="0" y="9"/>
                      </a:lnTo>
                      <a:lnTo>
                        <a:pt x="1" y="9"/>
                      </a:lnTo>
                      <a:lnTo>
                        <a:pt x="1" y="10"/>
                      </a:lnTo>
                      <a:lnTo>
                        <a:pt x="1" y="11"/>
                      </a:lnTo>
                      <a:lnTo>
                        <a:pt x="1" y="11"/>
                      </a:lnTo>
                      <a:lnTo>
                        <a:pt x="1" y="12"/>
                      </a:lnTo>
                      <a:lnTo>
                        <a:pt x="1" y="13"/>
                      </a:lnTo>
                      <a:lnTo>
                        <a:pt x="2" y="13"/>
                      </a:lnTo>
                      <a:lnTo>
                        <a:pt x="2" y="13"/>
                      </a:lnTo>
                      <a:lnTo>
                        <a:pt x="3" y="13"/>
                      </a:lnTo>
                      <a:lnTo>
                        <a:pt x="4" y="12"/>
                      </a:lnTo>
                      <a:lnTo>
                        <a:pt x="4" y="12"/>
                      </a:lnTo>
                      <a:lnTo>
                        <a:pt x="4" y="11"/>
                      </a:lnTo>
                      <a:lnTo>
                        <a:pt x="5" y="11"/>
                      </a:lnTo>
                      <a:lnTo>
                        <a:pt x="6" y="11"/>
                      </a:lnTo>
                      <a:lnTo>
                        <a:pt x="6" y="11"/>
                      </a:lnTo>
                      <a:lnTo>
                        <a:pt x="6" y="11"/>
                      </a:lnTo>
                      <a:lnTo>
                        <a:pt x="6" y="10"/>
                      </a:lnTo>
                      <a:lnTo>
                        <a:pt x="6" y="9"/>
                      </a:lnTo>
                      <a:lnTo>
                        <a:pt x="6" y="9"/>
                      </a:lnTo>
                      <a:lnTo>
                        <a:pt x="6" y="9"/>
                      </a:lnTo>
                      <a:lnTo>
                        <a:pt x="7" y="9"/>
                      </a:lnTo>
                      <a:lnTo>
                        <a:pt x="7" y="9"/>
                      </a:lnTo>
                      <a:lnTo>
                        <a:pt x="8" y="9"/>
                      </a:lnTo>
                      <a:lnTo>
                        <a:pt x="8" y="9"/>
                      </a:lnTo>
                      <a:lnTo>
                        <a:pt x="9" y="9"/>
                      </a:lnTo>
                      <a:lnTo>
                        <a:pt x="9" y="9"/>
                      </a:lnTo>
                      <a:lnTo>
                        <a:pt x="10" y="9"/>
                      </a:lnTo>
                      <a:lnTo>
                        <a:pt x="10" y="9"/>
                      </a:lnTo>
                      <a:lnTo>
                        <a:pt x="11" y="9"/>
                      </a:lnTo>
                      <a:lnTo>
                        <a:pt x="12" y="9"/>
                      </a:lnTo>
                      <a:lnTo>
                        <a:pt x="12" y="9"/>
                      </a:lnTo>
                      <a:lnTo>
                        <a:pt x="13" y="9"/>
                      </a:lnTo>
                      <a:lnTo>
                        <a:pt x="13" y="10"/>
                      </a:lnTo>
                      <a:lnTo>
                        <a:pt x="13" y="11"/>
                      </a:lnTo>
                      <a:lnTo>
                        <a:pt x="13" y="11"/>
                      </a:lnTo>
                      <a:lnTo>
                        <a:pt x="13" y="11"/>
                      </a:lnTo>
                      <a:lnTo>
                        <a:pt x="13" y="12"/>
                      </a:lnTo>
                      <a:lnTo>
                        <a:pt x="13" y="13"/>
                      </a:lnTo>
                      <a:lnTo>
                        <a:pt x="14" y="13"/>
                      </a:lnTo>
                      <a:lnTo>
                        <a:pt x="15" y="13"/>
                      </a:lnTo>
                      <a:lnTo>
                        <a:pt x="15" y="13"/>
                      </a:lnTo>
                      <a:lnTo>
                        <a:pt x="16" y="13"/>
                      </a:lnTo>
                      <a:lnTo>
                        <a:pt x="17" y="13"/>
                      </a:lnTo>
                      <a:lnTo>
                        <a:pt x="17" y="13"/>
                      </a:lnTo>
                      <a:lnTo>
                        <a:pt x="17" y="12"/>
                      </a:lnTo>
                      <a:lnTo>
                        <a:pt x="18" y="12"/>
                      </a:lnTo>
                      <a:lnTo>
                        <a:pt x="18" y="11"/>
                      </a:lnTo>
                      <a:lnTo>
                        <a:pt x="19" y="11"/>
                      </a:lnTo>
                      <a:lnTo>
                        <a:pt x="19" y="11"/>
                      </a:lnTo>
                      <a:lnTo>
                        <a:pt x="19" y="10"/>
                      </a:lnTo>
                      <a:lnTo>
                        <a:pt x="20" y="10"/>
                      </a:lnTo>
                      <a:lnTo>
                        <a:pt x="20" y="9"/>
                      </a:lnTo>
                      <a:lnTo>
                        <a:pt x="21" y="9"/>
                      </a:lnTo>
                      <a:lnTo>
                        <a:pt x="21" y="9"/>
                      </a:lnTo>
                      <a:lnTo>
                        <a:pt x="22" y="9"/>
                      </a:lnTo>
                      <a:lnTo>
                        <a:pt x="23" y="10"/>
                      </a:lnTo>
                      <a:lnTo>
                        <a:pt x="23" y="10"/>
                      </a:lnTo>
                      <a:lnTo>
                        <a:pt x="23" y="11"/>
                      </a:lnTo>
                      <a:lnTo>
                        <a:pt x="24" y="11"/>
                      </a:lnTo>
                      <a:lnTo>
                        <a:pt x="24" y="11"/>
                      </a:lnTo>
                      <a:lnTo>
                        <a:pt x="24" y="12"/>
                      </a:lnTo>
                      <a:lnTo>
                        <a:pt x="23" y="13"/>
                      </a:lnTo>
                      <a:lnTo>
                        <a:pt x="23" y="13"/>
                      </a:lnTo>
                      <a:lnTo>
                        <a:pt x="23" y="14"/>
                      </a:lnTo>
                      <a:lnTo>
                        <a:pt x="23" y="14"/>
                      </a:lnTo>
                      <a:lnTo>
                        <a:pt x="22" y="14"/>
                      </a:lnTo>
                      <a:lnTo>
                        <a:pt x="22" y="15"/>
                      </a:lnTo>
                      <a:lnTo>
                        <a:pt x="22" y="16"/>
                      </a:lnTo>
                      <a:lnTo>
                        <a:pt x="23" y="16"/>
                      </a:lnTo>
                      <a:lnTo>
                        <a:pt x="23" y="17"/>
                      </a:lnTo>
                      <a:lnTo>
                        <a:pt x="23" y="18"/>
                      </a:lnTo>
                      <a:lnTo>
                        <a:pt x="23" y="18"/>
                      </a:lnTo>
                      <a:lnTo>
                        <a:pt x="23" y="18"/>
                      </a:lnTo>
                      <a:lnTo>
                        <a:pt x="24" y="18"/>
                      </a:lnTo>
                      <a:lnTo>
                        <a:pt x="24" y="19"/>
                      </a:lnTo>
                      <a:lnTo>
                        <a:pt x="24" y="20"/>
                      </a:lnTo>
                      <a:lnTo>
                        <a:pt x="25" y="20"/>
                      </a:lnTo>
                      <a:lnTo>
                        <a:pt x="25" y="20"/>
                      </a:lnTo>
                      <a:lnTo>
                        <a:pt x="25" y="21"/>
                      </a:lnTo>
                      <a:lnTo>
                        <a:pt x="26" y="21"/>
                      </a:lnTo>
                      <a:lnTo>
                        <a:pt x="26" y="22"/>
                      </a:lnTo>
                      <a:lnTo>
                        <a:pt x="27" y="22"/>
                      </a:lnTo>
                      <a:lnTo>
                        <a:pt x="27" y="23"/>
                      </a:lnTo>
                      <a:lnTo>
                        <a:pt x="28" y="23"/>
                      </a:lnTo>
                      <a:lnTo>
                        <a:pt x="28" y="24"/>
                      </a:lnTo>
                      <a:lnTo>
                        <a:pt x="29" y="24"/>
                      </a:lnTo>
                      <a:lnTo>
                        <a:pt x="29" y="24"/>
                      </a:lnTo>
                      <a:lnTo>
                        <a:pt x="29" y="24"/>
                      </a:lnTo>
                      <a:lnTo>
                        <a:pt x="30" y="24"/>
                      </a:lnTo>
                      <a:lnTo>
                        <a:pt x="30" y="25"/>
                      </a:lnTo>
                      <a:lnTo>
                        <a:pt x="31" y="25"/>
                      </a:lnTo>
                      <a:lnTo>
                        <a:pt x="32" y="25"/>
                      </a:lnTo>
                      <a:lnTo>
                        <a:pt x="32" y="26"/>
                      </a:lnTo>
                      <a:lnTo>
                        <a:pt x="32" y="26"/>
                      </a:lnTo>
                      <a:lnTo>
                        <a:pt x="32" y="26"/>
                      </a:lnTo>
                      <a:lnTo>
                        <a:pt x="32" y="27"/>
                      </a:lnTo>
                      <a:lnTo>
                        <a:pt x="32" y="28"/>
                      </a:lnTo>
                      <a:lnTo>
                        <a:pt x="33" y="28"/>
                      </a:lnTo>
                      <a:lnTo>
                        <a:pt x="33" y="28"/>
                      </a:lnTo>
                      <a:lnTo>
                        <a:pt x="33" y="29"/>
                      </a:lnTo>
                      <a:lnTo>
                        <a:pt x="34" y="30"/>
                      </a:lnTo>
                      <a:lnTo>
                        <a:pt x="34" y="30"/>
                      </a:lnTo>
                      <a:lnTo>
                        <a:pt x="34" y="30"/>
                      </a:lnTo>
                      <a:lnTo>
                        <a:pt x="34" y="31"/>
                      </a:lnTo>
                      <a:lnTo>
                        <a:pt x="35" y="31"/>
                      </a:lnTo>
                      <a:lnTo>
                        <a:pt x="36" y="32"/>
                      </a:lnTo>
                      <a:lnTo>
                        <a:pt x="36" y="32"/>
                      </a:lnTo>
                      <a:lnTo>
                        <a:pt x="37" y="32"/>
                      </a:lnTo>
                      <a:lnTo>
                        <a:pt x="38" y="32"/>
                      </a:lnTo>
                      <a:lnTo>
                        <a:pt x="38" y="33"/>
                      </a:lnTo>
                      <a:lnTo>
                        <a:pt x="38" y="33"/>
                      </a:lnTo>
                      <a:lnTo>
                        <a:pt x="39" y="33"/>
                      </a:lnTo>
                      <a:lnTo>
                        <a:pt x="40" y="33"/>
                      </a:lnTo>
                      <a:lnTo>
                        <a:pt x="40" y="33"/>
                      </a:lnTo>
                      <a:lnTo>
                        <a:pt x="40" y="34"/>
                      </a:lnTo>
                      <a:lnTo>
                        <a:pt x="41" y="34"/>
                      </a:lnTo>
                      <a:lnTo>
                        <a:pt x="41" y="35"/>
                      </a:lnTo>
                      <a:lnTo>
                        <a:pt x="42" y="35"/>
                      </a:lnTo>
                      <a:lnTo>
                        <a:pt x="42" y="35"/>
                      </a:lnTo>
                      <a:lnTo>
                        <a:pt x="43" y="34"/>
                      </a:lnTo>
                      <a:lnTo>
                        <a:pt x="44" y="34"/>
                      </a:lnTo>
                      <a:lnTo>
                        <a:pt x="44" y="33"/>
                      </a:lnTo>
                      <a:lnTo>
                        <a:pt x="44" y="33"/>
                      </a:lnTo>
                      <a:lnTo>
                        <a:pt x="45" y="33"/>
                      </a:lnTo>
                      <a:lnTo>
                        <a:pt x="46" y="33"/>
                      </a:lnTo>
                      <a:lnTo>
                        <a:pt x="46" y="33"/>
                      </a:lnTo>
                      <a:lnTo>
                        <a:pt x="46" y="34"/>
                      </a:lnTo>
                      <a:lnTo>
                        <a:pt x="47" y="34"/>
                      </a:lnTo>
                      <a:lnTo>
                        <a:pt x="48" y="34"/>
                      </a:lnTo>
                      <a:lnTo>
                        <a:pt x="48" y="34"/>
                      </a:lnTo>
                      <a:lnTo>
                        <a:pt x="48" y="35"/>
                      </a:lnTo>
                      <a:lnTo>
                        <a:pt x="49" y="35"/>
                      </a:lnTo>
                      <a:lnTo>
                        <a:pt x="49" y="35"/>
                      </a:lnTo>
                      <a:lnTo>
                        <a:pt x="50" y="35"/>
                      </a:lnTo>
                      <a:lnTo>
                        <a:pt x="50" y="36"/>
                      </a:lnTo>
                      <a:lnTo>
                        <a:pt x="51" y="36"/>
                      </a:lnTo>
                      <a:lnTo>
                        <a:pt x="51" y="37"/>
                      </a:lnTo>
                      <a:lnTo>
                        <a:pt x="51" y="37"/>
                      </a:lnTo>
                      <a:lnTo>
                        <a:pt x="51" y="38"/>
                      </a:lnTo>
                      <a:lnTo>
                        <a:pt x="51" y="38"/>
                      </a:lnTo>
                      <a:lnTo>
                        <a:pt x="51" y="39"/>
                      </a:lnTo>
                      <a:lnTo>
                        <a:pt x="51" y="39"/>
                      </a:lnTo>
                      <a:lnTo>
                        <a:pt x="51" y="40"/>
                      </a:lnTo>
                      <a:lnTo>
                        <a:pt x="52" y="41"/>
                      </a:lnTo>
                      <a:lnTo>
                        <a:pt x="53" y="41"/>
                      </a:lnTo>
                      <a:lnTo>
                        <a:pt x="53" y="41"/>
                      </a:lnTo>
                      <a:lnTo>
                        <a:pt x="54" y="41"/>
                      </a:lnTo>
                      <a:lnTo>
                        <a:pt x="54" y="41"/>
                      </a:lnTo>
                      <a:lnTo>
                        <a:pt x="55" y="41"/>
                      </a:lnTo>
                      <a:lnTo>
                        <a:pt x="55" y="41"/>
                      </a:lnTo>
                      <a:lnTo>
                        <a:pt x="55" y="41"/>
                      </a:lnTo>
                      <a:lnTo>
                        <a:pt x="56" y="41"/>
                      </a:lnTo>
                      <a:lnTo>
                        <a:pt x="57" y="41"/>
                      </a:lnTo>
                      <a:lnTo>
                        <a:pt x="57" y="41"/>
                      </a:lnTo>
                      <a:lnTo>
                        <a:pt x="58" y="41"/>
                      </a:lnTo>
                      <a:lnTo>
                        <a:pt x="58" y="41"/>
                      </a:lnTo>
                      <a:lnTo>
                        <a:pt x="59" y="41"/>
                      </a:lnTo>
                      <a:lnTo>
                        <a:pt x="59" y="41"/>
                      </a:lnTo>
                      <a:lnTo>
                        <a:pt x="59" y="42"/>
                      </a:lnTo>
                      <a:lnTo>
                        <a:pt x="60" y="42"/>
                      </a:lnTo>
                      <a:lnTo>
                        <a:pt x="61" y="42"/>
                      </a:lnTo>
                      <a:lnTo>
                        <a:pt x="61" y="42"/>
                      </a:lnTo>
                      <a:lnTo>
                        <a:pt x="61" y="43"/>
                      </a:lnTo>
                      <a:lnTo>
                        <a:pt x="62" y="43"/>
                      </a:lnTo>
                      <a:lnTo>
                        <a:pt x="62" y="43"/>
                      </a:lnTo>
                      <a:lnTo>
                        <a:pt x="62" y="44"/>
                      </a:lnTo>
                      <a:lnTo>
                        <a:pt x="62" y="45"/>
                      </a:lnTo>
                      <a:lnTo>
                        <a:pt x="62" y="45"/>
                      </a:lnTo>
                      <a:lnTo>
                        <a:pt x="62" y="46"/>
                      </a:lnTo>
                      <a:lnTo>
                        <a:pt x="62" y="47"/>
                      </a:lnTo>
                      <a:lnTo>
                        <a:pt x="62" y="47"/>
                      </a:lnTo>
                      <a:lnTo>
                        <a:pt x="62" y="48"/>
                      </a:lnTo>
                      <a:lnTo>
                        <a:pt x="63" y="48"/>
                      </a:lnTo>
                      <a:lnTo>
                        <a:pt x="63" y="49"/>
                      </a:lnTo>
                      <a:lnTo>
                        <a:pt x="64" y="49"/>
                      </a:lnTo>
                      <a:lnTo>
                        <a:pt x="64" y="49"/>
                      </a:lnTo>
                      <a:lnTo>
                        <a:pt x="65" y="49"/>
                      </a:lnTo>
                      <a:lnTo>
                        <a:pt x="65" y="49"/>
                      </a:lnTo>
                      <a:lnTo>
                        <a:pt x="66" y="49"/>
                      </a:lnTo>
                      <a:lnTo>
                        <a:pt x="67" y="49"/>
                      </a:lnTo>
                      <a:lnTo>
                        <a:pt x="67" y="49"/>
                      </a:lnTo>
                      <a:lnTo>
                        <a:pt x="68" y="49"/>
                      </a:lnTo>
                      <a:lnTo>
                        <a:pt x="69" y="48"/>
                      </a:lnTo>
                      <a:lnTo>
                        <a:pt x="70" y="48"/>
                      </a:lnTo>
                      <a:lnTo>
                        <a:pt x="70" y="48"/>
                      </a:lnTo>
                      <a:lnTo>
                        <a:pt x="71" y="48"/>
                      </a:lnTo>
                      <a:lnTo>
                        <a:pt x="71" y="49"/>
                      </a:lnTo>
                      <a:lnTo>
                        <a:pt x="72" y="49"/>
                      </a:lnTo>
                      <a:lnTo>
                        <a:pt x="72" y="49"/>
                      </a:lnTo>
                      <a:lnTo>
                        <a:pt x="72" y="49"/>
                      </a:lnTo>
                      <a:lnTo>
                        <a:pt x="73" y="49"/>
                      </a:lnTo>
                      <a:lnTo>
                        <a:pt x="74" y="49"/>
                      </a:lnTo>
                      <a:lnTo>
                        <a:pt x="74" y="50"/>
                      </a:lnTo>
                      <a:lnTo>
                        <a:pt x="74" y="50"/>
                      </a:lnTo>
                      <a:lnTo>
                        <a:pt x="75" y="50"/>
                      </a:lnTo>
                      <a:lnTo>
                        <a:pt x="76" y="50"/>
                      </a:lnTo>
                      <a:lnTo>
                        <a:pt x="76" y="50"/>
                      </a:lnTo>
                      <a:lnTo>
                        <a:pt x="77" y="50"/>
                      </a:lnTo>
                      <a:lnTo>
                        <a:pt x="78" y="50"/>
                      </a:lnTo>
                      <a:lnTo>
                        <a:pt x="78" y="50"/>
                      </a:lnTo>
                      <a:lnTo>
                        <a:pt x="78" y="51"/>
                      </a:lnTo>
                      <a:lnTo>
                        <a:pt x="78" y="51"/>
                      </a:lnTo>
                      <a:lnTo>
                        <a:pt x="78" y="52"/>
                      </a:lnTo>
                      <a:lnTo>
                        <a:pt x="79" y="53"/>
                      </a:lnTo>
                      <a:lnTo>
                        <a:pt x="79" y="54"/>
                      </a:lnTo>
                      <a:lnTo>
                        <a:pt x="80" y="54"/>
                      </a:lnTo>
                      <a:lnTo>
                        <a:pt x="80" y="55"/>
                      </a:lnTo>
                      <a:lnTo>
                        <a:pt x="80" y="55"/>
                      </a:lnTo>
                      <a:lnTo>
                        <a:pt x="80" y="56"/>
                      </a:lnTo>
                      <a:lnTo>
                        <a:pt x="81" y="56"/>
                      </a:lnTo>
                      <a:lnTo>
                        <a:pt x="82" y="56"/>
                      </a:lnTo>
                      <a:lnTo>
                        <a:pt x="82" y="56"/>
                      </a:lnTo>
                      <a:lnTo>
                        <a:pt x="82" y="55"/>
                      </a:lnTo>
                      <a:lnTo>
                        <a:pt x="82" y="54"/>
                      </a:lnTo>
                      <a:lnTo>
                        <a:pt x="82" y="54"/>
                      </a:lnTo>
                      <a:lnTo>
                        <a:pt x="81" y="54"/>
                      </a:lnTo>
                      <a:lnTo>
                        <a:pt x="81" y="53"/>
                      </a:lnTo>
                      <a:lnTo>
                        <a:pt x="81" y="52"/>
                      </a:lnTo>
                      <a:lnTo>
                        <a:pt x="82" y="52"/>
                      </a:lnTo>
                      <a:lnTo>
                        <a:pt x="82" y="52"/>
                      </a:lnTo>
                      <a:lnTo>
                        <a:pt x="83" y="52"/>
                      </a:lnTo>
                      <a:lnTo>
                        <a:pt x="83" y="53"/>
                      </a:lnTo>
                      <a:lnTo>
                        <a:pt x="84" y="53"/>
                      </a:lnTo>
                      <a:lnTo>
                        <a:pt x="84" y="54"/>
                      </a:lnTo>
                      <a:lnTo>
                        <a:pt x="84" y="54"/>
                      </a:lnTo>
                      <a:lnTo>
                        <a:pt x="84" y="55"/>
                      </a:lnTo>
                      <a:lnTo>
                        <a:pt x="84" y="56"/>
                      </a:lnTo>
                      <a:lnTo>
                        <a:pt x="84" y="56"/>
                      </a:lnTo>
                      <a:lnTo>
                        <a:pt x="84" y="56"/>
                      </a:lnTo>
                      <a:lnTo>
                        <a:pt x="84" y="57"/>
                      </a:lnTo>
                      <a:lnTo>
                        <a:pt x="85" y="58"/>
                      </a:lnTo>
                      <a:lnTo>
                        <a:pt x="86" y="58"/>
                      </a:lnTo>
                      <a:lnTo>
                        <a:pt x="86" y="58"/>
                      </a:lnTo>
                      <a:lnTo>
                        <a:pt x="86" y="58"/>
                      </a:lnTo>
                      <a:lnTo>
                        <a:pt x="87" y="58"/>
                      </a:lnTo>
                      <a:lnTo>
                        <a:pt x="87" y="59"/>
                      </a:lnTo>
                      <a:lnTo>
                        <a:pt x="88" y="59"/>
                      </a:lnTo>
                      <a:lnTo>
                        <a:pt x="88" y="60"/>
                      </a:lnTo>
                      <a:lnTo>
                        <a:pt x="89" y="60"/>
                      </a:lnTo>
                      <a:lnTo>
                        <a:pt x="89" y="60"/>
                      </a:lnTo>
                      <a:lnTo>
                        <a:pt x="89" y="60"/>
                      </a:lnTo>
                      <a:lnTo>
                        <a:pt x="90" y="61"/>
                      </a:lnTo>
                      <a:lnTo>
                        <a:pt x="91" y="61"/>
                      </a:lnTo>
                      <a:lnTo>
                        <a:pt x="91" y="62"/>
                      </a:lnTo>
                      <a:lnTo>
                        <a:pt x="91" y="62"/>
                      </a:lnTo>
                      <a:lnTo>
                        <a:pt x="91" y="62"/>
                      </a:lnTo>
                      <a:lnTo>
                        <a:pt x="92" y="62"/>
                      </a:lnTo>
                      <a:lnTo>
                        <a:pt x="92" y="62"/>
                      </a:lnTo>
                      <a:lnTo>
                        <a:pt x="92" y="61"/>
                      </a:lnTo>
                      <a:lnTo>
                        <a:pt x="92" y="60"/>
                      </a:lnTo>
                      <a:lnTo>
                        <a:pt x="93" y="60"/>
                      </a:lnTo>
                      <a:lnTo>
                        <a:pt x="93" y="61"/>
                      </a:lnTo>
                      <a:lnTo>
                        <a:pt x="93" y="61"/>
                      </a:lnTo>
                      <a:lnTo>
                        <a:pt x="93" y="62"/>
                      </a:lnTo>
                      <a:lnTo>
                        <a:pt x="93" y="62"/>
                      </a:lnTo>
                      <a:lnTo>
                        <a:pt x="94" y="62"/>
                      </a:lnTo>
                      <a:lnTo>
                        <a:pt x="95" y="62"/>
                      </a:lnTo>
                      <a:lnTo>
                        <a:pt x="95" y="62"/>
                      </a:lnTo>
                      <a:lnTo>
                        <a:pt x="95" y="62"/>
                      </a:lnTo>
                      <a:lnTo>
                        <a:pt x="95" y="61"/>
                      </a:lnTo>
                      <a:lnTo>
                        <a:pt x="95" y="60"/>
                      </a:lnTo>
                      <a:lnTo>
                        <a:pt x="96" y="60"/>
                      </a:lnTo>
                      <a:lnTo>
                        <a:pt x="97" y="60"/>
                      </a:lnTo>
                      <a:lnTo>
                        <a:pt x="97" y="60"/>
                      </a:lnTo>
                      <a:lnTo>
                        <a:pt x="98" y="60"/>
                      </a:lnTo>
                      <a:lnTo>
                        <a:pt x="99" y="60"/>
                      </a:lnTo>
                      <a:lnTo>
                        <a:pt x="99" y="59"/>
                      </a:lnTo>
                      <a:lnTo>
                        <a:pt x="99" y="58"/>
                      </a:lnTo>
                      <a:lnTo>
                        <a:pt x="100" y="58"/>
                      </a:lnTo>
                      <a:lnTo>
                        <a:pt x="101" y="58"/>
                      </a:lnTo>
                      <a:lnTo>
                        <a:pt x="101" y="58"/>
                      </a:lnTo>
                      <a:lnTo>
                        <a:pt x="101" y="59"/>
                      </a:lnTo>
                      <a:lnTo>
                        <a:pt x="101" y="60"/>
                      </a:lnTo>
                      <a:lnTo>
                        <a:pt x="102" y="60"/>
                      </a:lnTo>
                      <a:lnTo>
                        <a:pt x="103" y="60"/>
                      </a:lnTo>
                      <a:lnTo>
                        <a:pt x="103" y="60"/>
                      </a:lnTo>
                      <a:lnTo>
                        <a:pt x="103" y="60"/>
                      </a:lnTo>
                      <a:lnTo>
                        <a:pt x="103" y="61"/>
                      </a:lnTo>
                      <a:lnTo>
                        <a:pt x="103" y="62"/>
                      </a:lnTo>
                      <a:lnTo>
                        <a:pt x="103" y="62"/>
                      </a:lnTo>
                      <a:lnTo>
                        <a:pt x="103" y="62"/>
                      </a:lnTo>
                      <a:lnTo>
                        <a:pt x="103" y="63"/>
                      </a:lnTo>
                      <a:lnTo>
                        <a:pt x="103" y="64"/>
                      </a:lnTo>
                      <a:lnTo>
                        <a:pt x="103" y="63"/>
                      </a:lnTo>
                      <a:lnTo>
                        <a:pt x="104" y="63"/>
                      </a:lnTo>
                      <a:lnTo>
                        <a:pt x="104" y="62"/>
                      </a:lnTo>
                      <a:lnTo>
                        <a:pt x="105" y="63"/>
                      </a:lnTo>
                      <a:lnTo>
                        <a:pt x="104" y="64"/>
                      </a:lnTo>
                      <a:lnTo>
                        <a:pt x="104" y="64"/>
                      </a:lnTo>
                      <a:lnTo>
                        <a:pt x="105" y="64"/>
                      </a:lnTo>
                      <a:lnTo>
                        <a:pt x="105" y="65"/>
                      </a:lnTo>
                      <a:lnTo>
                        <a:pt x="104" y="65"/>
                      </a:lnTo>
                      <a:lnTo>
                        <a:pt x="104" y="66"/>
                      </a:lnTo>
                      <a:lnTo>
                        <a:pt x="105" y="66"/>
                      </a:lnTo>
                      <a:lnTo>
                        <a:pt x="105" y="66"/>
                      </a:lnTo>
                      <a:lnTo>
                        <a:pt x="106" y="66"/>
                      </a:lnTo>
                      <a:lnTo>
                        <a:pt x="107" y="66"/>
                      </a:lnTo>
                      <a:lnTo>
                        <a:pt x="107" y="65"/>
                      </a:lnTo>
                      <a:lnTo>
                        <a:pt x="108" y="65"/>
                      </a:lnTo>
                      <a:lnTo>
                        <a:pt x="108" y="64"/>
                      </a:lnTo>
                      <a:lnTo>
                        <a:pt x="108" y="64"/>
                      </a:lnTo>
                      <a:lnTo>
                        <a:pt x="109" y="64"/>
                      </a:lnTo>
                      <a:lnTo>
                        <a:pt x="109" y="65"/>
                      </a:lnTo>
                      <a:lnTo>
                        <a:pt x="109" y="66"/>
                      </a:lnTo>
                      <a:lnTo>
                        <a:pt x="110" y="66"/>
                      </a:lnTo>
                      <a:lnTo>
                        <a:pt x="110" y="66"/>
                      </a:lnTo>
                      <a:lnTo>
                        <a:pt x="111" y="66"/>
                      </a:lnTo>
                      <a:lnTo>
                        <a:pt x="112" y="66"/>
                      </a:lnTo>
                      <a:lnTo>
                        <a:pt x="112" y="65"/>
                      </a:lnTo>
                      <a:lnTo>
                        <a:pt x="112" y="66"/>
                      </a:lnTo>
                      <a:lnTo>
                        <a:pt x="112" y="67"/>
                      </a:lnTo>
                      <a:lnTo>
                        <a:pt x="112" y="67"/>
                      </a:lnTo>
                      <a:lnTo>
                        <a:pt x="112" y="68"/>
                      </a:lnTo>
                      <a:lnTo>
                        <a:pt x="112" y="68"/>
                      </a:lnTo>
                      <a:lnTo>
                        <a:pt x="112" y="68"/>
                      </a:lnTo>
                      <a:lnTo>
                        <a:pt x="112" y="69"/>
                      </a:lnTo>
                      <a:lnTo>
                        <a:pt x="113" y="69"/>
                      </a:lnTo>
                      <a:lnTo>
                        <a:pt x="113" y="68"/>
                      </a:lnTo>
                      <a:lnTo>
                        <a:pt x="114" y="68"/>
                      </a:lnTo>
                      <a:lnTo>
                        <a:pt x="114" y="68"/>
                      </a:lnTo>
                      <a:lnTo>
                        <a:pt x="114" y="69"/>
                      </a:lnTo>
                      <a:lnTo>
                        <a:pt x="114" y="70"/>
                      </a:lnTo>
                      <a:lnTo>
                        <a:pt x="114" y="70"/>
                      </a:lnTo>
                      <a:lnTo>
                        <a:pt x="114" y="70"/>
                      </a:lnTo>
                      <a:lnTo>
                        <a:pt x="114" y="71"/>
                      </a:lnTo>
                      <a:lnTo>
                        <a:pt x="114" y="72"/>
                      </a:lnTo>
                      <a:lnTo>
                        <a:pt x="114" y="72"/>
                      </a:lnTo>
                      <a:lnTo>
                        <a:pt x="115" y="72"/>
                      </a:lnTo>
                      <a:lnTo>
                        <a:pt x="116" y="72"/>
                      </a:lnTo>
                      <a:lnTo>
                        <a:pt x="116" y="72"/>
                      </a:lnTo>
                      <a:lnTo>
                        <a:pt x="117" y="72"/>
                      </a:lnTo>
                      <a:lnTo>
                        <a:pt x="117" y="73"/>
                      </a:lnTo>
                      <a:lnTo>
                        <a:pt x="118" y="73"/>
                      </a:lnTo>
                      <a:lnTo>
                        <a:pt x="118" y="74"/>
                      </a:lnTo>
                      <a:lnTo>
                        <a:pt x="118" y="75"/>
                      </a:lnTo>
                      <a:lnTo>
                        <a:pt x="118" y="75"/>
                      </a:lnTo>
                      <a:lnTo>
                        <a:pt x="118" y="75"/>
                      </a:lnTo>
                      <a:lnTo>
                        <a:pt x="119" y="75"/>
                      </a:lnTo>
                      <a:lnTo>
                        <a:pt x="120" y="75"/>
                      </a:lnTo>
                      <a:lnTo>
                        <a:pt x="120" y="75"/>
                      </a:lnTo>
                      <a:lnTo>
                        <a:pt x="120" y="74"/>
                      </a:lnTo>
                      <a:lnTo>
                        <a:pt x="120" y="73"/>
                      </a:lnTo>
                      <a:lnTo>
                        <a:pt x="119" y="73"/>
                      </a:lnTo>
                      <a:lnTo>
                        <a:pt x="119" y="73"/>
                      </a:lnTo>
                      <a:lnTo>
                        <a:pt x="119" y="72"/>
                      </a:lnTo>
                      <a:lnTo>
                        <a:pt x="120" y="72"/>
                      </a:lnTo>
                      <a:lnTo>
                        <a:pt x="120" y="72"/>
                      </a:lnTo>
                      <a:lnTo>
                        <a:pt x="121" y="72"/>
                      </a:lnTo>
                      <a:lnTo>
                        <a:pt x="122" y="73"/>
                      </a:lnTo>
                      <a:lnTo>
                        <a:pt x="122" y="73"/>
                      </a:lnTo>
                      <a:lnTo>
                        <a:pt x="123" y="73"/>
                      </a:lnTo>
                      <a:lnTo>
                        <a:pt x="124" y="73"/>
                      </a:lnTo>
                      <a:lnTo>
                        <a:pt x="124" y="73"/>
                      </a:lnTo>
                      <a:lnTo>
                        <a:pt x="124" y="72"/>
                      </a:lnTo>
                      <a:lnTo>
                        <a:pt x="125" y="72"/>
                      </a:lnTo>
                      <a:lnTo>
                        <a:pt x="126" y="72"/>
                      </a:lnTo>
                      <a:lnTo>
                        <a:pt x="127" y="72"/>
                      </a:lnTo>
                      <a:lnTo>
                        <a:pt x="127" y="73"/>
                      </a:lnTo>
                      <a:lnTo>
                        <a:pt x="127" y="73"/>
                      </a:lnTo>
                      <a:lnTo>
                        <a:pt x="127" y="74"/>
                      </a:lnTo>
                      <a:lnTo>
                        <a:pt x="127" y="75"/>
                      </a:lnTo>
                      <a:lnTo>
                        <a:pt x="127" y="75"/>
                      </a:lnTo>
                      <a:lnTo>
                        <a:pt x="127" y="76"/>
                      </a:lnTo>
                      <a:lnTo>
                        <a:pt x="126" y="76"/>
                      </a:lnTo>
                      <a:lnTo>
                        <a:pt x="125" y="77"/>
                      </a:lnTo>
                      <a:lnTo>
                        <a:pt x="125" y="77"/>
                      </a:lnTo>
                      <a:lnTo>
                        <a:pt x="124" y="77"/>
                      </a:lnTo>
                      <a:lnTo>
                        <a:pt x="124" y="78"/>
                      </a:lnTo>
                      <a:lnTo>
                        <a:pt x="124" y="79"/>
                      </a:lnTo>
                      <a:lnTo>
                        <a:pt x="125" y="79"/>
                      </a:lnTo>
                      <a:lnTo>
                        <a:pt x="126" y="79"/>
                      </a:lnTo>
                      <a:lnTo>
                        <a:pt x="127" y="79"/>
                      </a:lnTo>
                      <a:lnTo>
                        <a:pt x="127" y="79"/>
                      </a:lnTo>
                      <a:lnTo>
                        <a:pt x="128" y="79"/>
                      </a:lnTo>
                      <a:lnTo>
                        <a:pt x="128" y="78"/>
                      </a:lnTo>
                      <a:lnTo>
                        <a:pt x="129" y="78"/>
                      </a:lnTo>
                      <a:lnTo>
                        <a:pt x="129" y="78"/>
                      </a:lnTo>
                      <a:lnTo>
                        <a:pt x="129" y="79"/>
                      </a:lnTo>
                      <a:lnTo>
                        <a:pt x="130" y="79"/>
                      </a:lnTo>
                      <a:lnTo>
                        <a:pt x="130" y="79"/>
                      </a:lnTo>
                      <a:lnTo>
                        <a:pt x="131" y="79"/>
                      </a:lnTo>
                      <a:lnTo>
                        <a:pt x="131" y="79"/>
                      </a:lnTo>
                      <a:lnTo>
                        <a:pt x="131" y="79"/>
                      </a:lnTo>
                      <a:lnTo>
                        <a:pt x="131" y="78"/>
                      </a:lnTo>
                      <a:lnTo>
                        <a:pt x="131" y="78"/>
                      </a:lnTo>
                      <a:lnTo>
                        <a:pt x="131" y="77"/>
                      </a:lnTo>
                      <a:lnTo>
                        <a:pt x="132" y="77"/>
                      </a:lnTo>
                      <a:lnTo>
                        <a:pt x="133" y="77"/>
                      </a:lnTo>
                      <a:lnTo>
                        <a:pt x="133" y="78"/>
                      </a:lnTo>
                      <a:lnTo>
                        <a:pt x="134" y="78"/>
                      </a:lnTo>
                      <a:lnTo>
                        <a:pt x="135" y="78"/>
                      </a:lnTo>
                      <a:lnTo>
                        <a:pt x="135" y="79"/>
                      </a:lnTo>
                      <a:lnTo>
                        <a:pt x="135" y="79"/>
                      </a:lnTo>
                      <a:lnTo>
                        <a:pt x="136" y="79"/>
                      </a:lnTo>
                      <a:lnTo>
                        <a:pt x="137" y="79"/>
                      </a:lnTo>
                      <a:lnTo>
                        <a:pt x="137" y="79"/>
                      </a:lnTo>
                      <a:lnTo>
                        <a:pt x="138" y="79"/>
                      </a:lnTo>
                      <a:lnTo>
                        <a:pt x="139" y="79"/>
                      </a:lnTo>
                      <a:lnTo>
                        <a:pt x="139" y="79"/>
                      </a:lnTo>
                      <a:lnTo>
                        <a:pt x="140" y="79"/>
                      </a:lnTo>
                      <a:lnTo>
                        <a:pt x="141" y="79"/>
                      </a:lnTo>
                      <a:lnTo>
                        <a:pt x="141" y="80"/>
                      </a:lnTo>
                      <a:lnTo>
                        <a:pt x="142" y="80"/>
                      </a:lnTo>
                      <a:lnTo>
                        <a:pt x="142" y="81"/>
                      </a:lnTo>
                      <a:lnTo>
                        <a:pt x="142" y="81"/>
                      </a:lnTo>
                      <a:lnTo>
                        <a:pt x="142" y="82"/>
                      </a:lnTo>
                      <a:lnTo>
                        <a:pt x="141" y="83"/>
                      </a:lnTo>
                      <a:lnTo>
                        <a:pt x="141" y="84"/>
                      </a:lnTo>
                      <a:lnTo>
                        <a:pt x="141" y="85"/>
                      </a:lnTo>
                      <a:lnTo>
                        <a:pt x="141" y="86"/>
                      </a:lnTo>
                      <a:lnTo>
                        <a:pt x="141" y="87"/>
                      </a:lnTo>
                      <a:lnTo>
                        <a:pt x="141" y="87"/>
                      </a:lnTo>
                      <a:lnTo>
                        <a:pt x="140" y="88"/>
                      </a:lnTo>
                      <a:lnTo>
                        <a:pt x="139" y="88"/>
                      </a:lnTo>
                      <a:lnTo>
                        <a:pt x="139" y="88"/>
                      </a:lnTo>
                      <a:lnTo>
                        <a:pt x="139" y="89"/>
                      </a:lnTo>
                      <a:lnTo>
                        <a:pt x="139" y="89"/>
                      </a:lnTo>
                      <a:lnTo>
                        <a:pt x="139" y="89"/>
                      </a:lnTo>
                      <a:lnTo>
                        <a:pt x="140" y="89"/>
                      </a:lnTo>
                      <a:lnTo>
                        <a:pt x="140" y="90"/>
                      </a:lnTo>
                      <a:lnTo>
                        <a:pt x="140" y="91"/>
                      </a:lnTo>
                      <a:lnTo>
                        <a:pt x="140" y="92"/>
                      </a:lnTo>
                      <a:lnTo>
                        <a:pt x="139" y="92"/>
                      </a:lnTo>
                      <a:lnTo>
                        <a:pt x="139" y="93"/>
                      </a:lnTo>
                      <a:lnTo>
                        <a:pt x="139" y="94"/>
                      </a:lnTo>
                      <a:lnTo>
                        <a:pt x="139" y="94"/>
                      </a:lnTo>
                      <a:lnTo>
                        <a:pt x="139" y="94"/>
                      </a:lnTo>
                      <a:lnTo>
                        <a:pt x="140" y="94"/>
                      </a:lnTo>
                      <a:lnTo>
                        <a:pt x="141" y="94"/>
                      </a:lnTo>
                      <a:lnTo>
                        <a:pt x="141" y="94"/>
                      </a:lnTo>
                      <a:lnTo>
                        <a:pt x="142" y="94"/>
                      </a:lnTo>
                      <a:lnTo>
                        <a:pt x="143" y="94"/>
                      </a:lnTo>
                      <a:lnTo>
                        <a:pt x="143" y="95"/>
                      </a:lnTo>
                      <a:lnTo>
                        <a:pt x="144" y="95"/>
                      </a:lnTo>
                      <a:lnTo>
                        <a:pt x="144" y="96"/>
                      </a:lnTo>
                      <a:lnTo>
                        <a:pt x="145" y="96"/>
                      </a:lnTo>
                      <a:lnTo>
                        <a:pt x="145" y="97"/>
                      </a:lnTo>
                      <a:lnTo>
                        <a:pt x="144" y="98"/>
                      </a:lnTo>
                      <a:lnTo>
                        <a:pt x="144" y="98"/>
                      </a:lnTo>
                      <a:lnTo>
                        <a:pt x="144" y="100"/>
                      </a:lnTo>
                      <a:lnTo>
                        <a:pt x="144" y="100"/>
                      </a:lnTo>
                      <a:lnTo>
                        <a:pt x="143" y="101"/>
                      </a:lnTo>
                      <a:lnTo>
                        <a:pt x="143" y="102"/>
                      </a:lnTo>
                      <a:lnTo>
                        <a:pt x="143" y="102"/>
                      </a:lnTo>
                      <a:lnTo>
                        <a:pt x="144" y="102"/>
                      </a:lnTo>
                      <a:lnTo>
                        <a:pt x="145" y="102"/>
                      </a:lnTo>
                      <a:lnTo>
                        <a:pt x="146" y="102"/>
                      </a:lnTo>
                      <a:lnTo>
                        <a:pt x="146" y="103"/>
                      </a:lnTo>
                      <a:lnTo>
                        <a:pt x="146" y="104"/>
                      </a:lnTo>
                      <a:lnTo>
                        <a:pt x="146" y="104"/>
                      </a:lnTo>
                      <a:lnTo>
                        <a:pt x="146" y="105"/>
                      </a:lnTo>
                      <a:lnTo>
                        <a:pt x="146" y="106"/>
                      </a:lnTo>
                      <a:lnTo>
                        <a:pt x="146" y="106"/>
                      </a:lnTo>
                      <a:lnTo>
                        <a:pt x="146" y="107"/>
                      </a:lnTo>
                      <a:lnTo>
                        <a:pt x="146" y="108"/>
                      </a:lnTo>
                      <a:lnTo>
                        <a:pt x="146" y="108"/>
                      </a:lnTo>
                      <a:lnTo>
                        <a:pt x="146" y="109"/>
                      </a:lnTo>
                      <a:lnTo>
                        <a:pt x="146" y="110"/>
                      </a:lnTo>
                      <a:lnTo>
                        <a:pt x="146" y="110"/>
                      </a:lnTo>
                      <a:lnTo>
                        <a:pt x="146" y="111"/>
                      </a:lnTo>
                      <a:lnTo>
                        <a:pt x="146" y="112"/>
                      </a:lnTo>
                      <a:lnTo>
                        <a:pt x="146" y="113"/>
                      </a:lnTo>
                      <a:lnTo>
                        <a:pt x="146" y="113"/>
                      </a:lnTo>
                      <a:lnTo>
                        <a:pt x="146" y="114"/>
                      </a:lnTo>
                      <a:lnTo>
                        <a:pt x="146" y="115"/>
                      </a:lnTo>
                      <a:lnTo>
                        <a:pt x="146" y="115"/>
                      </a:lnTo>
                      <a:lnTo>
                        <a:pt x="147" y="116"/>
                      </a:lnTo>
                      <a:lnTo>
                        <a:pt x="147" y="117"/>
                      </a:lnTo>
                      <a:lnTo>
                        <a:pt x="147" y="117"/>
                      </a:lnTo>
                      <a:lnTo>
                        <a:pt x="148" y="118"/>
                      </a:lnTo>
                      <a:lnTo>
                        <a:pt x="148" y="119"/>
                      </a:lnTo>
                      <a:lnTo>
                        <a:pt x="148" y="119"/>
                      </a:lnTo>
                      <a:lnTo>
                        <a:pt x="148" y="119"/>
                      </a:lnTo>
                      <a:lnTo>
                        <a:pt x="148" y="120"/>
                      </a:lnTo>
                      <a:lnTo>
                        <a:pt x="148" y="121"/>
                      </a:lnTo>
                      <a:lnTo>
                        <a:pt x="149" y="121"/>
                      </a:lnTo>
                      <a:lnTo>
                        <a:pt x="149" y="122"/>
                      </a:lnTo>
                      <a:lnTo>
                        <a:pt x="150" y="123"/>
                      </a:lnTo>
                      <a:lnTo>
                        <a:pt x="150" y="123"/>
                      </a:lnTo>
                      <a:lnTo>
                        <a:pt x="150" y="124"/>
                      </a:lnTo>
                      <a:lnTo>
                        <a:pt x="150" y="124"/>
                      </a:lnTo>
                      <a:lnTo>
                        <a:pt x="150" y="125"/>
                      </a:lnTo>
                      <a:lnTo>
                        <a:pt x="151" y="125"/>
                      </a:lnTo>
                      <a:lnTo>
                        <a:pt x="152" y="126"/>
                      </a:lnTo>
                      <a:lnTo>
                        <a:pt x="152" y="126"/>
                      </a:lnTo>
                      <a:lnTo>
                        <a:pt x="152" y="127"/>
                      </a:lnTo>
                      <a:lnTo>
                        <a:pt x="153" y="127"/>
                      </a:lnTo>
                      <a:lnTo>
                        <a:pt x="154" y="128"/>
                      </a:lnTo>
                      <a:lnTo>
                        <a:pt x="154" y="129"/>
                      </a:lnTo>
                      <a:lnTo>
                        <a:pt x="154" y="129"/>
                      </a:lnTo>
                      <a:lnTo>
                        <a:pt x="155" y="129"/>
                      </a:lnTo>
                      <a:lnTo>
                        <a:pt x="155" y="130"/>
                      </a:lnTo>
                      <a:lnTo>
                        <a:pt x="155" y="131"/>
                      </a:lnTo>
                      <a:lnTo>
                        <a:pt x="155" y="132"/>
                      </a:lnTo>
                      <a:lnTo>
                        <a:pt x="156" y="132"/>
                      </a:lnTo>
                      <a:lnTo>
                        <a:pt x="156" y="133"/>
                      </a:lnTo>
                      <a:lnTo>
                        <a:pt x="156" y="134"/>
                      </a:lnTo>
                      <a:lnTo>
                        <a:pt x="156" y="134"/>
                      </a:lnTo>
                      <a:lnTo>
                        <a:pt x="156" y="135"/>
                      </a:lnTo>
                      <a:lnTo>
                        <a:pt x="156" y="136"/>
                      </a:lnTo>
                      <a:lnTo>
                        <a:pt x="155" y="137"/>
                      </a:lnTo>
                      <a:lnTo>
                        <a:pt x="154" y="138"/>
                      </a:lnTo>
                      <a:lnTo>
                        <a:pt x="154" y="139"/>
                      </a:lnTo>
                      <a:lnTo>
                        <a:pt x="154" y="140"/>
                      </a:lnTo>
                      <a:lnTo>
                        <a:pt x="154" y="140"/>
                      </a:lnTo>
                      <a:lnTo>
                        <a:pt x="154" y="141"/>
                      </a:lnTo>
                      <a:lnTo>
                        <a:pt x="152" y="142"/>
                      </a:lnTo>
                      <a:lnTo>
                        <a:pt x="152" y="143"/>
                      </a:lnTo>
                      <a:lnTo>
                        <a:pt x="152" y="144"/>
                      </a:lnTo>
                      <a:lnTo>
                        <a:pt x="151" y="144"/>
                      </a:lnTo>
                      <a:lnTo>
                        <a:pt x="150" y="145"/>
                      </a:lnTo>
                      <a:lnTo>
                        <a:pt x="150" y="146"/>
                      </a:lnTo>
                      <a:lnTo>
                        <a:pt x="150" y="146"/>
                      </a:lnTo>
                      <a:lnTo>
                        <a:pt x="150" y="147"/>
                      </a:lnTo>
                      <a:lnTo>
                        <a:pt x="149" y="148"/>
                      </a:lnTo>
                      <a:lnTo>
                        <a:pt x="148" y="149"/>
                      </a:lnTo>
                      <a:lnTo>
                        <a:pt x="148" y="150"/>
                      </a:lnTo>
                      <a:lnTo>
                        <a:pt x="148" y="151"/>
                      </a:lnTo>
                      <a:lnTo>
                        <a:pt x="147" y="151"/>
                      </a:lnTo>
                      <a:lnTo>
                        <a:pt x="146" y="152"/>
                      </a:lnTo>
                      <a:lnTo>
                        <a:pt x="146" y="153"/>
                      </a:lnTo>
                      <a:lnTo>
                        <a:pt x="146" y="153"/>
                      </a:lnTo>
                      <a:lnTo>
                        <a:pt x="145" y="153"/>
                      </a:lnTo>
                      <a:lnTo>
                        <a:pt x="145" y="154"/>
                      </a:lnTo>
                      <a:lnTo>
                        <a:pt x="144" y="155"/>
                      </a:lnTo>
                      <a:lnTo>
                        <a:pt x="143" y="155"/>
                      </a:lnTo>
                      <a:lnTo>
                        <a:pt x="143" y="155"/>
                      </a:lnTo>
                      <a:lnTo>
                        <a:pt x="142" y="156"/>
                      </a:lnTo>
                      <a:lnTo>
                        <a:pt x="141" y="157"/>
                      </a:lnTo>
                      <a:lnTo>
                        <a:pt x="141" y="157"/>
                      </a:lnTo>
                      <a:lnTo>
                        <a:pt x="140" y="158"/>
                      </a:lnTo>
                      <a:lnTo>
                        <a:pt x="139" y="159"/>
                      </a:lnTo>
                      <a:lnTo>
                        <a:pt x="139" y="159"/>
                      </a:lnTo>
                      <a:lnTo>
                        <a:pt x="139" y="161"/>
                      </a:lnTo>
                      <a:lnTo>
                        <a:pt x="139" y="161"/>
                      </a:lnTo>
                      <a:lnTo>
                        <a:pt x="138" y="161"/>
                      </a:lnTo>
                      <a:lnTo>
                        <a:pt x="138" y="162"/>
                      </a:lnTo>
                      <a:lnTo>
                        <a:pt x="138" y="163"/>
                      </a:lnTo>
                      <a:lnTo>
                        <a:pt x="138" y="163"/>
                      </a:lnTo>
                      <a:lnTo>
                        <a:pt x="138" y="164"/>
                      </a:lnTo>
                      <a:lnTo>
                        <a:pt x="139" y="165"/>
                      </a:lnTo>
                      <a:lnTo>
                        <a:pt x="139" y="167"/>
                      </a:lnTo>
                      <a:lnTo>
                        <a:pt x="139" y="167"/>
                      </a:lnTo>
                      <a:lnTo>
                        <a:pt x="138" y="168"/>
                      </a:lnTo>
                      <a:lnTo>
                        <a:pt x="138" y="169"/>
                      </a:lnTo>
                      <a:lnTo>
                        <a:pt x="138" y="170"/>
                      </a:lnTo>
                      <a:lnTo>
                        <a:pt x="138" y="172"/>
                      </a:lnTo>
                      <a:lnTo>
                        <a:pt x="137" y="173"/>
                      </a:lnTo>
                      <a:lnTo>
                        <a:pt x="137" y="174"/>
                      </a:lnTo>
                      <a:lnTo>
                        <a:pt x="137" y="175"/>
                      </a:lnTo>
                      <a:lnTo>
                        <a:pt x="137" y="176"/>
                      </a:lnTo>
                      <a:lnTo>
                        <a:pt x="136" y="177"/>
                      </a:lnTo>
                      <a:lnTo>
                        <a:pt x="136" y="178"/>
                      </a:lnTo>
                      <a:lnTo>
                        <a:pt x="135" y="179"/>
                      </a:lnTo>
                      <a:lnTo>
                        <a:pt x="135" y="180"/>
                      </a:lnTo>
                      <a:lnTo>
                        <a:pt x="135" y="180"/>
                      </a:lnTo>
                      <a:lnTo>
                        <a:pt x="135" y="181"/>
                      </a:lnTo>
                      <a:lnTo>
                        <a:pt x="135" y="182"/>
                      </a:lnTo>
                      <a:lnTo>
                        <a:pt x="136" y="182"/>
                      </a:lnTo>
                      <a:lnTo>
                        <a:pt x="137" y="182"/>
                      </a:lnTo>
                      <a:lnTo>
                        <a:pt x="137" y="182"/>
                      </a:lnTo>
                      <a:lnTo>
                        <a:pt x="138" y="182"/>
                      </a:lnTo>
                      <a:lnTo>
                        <a:pt x="139" y="182"/>
                      </a:lnTo>
                      <a:lnTo>
                        <a:pt x="139" y="182"/>
                      </a:lnTo>
                      <a:lnTo>
                        <a:pt x="139" y="184"/>
                      </a:lnTo>
                      <a:lnTo>
                        <a:pt x="139" y="184"/>
                      </a:lnTo>
                      <a:lnTo>
                        <a:pt x="140" y="185"/>
                      </a:lnTo>
                      <a:lnTo>
                        <a:pt x="140" y="186"/>
                      </a:lnTo>
                      <a:lnTo>
                        <a:pt x="140" y="186"/>
                      </a:lnTo>
                      <a:lnTo>
                        <a:pt x="140" y="188"/>
                      </a:lnTo>
                      <a:lnTo>
                        <a:pt x="140" y="188"/>
                      </a:lnTo>
                      <a:lnTo>
                        <a:pt x="140" y="190"/>
                      </a:lnTo>
                      <a:lnTo>
                        <a:pt x="140" y="191"/>
                      </a:lnTo>
                      <a:lnTo>
                        <a:pt x="141" y="193"/>
                      </a:lnTo>
                      <a:lnTo>
                        <a:pt x="141" y="194"/>
                      </a:lnTo>
                      <a:lnTo>
                        <a:pt x="141" y="194"/>
                      </a:lnTo>
                      <a:lnTo>
                        <a:pt x="142" y="195"/>
                      </a:lnTo>
                      <a:lnTo>
                        <a:pt x="143" y="195"/>
                      </a:lnTo>
                      <a:lnTo>
                        <a:pt x="143" y="196"/>
                      </a:lnTo>
                      <a:lnTo>
                        <a:pt x="143" y="196"/>
                      </a:lnTo>
                      <a:lnTo>
                        <a:pt x="143" y="197"/>
                      </a:lnTo>
                      <a:lnTo>
                        <a:pt x="143" y="198"/>
                      </a:lnTo>
                      <a:lnTo>
                        <a:pt x="142" y="199"/>
                      </a:lnTo>
                      <a:lnTo>
                        <a:pt x="141" y="199"/>
                      </a:lnTo>
                      <a:lnTo>
                        <a:pt x="141" y="200"/>
                      </a:lnTo>
                      <a:lnTo>
                        <a:pt x="141" y="201"/>
                      </a:lnTo>
                      <a:lnTo>
                        <a:pt x="141" y="203"/>
                      </a:lnTo>
                      <a:lnTo>
                        <a:pt x="141" y="203"/>
                      </a:lnTo>
                      <a:lnTo>
                        <a:pt x="141" y="204"/>
                      </a:lnTo>
                      <a:lnTo>
                        <a:pt x="141" y="205"/>
                      </a:lnTo>
                      <a:lnTo>
                        <a:pt x="142" y="205"/>
                      </a:lnTo>
                      <a:lnTo>
                        <a:pt x="142" y="206"/>
                      </a:lnTo>
                      <a:lnTo>
                        <a:pt x="142" y="207"/>
                      </a:lnTo>
                      <a:lnTo>
                        <a:pt x="143" y="207"/>
                      </a:lnTo>
                      <a:lnTo>
                        <a:pt x="143" y="209"/>
                      </a:lnTo>
                      <a:lnTo>
                        <a:pt x="143" y="209"/>
                      </a:lnTo>
                      <a:lnTo>
                        <a:pt x="143" y="210"/>
                      </a:lnTo>
                      <a:lnTo>
                        <a:pt x="143" y="212"/>
                      </a:lnTo>
                      <a:lnTo>
                        <a:pt x="144" y="214"/>
                      </a:lnTo>
                      <a:lnTo>
                        <a:pt x="144" y="214"/>
                      </a:lnTo>
                      <a:lnTo>
                        <a:pt x="144" y="215"/>
                      </a:lnTo>
                      <a:lnTo>
                        <a:pt x="145" y="216"/>
                      </a:lnTo>
                      <a:lnTo>
                        <a:pt x="145" y="216"/>
                      </a:lnTo>
                      <a:lnTo>
                        <a:pt x="145" y="217"/>
                      </a:lnTo>
                      <a:lnTo>
                        <a:pt x="147" y="218"/>
                      </a:lnTo>
                      <a:lnTo>
                        <a:pt x="148" y="218"/>
                      </a:lnTo>
                      <a:lnTo>
                        <a:pt x="148" y="218"/>
                      </a:lnTo>
                      <a:lnTo>
                        <a:pt x="149" y="218"/>
                      </a:lnTo>
                      <a:lnTo>
                        <a:pt x="149" y="219"/>
                      </a:lnTo>
                      <a:lnTo>
                        <a:pt x="150" y="219"/>
                      </a:lnTo>
                      <a:lnTo>
                        <a:pt x="151" y="220"/>
                      </a:lnTo>
                      <a:lnTo>
                        <a:pt x="152" y="222"/>
                      </a:lnTo>
                      <a:lnTo>
                        <a:pt x="152" y="222"/>
                      </a:lnTo>
                      <a:lnTo>
                        <a:pt x="152" y="223"/>
                      </a:lnTo>
                      <a:lnTo>
                        <a:pt x="153" y="224"/>
                      </a:lnTo>
                      <a:lnTo>
                        <a:pt x="154" y="225"/>
                      </a:lnTo>
                      <a:lnTo>
                        <a:pt x="154" y="226"/>
                      </a:lnTo>
                      <a:lnTo>
                        <a:pt x="155" y="226"/>
                      </a:lnTo>
                      <a:lnTo>
                        <a:pt x="156" y="226"/>
                      </a:lnTo>
                      <a:lnTo>
                        <a:pt x="156" y="227"/>
                      </a:lnTo>
                      <a:lnTo>
                        <a:pt x="157" y="227"/>
                      </a:lnTo>
                      <a:lnTo>
                        <a:pt x="158" y="227"/>
                      </a:lnTo>
                      <a:lnTo>
                        <a:pt x="158" y="228"/>
                      </a:lnTo>
                      <a:lnTo>
                        <a:pt x="158" y="228"/>
                      </a:lnTo>
                      <a:lnTo>
                        <a:pt x="158" y="230"/>
                      </a:lnTo>
                      <a:lnTo>
                        <a:pt x="159" y="230"/>
                      </a:lnTo>
                      <a:lnTo>
                        <a:pt x="160" y="230"/>
                      </a:lnTo>
                      <a:lnTo>
                        <a:pt x="160" y="230"/>
                      </a:lnTo>
                      <a:lnTo>
                        <a:pt x="160" y="231"/>
                      </a:lnTo>
                      <a:lnTo>
                        <a:pt x="160" y="231"/>
                      </a:lnTo>
                      <a:lnTo>
                        <a:pt x="160" y="233"/>
                      </a:lnTo>
                      <a:lnTo>
                        <a:pt x="161" y="235"/>
                      </a:lnTo>
                      <a:lnTo>
                        <a:pt x="161" y="235"/>
                      </a:lnTo>
                      <a:lnTo>
                        <a:pt x="161" y="236"/>
                      </a:lnTo>
                      <a:lnTo>
                        <a:pt x="160" y="237"/>
                      </a:lnTo>
                      <a:lnTo>
                        <a:pt x="160" y="237"/>
                      </a:lnTo>
                      <a:lnTo>
                        <a:pt x="159" y="237"/>
                      </a:lnTo>
                      <a:lnTo>
                        <a:pt x="158" y="237"/>
                      </a:lnTo>
                      <a:lnTo>
                        <a:pt x="158" y="237"/>
                      </a:lnTo>
                      <a:lnTo>
                        <a:pt x="157" y="238"/>
                      </a:lnTo>
                      <a:lnTo>
                        <a:pt x="156" y="239"/>
                      </a:lnTo>
                      <a:lnTo>
                        <a:pt x="156" y="240"/>
                      </a:lnTo>
                      <a:lnTo>
                        <a:pt x="156" y="241"/>
                      </a:lnTo>
                      <a:lnTo>
                        <a:pt x="156" y="241"/>
                      </a:lnTo>
                      <a:lnTo>
                        <a:pt x="156" y="242"/>
                      </a:lnTo>
                      <a:lnTo>
                        <a:pt x="156" y="243"/>
                      </a:lnTo>
                      <a:lnTo>
                        <a:pt x="157" y="245"/>
                      </a:lnTo>
                      <a:lnTo>
                        <a:pt x="157" y="245"/>
                      </a:lnTo>
                      <a:lnTo>
                        <a:pt x="158" y="245"/>
                      </a:lnTo>
                      <a:lnTo>
                        <a:pt x="158" y="246"/>
                      </a:lnTo>
                      <a:lnTo>
                        <a:pt x="158" y="247"/>
                      </a:lnTo>
                      <a:lnTo>
                        <a:pt x="158" y="247"/>
                      </a:lnTo>
                      <a:lnTo>
                        <a:pt x="159" y="249"/>
                      </a:lnTo>
                      <a:lnTo>
                        <a:pt x="159" y="250"/>
                      </a:lnTo>
                      <a:lnTo>
                        <a:pt x="160" y="250"/>
                      </a:lnTo>
                      <a:lnTo>
                        <a:pt x="162" y="252"/>
                      </a:lnTo>
                      <a:lnTo>
                        <a:pt x="162" y="253"/>
                      </a:lnTo>
                      <a:lnTo>
                        <a:pt x="163" y="255"/>
                      </a:lnTo>
                      <a:lnTo>
                        <a:pt x="163" y="256"/>
                      </a:lnTo>
                      <a:lnTo>
                        <a:pt x="166" y="260"/>
                      </a:lnTo>
                      <a:lnTo>
                        <a:pt x="167" y="262"/>
                      </a:lnTo>
                      <a:lnTo>
                        <a:pt x="168" y="263"/>
                      </a:lnTo>
                      <a:lnTo>
                        <a:pt x="169" y="265"/>
                      </a:lnTo>
                      <a:lnTo>
                        <a:pt x="169" y="265"/>
                      </a:lnTo>
                      <a:lnTo>
                        <a:pt x="169" y="266"/>
                      </a:lnTo>
                      <a:lnTo>
                        <a:pt x="169" y="266"/>
                      </a:lnTo>
                      <a:lnTo>
                        <a:pt x="169" y="267"/>
                      </a:lnTo>
                      <a:lnTo>
                        <a:pt x="170" y="267"/>
                      </a:lnTo>
                      <a:lnTo>
                        <a:pt x="171" y="267"/>
                      </a:lnTo>
                      <a:lnTo>
                        <a:pt x="171" y="268"/>
                      </a:lnTo>
                      <a:lnTo>
                        <a:pt x="171" y="268"/>
                      </a:lnTo>
                      <a:lnTo>
                        <a:pt x="171" y="268"/>
                      </a:lnTo>
                      <a:lnTo>
                        <a:pt x="171" y="269"/>
                      </a:lnTo>
                      <a:lnTo>
                        <a:pt x="171" y="269"/>
                      </a:lnTo>
                      <a:lnTo>
                        <a:pt x="171" y="270"/>
                      </a:lnTo>
                      <a:lnTo>
                        <a:pt x="170" y="271"/>
                      </a:lnTo>
                      <a:lnTo>
                        <a:pt x="170" y="271"/>
                      </a:lnTo>
                      <a:lnTo>
                        <a:pt x="171" y="272"/>
                      </a:lnTo>
                      <a:lnTo>
                        <a:pt x="171" y="272"/>
                      </a:lnTo>
                      <a:lnTo>
                        <a:pt x="171" y="273"/>
                      </a:lnTo>
                      <a:lnTo>
                        <a:pt x="172" y="273"/>
                      </a:lnTo>
                      <a:lnTo>
                        <a:pt x="172" y="273"/>
                      </a:lnTo>
                      <a:lnTo>
                        <a:pt x="171" y="273"/>
                      </a:lnTo>
                      <a:lnTo>
                        <a:pt x="171" y="273"/>
                      </a:lnTo>
                      <a:lnTo>
                        <a:pt x="170" y="273"/>
                      </a:lnTo>
                      <a:lnTo>
                        <a:pt x="170" y="274"/>
                      </a:lnTo>
                      <a:lnTo>
                        <a:pt x="171" y="274"/>
                      </a:lnTo>
                      <a:lnTo>
                        <a:pt x="171" y="275"/>
                      </a:lnTo>
                      <a:lnTo>
                        <a:pt x="171" y="275"/>
                      </a:lnTo>
                      <a:lnTo>
                        <a:pt x="171" y="275"/>
                      </a:lnTo>
                      <a:lnTo>
                        <a:pt x="172" y="275"/>
                      </a:lnTo>
                      <a:lnTo>
                        <a:pt x="172" y="276"/>
                      </a:lnTo>
                      <a:lnTo>
                        <a:pt x="172" y="277"/>
                      </a:lnTo>
                      <a:lnTo>
                        <a:pt x="172" y="277"/>
                      </a:lnTo>
                      <a:lnTo>
                        <a:pt x="172" y="278"/>
                      </a:lnTo>
                      <a:lnTo>
                        <a:pt x="172" y="279"/>
                      </a:lnTo>
                      <a:lnTo>
                        <a:pt x="173" y="279"/>
                      </a:lnTo>
                      <a:lnTo>
                        <a:pt x="173" y="280"/>
                      </a:lnTo>
                      <a:lnTo>
                        <a:pt x="173" y="281"/>
                      </a:lnTo>
                      <a:lnTo>
                        <a:pt x="173" y="281"/>
                      </a:lnTo>
                      <a:lnTo>
                        <a:pt x="173" y="282"/>
                      </a:lnTo>
                      <a:lnTo>
                        <a:pt x="173" y="283"/>
                      </a:lnTo>
                      <a:lnTo>
                        <a:pt x="173" y="283"/>
                      </a:lnTo>
                      <a:lnTo>
                        <a:pt x="173" y="284"/>
                      </a:lnTo>
                      <a:lnTo>
                        <a:pt x="173" y="285"/>
                      </a:lnTo>
                      <a:lnTo>
                        <a:pt x="173" y="285"/>
                      </a:lnTo>
                      <a:lnTo>
                        <a:pt x="174" y="286"/>
                      </a:lnTo>
                      <a:lnTo>
                        <a:pt x="174" y="287"/>
                      </a:lnTo>
                      <a:lnTo>
                        <a:pt x="174" y="287"/>
                      </a:lnTo>
                      <a:lnTo>
                        <a:pt x="174" y="288"/>
                      </a:lnTo>
                      <a:lnTo>
                        <a:pt x="174" y="289"/>
                      </a:lnTo>
                      <a:lnTo>
                        <a:pt x="173" y="289"/>
                      </a:lnTo>
                      <a:lnTo>
                        <a:pt x="174" y="289"/>
                      </a:lnTo>
                      <a:lnTo>
                        <a:pt x="174" y="290"/>
                      </a:lnTo>
                      <a:lnTo>
                        <a:pt x="174" y="290"/>
                      </a:lnTo>
                      <a:lnTo>
                        <a:pt x="174" y="291"/>
                      </a:lnTo>
                      <a:lnTo>
                        <a:pt x="174" y="292"/>
                      </a:lnTo>
                      <a:lnTo>
                        <a:pt x="175" y="292"/>
                      </a:lnTo>
                      <a:lnTo>
                        <a:pt x="175" y="293"/>
                      </a:lnTo>
                      <a:lnTo>
                        <a:pt x="175" y="294"/>
                      </a:lnTo>
                      <a:lnTo>
                        <a:pt x="175" y="294"/>
                      </a:lnTo>
                      <a:lnTo>
                        <a:pt x="175" y="295"/>
                      </a:lnTo>
                      <a:lnTo>
                        <a:pt x="176" y="295"/>
                      </a:lnTo>
                      <a:lnTo>
                        <a:pt x="177" y="296"/>
                      </a:lnTo>
                      <a:lnTo>
                        <a:pt x="177" y="296"/>
                      </a:lnTo>
                      <a:lnTo>
                        <a:pt x="177" y="296"/>
                      </a:lnTo>
                      <a:lnTo>
                        <a:pt x="178" y="296"/>
                      </a:lnTo>
                      <a:lnTo>
                        <a:pt x="179" y="296"/>
                      </a:lnTo>
                      <a:lnTo>
                        <a:pt x="179" y="296"/>
                      </a:lnTo>
                      <a:lnTo>
                        <a:pt x="180" y="296"/>
                      </a:lnTo>
                      <a:lnTo>
                        <a:pt x="181" y="297"/>
                      </a:lnTo>
                      <a:lnTo>
                        <a:pt x="181" y="297"/>
                      </a:lnTo>
                      <a:lnTo>
                        <a:pt x="181" y="298"/>
                      </a:lnTo>
                      <a:lnTo>
                        <a:pt x="182" y="298"/>
                      </a:lnTo>
                      <a:lnTo>
                        <a:pt x="182" y="298"/>
                      </a:lnTo>
                      <a:lnTo>
                        <a:pt x="183" y="298"/>
                      </a:lnTo>
                      <a:lnTo>
                        <a:pt x="184" y="298"/>
                      </a:lnTo>
                      <a:lnTo>
                        <a:pt x="184" y="298"/>
                      </a:lnTo>
                      <a:lnTo>
                        <a:pt x="185" y="298"/>
                      </a:lnTo>
                      <a:lnTo>
                        <a:pt x="186" y="298"/>
                      </a:lnTo>
                      <a:lnTo>
                        <a:pt x="186" y="298"/>
                      </a:lnTo>
                      <a:lnTo>
                        <a:pt x="187" y="298"/>
                      </a:lnTo>
                      <a:lnTo>
                        <a:pt x="188" y="298"/>
                      </a:lnTo>
                      <a:lnTo>
                        <a:pt x="188" y="298"/>
                      </a:lnTo>
                      <a:lnTo>
                        <a:pt x="188" y="298"/>
                      </a:lnTo>
                      <a:lnTo>
                        <a:pt x="188" y="299"/>
                      </a:lnTo>
                      <a:lnTo>
                        <a:pt x="188" y="300"/>
                      </a:lnTo>
                      <a:lnTo>
                        <a:pt x="188" y="300"/>
                      </a:lnTo>
                      <a:lnTo>
                        <a:pt x="188" y="301"/>
                      </a:lnTo>
                      <a:lnTo>
                        <a:pt x="188" y="302"/>
                      </a:lnTo>
                      <a:lnTo>
                        <a:pt x="188" y="302"/>
                      </a:lnTo>
                      <a:lnTo>
                        <a:pt x="188" y="303"/>
                      </a:lnTo>
                      <a:lnTo>
                        <a:pt x="188" y="304"/>
                      </a:lnTo>
                      <a:lnTo>
                        <a:pt x="188" y="304"/>
                      </a:lnTo>
                      <a:lnTo>
                        <a:pt x="188" y="305"/>
                      </a:lnTo>
                      <a:lnTo>
                        <a:pt x="188" y="306"/>
                      </a:lnTo>
                      <a:lnTo>
                        <a:pt x="188" y="306"/>
                      </a:lnTo>
                      <a:lnTo>
                        <a:pt x="188" y="307"/>
                      </a:lnTo>
                      <a:lnTo>
                        <a:pt x="188" y="309"/>
                      </a:lnTo>
                      <a:lnTo>
                        <a:pt x="188" y="309"/>
                      </a:lnTo>
                      <a:lnTo>
                        <a:pt x="188" y="310"/>
                      </a:lnTo>
                      <a:lnTo>
                        <a:pt x="188" y="311"/>
                      </a:lnTo>
                      <a:lnTo>
                        <a:pt x="189" y="311"/>
                      </a:lnTo>
                      <a:lnTo>
                        <a:pt x="189" y="312"/>
                      </a:lnTo>
                      <a:lnTo>
                        <a:pt x="189" y="313"/>
                      </a:lnTo>
                      <a:lnTo>
                        <a:pt x="189" y="313"/>
                      </a:lnTo>
                      <a:lnTo>
                        <a:pt x="189" y="314"/>
                      </a:lnTo>
                      <a:lnTo>
                        <a:pt x="189" y="315"/>
                      </a:lnTo>
                      <a:lnTo>
                        <a:pt x="189" y="315"/>
                      </a:lnTo>
                      <a:lnTo>
                        <a:pt x="189" y="316"/>
                      </a:lnTo>
                      <a:lnTo>
                        <a:pt x="189" y="317"/>
                      </a:lnTo>
                      <a:lnTo>
                        <a:pt x="189" y="317"/>
                      </a:lnTo>
                      <a:lnTo>
                        <a:pt x="189" y="318"/>
                      </a:lnTo>
                      <a:lnTo>
                        <a:pt x="189" y="319"/>
                      </a:lnTo>
                      <a:lnTo>
                        <a:pt x="189" y="319"/>
                      </a:lnTo>
                      <a:lnTo>
                        <a:pt x="189" y="320"/>
                      </a:lnTo>
                      <a:lnTo>
                        <a:pt x="189" y="321"/>
                      </a:lnTo>
                      <a:lnTo>
                        <a:pt x="189" y="321"/>
                      </a:lnTo>
                      <a:lnTo>
                        <a:pt x="189" y="322"/>
                      </a:lnTo>
                      <a:lnTo>
                        <a:pt x="189" y="323"/>
                      </a:lnTo>
                      <a:lnTo>
                        <a:pt x="189" y="323"/>
                      </a:lnTo>
                      <a:lnTo>
                        <a:pt x="189" y="324"/>
                      </a:lnTo>
                      <a:lnTo>
                        <a:pt x="189" y="325"/>
                      </a:lnTo>
                      <a:lnTo>
                        <a:pt x="189" y="326"/>
                      </a:lnTo>
                      <a:lnTo>
                        <a:pt x="189" y="327"/>
                      </a:lnTo>
                      <a:lnTo>
                        <a:pt x="189" y="327"/>
                      </a:lnTo>
                      <a:lnTo>
                        <a:pt x="189" y="329"/>
                      </a:lnTo>
                      <a:lnTo>
                        <a:pt x="189" y="330"/>
                      </a:lnTo>
                      <a:lnTo>
                        <a:pt x="190" y="333"/>
                      </a:lnTo>
                      <a:lnTo>
                        <a:pt x="190" y="338"/>
                      </a:lnTo>
                      <a:lnTo>
                        <a:pt x="190" y="342"/>
                      </a:lnTo>
                      <a:lnTo>
                        <a:pt x="190" y="349"/>
                      </a:lnTo>
                      <a:lnTo>
                        <a:pt x="192" y="366"/>
                      </a:lnTo>
                      <a:lnTo>
                        <a:pt x="192" y="372"/>
                      </a:lnTo>
                      <a:lnTo>
                        <a:pt x="192" y="378"/>
                      </a:lnTo>
                      <a:lnTo>
                        <a:pt x="192" y="383"/>
                      </a:lnTo>
                      <a:lnTo>
                        <a:pt x="192" y="388"/>
                      </a:lnTo>
                      <a:lnTo>
                        <a:pt x="192" y="392"/>
                      </a:lnTo>
                      <a:lnTo>
                        <a:pt x="192" y="395"/>
                      </a:lnTo>
                      <a:lnTo>
                        <a:pt x="192" y="397"/>
                      </a:lnTo>
                      <a:lnTo>
                        <a:pt x="192" y="398"/>
                      </a:lnTo>
                      <a:lnTo>
                        <a:pt x="194" y="424"/>
                      </a:lnTo>
                      <a:lnTo>
                        <a:pt x="192" y="424"/>
                      </a:lnTo>
                      <a:lnTo>
                        <a:pt x="188" y="423"/>
                      </a:lnTo>
                      <a:lnTo>
                        <a:pt x="180" y="423"/>
                      </a:lnTo>
                      <a:lnTo>
                        <a:pt x="177" y="423"/>
                      </a:lnTo>
                      <a:lnTo>
                        <a:pt x="173" y="423"/>
                      </a:lnTo>
                      <a:lnTo>
                        <a:pt x="172" y="423"/>
                      </a:lnTo>
                      <a:lnTo>
                        <a:pt x="169" y="423"/>
                      </a:lnTo>
                      <a:lnTo>
                        <a:pt x="168" y="423"/>
                      </a:lnTo>
                      <a:lnTo>
                        <a:pt x="167" y="423"/>
                      </a:lnTo>
                      <a:lnTo>
                        <a:pt x="165" y="423"/>
                      </a:lnTo>
                      <a:lnTo>
                        <a:pt x="163" y="423"/>
                      </a:lnTo>
                      <a:lnTo>
                        <a:pt x="162" y="423"/>
                      </a:lnTo>
                      <a:lnTo>
                        <a:pt x="162" y="423"/>
                      </a:lnTo>
                      <a:lnTo>
                        <a:pt x="160" y="423"/>
                      </a:lnTo>
                      <a:lnTo>
                        <a:pt x="158" y="423"/>
                      </a:lnTo>
                      <a:lnTo>
                        <a:pt x="156" y="423"/>
                      </a:lnTo>
                      <a:lnTo>
                        <a:pt x="155" y="423"/>
                      </a:lnTo>
                      <a:lnTo>
                        <a:pt x="154" y="423"/>
                      </a:lnTo>
                      <a:lnTo>
                        <a:pt x="153" y="423"/>
                      </a:lnTo>
                      <a:lnTo>
                        <a:pt x="152" y="423"/>
                      </a:lnTo>
                      <a:lnTo>
                        <a:pt x="151" y="423"/>
                      </a:lnTo>
                      <a:lnTo>
                        <a:pt x="150" y="423"/>
                      </a:lnTo>
                      <a:lnTo>
                        <a:pt x="148" y="423"/>
                      </a:lnTo>
                      <a:lnTo>
                        <a:pt x="146" y="423"/>
                      </a:lnTo>
                      <a:lnTo>
                        <a:pt x="146" y="423"/>
                      </a:lnTo>
                      <a:lnTo>
                        <a:pt x="144" y="423"/>
                      </a:lnTo>
                      <a:lnTo>
                        <a:pt x="143" y="423"/>
                      </a:lnTo>
                      <a:lnTo>
                        <a:pt x="141" y="423"/>
                      </a:lnTo>
                      <a:lnTo>
                        <a:pt x="134" y="423"/>
                      </a:lnTo>
                      <a:lnTo>
                        <a:pt x="130" y="423"/>
                      </a:lnTo>
                      <a:lnTo>
                        <a:pt x="129" y="423"/>
                      </a:lnTo>
                      <a:lnTo>
                        <a:pt x="129" y="423"/>
                      </a:lnTo>
                      <a:lnTo>
                        <a:pt x="128" y="423"/>
                      </a:lnTo>
                      <a:lnTo>
                        <a:pt x="114" y="422"/>
                      </a:lnTo>
                      <a:lnTo>
                        <a:pt x="109" y="422"/>
                      </a:lnTo>
                      <a:lnTo>
                        <a:pt x="109" y="423"/>
                      </a:lnTo>
                      <a:lnTo>
                        <a:pt x="119" y="435"/>
                      </a:lnTo>
                      <a:lnTo>
                        <a:pt x="125" y="441"/>
                      </a:lnTo>
                      <a:lnTo>
                        <a:pt x="127" y="443"/>
                      </a:lnTo>
                      <a:lnTo>
                        <a:pt x="127" y="444"/>
                      </a:lnTo>
                      <a:lnTo>
                        <a:pt x="128" y="445"/>
                      </a:lnTo>
                      <a:lnTo>
                        <a:pt x="128" y="445"/>
                      </a:lnTo>
                      <a:lnTo>
                        <a:pt x="129" y="446"/>
                      </a:lnTo>
                      <a:lnTo>
                        <a:pt x="129" y="446"/>
                      </a:lnTo>
                      <a:lnTo>
                        <a:pt x="131" y="448"/>
                      </a:lnTo>
                      <a:lnTo>
                        <a:pt x="131" y="449"/>
                      </a:lnTo>
                      <a:lnTo>
                        <a:pt x="132" y="450"/>
                      </a:lnTo>
                      <a:lnTo>
                        <a:pt x="133" y="451"/>
                      </a:lnTo>
                      <a:lnTo>
                        <a:pt x="134" y="452"/>
                      </a:lnTo>
                      <a:lnTo>
                        <a:pt x="135" y="454"/>
                      </a:lnTo>
                      <a:lnTo>
                        <a:pt x="147" y="468"/>
                      </a:lnTo>
                      <a:lnTo>
                        <a:pt x="150" y="471"/>
                      </a:lnTo>
                      <a:lnTo>
                        <a:pt x="162" y="486"/>
                      </a:lnTo>
                      <a:lnTo>
                        <a:pt x="169" y="494"/>
                      </a:lnTo>
                      <a:lnTo>
                        <a:pt x="173" y="498"/>
                      </a:lnTo>
                      <a:lnTo>
                        <a:pt x="177" y="503"/>
                      </a:lnTo>
                      <a:lnTo>
                        <a:pt x="181" y="509"/>
                      </a:lnTo>
                      <a:lnTo>
                        <a:pt x="186" y="514"/>
                      </a:lnTo>
                      <a:lnTo>
                        <a:pt x="194" y="523"/>
                      </a:lnTo>
                      <a:lnTo>
                        <a:pt x="194" y="528"/>
                      </a:lnTo>
                      <a:lnTo>
                        <a:pt x="195" y="530"/>
                      </a:lnTo>
                      <a:lnTo>
                        <a:pt x="195" y="535"/>
                      </a:lnTo>
                      <a:lnTo>
                        <a:pt x="196" y="540"/>
                      </a:lnTo>
                      <a:lnTo>
                        <a:pt x="199" y="574"/>
                      </a:lnTo>
                      <a:lnTo>
                        <a:pt x="201" y="599"/>
                      </a:lnTo>
                      <a:lnTo>
                        <a:pt x="203" y="620"/>
                      </a:lnTo>
                      <a:lnTo>
                        <a:pt x="205" y="635"/>
                      </a:lnTo>
                      <a:lnTo>
                        <a:pt x="207" y="654"/>
                      </a:lnTo>
                      <a:lnTo>
                        <a:pt x="207" y="662"/>
                      </a:lnTo>
                      <a:lnTo>
                        <a:pt x="207" y="671"/>
                      </a:lnTo>
                      <a:lnTo>
                        <a:pt x="207" y="675"/>
                      </a:lnTo>
                      <a:lnTo>
                        <a:pt x="207" y="685"/>
                      </a:lnTo>
                      <a:lnTo>
                        <a:pt x="208" y="694"/>
                      </a:lnTo>
                      <a:lnTo>
                        <a:pt x="208" y="705"/>
                      </a:lnTo>
                      <a:lnTo>
                        <a:pt x="208" y="709"/>
                      </a:lnTo>
                      <a:lnTo>
                        <a:pt x="208" y="711"/>
                      </a:lnTo>
                      <a:lnTo>
                        <a:pt x="207" y="715"/>
                      </a:lnTo>
                      <a:lnTo>
                        <a:pt x="208" y="721"/>
                      </a:lnTo>
                      <a:lnTo>
                        <a:pt x="208" y="728"/>
                      </a:lnTo>
                      <a:lnTo>
                        <a:pt x="208" y="733"/>
                      </a:lnTo>
                      <a:lnTo>
                        <a:pt x="209" y="733"/>
                      </a:lnTo>
                      <a:lnTo>
                        <a:pt x="211" y="733"/>
                      </a:lnTo>
                      <a:lnTo>
                        <a:pt x="212" y="733"/>
                      </a:lnTo>
                      <a:lnTo>
                        <a:pt x="213" y="733"/>
                      </a:lnTo>
                      <a:lnTo>
                        <a:pt x="216" y="733"/>
                      </a:lnTo>
                      <a:lnTo>
                        <a:pt x="217" y="733"/>
                      </a:lnTo>
                      <a:lnTo>
                        <a:pt x="222" y="733"/>
                      </a:lnTo>
                      <a:lnTo>
                        <a:pt x="222" y="733"/>
                      </a:lnTo>
                      <a:lnTo>
                        <a:pt x="226" y="734"/>
                      </a:lnTo>
                      <a:lnTo>
                        <a:pt x="228" y="734"/>
                      </a:lnTo>
                      <a:lnTo>
                        <a:pt x="228" y="734"/>
                      </a:lnTo>
                      <a:lnTo>
                        <a:pt x="232" y="734"/>
                      </a:lnTo>
                      <a:lnTo>
                        <a:pt x="234" y="734"/>
                      </a:lnTo>
                      <a:lnTo>
                        <a:pt x="236" y="734"/>
                      </a:lnTo>
                      <a:lnTo>
                        <a:pt x="240" y="734"/>
                      </a:lnTo>
                      <a:lnTo>
                        <a:pt x="241" y="734"/>
                      </a:lnTo>
                      <a:lnTo>
                        <a:pt x="245" y="734"/>
                      </a:lnTo>
                      <a:lnTo>
                        <a:pt x="249" y="734"/>
                      </a:lnTo>
                      <a:lnTo>
                        <a:pt x="252" y="734"/>
                      </a:lnTo>
                      <a:lnTo>
                        <a:pt x="253" y="734"/>
                      </a:lnTo>
                      <a:lnTo>
                        <a:pt x="258" y="735"/>
                      </a:lnTo>
                      <a:lnTo>
                        <a:pt x="259" y="735"/>
                      </a:lnTo>
                      <a:lnTo>
                        <a:pt x="260" y="735"/>
                      </a:lnTo>
                      <a:lnTo>
                        <a:pt x="260" y="735"/>
                      </a:lnTo>
                      <a:lnTo>
                        <a:pt x="261" y="735"/>
                      </a:lnTo>
                      <a:lnTo>
                        <a:pt x="262" y="735"/>
                      </a:lnTo>
                      <a:lnTo>
                        <a:pt x="262" y="735"/>
                      </a:lnTo>
                      <a:lnTo>
                        <a:pt x="263" y="735"/>
                      </a:lnTo>
                      <a:lnTo>
                        <a:pt x="264" y="735"/>
                      </a:lnTo>
                      <a:lnTo>
                        <a:pt x="264" y="735"/>
                      </a:lnTo>
                      <a:lnTo>
                        <a:pt x="265" y="735"/>
                      </a:lnTo>
                      <a:lnTo>
                        <a:pt x="266" y="735"/>
                      </a:lnTo>
                      <a:lnTo>
                        <a:pt x="266" y="735"/>
                      </a:lnTo>
                      <a:lnTo>
                        <a:pt x="267" y="735"/>
                      </a:lnTo>
                      <a:lnTo>
                        <a:pt x="268" y="735"/>
                      </a:lnTo>
                      <a:lnTo>
                        <a:pt x="268" y="735"/>
                      </a:lnTo>
                      <a:lnTo>
                        <a:pt x="269" y="735"/>
                      </a:lnTo>
                      <a:lnTo>
                        <a:pt x="270" y="735"/>
                      </a:lnTo>
                      <a:lnTo>
                        <a:pt x="270" y="735"/>
                      </a:lnTo>
                      <a:lnTo>
                        <a:pt x="271" y="735"/>
                      </a:lnTo>
                      <a:lnTo>
                        <a:pt x="272" y="736"/>
                      </a:lnTo>
                      <a:lnTo>
                        <a:pt x="272" y="736"/>
                      </a:lnTo>
                      <a:lnTo>
                        <a:pt x="273" y="736"/>
                      </a:lnTo>
                      <a:lnTo>
                        <a:pt x="274" y="736"/>
                      </a:lnTo>
                      <a:lnTo>
                        <a:pt x="274" y="736"/>
                      </a:lnTo>
                      <a:lnTo>
                        <a:pt x="275" y="736"/>
                      </a:lnTo>
                      <a:lnTo>
                        <a:pt x="276" y="736"/>
                      </a:lnTo>
                      <a:lnTo>
                        <a:pt x="277" y="736"/>
                      </a:lnTo>
                      <a:lnTo>
                        <a:pt x="277" y="736"/>
                      </a:lnTo>
                      <a:lnTo>
                        <a:pt x="278" y="736"/>
                      </a:lnTo>
                      <a:lnTo>
                        <a:pt x="279" y="736"/>
                      </a:lnTo>
                      <a:lnTo>
                        <a:pt x="279" y="736"/>
                      </a:lnTo>
                      <a:lnTo>
                        <a:pt x="280" y="736"/>
                      </a:lnTo>
                      <a:lnTo>
                        <a:pt x="281" y="736"/>
                      </a:lnTo>
                      <a:lnTo>
                        <a:pt x="281" y="736"/>
                      </a:lnTo>
                      <a:lnTo>
                        <a:pt x="282" y="736"/>
                      </a:lnTo>
                      <a:lnTo>
                        <a:pt x="283" y="736"/>
                      </a:lnTo>
                      <a:lnTo>
                        <a:pt x="283" y="736"/>
                      </a:lnTo>
                      <a:lnTo>
                        <a:pt x="284" y="736"/>
                      </a:lnTo>
                      <a:lnTo>
                        <a:pt x="285" y="736"/>
                      </a:lnTo>
                      <a:lnTo>
                        <a:pt x="285" y="736"/>
                      </a:lnTo>
                      <a:lnTo>
                        <a:pt x="286" y="736"/>
                      </a:lnTo>
                      <a:lnTo>
                        <a:pt x="287" y="736"/>
                      </a:lnTo>
                      <a:lnTo>
                        <a:pt x="287" y="736"/>
                      </a:lnTo>
                      <a:lnTo>
                        <a:pt x="288" y="736"/>
                      </a:lnTo>
                      <a:lnTo>
                        <a:pt x="289" y="736"/>
                      </a:lnTo>
                      <a:lnTo>
                        <a:pt x="289" y="736"/>
                      </a:lnTo>
                      <a:lnTo>
                        <a:pt x="290" y="736"/>
                      </a:lnTo>
                      <a:lnTo>
                        <a:pt x="291" y="736"/>
                      </a:lnTo>
                      <a:lnTo>
                        <a:pt x="291" y="736"/>
                      </a:lnTo>
                      <a:lnTo>
                        <a:pt x="292" y="736"/>
                      </a:lnTo>
                      <a:lnTo>
                        <a:pt x="293" y="736"/>
                      </a:lnTo>
                      <a:lnTo>
                        <a:pt x="293" y="736"/>
                      </a:lnTo>
                      <a:lnTo>
                        <a:pt x="294" y="736"/>
                      </a:lnTo>
                      <a:lnTo>
                        <a:pt x="295" y="736"/>
                      </a:lnTo>
                      <a:lnTo>
                        <a:pt x="296" y="736"/>
                      </a:lnTo>
                      <a:lnTo>
                        <a:pt x="296" y="736"/>
                      </a:lnTo>
                      <a:lnTo>
                        <a:pt x="297" y="736"/>
                      </a:lnTo>
                      <a:lnTo>
                        <a:pt x="298" y="736"/>
                      </a:lnTo>
                      <a:lnTo>
                        <a:pt x="298" y="736"/>
                      </a:lnTo>
                      <a:lnTo>
                        <a:pt x="299" y="736"/>
                      </a:lnTo>
                      <a:lnTo>
                        <a:pt x="300" y="736"/>
                      </a:lnTo>
                      <a:lnTo>
                        <a:pt x="300" y="736"/>
                      </a:lnTo>
                      <a:lnTo>
                        <a:pt x="301" y="736"/>
                      </a:lnTo>
                      <a:lnTo>
                        <a:pt x="302" y="736"/>
                      </a:lnTo>
                      <a:lnTo>
                        <a:pt x="302" y="736"/>
                      </a:lnTo>
                      <a:lnTo>
                        <a:pt x="303" y="736"/>
                      </a:lnTo>
                      <a:lnTo>
                        <a:pt x="304" y="736"/>
                      </a:lnTo>
                      <a:lnTo>
                        <a:pt x="304" y="736"/>
                      </a:lnTo>
                      <a:lnTo>
                        <a:pt x="305" y="736"/>
                      </a:lnTo>
                      <a:lnTo>
                        <a:pt x="306" y="736"/>
                      </a:lnTo>
                      <a:lnTo>
                        <a:pt x="306" y="736"/>
                      </a:lnTo>
                      <a:lnTo>
                        <a:pt x="307" y="736"/>
                      </a:lnTo>
                      <a:lnTo>
                        <a:pt x="308" y="736"/>
                      </a:lnTo>
                      <a:lnTo>
                        <a:pt x="308" y="737"/>
                      </a:lnTo>
                      <a:lnTo>
                        <a:pt x="309" y="737"/>
                      </a:lnTo>
                      <a:lnTo>
                        <a:pt x="310" y="737"/>
                      </a:lnTo>
                      <a:lnTo>
                        <a:pt x="310" y="737"/>
                      </a:lnTo>
                      <a:lnTo>
                        <a:pt x="311" y="737"/>
                      </a:lnTo>
                      <a:lnTo>
                        <a:pt x="312" y="737"/>
                      </a:lnTo>
                      <a:lnTo>
                        <a:pt x="312" y="737"/>
                      </a:lnTo>
                      <a:lnTo>
                        <a:pt x="313" y="737"/>
                      </a:lnTo>
                      <a:lnTo>
                        <a:pt x="314" y="737"/>
                      </a:lnTo>
                      <a:lnTo>
                        <a:pt x="315" y="737"/>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7" name="Freeform 73">
                  <a:extLst>
                    <a:ext uri="{FF2B5EF4-FFF2-40B4-BE49-F238E27FC236}">
                      <a16:creationId xmlns:a16="http://schemas.microsoft.com/office/drawing/2014/main" xmlns="" id="{9E1B38EA-35A5-BE0D-D007-03A3919E8CE2}"/>
                    </a:ext>
                  </a:extLst>
                </p:cNvPr>
                <p:cNvSpPr>
                  <a:spLocks/>
                </p:cNvSpPr>
                <p:nvPr/>
              </p:nvSpPr>
              <p:spPr bwMode="auto">
                <a:xfrm>
                  <a:off x="4496" y="2473"/>
                  <a:ext cx="397" cy="305"/>
                </a:xfrm>
                <a:custGeom>
                  <a:avLst/>
                  <a:gdLst>
                    <a:gd name="T0" fmla="*/ 11 w 397"/>
                    <a:gd name="T1" fmla="*/ 0 h 305"/>
                    <a:gd name="T2" fmla="*/ 22 w 397"/>
                    <a:gd name="T3" fmla="*/ 1 h 305"/>
                    <a:gd name="T4" fmla="*/ 33 w 397"/>
                    <a:gd name="T5" fmla="*/ 1 h 305"/>
                    <a:gd name="T6" fmla="*/ 44 w 397"/>
                    <a:gd name="T7" fmla="*/ 1 h 305"/>
                    <a:gd name="T8" fmla="*/ 56 w 397"/>
                    <a:gd name="T9" fmla="*/ 1 h 305"/>
                    <a:gd name="T10" fmla="*/ 82 w 397"/>
                    <a:gd name="T11" fmla="*/ 3 h 305"/>
                    <a:gd name="T12" fmla="*/ 93 w 397"/>
                    <a:gd name="T13" fmla="*/ 4 h 305"/>
                    <a:gd name="T14" fmla="*/ 104 w 397"/>
                    <a:gd name="T15" fmla="*/ 5 h 305"/>
                    <a:gd name="T16" fmla="*/ 115 w 397"/>
                    <a:gd name="T17" fmla="*/ 5 h 305"/>
                    <a:gd name="T18" fmla="*/ 126 w 397"/>
                    <a:gd name="T19" fmla="*/ 6 h 305"/>
                    <a:gd name="T20" fmla="*/ 137 w 397"/>
                    <a:gd name="T21" fmla="*/ 8 h 305"/>
                    <a:gd name="T22" fmla="*/ 149 w 397"/>
                    <a:gd name="T23" fmla="*/ 8 h 305"/>
                    <a:gd name="T24" fmla="*/ 160 w 397"/>
                    <a:gd name="T25" fmla="*/ 9 h 305"/>
                    <a:gd name="T26" fmla="*/ 171 w 397"/>
                    <a:gd name="T27" fmla="*/ 10 h 305"/>
                    <a:gd name="T28" fmla="*/ 183 w 397"/>
                    <a:gd name="T29" fmla="*/ 10 h 305"/>
                    <a:gd name="T30" fmla="*/ 202 w 397"/>
                    <a:gd name="T31" fmla="*/ 11 h 305"/>
                    <a:gd name="T32" fmla="*/ 262 w 397"/>
                    <a:gd name="T33" fmla="*/ 15 h 305"/>
                    <a:gd name="T34" fmla="*/ 274 w 397"/>
                    <a:gd name="T35" fmla="*/ 16 h 305"/>
                    <a:gd name="T36" fmla="*/ 285 w 397"/>
                    <a:gd name="T37" fmla="*/ 16 h 305"/>
                    <a:gd name="T38" fmla="*/ 296 w 397"/>
                    <a:gd name="T39" fmla="*/ 17 h 305"/>
                    <a:gd name="T40" fmla="*/ 307 w 397"/>
                    <a:gd name="T41" fmla="*/ 18 h 305"/>
                    <a:gd name="T42" fmla="*/ 318 w 397"/>
                    <a:gd name="T43" fmla="*/ 18 h 305"/>
                    <a:gd name="T44" fmla="*/ 340 w 397"/>
                    <a:gd name="T45" fmla="*/ 18 h 305"/>
                    <a:gd name="T46" fmla="*/ 350 w 397"/>
                    <a:gd name="T47" fmla="*/ 4 h 305"/>
                    <a:gd name="T48" fmla="*/ 367 w 397"/>
                    <a:gd name="T49" fmla="*/ 7 h 305"/>
                    <a:gd name="T50" fmla="*/ 371 w 397"/>
                    <a:gd name="T51" fmla="*/ 25 h 305"/>
                    <a:gd name="T52" fmla="*/ 363 w 397"/>
                    <a:gd name="T53" fmla="*/ 38 h 305"/>
                    <a:gd name="T54" fmla="*/ 359 w 397"/>
                    <a:gd name="T55" fmla="*/ 43 h 305"/>
                    <a:gd name="T56" fmla="*/ 359 w 397"/>
                    <a:gd name="T57" fmla="*/ 54 h 305"/>
                    <a:gd name="T58" fmla="*/ 360 w 397"/>
                    <a:gd name="T59" fmla="*/ 73 h 305"/>
                    <a:gd name="T60" fmla="*/ 337 w 397"/>
                    <a:gd name="T61" fmla="*/ 90 h 305"/>
                    <a:gd name="T62" fmla="*/ 329 w 397"/>
                    <a:gd name="T63" fmla="*/ 109 h 305"/>
                    <a:gd name="T64" fmla="*/ 327 w 397"/>
                    <a:gd name="T65" fmla="*/ 121 h 305"/>
                    <a:gd name="T66" fmla="*/ 326 w 397"/>
                    <a:gd name="T67" fmla="*/ 132 h 305"/>
                    <a:gd name="T68" fmla="*/ 327 w 397"/>
                    <a:gd name="T69" fmla="*/ 140 h 305"/>
                    <a:gd name="T70" fmla="*/ 328 w 397"/>
                    <a:gd name="T71" fmla="*/ 145 h 305"/>
                    <a:gd name="T72" fmla="*/ 324 w 397"/>
                    <a:gd name="T73" fmla="*/ 152 h 305"/>
                    <a:gd name="T74" fmla="*/ 327 w 397"/>
                    <a:gd name="T75" fmla="*/ 159 h 305"/>
                    <a:gd name="T76" fmla="*/ 328 w 397"/>
                    <a:gd name="T77" fmla="*/ 163 h 305"/>
                    <a:gd name="T78" fmla="*/ 326 w 397"/>
                    <a:gd name="T79" fmla="*/ 170 h 305"/>
                    <a:gd name="T80" fmla="*/ 327 w 397"/>
                    <a:gd name="T81" fmla="*/ 176 h 305"/>
                    <a:gd name="T82" fmla="*/ 323 w 397"/>
                    <a:gd name="T83" fmla="*/ 182 h 305"/>
                    <a:gd name="T84" fmla="*/ 327 w 397"/>
                    <a:gd name="T85" fmla="*/ 187 h 305"/>
                    <a:gd name="T86" fmla="*/ 331 w 397"/>
                    <a:gd name="T87" fmla="*/ 195 h 305"/>
                    <a:gd name="T88" fmla="*/ 336 w 397"/>
                    <a:gd name="T89" fmla="*/ 199 h 305"/>
                    <a:gd name="T90" fmla="*/ 335 w 397"/>
                    <a:gd name="T91" fmla="*/ 207 h 305"/>
                    <a:gd name="T92" fmla="*/ 333 w 397"/>
                    <a:gd name="T93" fmla="*/ 210 h 305"/>
                    <a:gd name="T94" fmla="*/ 336 w 397"/>
                    <a:gd name="T95" fmla="*/ 218 h 305"/>
                    <a:gd name="T96" fmla="*/ 342 w 397"/>
                    <a:gd name="T97" fmla="*/ 235 h 305"/>
                    <a:gd name="T98" fmla="*/ 342 w 397"/>
                    <a:gd name="T99" fmla="*/ 248 h 305"/>
                    <a:gd name="T100" fmla="*/ 350 w 397"/>
                    <a:gd name="T101" fmla="*/ 253 h 305"/>
                    <a:gd name="T102" fmla="*/ 356 w 397"/>
                    <a:gd name="T103" fmla="*/ 262 h 305"/>
                    <a:gd name="T104" fmla="*/ 361 w 397"/>
                    <a:gd name="T105" fmla="*/ 268 h 305"/>
                    <a:gd name="T106" fmla="*/ 366 w 397"/>
                    <a:gd name="T107" fmla="*/ 275 h 305"/>
                    <a:gd name="T108" fmla="*/ 371 w 397"/>
                    <a:gd name="T109" fmla="*/ 279 h 305"/>
                    <a:gd name="T110" fmla="*/ 375 w 397"/>
                    <a:gd name="T111" fmla="*/ 288 h 305"/>
                    <a:gd name="T112" fmla="*/ 379 w 397"/>
                    <a:gd name="T113" fmla="*/ 294 h 305"/>
                    <a:gd name="T114" fmla="*/ 384 w 397"/>
                    <a:gd name="T115" fmla="*/ 296 h 305"/>
                    <a:gd name="T116" fmla="*/ 392 w 397"/>
                    <a:gd name="T117" fmla="*/ 298 h 305"/>
                    <a:gd name="T118" fmla="*/ 394 w 397"/>
                    <a:gd name="T119"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305">
                      <a:moveTo>
                        <a:pt x="0" y="0"/>
                      </a:moveTo>
                      <a:lnTo>
                        <a:pt x="1" y="0"/>
                      </a:lnTo>
                      <a:lnTo>
                        <a:pt x="2" y="0"/>
                      </a:lnTo>
                      <a:lnTo>
                        <a:pt x="2" y="0"/>
                      </a:lnTo>
                      <a:lnTo>
                        <a:pt x="3" y="0"/>
                      </a:lnTo>
                      <a:lnTo>
                        <a:pt x="4" y="0"/>
                      </a:lnTo>
                      <a:lnTo>
                        <a:pt x="4" y="0"/>
                      </a:lnTo>
                      <a:lnTo>
                        <a:pt x="5" y="0"/>
                      </a:lnTo>
                      <a:lnTo>
                        <a:pt x="6" y="0"/>
                      </a:lnTo>
                      <a:lnTo>
                        <a:pt x="6" y="0"/>
                      </a:lnTo>
                      <a:lnTo>
                        <a:pt x="7" y="0"/>
                      </a:lnTo>
                      <a:lnTo>
                        <a:pt x="8" y="0"/>
                      </a:lnTo>
                      <a:lnTo>
                        <a:pt x="8" y="0"/>
                      </a:lnTo>
                      <a:lnTo>
                        <a:pt x="9" y="0"/>
                      </a:lnTo>
                      <a:lnTo>
                        <a:pt x="10" y="0"/>
                      </a:lnTo>
                      <a:lnTo>
                        <a:pt x="10" y="0"/>
                      </a:lnTo>
                      <a:lnTo>
                        <a:pt x="11" y="0"/>
                      </a:lnTo>
                      <a:lnTo>
                        <a:pt x="12" y="0"/>
                      </a:lnTo>
                      <a:lnTo>
                        <a:pt x="12" y="0"/>
                      </a:lnTo>
                      <a:lnTo>
                        <a:pt x="13" y="0"/>
                      </a:lnTo>
                      <a:lnTo>
                        <a:pt x="14" y="0"/>
                      </a:lnTo>
                      <a:lnTo>
                        <a:pt x="14" y="0"/>
                      </a:lnTo>
                      <a:lnTo>
                        <a:pt x="15" y="0"/>
                      </a:lnTo>
                      <a:lnTo>
                        <a:pt x="16" y="0"/>
                      </a:lnTo>
                      <a:lnTo>
                        <a:pt x="16" y="1"/>
                      </a:lnTo>
                      <a:lnTo>
                        <a:pt x="16" y="1"/>
                      </a:lnTo>
                      <a:lnTo>
                        <a:pt x="17" y="1"/>
                      </a:lnTo>
                      <a:lnTo>
                        <a:pt x="18" y="1"/>
                      </a:lnTo>
                      <a:lnTo>
                        <a:pt x="19" y="1"/>
                      </a:lnTo>
                      <a:lnTo>
                        <a:pt x="19" y="1"/>
                      </a:lnTo>
                      <a:lnTo>
                        <a:pt x="20" y="1"/>
                      </a:lnTo>
                      <a:lnTo>
                        <a:pt x="21" y="1"/>
                      </a:lnTo>
                      <a:lnTo>
                        <a:pt x="21" y="1"/>
                      </a:lnTo>
                      <a:lnTo>
                        <a:pt x="22" y="1"/>
                      </a:lnTo>
                      <a:lnTo>
                        <a:pt x="23" y="1"/>
                      </a:lnTo>
                      <a:lnTo>
                        <a:pt x="23" y="1"/>
                      </a:lnTo>
                      <a:lnTo>
                        <a:pt x="24" y="1"/>
                      </a:lnTo>
                      <a:lnTo>
                        <a:pt x="25" y="1"/>
                      </a:lnTo>
                      <a:lnTo>
                        <a:pt x="25" y="1"/>
                      </a:lnTo>
                      <a:lnTo>
                        <a:pt x="26" y="1"/>
                      </a:lnTo>
                      <a:lnTo>
                        <a:pt x="27" y="1"/>
                      </a:lnTo>
                      <a:lnTo>
                        <a:pt x="27" y="1"/>
                      </a:lnTo>
                      <a:lnTo>
                        <a:pt x="28" y="1"/>
                      </a:lnTo>
                      <a:lnTo>
                        <a:pt x="29" y="1"/>
                      </a:lnTo>
                      <a:lnTo>
                        <a:pt x="29" y="1"/>
                      </a:lnTo>
                      <a:lnTo>
                        <a:pt x="30" y="1"/>
                      </a:lnTo>
                      <a:lnTo>
                        <a:pt x="31" y="1"/>
                      </a:lnTo>
                      <a:lnTo>
                        <a:pt x="31" y="1"/>
                      </a:lnTo>
                      <a:lnTo>
                        <a:pt x="32" y="1"/>
                      </a:lnTo>
                      <a:lnTo>
                        <a:pt x="33" y="1"/>
                      </a:lnTo>
                      <a:lnTo>
                        <a:pt x="33" y="1"/>
                      </a:lnTo>
                      <a:lnTo>
                        <a:pt x="34" y="1"/>
                      </a:lnTo>
                      <a:lnTo>
                        <a:pt x="35" y="1"/>
                      </a:lnTo>
                      <a:lnTo>
                        <a:pt x="35" y="1"/>
                      </a:lnTo>
                      <a:lnTo>
                        <a:pt x="35" y="1"/>
                      </a:lnTo>
                      <a:lnTo>
                        <a:pt x="36" y="1"/>
                      </a:lnTo>
                      <a:lnTo>
                        <a:pt x="37" y="1"/>
                      </a:lnTo>
                      <a:lnTo>
                        <a:pt x="38" y="1"/>
                      </a:lnTo>
                      <a:lnTo>
                        <a:pt x="38" y="1"/>
                      </a:lnTo>
                      <a:lnTo>
                        <a:pt x="39" y="1"/>
                      </a:lnTo>
                      <a:lnTo>
                        <a:pt x="40" y="1"/>
                      </a:lnTo>
                      <a:lnTo>
                        <a:pt x="40" y="1"/>
                      </a:lnTo>
                      <a:lnTo>
                        <a:pt x="41" y="1"/>
                      </a:lnTo>
                      <a:lnTo>
                        <a:pt x="42" y="1"/>
                      </a:lnTo>
                      <a:lnTo>
                        <a:pt x="42" y="1"/>
                      </a:lnTo>
                      <a:lnTo>
                        <a:pt x="43" y="1"/>
                      </a:lnTo>
                      <a:lnTo>
                        <a:pt x="44" y="1"/>
                      </a:lnTo>
                      <a:lnTo>
                        <a:pt x="44" y="1"/>
                      </a:lnTo>
                      <a:lnTo>
                        <a:pt x="45" y="1"/>
                      </a:lnTo>
                      <a:lnTo>
                        <a:pt x="46" y="1"/>
                      </a:lnTo>
                      <a:lnTo>
                        <a:pt x="46" y="1"/>
                      </a:lnTo>
                      <a:lnTo>
                        <a:pt x="47" y="1"/>
                      </a:lnTo>
                      <a:lnTo>
                        <a:pt x="48" y="1"/>
                      </a:lnTo>
                      <a:lnTo>
                        <a:pt x="48" y="1"/>
                      </a:lnTo>
                      <a:lnTo>
                        <a:pt x="49" y="1"/>
                      </a:lnTo>
                      <a:lnTo>
                        <a:pt x="50" y="1"/>
                      </a:lnTo>
                      <a:lnTo>
                        <a:pt x="50" y="1"/>
                      </a:lnTo>
                      <a:lnTo>
                        <a:pt x="51" y="1"/>
                      </a:lnTo>
                      <a:lnTo>
                        <a:pt x="52" y="1"/>
                      </a:lnTo>
                      <a:lnTo>
                        <a:pt x="52" y="1"/>
                      </a:lnTo>
                      <a:lnTo>
                        <a:pt x="53" y="1"/>
                      </a:lnTo>
                      <a:lnTo>
                        <a:pt x="54" y="1"/>
                      </a:lnTo>
                      <a:lnTo>
                        <a:pt x="54" y="1"/>
                      </a:lnTo>
                      <a:lnTo>
                        <a:pt x="55" y="1"/>
                      </a:lnTo>
                      <a:lnTo>
                        <a:pt x="56" y="1"/>
                      </a:lnTo>
                      <a:lnTo>
                        <a:pt x="67" y="3"/>
                      </a:lnTo>
                      <a:lnTo>
                        <a:pt x="67" y="3"/>
                      </a:lnTo>
                      <a:lnTo>
                        <a:pt x="68" y="3"/>
                      </a:lnTo>
                      <a:lnTo>
                        <a:pt x="69" y="3"/>
                      </a:lnTo>
                      <a:lnTo>
                        <a:pt x="69" y="3"/>
                      </a:lnTo>
                      <a:lnTo>
                        <a:pt x="70" y="3"/>
                      </a:lnTo>
                      <a:lnTo>
                        <a:pt x="71" y="3"/>
                      </a:lnTo>
                      <a:lnTo>
                        <a:pt x="73" y="3"/>
                      </a:lnTo>
                      <a:lnTo>
                        <a:pt x="75" y="3"/>
                      </a:lnTo>
                      <a:lnTo>
                        <a:pt x="76" y="3"/>
                      </a:lnTo>
                      <a:lnTo>
                        <a:pt x="78" y="3"/>
                      </a:lnTo>
                      <a:lnTo>
                        <a:pt x="79" y="3"/>
                      </a:lnTo>
                      <a:lnTo>
                        <a:pt x="80" y="3"/>
                      </a:lnTo>
                      <a:lnTo>
                        <a:pt x="80" y="3"/>
                      </a:lnTo>
                      <a:lnTo>
                        <a:pt x="81" y="3"/>
                      </a:lnTo>
                      <a:lnTo>
                        <a:pt x="82" y="3"/>
                      </a:lnTo>
                      <a:lnTo>
                        <a:pt x="82" y="3"/>
                      </a:lnTo>
                      <a:lnTo>
                        <a:pt x="83" y="3"/>
                      </a:lnTo>
                      <a:lnTo>
                        <a:pt x="84" y="3"/>
                      </a:lnTo>
                      <a:lnTo>
                        <a:pt x="84" y="3"/>
                      </a:lnTo>
                      <a:lnTo>
                        <a:pt x="85" y="3"/>
                      </a:lnTo>
                      <a:lnTo>
                        <a:pt x="85" y="4"/>
                      </a:lnTo>
                      <a:lnTo>
                        <a:pt x="86" y="4"/>
                      </a:lnTo>
                      <a:lnTo>
                        <a:pt x="86" y="4"/>
                      </a:lnTo>
                      <a:lnTo>
                        <a:pt x="87" y="4"/>
                      </a:lnTo>
                      <a:lnTo>
                        <a:pt x="88" y="4"/>
                      </a:lnTo>
                      <a:lnTo>
                        <a:pt x="88" y="4"/>
                      </a:lnTo>
                      <a:lnTo>
                        <a:pt x="89" y="4"/>
                      </a:lnTo>
                      <a:lnTo>
                        <a:pt x="90" y="4"/>
                      </a:lnTo>
                      <a:lnTo>
                        <a:pt x="90" y="4"/>
                      </a:lnTo>
                      <a:lnTo>
                        <a:pt x="91" y="4"/>
                      </a:lnTo>
                      <a:lnTo>
                        <a:pt x="92" y="4"/>
                      </a:lnTo>
                      <a:lnTo>
                        <a:pt x="92" y="4"/>
                      </a:lnTo>
                      <a:lnTo>
                        <a:pt x="93" y="4"/>
                      </a:lnTo>
                      <a:lnTo>
                        <a:pt x="94" y="4"/>
                      </a:lnTo>
                      <a:lnTo>
                        <a:pt x="95" y="4"/>
                      </a:lnTo>
                      <a:lnTo>
                        <a:pt x="95" y="4"/>
                      </a:lnTo>
                      <a:lnTo>
                        <a:pt x="96" y="4"/>
                      </a:lnTo>
                      <a:lnTo>
                        <a:pt x="96" y="5"/>
                      </a:lnTo>
                      <a:lnTo>
                        <a:pt x="97" y="5"/>
                      </a:lnTo>
                      <a:lnTo>
                        <a:pt x="97" y="5"/>
                      </a:lnTo>
                      <a:lnTo>
                        <a:pt x="98" y="5"/>
                      </a:lnTo>
                      <a:lnTo>
                        <a:pt x="99" y="5"/>
                      </a:lnTo>
                      <a:lnTo>
                        <a:pt x="99" y="5"/>
                      </a:lnTo>
                      <a:lnTo>
                        <a:pt x="100" y="5"/>
                      </a:lnTo>
                      <a:lnTo>
                        <a:pt x="101" y="5"/>
                      </a:lnTo>
                      <a:lnTo>
                        <a:pt x="101" y="5"/>
                      </a:lnTo>
                      <a:lnTo>
                        <a:pt x="102" y="5"/>
                      </a:lnTo>
                      <a:lnTo>
                        <a:pt x="103" y="5"/>
                      </a:lnTo>
                      <a:lnTo>
                        <a:pt x="103" y="5"/>
                      </a:lnTo>
                      <a:lnTo>
                        <a:pt x="104" y="5"/>
                      </a:lnTo>
                      <a:lnTo>
                        <a:pt x="105" y="5"/>
                      </a:lnTo>
                      <a:lnTo>
                        <a:pt x="105" y="5"/>
                      </a:lnTo>
                      <a:lnTo>
                        <a:pt x="106" y="5"/>
                      </a:lnTo>
                      <a:lnTo>
                        <a:pt x="107" y="5"/>
                      </a:lnTo>
                      <a:lnTo>
                        <a:pt x="107" y="5"/>
                      </a:lnTo>
                      <a:lnTo>
                        <a:pt x="107" y="5"/>
                      </a:lnTo>
                      <a:lnTo>
                        <a:pt x="108" y="5"/>
                      </a:lnTo>
                      <a:lnTo>
                        <a:pt x="109" y="5"/>
                      </a:lnTo>
                      <a:lnTo>
                        <a:pt x="109" y="5"/>
                      </a:lnTo>
                      <a:lnTo>
                        <a:pt x="110" y="5"/>
                      </a:lnTo>
                      <a:lnTo>
                        <a:pt x="111" y="5"/>
                      </a:lnTo>
                      <a:lnTo>
                        <a:pt x="111" y="5"/>
                      </a:lnTo>
                      <a:lnTo>
                        <a:pt x="112" y="5"/>
                      </a:lnTo>
                      <a:lnTo>
                        <a:pt x="113" y="5"/>
                      </a:lnTo>
                      <a:lnTo>
                        <a:pt x="114" y="5"/>
                      </a:lnTo>
                      <a:lnTo>
                        <a:pt x="114" y="5"/>
                      </a:lnTo>
                      <a:lnTo>
                        <a:pt x="115" y="5"/>
                      </a:lnTo>
                      <a:lnTo>
                        <a:pt x="116" y="5"/>
                      </a:lnTo>
                      <a:lnTo>
                        <a:pt x="116" y="5"/>
                      </a:lnTo>
                      <a:lnTo>
                        <a:pt x="117" y="5"/>
                      </a:lnTo>
                      <a:lnTo>
                        <a:pt x="118" y="6"/>
                      </a:lnTo>
                      <a:lnTo>
                        <a:pt x="118" y="6"/>
                      </a:lnTo>
                      <a:lnTo>
                        <a:pt x="119" y="6"/>
                      </a:lnTo>
                      <a:lnTo>
                        <a:pt x="120" y="6"/>
                      </a:lnTo>
                      <a:lnTo>
                        <a:pt x="120" y="6"/>
                      </a:lnTo>
                      <a:lnTo>
                        <a:pt x="121" y="6"/>
                      </a:lnTo>
                      <a:lnTo>
                        <a:pt x="122" y="6"/>
                      </a:lnTo>
                      <a:lnTo>
                        <a:pt x="122" y="6"/>
                      </a:lnTo>
                      <a:lnTo>
                        <a:pt x="123" y="6"/>
                      </a:lnTo>
                      <a:lnTo>
                        <a:pt x="124" y="6"/>
                      </a:lnTo>
                      <a:lnTo>
                        <a:pt x="124" y="6"/>
                      </a:lnTo>
                      <a:lnTo>
                        <a:pt x="125" y="6"/>
                      </a:lnTo>
                      <a:lnTo>
                        <a:pt x="126" y="6"/>
                      </a:lnTo>
                      <a:lnTo>
                        <a:pt x="126" y="6"/>
                      </a:lnTo>
                      <a:lnTo>
                        <a:pt x="127" y="6"/>
                      </a:lnTo>
                      <a:lnTo>
                        <a:pt x="128" y="6"/>
                      </a:lnTo>
                      <a:lnTo>
                        <a:pt x="128" y="7"/>
                      </a:lnTo>
                      <a:lnTo>
                        <a:pt x="129" y="7"/>
                      </a:lnTo>
                      <a:lnTo>
                        <a:pt x="130" y="7"/>
                      </a:lnTo>
                      <a:lnTo>
                        <a:pt x="130" y="7"/>
                      </a:lnTo>
                      <a:lnTo>
                        <a:pt x="131" y="7"/>
                      </a:lnTo>
                      <a:lnTo>
                        <a:pt x="132" y="7"/>
                      </a:lnTo>
                      <a:lnTo>
                        <a:pt x="133" y="7"/>
                      </a:lnTo>
                      <a:lnTo>
                        <a:pt x="133" y="7"/>
                      </a:lnTo>
                      <a:lnTo>
                        <a:pt x="134" y="7"/>
                      </a:lnTo>
                      <a:lnTo>
                        <a:pt x="135" y="7"/>
                      </a:lnTo>
                      <a:lnTo>
                        <a:pt x="135" y="7"/>
                      </a:lnTo>
                      <a:lnTo>
                        <a:pt x="135" y="8"/>
                      </a:lnTo>
                      <a:lnTo>
                        <a:pt x="136" y="8"/>
                      </a:lnTo>
                      <a:lnTo>
                        <a:pt x="137" y="8"/>
                      </a:lnTo>
                      <a:lnTo>
                        <a:pt x="137" y="8"/>
                      </a:lnTo>
                      <a:lnTo>
                        <a:pt x="138" y="8"/>
                      </a:lnTo>
                      <a:lnTo>
                        <a:pt x="139" y="8"/>
                      </a:lnTo>
                      <a:lnTo>
                        <a:pt x="139" y="8"/>
                      </a:lnTo>
                      <a:lnTo>
                        <a:pt x="140" y="8"/>
                      </a:lnTo>
                      <a:lnTo>
                        <a:pt x="141" y="8"/>
                      </a:lnTo>
                      <a:lnTo>
                        <a:pt x="141" y="8"/>
                      </a:lnTo>
                      <a:lnTo>
                        <a:pt x="142" y="8"/>
                      </a:lnTo>
                      <a:lnTo>
                        <a:pt x="143" y="8"/>
                      </a:lnTo>
                      <a:lnTo>
                        <a:pt x="143" y="8"/>
                      </a:lnTo>
                      <a:lnTo>
                        <a:pt x="144" y="8"/>
                      </a:lnTo>
                      <a:lnTo>
                        <a:pt x="145" y="8"/>
                      </a:lnTo>
                      <a:lnTo>
                        <a:pt x="145" y="8"/>
                      </a:lnTo>
                      <a:lnTo>
                        <a:pt x="146" y="8"/>
                      </a:lnTo>
                      <a:lnTo>
                        <a:pt x="147" y="8"/>
                      </a:lnTo>
                      <a:lnTo>
                        <a:pt x="147" y="8"/>
                      </a:lnTo>
                      <a:lnTo>
                        <a:pt x="148" y="8"/>
                      </a:lnTo>
                      <a:lnTo>
                        <a:pt x="149" y="8"/>
                      </a:lnTo>
                      <a:lnTo>
                        <a:pt x="149" y="8"/>
                      </a:lnTo>
                      <a:lnTo>
                        <a:pt x="150" y="8"/>
                      </a:lnTo>
                      <a:lnTo>
                        <a:pt x="151" y="8"/>
                      </a:lnTo>
                      <a:lnTo>
                        <a:pt x="152" y="8"/>
                      </a:lnTo>
                      <a:lnTo>
                        <a:pt x="152" y="8"/>
                      </a:lnTo>
                      <a:lnTo>
                        <a:pt x="153" y="8"/>
                      </a:lnTo>
                      <a:lnTo>
                        <a:pt x="154" y="8"/>
                      </a:lnTo>
                      <a:lnTo>
                        <a:pt x="154" y="8"/>
                      </a:lnTo>
                      <a:lnTo>
                        <a:pt x="155" y="8"/>
                      </a:lnTo>
                      <a:lnTo>
                        <a:pt x="156" y="8"/>
                      </a:lnTo>
                      <a:lnTo>
                        <a:pt x="156" y="9"/>
                      </a:lnTo>
                      <a:lnTo>
                        <a:pt x="156" y="9"/>
                      </a:lnTo>
                      <a:lnTo>
                        <a:pt x="157" y="9"/>
                      </a:lnTo>
                      <a:lnTo>
                        <a:pt x="158" y="9"/>
                      </a:lnTo>
                      <a:lnTo>
                        <a:pt x="158" y="9"/>
                      </a:lnTo>
                      <a:lnTo>
                        <a:pt x="159" y="9"/>
                      </a:lnTo>
                      <a:lnTo>
                        <a:pt x="160" y="9"/>
                      </a:lnTo>
                      <a:lnTo>
                        <a:pt x="160" y="9"/>
                      </a:lnTo>
                      <a:lnTo>
                        <a:pt x="161" y="9"/>
                      </a:lnTo>
                      <a:lnTo>
                        <a:pt x="162" y="9"/>
                      </a:lnTo>
                      <a:lnTo>
                        <a:pt x="162" y="9"/>
                      </a:lnTo>
                      <a:lnTo>
                        <a:pt x="163" y="9"/>
                      </a:lnTo>
                      <a:lnTo>
                        <a:pt x="164" y="9"/>
                      </a:lnTo>
                      <a:lnTo>
                        <a:pt x="164" y="9"/>
                      </a:lnTo>
                      <a:lnTo>
                        <a:pt x="165" y="9"/>
                      </a:lnTo>
                      <a:lnTo>
                        <a:pt x="166" y="9"/>
                      </a:lnTo>
                      <a:lnTo>
                        <a:pt x="166" y="9"/>
                      </a:lnTo>
                      <a:lnTo>
                        <a:pt x="167" y="9"/>
                      </a:lnTo>
                      <a:lnTo>
                        <a:pt x="167" y="10"/>
                      </a:lnTo>
                      <a:lnTo>
                        <a:pt x="168" y="10"/>
                      </a:lnTo>
                      <a:lnTo>
                        <a:pt x="168" y="10"/>
                      </a:lnTo>
                      <a:lnTo>
                        <a:pt x="169" y="10"/>
                      </a:lnTo>
                      <a:lnTo>
                        <a:pt x="170" y="10"/>
                      </a:lnTo>
                      <a:lnTo>
                        <a:pt x="171" y="10"/>
                      </a:lnTo>
                      <a:lnTo>
                        <a:pt x="171" y="10"/>
                      </a:lnTo>
                      <a:lnTo>
                        <a:pt x="172" y="10"/>
                      </a:lnTo>
                      <a:lnTo>
                        <a:pt x="173" y="10"/>
                      </a:lnTo>
                      <a:lnTo>
                        <a:pt x="174" y="10"/>
                      </a:lnTo>
                      <a:lnTo>
                        <a:pt x="175" y="10"/>
                      </a:lnTo>
                      <a:lnTo>
                        <a:pt x="175" y="10"/>
                      </a:lnTo>
                      <a:lnTo>
                        <a:pt x="176" y="10"/>
                      </a:lnTo>
                      <a:lnTo>
                        <a:pt x="177" y="10"/>
                      </a:lnTo>
                      <a:lnTo>
                        <a:pt x="177" y="10"/>
                      </a:lnTo>
                      <a:lnTo>
                        <a:pt x="178" y="10"/>
                      </a:lnTo>
                      <a:lnTo>
                        <a:pt x="179" y="10"/>
                      </a:lnTo>
                      <a:lnTo>
                        <a:pt x="179" y="10"/>
                      </a:lnTo>
                      <a:lnTo>
                        <a:pt x="180" y="10"/>
                      </a:lnTo>
                      <a:lnTo>
                        <a:pt x="181" y="10"/>
                      </a:lnTo>
                      <a:lnTo>
                        <a:pt x="181" y="10"/>
                      </a:lnTo>
                      <a:lnTo>
                        <a:pt x="182" y="10"/>
                      </a:lnTo>
                      <a:lnTo>
                        <a:pt x="183" y="10"/>
                      </a:lnTo>
                      <a:lnTo>
                        <a:pt x="183" y="10"/>
                      </a:lnTo>
                      <a:lnTo>
                        <a:pt x="184" y="10"/>
                      </a:lnTo>
                      <a:lnTo>
                        <a:pt x="185" y="10"/>
                      </a:lnTo>
                      <a:lnTo>
                        <a:pt x="185" y="10"/>
                      </a:lnTo>
                      <a:lnTo>
                        <a:pt x="186" y="10"/>
                      </a:lnTo>
                      <a:lnTo>
                        <a:pt x="187" y="10"/>
                      </a:lnTo>
                      <a:lnTo>
                        <a:pt x="187" y="10"/>
                      </a:lnTo>
                      <a:lnTo>
                        <a:pt x="188" y="10"/>
                      </a:lnTo>
                      <a:lnTo>
                        <a:pt x="189" y="10"/>
                      </a:lnTo>
                      <a:lnTo>
                        <a:pt x="190" y="10"/>
                      </a:lnTo>
                      <a:lnTo>
                        <a:pt x="190" y="10"/>
                      </a:lnTo>
                      <a:lnTo>
                        <a:pt x="191" y="11"/>
                      </a:lnTo>
                      <a:lnTo>
                        <a:pt x="192" y="11"/>
                      </a:lnTo>
                      <a:lnTo>
                        <a:pt x="192" y="11"/>
                      </a:lnTo>
                      <a:lnTo>
                        <a:pt x="193" y="11"/>
                      </a:lnTo>
                      <a:lnTo>
                        <a:pt x="193" y="10"/>
                      </a:lnTo>
                      <a:lnTo>
                        <a:pt x="202" y="11"/>
                      </a:lnTo>
                      <a:lnTo>
                        <a:pt x="210" y="12"/>
                      </a:lnTo>
                      <a:lnTo>
                        <a:pt x="217" y="12"/>
                      </a:lnTo>
                      <a:lnTo>
                        <a:pt x="237" y="13"/>
                      </a:lnTo>
                      <a:lnTo>
                        <a:pt x="242" y="14"/>
                      </a:lnTo>
                      <a:lnTo>
                        <a:pt x="249" y="14"/>
                      </a:lnTo>
                      <a:lnTo>
                        <a:pt x="251" y="14"/>
                      </a:lnTo>
                      <a:lnTo>
                        <a:pt x="251" y="14"/>
                      </a:lnTo>
                      <a:lnTo>
                        <a:pt x="257" y="14"/>
                      </a:lnTo>
                      <a:lnTo>
                        <a:pt x="257" y="14"/>
                      </a:lnTo>
                      <a:lnTo>
                        <a:pt x="258" y="14"/>
                      </a:lnTo>
                      <a:lnTo>
                        <a:pt x="258" y="15"/>
                      </a:lnTo>
                      <a:lnTo>
                        <a:pt x="259" y="15"/>
                      </a:lnTo>
                      <a:lnTo>
                        <a:pt x="259" y="15"/>
                      </a:lnTo>
                      <a:lnTo>
                        <a:pt x="260" y="15"/>
                      </a:lnTo>
                      <a:lnTo>
                        <a:pt x="261" y="15"/>
                      </a:lnTo>
                      <a:lnTo>
                        <a:pt x="261" y="15"/>
                      </a:lnTo>
                      <a:lnTo>
                        <a:pt x="262" y="15"/>
                      </a:lnTo>
                      <a:lnTo>
                        <a:pt x="263" y="15"/>
                      </a:lnTo>
                      <a:lnTo>
                        <a:pt x="264" y="15"/>
                      </a:lnTo>
                      <a:lnTo>
                        <a:pt x="264" y="15"/>
                      </a:lnTo>
                      <a:lnTo>
                        <a:pt x="265" y="15"/>
                      </a:lnTo>
                      <a:lnTo>
                        <a:pt x="266" y="15"/>
                      </a:lnTo>
                      <a:lnTo>
                        <a:pt x="266" y="15"/>
                      </a:lnTo>
                      <a:lnTo>
                        <a:pt x="267" y="15"/>
                      </a:lnTo>
                      <a:lnTo>
                        <a:pt x="268" y="15"/>
                      </a:lnTo>
                      <a:lnTo>
                        <a:pt x="268" y="15"/>
                      </a:lnTo>
                      <a:lnTo>
                        <a:pt x="269" y="16"/>
                      </a:lnTo>
                      <a:lnTo>
                        <a:pt x="270" y="16"/>
                      </a:lnTo>
                      <a:lnTo>
                        <a:pt x="270" y="16"/>
                      </a:lnTo>
                      <a:lnTo>
                        <a:pt x="271" y="16"/>
                      </a:lnTo>
                      <a:lnTo>
                        <a:pt x="272" y="16"/>
                      </a:lnTo>
                      <a:lnTo>
                        <a:pt x="272" y="16"/>
                      </a:lnTo>
                      <a:lnTo>
                        <a:pt x="273" y="16"/>
                      </a:lnTo>
                      <a:lnTo>
                        <a:pt x="274" y="16"/>
                      </a:lnTo>
                      <a:lnTo>
                        <a:pt x="274" y="16"/>
                      </a:lnTo>
                      <a:lnTo>
                        <a:pt x="275" y="16"/>
                      </a:lnTo>
                      <a:lnTo>
                        <a:pt x="276" y="16"/>
                      </a:lnTo>
                      <a:lnTo>
                        <a:pt x="276" y="16"/>
                      </a:lnTo>
                      <a:lnTo>
                        <a:pt x="277" y="16"/>
                      </a:lnTo>
                      <a:lnTo>
                        <a:pt x="278" y="16"/>
                      </a:lnTo>
                      <a:lnTo>
                        <a:pt x="278" y="16"/>
                      </a:lnTo>
                      <a:lnTo>
                        <a:pt x="279" y="16"/>
                      </a:lnTo>
                      <a:lnTo>
                        <a:pt x="279" y="16"/>
                      </a:lnTo>
                      <a:lnTo>
                        <a:pt x="280" y="16"/>
                      </a:lnTo>
                      <a:lnTo>
                        <a:pt x="280" y="16"/>
                      </a:lnTo>
                      <a:lnTo>
                        <a:pt x="281" y="16"/>
                      </a:lnTo>
                      <a:lnTo>
                        <a:pt x="282" y="16"/>
                      </a:lnTo>
                      <a:lnTo>
                        <a:pt x="283" y="16"/>
                      </a:lnTo>
                      <a:lnTo>
                        <a:pt x="283" y="16"/>
                      </a:lnTo>
                      <a:lnTo>
                        <a:pt x="284" y="16"/>
                      </a:lnTo>
                      <a:lnTo>
                        <a:pt x="285" y="16"/>
                      </a:lnTo>
                      <a:lnTo>
                        <a:pt x="285" y="16"/>
                      </a:lnTo>
                      <a:lnTo>
                        <a:pt x="286" y="16"/>
                      </a:lnTo>
                      <a:lnTo>
                        <a:pt x="287" y="16"/>
                      </a:lnTo>
                      <a:lnTo>
                        <a:pt x="287" y="16"/>
                      </a:lnTo>
                      <a:lnTo>
                        <a:pt x="288" y="16"/>
                      </a:lnTo>
                      <a:lnTo>
                        <a:pt x="289" y="16"/>
                      </a:lnTo>
                      <a:lnTo>
                        <a:pt x="289" y="16"/>
                      </a:lnTo>
                      <a:lnTo>
                        <a:pt x="290" y="17"/>
                      </a:lnTo>
                      <a:lnTo>
                        <a:pt x="291" y="17"/>
                      </a:lnTo>
                      <a:lnTo>
                        <a:pt x="291" y="17"/>
                      </a:lnTo>
                      <a:lnTo>
                        <a:pt x="292" y="17"/>
                      </a:lnTo>
                      <a:lnTo>
                        <a:pt x="293" y="17"/>
                      </a:lnTo>
                      <a:lnTo>
                        <a:pt x="293" y="17"/>
                      </a:lnTo>
                      <a:lnTo>
                        <a:pt x="294" y="17"/>
                      </a:lnTo>
                      <a:lnTo>
                        <a:pt x="295" y="17"/>
                      </a:lnTo>
                      <a:lnTo>
                        <a:pt x="295" y="17"/>
                      </a:lnTo>
                      <a:lnTo>
                        <a:pt x="296" y="17"/>
                      </a:lnTo>
                      <a:lnTo>
                        <a:pt x="297" y="17"/>
                      </a:lnTo>
                      <a:lnTo>
                        <a:pt x="297" y="17"/>
                      </a:lnTo>
                      <a:lnTo>
                        <a:pt x="298" y="17"/>
                      </a:lnTo>
                      <a:lnTo>
                        <a:pt x="299" y="17"/>
                      </a:lnTo>
                      <a:lnTo>
                        <a:pt x="299" y="17"/>
                      </a:lnTo>
                      <a:lnTo>
                        <a:pt x="300" y="17"/>
                      </a:lnTo>
                      <a:lnTo>
                        <a:pt x="301" y="17"/>
                      </a:lnTo>
                      <a:lnTo>
                        <a:pt x="302" y="17"/>
                      </a:lnTo>
                      <a:lnTo>
                        <a:pt x="302" y="17"/>
                      </a:lnTo>
                      <a:lnTo>
                        <a:pt x="302" y="18"/>
                      </a:lnTo>
                      <a:lnTo>
                        <a:pt x="303" y="18"/>
                      </a:lnTo>
                      <a:lnTo>
                        <a:pt x="304" y="18"/>
                      </a:lnTo>
                      <a:lnTo>
                        <a:pt x="304" y="18"/>
                      </a:lnTo>
                      <a:lnTo>
                        <a:pt x="305" y="18"/>
                      </a:lnTo>
                      <a:lnTo>
                        <a:pt x="306" y="18"/>
                      </a:lnTo>
                      <a:lnTo>
                        <a:pt x="306" y="18"/>
                      </a:lnTo>
                      <a:lnTo>
                        <a:pt x="307" y="18"/>
                      </a:lnTo>
                      <a:lnTo>
                        <a:pt x="308" y="18"/>
                      </a:lnTo>
                      <a:lnTo>
                        <a:pt x="308" y="18"/>
                      </a:lnTo>
                      <a:lnTo>
                        <a:pt x="309" y="18"/>
                      </a:lnTo>
                      <a:lnTo>
                        <a:pt x="310" y="18"/>
                      </a:lnTo>
                      <a:lnTo>
                        <a:pt x="310" y="18"/>
                      </a:lnTo>
                      <a:lnTo>
                        <a:pt x="311" y="18"/>
                      </a:lnTo>
                      <a:lnTo>
                        <a:pt x="312" y="18"/>
                      </a:lnTo>
                      <a:lnTo>
                        <a:pt x="312" y="18"/>
                      </a:lnTo>
                      <a:lnTo>
                        <a:pt x="313" y="18"/>
                      </a:lnTo>
                      <a:lnTo>
                        <a:pt x="314" y="18"/>
                      </a:lnTo>
                      <a:lnTo>
                        <a:pt x="314" y="18"/>
                      </a:lnTo>
                      <a:lnTo>
                        <a:pt x="314" y="18"/>
                      </a:lnTo>
                      <a:lnTo>
                        <a:pt x="315" y="18"/>
                      </a:lnTo>
                      <a:lnTo>
                        <a:pt x="316" y="18"/>
                      </a:lnTo>
                      <a:lnTo>
                        <a:pt x="316" y="18"/>
                      </a:lnTo>
                      <a:lnTo>
                        <a:pt x="317" y="18"/>
                      </a:lnTo>
                      <a:lnTo>
                        <a:pt x="318" y="18"/>
                      </a:lnTo>
                      <a:lnTo>
                        <a:pt x="318" y="18"/>
                      </a:lnTo>
                      <a:lnTo>
                        <a:pt x="319" y="18"/>
                      </a:lnTo>
                      <a:lnTo>
                        <a:pt x="320" y="18"/>
                      </a:lnTo>
                      <a:lnTo>
                        <a:pt x="321" y="18"/>
                      </a:lnTo>
                      <a:lnTo>
                        <a:pt x="321" y="18"/>
                      </a:lnTo>
                      <a:lnTo>
                        <a:pt x="322" y="18"/>
                      </a:lnTo>
                      <a:lnTo>
                        <a:pt x="324" y="19"/>
                      </a:lnTo>
                      <a:lnTo>
                        <a:pt x="325" y="19"/>
                      </a:lnTo>
                      <a:lnTo>
                        <a:pt x="327" y="19"/>
                      </a:lnTo>
                      <a:lnTo>
                        <a:pt x="329" y="19"/>
                      </a:lnTo>
                      <a:lnTo>
                        <a:pt x="331" y="19"/>
                      </a:lnTo>
                      <a:lnTo>
                        <a:pt x="333" y="19"/>
                      </a:lnTo>
                      <a:lnTo>
                        <a:pt x="335" y="20"/>
                      </a:lnTo>
                      <a:lnTo>
                        <a:pt x="337" y="20"/>
                      </a:lnTo>
                      <a:lnTo>
                        <a:pt x="339" y="20"/>
                      </a:lnTo>
                      <a:lnTo>
                        <a:pt x="340" y="19"/>
                      </a:lnTo>
                      <a:lnTo>
                        <a:pt x="340" y="18"/>
                      </a:lnTo>
                      <a:lnTo>
                        <a:pt x="342" y="18"/>
                      </a:lnTo>
                      <a:lnTo>
                        <a:pt x="343" y="17"/>
                      </a:lnTo>
                      <a:lnTo>
                        <a:pt x="344" y="16"/>
                      </a:lnTo>
                      <a:lnTo>
                        <a:pt x="346" y="16"/>
                      </a:lnTo>
                      <a:lnTo>
                        <a:pt x="346" y="15"/>
                      </a:lnTo>
                      <a:lnTo>
                        <a:pt x="347" y="15"/>
                      </a:lnTo>
                      <a:lnTo>
                        <a:pt x="348" y="14"/>
                      </a:lnTo>
                      <a:lnTo>
                        <a:pt x="348" y="13"/>
                      </a:lnTo>
                      <a:lnTo>
                        <a:pt x="348" y="12"/>
                      </a:lnTo>
                      <a:lnTo>
                        <a:pt x="349" y="12"/>
                      </a:lnTo>
                      <a:lnTo>
                        <a:pt x="349" y="10"/>
                      </a:lnTo>
                      <a:lnTo>
                        <a:pt x="350" y="9"/>
                      </a:lnTo>
                      <a:lnTo>
                        <a:pt x="350" y="8"/>
                      </a:lnTo>
                      <a:lnTo>
                        <a:pt x="349" y="7"/>
                      </a:lnTo>
                      <a:lnTo>
                        <a:pt x="349" y="6"/>
                      </a:lnTo>
                      <a:lnTo>
                        <a:pt x="350" y="5"/>
                      </a:lnTo>
                      <a:lnTo>
                        <a:pt x="350" y="4"/>
                      </a:lnTo>
                      <a:lnTo>
                        <a:pt x="350" y="4"/>
                      </a:lnTo>
                      <a:lnTo>
                        <a:pt x="351" y="5"/>
                      </a:lnTo>
                      <a:lnTo>
                        <a:pt x="352" y="5"/>
                      </a:lnTo>
                      <a:lnTo>
                        <a:pt x="353" y="6"/>
                      </a:lnTo>
                      <a:lnTo>
                        <a:pt x="354" y="7"/>
                      </a:lnTo>
                      <a:lnTo>
                        <a:pt x="356" y="8"/>
                      </a:lnTo>
                      <a:lnTo>
                        <a:pt x="357" y="7"/>
                      </a:lnTo>
                      <a:lnTo>
                        <a:pt x="359" y="6"/>
                      </a:lnTo>
                      <a:lnTo>
                        <a:pt x="361" y="8"/>
                      </a:lnTo>
                      <a:lnTo>
                        <a:pt x="362" y="8"/>
                      </a:lnTo>
                      <a:lnTo>
                        <a:pt x="363" y="8"/>
                      </a:lnTo>
                      <a:lnTo>
                        <a:pt x="364" y="7"/>
                      </a:lnTo>
                      <a:lnTo>
                        <a:pt x="365" y="7"/>
                      </a:lnTo>
                      <a:lnTo>
                        <a:pt x="366" y="6"/>
                      </a:lnTo>
                      <a:lnTo>
                        <a:pt x="367" y="5"/>
                      </a:lnTo>
                      <a:lnTo>
                        <a:pt x="367" y="5"/>
                      </a:lnTo>
                      <a:lnTo>
                        <a:pt x="367" y="7"/>
                      </a:lnTo>
                      <a:lnTo>
                        <a:pt x="367" y="8"/>
                      </a:lnTo>
                      <a:lnTo>
                        <a:pt x="367" y="9"/>
                      </a:lnTo>
                      <a:lnTo>
                        <a:pt x="368" y="10"/>
                      </a:lnTo>
                      <a:lnTo>
                        <a:pt x="368" y="12"/>
                      </a:lnTo>
                      <a:lnTo>
                        <a:pt x="368" y="12"/>
                      </a:lnTo>
                      <a:lnTo>
                        <a:pt x="369" y="13"/>
                      </a:lnTo>
                      <a:lnTo>
                        <a:pt x="369" y="14"/>
                      </a:lnTo>
                      <a:lnTo>
                        <a:pt x="370" y="15"/>
                      </a:lnTo>
                      <a:lnTo>
                        <a:pt x="371" y="16"/>
                      </a:lnTo>
                      <a:lnTo>
                        <a:pt x="371" y="17"/>
                      </a:lnTo>
                      <a:lnTo>
                        <a:pt x="371" y="18"/>
                      </a:lnTo>
                      <a:lnTo>
                        <a:pt x="371" y="18"/>
                      </a:lnTo>
                      <a:lnTo>
                        <a:pt x="371" y="20"/>
                      </a:lnTo>
                      <a:lnTo>
                        <a:pt x="371" y="21"/>
                      </a:lnTo>
                      <a:lnTo>
                        <a:pt x="371" y="22"/>
                      </a:lnTo>
                      <a:lnTo>
                        <a:pt x="371" y="24"/>
                      </a:lnTo>
                      <a:lnTo>
                        <a:pt x="371" y="25"/>
                      </a:lnTo>
                      <a:lnTo>
                        <a:pt x="370" y="27"/>
                      </a:lnTo>
                      <a:lnTo>
                        <a:pt x="370" y="27"/>
                      </a:lnTo>
                      <a:lnTo>
                        <a:pt x="370" y="28"/>
                      </a:lnTo>
                      <a:lnTo>
                        <a:pt x="370" y="29"/>
                      </a:lnTo>
                      <a:lnTo>
                        <a:pt x="370" y="30"/>
                      </a:lnTo>
                      <a:lnTo>
                        <a:pt x="370" y="31"/>
                      </a:lnTo>
                      <a:lnTo>
                        <a:pt x="370" y="31"/>
                      </a:lnTo>
                      <a:lnTo>
                        <a:pt x="370" y="33"/>
                      </a:lnTo>
                      <a:lnTo>
                        <a:pt x="370" y="33"/>
                      </a:lnTo>
                      <a:lnTo>
                        <a:pt x="369" y="34"/>
                      </a:lnTo>
                      <a:lnTo>
                        <a:pt x="368" y="34"/>
                      </a:lnTo>
                      <a:lnTo>
                        <a:pt x="367" y="35"/>
                      </a:lnTo>
                      <a:lnTo>
                        <a:pt x="365" y="35"/>
                      </a:lnTo>
                      <a:lnTo>
                        <a:pt x="365" y="36"/>
                      </a:lnTo>
                      <a:lnTo>
                        <a:pt x="364" y="37"/>
                      </a:lnTo>
                      <a:lnTo>
                        <a:pt x="363" y="37"/>
                      </a:lnTo>
                      <a:lnTo>
                        <a:pt x="363" y="38"/>
                      </a:lnTo>
                      <a:lnTo>
                        <a:pt x="363" y="38"/>
                      </a:lnTo>
                      <a:lnTo>
                        <a:pt x="362" y="38"/>
                      </a:lnTo>
                      <a:lnTo>
                        <a:pt x="362" y="37"/>
                      </a:lnTo>
                      <a:lnTo>
                        <a:pt x="361" y="37"/>
                      </a:lnTo>
                      <a:lnTo>
                        <a:pt x="361" y="37"/>
                      </a:lnTo>
                      <a:lnTo>
                        <a:pt x="361" y="38"/>
                      </a:lnTo>
                      <a:lnTo>
                        <a:pt x="360" y="38"/>
                      </a:lnTo>
                      <a:lnTo>
                        <a:pt x="360" y="39"/>
                      </a:lnTo>
                      <a:lnTo>
                        <a:pt x="360" y="39"/>
                      </a:lnTo>
                      <a:lnTo>
                        <a:pt x="361" y="39"/>
                      </a:lnTo>
                      <a:lnTo>
                        <a:pt x="361" y="40"/>
                      </a:lnTo>
                      <a:lnTo>
                        <a:pt x="361" y="41"/>
                      </a:lnTo>
                      <a:lnTo>
                        <a:pt x="360" y="41"/>
                      </a:lnTo>
                      <a:lnTo>
                        <a:pt x="360" y="41"/>
                      </a:lnTo>
                      <a:lnTo>
                        <a:pt x="360" y="42"/>
                      </a:lnTo>
                      <a:lnTo>
                        <a:pt x="359" y="42"/>
                      </a:lnTo>
                      <a:lnTo>
                        <a:pt x="359" y="43"/>
                      </a:lnTo>
                      <a:lnTo>
                        <a:pt x="359" y="43"/>
                      </a:lnTo>
                      <a:lnTo>
                        <a:pt x="359" y="44"/>
                      </a:lnTo>
                      <a:lnTo>
                        <a:pt x="359" y="45"/>
                      </a:lnTo>
                      <a:lnTo>
                        <a:pt x="359" y="46"/>
                      </a:lnTo>
                      <a:lnTo>
                        <a:pt x="359" y="46"/>
                      </a:lnTo>
                      <a:lnTo>
                        <a:pt x="358" y="46"/>
                      </a:lnTo>
                      <a:lnTo>
                        <a:pt x="358" y="47"/>
                      </a:lnTo>
                      <a:lnTo>
                        <a:pt x="357" y="48"/>
                      </a:lnTo>
                      <a:lnTo>
                        <a:pt x="357" y="48"/>
                      </a:lnTo>
                      <a:lnTo>
                        <a:pt x="358" y="48"/>
                      </a:lnTo>
                      <a:lnTo>
                        <a:pt x="358" y="49"/>
                      </a:lnTo>
                      <a:lnTo>
                        <a:pt x="358" y="50"/>
                      </a:lnTo>
                      <a:lnTo>
                        <a:pt x="358" y="50"/>
                      </a:lnTo>
                      <a:lnTo>
                        <a:pt x="358" y="51"/>
                      </a:lnTo>
                      <a:lnTo>
                        <a:pt x="358" y="52"/>
                      </a:lnTo>
                      <a:lnTo>
                        <a:pt x="359" y="53"/>
                      </a:lnTo>
                      <a:lnTo>
                        <a:pt x="359" y="54"/>
                      </a:lnTo>
                      <a:lnTo>
                        <a:pt x="359" y="55"/>
                      </a:lnTo>
                      <a:lnTo>
                        <a:pt x="359" y="56"/>
                      </a:lnTo>
                      <a:lnTo>
                        <a:pt x="359" y="56"/>
                      </a:lnTo>
                      <a:lnTo>
                        <a:pt x="360" y="57"/>
                      </a:lnTo>
                      <a:lnTo>
                        <a:pt x="361" y="57"/>
                      </a:lnTo>
                      <a:lnTo>
                        <a:pt x="361" y="58"/>
                      </a:lnTo>
                      <a:lnTo>
                        <a:pt x="361" y="59"/>
                      </a:lnTo>
                      <a:lnTo>
                        <a:pt x="362" y="60"/>
                      </a:lnTo>
                      <a:lnTo>
                        <a:pt x="363" y="62"/>
                      </a:lnTo>
                      <a:lnTo>
                        <a:pt x="363" y="62"/>
                      </a:lnTo>
                      <a:lnTo>
                        <a:pt x="363" y="63"/>
                      </a:lnTo>
                      <a:lnTo>
                        <a:pt x="363" y="64"/>
                      </a:lnTo>
                      <a:lnTo>
                        <a:pt x="363" y="65"/>
                      </a:lnTo>
                      <a:lnTo>
                        <a:pt x="363" y="67"/>
                      </a:lnTo>
                      <a:lnTo>
                        <a:pt x="362" y="69"/>
                      </a:lnTo>
                      <a:lnTo>
                        <a:pt x="361" y="71"/>
                      </a:lnTo>
                      <a:lnTo>
                        <a:pt x="360" y="73"/>
                      </a:lnTo>
                      <a:lnTo>
                        <a:pt x="359" y="75"/>
                      </a:lnTo>
                      <a:lnTo>
                        <a:pt x="356" y="76"/>
                      </a:lnTo>
                      <a:lnTo>
                        <a:pt x="355" y="77"/>
                      </a:lnTo>
                      <a:lnTo>
                        <a:pt x="354" y="79"/>
                      </a:lnTo>
                      <a:lnTo>
                        <a:pt x="352" y="80"/>
                      </a:lnTo>
                      <a:lnTo>
                        <a:pt x="350" y="81"/>
                      </a:lnTo>
                      <a:lnTo>
                        <a:pt x="349" y="82"/>
                      </a:lnTo>
                      <a:lnTo>
                        <a:pt x="347" y="83"/>
                      </a:lnTo>
                      <a:lnTo>
                        <a:pt x="346" y="84"/>
                      </a:lnTo>
                      <a:lnTo>
                        <a:pt x="345" y="85"/>
                      </a:lnTo>
                      <a:lnTo>
                        <a:pt x="343" y="86"/>
                      </a:lnTo>
                      <a:lnTo>
                        <a:pt x="342" y="86"/>
                      </a:lnTo>
                      <a:lnTo>
                        <a:pt x="341" y="86"/>
                      </a:lnTo>
                      <a:lnTo>
                        <a:pt x="340" y="87"/>
                      </a:lnTo>
                      <a:lnTo>
                        <a:pt x="339" y="88"/>
                      </a:lnTo>
                      <a:lnTo>
                        <a:pt x="338" y="90"/>
                      </a:lnTo>
                      <a:lnTo>
                        <a:pt x="337" y="90"/>
                      </a:lnTo>
                      <a:lnTo>
                        <a:pt x="336" y="92"/>
                      </a:lnTo>
                      <a:lnTo>
                        <a:pt x="335" y="93"/>
                      </a:lnTo>
                      <a:lnTo>
                        <a:pt x="335" y="94"/>
                      </a:lnTo>
                      <a:lnTo>
                        <a:pt x="335" y="95"/>
                      </a:lnTo>
                      <a:lnTo>
                        <a:pt x="334" y="96"/>
                      </a:lnTo>
                      <a:lnTo>
                        <a:pt x="333" y="97"/>
                      </a:lnTo>
                      <a:lnTo>
                        <a:pt x="333" y="98"/>
                      </a:lnTo>
                      <a:lnTo>
                        <a:pt x="333" y="99"/>
                      </a:lnTo>
                      <a:lnTo>
                        <a:pt x="332" y="100"/>
                      </a:lnTo>
                      <a:lnTo>
                        <a:pt x="332" y="102"/>
                      </a:lnTo>
                      <a:lnTo>
                        <a:pt x="331" y="102"/>
                      </a:lnTo>
                      <a:lnTo>
                        <a:pt x="331" y="104"/>
                      </a:lnTo>
                      <a:lnTo>
                        <a:pt x="331" y="104"/>
                      </a:lnTo>
                      <a:lnTo>
                        <a:pt x="330" y="106"/>
                      </a:lnTo>
                      <a:lnTo>
                        <a:pt x="329" y="107"/>
                      </a:lnTo>
                      <a:lnTo>
                        <a:pt x="329" y="108"/>
                      </a:lnTo>
                      <a:lnTo>
                        <a:pt x="329" y="109"/>
                      </a:lnTo>
                      <a:lnTo>
                        <a:pt x="329" y="111"/>
                      </a:lnTo>
                      <a:lnTo>
                        <a:pt x="329" y="111"/>
                      </a:lnTo>
                      <a:lnTo>
                        <a:pt x="329" y="112"/>
                      </a:lnTo>
                      <a:lnTo>
                        <a:pt x="329" y="112"/>
                      </a:lnTo>
                      <a:lnTo>
                        <a:pt x="329" y="113"/>
                      </a:lnTo>
                      <a:lnTo>
                        <a:pt x="329" y="113"/>
                      </a:lnTo>
                      <a:lnTo>
                        <a:pt x="329" y="114"/>
                      </a:lnTo>
                      <a:lnTo>
                        <a:pt x="328" y="115"/>
                      </a:lnTo>
                      <a:lnTo>
                        <a:pt x="328" y="115"/>
                      </a:lnTo>
                      <a:lnTo>
                        <a:pt x="328" y="116"/>
                      </a:lnTo>
                      <a:lnTo>
                        <a:pt x="328" y="117"/>
                      </a:lnTo>
                      <a:lnTo>
                        <a:pt x="327" y="117"/>
                      </a:lnTo>
                      <a:lnTo>
                        <a:pt x="327" y="118"/>
                      </a:lnTo>
                      <a:lnTo>
                        <a:pt x="327" y="119"/>
                      </a:lnTo>
                      <a:lnTo>
                        <a:pt x="327" y="119"/>
                      </a:lnTo>
                      <a:lnTo>
                        <a:pt x="327" y="121"/>
                      </a:lnTo>
                      <a:lnTo>
                        <a:pt x="327" y="121"/>
                      </a:lnTo>
                      <a:lnTo>
                        <a:pt x="327" y="122"/>
                      </a:lnTo>
                      <a:lnTo>
                        <a:pt x="327" y="123"/>
                      </a:lnTo>
                      <a:lnTo>
                        <a:pt x="327" y="123"/>
                      </a:lnTo>
                      <a:lnTo>
                        <a:pt x="327" y="123"/>
                      </a:lnTo>
                      <a:lnTo>
                        <a:pt x="327" y="124"/>
                      </a:lnTo>
                      <a:lnTo>
                        <a:pt x="327" y="125"/>
                      </a:lnTo>
                      <a:lnTo>
                        <a:pt x="327" y="126"/>
                      </a:lnTo>
                      <a:lnTo>
                        <a:pt x="327" y="126"/>
                      </a:lnTo>
                      <a:lnTo>
                        <a:pt x="327" y="127"/>
                      </a:lnTo>
                      <a:lnTo>
                        <a:pt x="327" y="128"/>
                      </a:lnTo>
                      <a:lnTo>
                        <a:pt x="327" y="128"/>
                      </a:lnTo>
                      <a:lnTo>
                        <a:pt x="326" y="128"/>
                      </a:lnTo>
                      <a:lnTo>
                        <a:pt x="326" y="129"/>
                      </a:lnTo>
                      <a:lnTo>
                        <a:pt x="326" y="130"/>
                      </a:lnTo>
                      <a:lnTo>
                        <a:pt x="326" y="130"/>
                      </a:lnTo>
                      <a:lnTo>
                        <a:pt x="326" y="131"/>
                      </a:lnTo>
                      <a:lnTo>
                        <a:pt x="326" y="132"/>
                      </a:lnTo>
                      <a:lnTo>
                        <a:pt x="326" y="132"/>
                      </a:lnTo>
                      <a:lnTo>
                        <a:pt x="326" y="133"/>
                      </a:lnTo>
                      <a:lnTo>
                        <a:pt x="327" y="134"/>
                      </a:lnTo>
                      <a:lnTo>
                        <a:pt x="327" y="134"/>
                      </a:lnTo>
                      <a:lnTo>
                        <a:pt x="327" y="134"/>
                      </a:lnTo>
                      <a:lnTo>
                        <a:pt x="327" y="134"/>
                      </a:lnTo>
                      <a:lnTo>
                        <a:pt x="327" y="135"/>
                      </a:lnTo>
                      <a:lnTo>
                        <a:pt x="327" y="135"/>
                      </a:lnTo>
                      <a:lnTo>
                        <a:pt x="327" y="136"/>
                      </a:lnTo>
                      <a:lnTo>
                        <a:pt x="327" y="136"/>
                      </a:lnTo>
                      <a:lnTo>
                        <a:pt x="327" y="137"/>
                      </a:lnTo>
                      <a:lnTo>
                        <a:pt x="327" y="138"/>
                      </a:lnTo>
                      <a:lnTo>
                        <a:pt x="327" y="138"/>
                      </a:lnTo>
                      <a:lnTo>
                        <a:pt x="327" y="138"/>
                      </a:lnTo>
                      <a:lnTo>
                        <a:pt x="327" y="139"/>
                      </a:lnTo>
                      <a:lnTo>
                        <a:pt x="327" y="140"/>
                      </a:lnTo>
                      <a:lnTo>
                        <a:pt x="327" y="140"/>
                      </a:lnTo>
                      <a:lnTo>
                        <a:pt x="327" y="140"/>
                      </a:lnTo>
                      <a:lnTo>
                        <a:pt x="327" y="140"/>
                      </a:lnTo>
                      <a:lnTo>
                        <a:pt x="327" y="141"/>
                      </a:lnTo>
                      <a:lnTo>
                        <a:pt x="327" y="141"/>
                      </a:lnTo>
                      <a:lnTo>
                        <a:pt x="327" y="142"/>
                      </a:lnTo>
                      <a:lnTo>
                        <a:pt x="328" y="142"/>
                      </a:lnTo>
                      <a:lnTo>
                        <a:pt x="329" y="142"/>
                      </a:lnTo>
                      <a:lnTo>
                        <a:pt x="329" y="142"/>
                      </a:lnTo>
                      <a:lnTo>
                        <a:pt x="329" y="142"/>
                      </a:lnTo>
                      <a:lnTo>
                        <a:pt x="329" y="143"/>
                      </a:lnTo>
                      <a:lnTo>
                        <a:pt x="329" y="143"/>
                      </a:lnTo>
                      <a:lnTo>
                        <a:pt x="328" y="144"/>
                      </a:lnTo>
                      <a:lnTo>
                        <a:pt x="329" y="144"/>
                      </a:lnTo>
                      <a:lnTo>
                        <a:pt x="329" y="145"/>
                      </a:lnTo>
                      <a:lnTo>
                        <a:pt x="329" y="145"/>
                      </a:lnTo>
                      <a:lnTo>
                        <a:pt x="328" y="145"/>
                      </a:lnTo>
                      <a:lnTo>
                        <a:pt x="328" y="145"/>
                      </a:lnTo>
                      <a:lnTo>
                        <a:pt x="327" y="145"/>
                      </a:lnTo>
                      <a:lnTo>
                        <a:pt x="327" y="145"/>
                      </a:lnTo>
                      <a:lnTo>
                        <a:pt x="326" y="145"/>
                      </a:lnTo>
                      <a:lnTo>
                        <a:pt x="325" y="145"/>
                      </a:lnTo>
                      <a:lnTo>
                        <a:pt x="325" y="145"/>
                      </a:lnTo>
                      <a:lnTo>
                        <a:pt x="325" y="146"/>
                      </a:lnTo>
                      <a:lnTo>
                        <a:pt x="325" y="147"/>
                      </a:lnTo>
                      <a:lnTo>
                        <a:pt x="325" y="147"/>
                      </a:lnTo>
                      <a:lnTo>
                        <a:pt x="325" y="147"/>
                      </a:lnTo>
                      <a:lnTo>
                        <a:pt x="325" y="148"/>
                      </a:lnTo>
                      <a:lnTo>
                        <a:pt x="325" y="149"/>
                      </a:lnTo>
                      <a:lnTo>
                        <a:pt x="325" y="149"/>
                      </a:lnTo>
                      <a:lnTo>
                        <a:pt x="324" y="149"/>
                      </a:lnTo>
                      <a:lnTo>
                        <a:pt x="324" y="150"/>
                      </a:lnTo>
                      <a:lnTo>
                        <a:pt x="324" y="151"/>
                      </a:lnTo>
                      <a:lnTo>
                        <a:pt x="324" y="151"/>
                      </a:lnTo>
                      <a:lnTo>
                        <a:pt x="324" y="152"/>
                      </a:lnTo>
                      <a:lnTo>
                        <a:pt x="324" y="153"/>
                      </a:lnTo>
                      <a:lnTo>
                        <a:pt x="324" y="153"/>
                      </a:lnTo>
                      <a:lnTo>
                        <a:pt x="324" y="154"/>
                      </a:lnTo>
                      <a:lnTo>
                        <a:pt x="325" y="154"/>
                      </a:lnTo>
                      <a:lnTo>
                        <a:pt x="325" y="155"/>
                      </a:lnTo>
                      <a:lnTo>
                        <a:pt x="325" y="155"/>
                      </a:lnTo>
                      <a:lnTo>
                        <a:pt x="326" y="155"/>
                      </a:lnTo>
                      <a:lnTo>
                        <a:pt x="326" y="155"/>
                      </a:lnTo>
                      <a:lnTo>
                        <a:pt x="327" y="156"/>
                      </a:lnTo>
                      <a:lnTo>
                        <a:pt x="327" y="156"/>
                      </a:lnTo>
                      <a:lnTo>
                        <a:pt x="327" y="157"/>
                      </a:lnTo>
                      <a:lnTo>
                        <a:pt x="328" y="157"/>
                      </a:lnTo>
                      <a:lnTo>
                        <a:pt x="328" y="157"/>
                      </a:lnTo>
                      <a:lnTo>
                        <a:pt x="327" y="157"/>
                      </a:lnTo>
                      <a:lnTo>
                        <a:pt x="327" y="158"/>
                      </a:lnTo>
                      <a:lnTo>
                        <a:pt x="327" y="158"/>
                      </a:lnTo>
                      <a:lnTo>
                        <a:pt x="327" y="159"/>
                      </a:lnTo>
                      <a:lnTo>
                        <a:pt x="326" y="159"/>
                      </a:lnTo>
                      <a:lnTo>
                        <a:pt x="326" y="159"/>
                      </a:lnTo>
                      <a:lnTo>
                        <a:pt x="327" y="159"/>
                      </a:lnTo>
                      <a:lnTo>
                        <a:pt x="327" y="160"/>
                      </a:lnTo>
                      <a:lnTo>
                        <a:pt x="327" y="159"/>
                      </a:lnTo>
                      <a:lnTo>
                        <a:pt x="327" y="159"/>
                      </a:lnTo>
                      <a:lnTo>
                        <a:pt x="328" y="159"/>
                      </a:lnTo>
                      <a:lnTo>
                        <a:pt x="328" y="160"/>
                      </a:lnTo>
                      <a:lnTo>
                        <a:pt x="328" y="161"/>
                      </a:lnTo>
                      <a:lnTo>
                        <a:pt x="327" y="161"/>
                      </a:lnTo>
                      <a:lnTo>
                        <a:pt x="327" y="161"/>
                      </a:lnTo>
                      <a:lnTo>
                        <a:pt x="327" y="161"/>
                      </a:lnTo>
                      <a:lnTo>
                        <a:pt x="326" y="161"/>
                      </a:lnTo>
                      <a:lnTo>
                        <a:pt x="326" y="162"/>
                      </a:lnTo>
                      <a:lnTo>
                        <a:pt x="327" y="162"/>
                      </a:lnTo>
                      <a:lnTo>
                        <a:pt x="327" y="162"/>
                      </a:lnTo>
                      <a:lnTo>
                        <a:pt x="328" y="163"/>
                      </a:lnTo>
                      <a:lnTo>
                        <a:pt x="328" y="163"/>
                      </a:lnTo>
                      <a:lnTo>
                        <a:pt x="327" y="163"/>
                      </a:lnTo>
                      <a:lnTo>
                        <a:pt x="327" y="163"/>
                      </a:lnTo>
                      <a:lnTo>
                        <a:pt x="326" y="163"/>
                      </a:lnTo>
                      <a:lnTo>
                        <a:pt x="326" y="164"/>
                      </a:lnTo>
                      <a:lnTo>
                        <a:pt x="326" y="165"/>
                      </a:lnTo>
                      <a:lnTo>
                        <a:pt x="326" y="166"/>
                      </a:lnTo>
                      <a:lnTo>
                        <a:pt x="327" y="166"/>
                      </a:lnTo>
                      <a:lnTo>
                        <a:pt x="327" y="166"/>
                      </a:lnTo>
                      <a:lnTo>
                        <a:pt x="327" y="166"/>
                      </a:lnTo>
                      <a:lnTo>
                        <a:pt x="327" y="167"/>
                      </a:lnTo>
                      <a:lnTo>
                        <a:pt x="327" y="167"/>
                      </a:lnTo>
                      <a:lnTo>
                        <a:pt x="327" y="168"/>
                      </a:lnTo>
                      <a:lnTo>
                        <a:pt x="326" y="168"/>
                      </a:lnTo>
                      <a:lnTo>
                        <a:pt x="326" y="168"/>
                      </a:lnTo>
                      <a:lnTo>
                        <a:pt x="326" y="169"/>
                      </a:lnTo>
                      <a:lnTo>
                        <a:pt x="326" y="170"/>
                      </a:lnTo>
                      <a:lnTo>
                        <a:pt x="327" y="170"/>
                      </a:lnTo>
                      <a:lnTo>
                        <a:pt x="327" y="170"/>
                      </a:lnTo>
                      <a:lnTo>
                        <a:pt x="327" y="170"/>
                      </a:lnTo>
                      <a:lnTo>
                        <a:pt x="327" y="170"/>
                      </a:lnTo>
                      <a:lnTo>
                        <a:pt x="327" y="171"/>
                      </a:lnTo>
                      <a:lnTo>
                        <a:pt x="326" y="171"/>
                      </a:lnTo>
                      <a:lnTo>
                        <a:pt x="326" y="172"/>
                      </a:lnTo>
                      <a:lnTo>
                        <a:pt x="325" y="172"/>
                      </a:lnTo>
                      <a:lnTo>
                        <a:pt x="325" y="172"/>
                      </a:lnTo>
                      <a:lnTo>
                        <a:pt x="326" y="172"/>
                      </a:lnTo>
                      <a:lnTo>
                        <a:pt x="327" y="172"/>
                      </a:lnTo>
                      <a:lnTo>
                        <a:pt x="327" y="172"/>
                      </a:lnTo>
                      <a:lnTo>
                        <a:pt x="328" y="173"/>
                      </a:lnTo>
                      <a:lnTo>
                        <a:pt x="327" y="174"/>
                      </a:lnTo>
                      <a:lnTo>
                        <a:pt x="327" y="174"/>
                      </a:lnTo>
                      <a:lnTo>
                        <a:pt x="327" y="175"/>
                      </a:lnTo>
                      <a:lnTo>
                        <a:pt x="327" y="176"/>
                      </a:lnTo>
                      <a:lnTo>
                        <a:pt x="326" y="176"/>
                      </a:lnTo>
                      <a:lnTo>
                        <a:pt x="325" y="176"/>
                      </a:lnTo>
                      <a:lnTo>
                        <a:pt x="325" y="176"/>
                      </a:lnTo>
                      <a:lnTo>
                        <a:pt x="324" y="176"/>
                      </a:lnTo>
                      <a:lnTo>
                        <a:pt x="324" y="176"/>
                      </a:lnTo>
                      <a:lnTo>
                        <a:pt x="323" y="176"/>
                      </a:lnTo>
                      <a:lnTo>
                        <a:pt x="324" y="177"/>
                      </a:lnTo>
                      <a:lnTo>
                        <a:pt x="324" y="178"/>
                      </a:lnTo>
                      <a:lnTo>
                        <a:pt x="325" y="178"/>
                      </a:lnTo>
                      <a:lnTo>
                        <a:pt x="325" y="178"/>
                      </a:lnTo>
                      <a:lnTo>
                        <a:pt x="325" y="179"/>
                      </a:lnTo>
                      <a:lnTo>
                        <a:pt x="325" y="180"/>
                      </a:lnTo>
                      <a:lnTo>
                        <a:pt x="324" y="180"/>
                      </a:lnTo>
                      <a:lnTo>
                        <a:pt x="324" y="180"/>
                      </a:lnTo>
                      <a:lnTo>
                        <a:pt x="324" y="181"/>
                      </a:lnTo>
                      <a:lnTo>
                        <a:pt x="324" y="182"/>
                      </a:lnTo>
                      <a:lnTo>
                        <a:pt x="323" y="182"/>
                      </a:lnTo>
                      <a:lnTo>
                        <a:pt x="324" y="182"/>
                      </a:lnTo>
                      <a:lnTo>
                        <a:pt x="325" y="183"/>
                      </a:lnTo>
                      <a:lnTo>
                        <a:pt x="325" y="183"/>
                      </a:lnTo>
                      <a:lnTo>
                        <a:pt x="325" y="184"/>
                      </a:lnTo>
                      <a:lnTo>
                        <a:pt x="326" y="184"/>
                      </a:lnTo>
                      <a:lnTo>
                        <a:pt x="327" y="184"/>
                      </a:lnTo>
                      <a:lnTo>
                        <a:pt x="327" y="183"/>
                      </a:lnTo>
                      <a:lnTo>
                        <a:pt x="327" y="183"/>
                      </a:lnTo>
                      <a:lnTo>
                        <a:pt x="328" y="183"/>
                      </a:lnTo>
                      <a:lnTo>
                        <a:pt x="329" y="183"/>
                      </a:lnTo>
                      <a:lnTo>
                        <a:pt x="329" y="184"/>
                      </a:lnTo>
                      <a:lnTo>
                        <a:pt x="328" y="185"/>
                      </a:lnTo>
                      <a:lnTo>
                        <a:pt x="328" y="185"/>
                      </a:lnTo>
                      <a:lnTo>
                        <a:pt x="327" y="185"/>
                      </a:lnTo>
                      <a:lnTo>
                        <a:pt x="327" y="186"/>
                      </a:lnTo>
                      <a:lnTo>
                        <a:pt x="327" y="187"/>
                      </a:lnTo>
                      <a:lnTo>
                        <a:pt x="327" y="187"/>
                      </a:lnTo>
                      <a:lnTo>
                        <a:pt x="327" y="188"/>
                      </a:lnTo>
                      <a:lnTo>
                        <a:pt x="327" y="189"/>
                      </a:lnTo>
                      <a:lnTo>
                        <a:pt x="327" y="189"/>
                      </a:lnTo>
                      <a:lnTo>
                        <a:pt x="327" y="189"/>
                      </a:lnTo>
                      <a:lnTo>
                        <a:pt x="327" y="190"/>
                      </a:lnTo>
                      <a:lnTo>
                        <a:pt x="328" y="191"/>
                      </a:lnTo>
                      <a:lnTo>
                        <a:pt x="329" y="191"/>
                      </a:lnTo>
                      <a:lnTo>
                        <a:pt x="329" y="191"/>
                      </a:lnTo>
                      <a:lnTo>
                        <a:pt x="329" y="191"/>
                      </a:lnTo>
                      <a:lnTo>
                        <a:pt x="330" y="191"/>
                      </a:lnTo>
                      <a:lnTo>
                        <a:pt x="331" y="191"/>
                      </a:lnTo>
                      <a:lnTo>
                        <a:pt x="331" y="191"/>
                      </a:lnTo>
                      <a:lnTo>
                        <a:pt x="331" y="192"/>
                      </a:lnTo>
                      <a:lnTo>
                        <a:pt x="331" y="193"/>
                      </a:lnTo>
                      <a:lnTo>
                        <a:pt x="331" y="193"/>
                      </a:lnTo>
                      <a:lnTo>
                        <a:pt x="331" y="194"/>
                      </a:lnTo>
                      <a:lnTo>
                        <a:pt x="331" y="195"/>
                      </a:lnTo>
                      <a:lnTo>
                        <a:pt x="331" y="195"/>
                      </a:lnTo>
                      <a:lnTo>
                        <a:pt x="332" y="195"/>
                      </a:lnTo>
                      <a:lnTo>
                        <a:pt x="332" y="196"/>
                      </a:lnTo>
                      <a:lnTo>
                        <a:pt x="333" y="195"/>
                      </a:lnTo>
                      <a:lnTo>
                        <a:pt x="333" y="195"/>
                      </a:lnTo>
                      <a:lnTo>
                        <a:pt x="333" y="196"/>
                      </a:lnTo>
                      <a:lnTo>
                        <a:pt x="334" y="196"/>
                      </a:lnTo>
                      <a:lnTo>
                        <a:pt x="334" y="197"/>
                      </a:lnTo>
                      <a:lnTo>
                        <a:pt x="335" y="197"/>
                      </a:lnTo>
                      <a:lnTo>
                        <a:pt x="335" y="197"/>
                      </a:lnTo>
                      <a:lnTo>
                        <a:pt x="336" y="197"/>
                      </a:lnTo>
                      <a:lnTo>
                        <a:pt x="336" y="196"/>
                      </a:lnTo>
                      <a:lnTo>
                        <a:pt x="337" y="196"/>
                      </a:lnTo>
                      <a:lnTo>
                        <a:pt x="337" y="197"/>
                      </a:lnTo>
                      <a:lnTo>
                        <a:pt x="337" y="197"/>
                      </a:lnTo>
                      <a:lnTo>
                        <a:pt x="336" y="198"/>
                      </a:lnTo>
                      <a:lnTo>
                        <a:pt x="336" y="199"/>
                      </a:lnTo>
                      <a:lnTo>
                        <a:pt x="336" y="199"/>
                      </a:lnTo>
                      <a:lnTo>
                        <a:pt x="336" y="200"/>
                      </a:lnTo>
                      <a:lnTo>
                        <a:pt x="335" y="200"/>
                      </a:lnTo>
                      <a:lnTo>
                        <a:pt x="335" y="200"/>
                      </a:lnTo>
                      <a:lnTo>
                        <a:pt x="334" y="201"/>
                      </a:lnTo>
                      <a:lnTo>
                        <a:pt x="333" y="201"/>
                      </a:lnTo>
                      <a:lnTo>
                        <a:pt x="333" y="202"/>
                      </a:lnTo>
                      <a:lnTo>
                        <a:pt x="334" y="203"/>
                      </a:lnTo>
                      <a:lnTo>
                        <a:pt x="334" y="204"/>
                      </a:lnTo>
                      <a:lnTo>
                        <a:pt x="334" y="204"/>
                      </a:lnTo>
                      <a:lnTo>
                        <a:pt x="334" y="205"/>
                      </a:lnTo>
                      <a:lnTo>
                        <a:pt x="334" y="206"/>
                      </a:lnTo>
                      <a:lnTo>
                        <a:pt x="334" y="206"/>
                      </a:lnTo>
                      <a:lnTo>
                        <a:pt x="333" y="206"/>
                      </a:lnTo>
                      <a:lnTo>
                        <a:pt x="333" y="207"/>
                      </a:lnTo>
                      <a:lnTo>
                        <a:pt x="334" y="207"/>
                      </a:lnTo>
                      <a:lnTo>
                        <a:pt x="335" y="207"/>
                      </a:lnTo>
                      <a:lnTo>
                        <a:pt x="335" y="207"/>
                      </a:lnTo>
                      <a:lnTo>
                        <a:pt x="336" y="207"/>
                      </a:lnTo>
                      <a:lnTo>
                        <a:pt x="337" y="207"/>
                      </a:lnTo>
                      <a:lnTo>
                        <a:pt x="337" y="207"/>
                      </a:lnTo>
                      <a:lnTo>
                        <a:pt x="337" y="208"/>
                      </a:lnTo>
                      <a:lnTo>
                        <a:pt x="338" y="208"/>
                      </a:lnTo>
                      <a:lnTo>
                        <a:pt x="338" y="209"/>
                      </a:lnTo>
                      <a:lnTo>
                        <a:pt x="338" y="210"/>
                      </a:lnTo>
                      <a:lnTo>
                        <a:pt x="337" y="210"/>
                      </a:lnTo>
                      <a:lnTo>
                        <a:pt x="337" y="210"/>
                      </a:lnTo>
                      <a:lnTo>
                        <a:pt x="336" y="209"/>
                      </a:lnTo>
                      <a:lnTo>
                        <a:pt x="335" y="209"/>
                      </a:lnTo>
                      <a:lnTo>
                        <a:pt x="335" y="209"/>
                      </a:lnTo>
                      <a:lnTo>
                        <a:pt x="334" y="209"/>
                      </a:lnTo>
                      <a:lnTo>
                        <a:pt x="334" y="210"/>
                      </a:lnTo>
                      <a:lnTo>
                        <a:pt x="333" y="210"/>
                      </a:lnTo>
                      <a:lnTo>
                        <a:pt x="333" y="210"/>
                      </a:lnTo>
                      <a:lnTo>
                        <a:pt x="334" y="210"/>
                      </a:lnTo>
                      <a:lnTo>
                        <a:pt x="334" y="211"/>
                      </a:lnTo>
                      <a:lnTo>
                        <a:pt x="334" y="212"/>
                      </a:lnTo>
                      <a:lnTo>
                        <a:pt x="335" y="212"/>
                      </a:lnTo>
                      <a:lnTo>
                        <a:pt x="335" y="212"/>
                      </a:lnTo>
                      <a:lnTo>
                        <a:pt x="335" y="212"/>
                      </a:lnTo>
                      <a:lnTo>
                        <a:pt x="336" y="212"/>
                      </a:lnTo>
                      <a:lnTo>
                        <a:pt x="337" y="213"/>
                      </a:lnTo>
                      <a:lnTo>
                        <a:pt x="337" y="214"/>
                      </a:lnTo>
                      <a:lnTo>
                        <a:pt x="335" y="214"/>
                      </a:lnTo>
                      <a:lnTo>
                        <a:pt x="335" y="214"/>
                      </a:lnTo>
                      <a:lnTo>
                        <a:pt x="335" y="214"/>
                      </a:lnTo>
                      <a:lnTo>
                        <a:pt x="334" y="214"/>
                      </a:lnTo>
                      <a:lnTo>
                        <a:pt x="334" y="215"/>
                      </a:lnTo>
                      <a:lnTo>
                        <a:pt x="334" y="216"/>
                      </a:lnTo>
                      <a:lnTo>
                        <a:pt x="334" y="216"/>
                      </a:lnTo>
                      <a:lnTo>
                        <a:pt x="336" y="218"/>
                      </a:lnTo>
                      <a:lnTo>
                        <a:pt x="337" y="218"/>
                      </a:lnTo>
                      <a:lnTo>
                        <a:pt x="339" y="220"/>
                      </a:lnTo>
                      <a:lnTo>
                        <a:pt x="341" y="221"/>
                      </a:lnTo>
                      <a:lnTo>
                        <a:pt x="342" y="222"/>
                      </a:lnTo>
                      <a:lnTo>
                        <a:pt x="342" y="222"/>
                      </a:lnTo>
                      <a:lnTo>
                        <a:pt x="342" y="223"/>
                      </a:lnTo>
                      <a:lnTo>
                        <a:pt x="342" y="225"/>
                      </a:lnTo>
                      <a:lnTo>
                        <a:pt x="342" y="225"/>
                      </a:lnTo>
                      <a:lnTo>
                        <a:pt x="342" y="227"/>
                      </a:lnTo>
                      <a:lnTo>
                        <a:pt x="342" y="227"/>
                      </a:lnTo>
                      <a:lnTo>
                        <a:pt x="342" y="229"/>
                      </a:lnTo>
                      <a:lnTo>
                        <a:pt x="342" y="229"/>
                      </a:lnTo>
                      <a:lnTo>
                        <a:pt x="342" y="231"/>
                      </a:lnTo>
                      <a:lnTo>
                        <a:pt x="342" y="231"/>
                      </a:lnTo>
                      <a:lnTo>
                        <a:pt x="342" y="233"/>
                      </a:lnTo>
                      <a:lnTo>
                        <a:pt x="342" y="233"/>
                      </a:lnTo>
                      <a:lnTo>
                        <a:pt x="342" y="235"/>
                      </a:lnTo>
                      <a:lnTo>
                        <a:pt x="342" y="235"/>
                      </a:lnTo>
                      <a:lnTo>
                        <a:pt x="342" y="237"/>
                      </a:lnTo>
                      <a:lnTo>
                        <a:pt x="342" y="237"/>
                      </a:lnTo>
                      <a:lnTo>
                        <a:pt x="342" y="239"/>
                      </a:lnTo>
                      <a:lnTo>
                        <a:pt x="342" y="239"/>
                      </a:lnTo>
                      <a:lnTo>
                        <a:pt x="342" y="240"/>
                      </a:lnTo>
                      <a:lnTo>
                        <a:pt x="342" y="241"/>
                      </a:lnTo>
                      <a:lnTo>
                        <a:pt x="342" y="242"/>
                      </a:lnTo>
                      <a:lnTo>
                        <a:pt x="342" y="244"/>
                      </a:lnTo>
                      <a:lnTo>
                        <a:pt x="342" y="244"/>
                      </a:lnTo>
                      <a:lnTo>
                        <a:pt x="342" y="245"/>
                      </a:lnTo>
                      <a:lnTo>
                        <a:pt x="342" y="246"/>
                      </a:lnTo>
                      <a:lnTo>
                        <a:pt x="342" y="246"/>
                      </a:lnTo>
                      <a:lnTo>
                        <a:pt x="342" y="246"/>
                      </a:lnTo>
                      <a:lnTo>
                        <a:pt x="342" y="247"/>
                      </a:lnTo>
                      <a:lnTo>
                        <a:pt x="342" y="248"/>
                      </a:lnTo>
                      <a:lnTo>
                        <a:pt x="342" y="248"/>
                      </a:lnTo>
                      <a:lnTo>
                        <a:pt x="342" y="249"/>
                      </a:lnTo>
                      <a:lnTo>
                        <a:pt x="343" y="249"/>
                      </a:lnTo>
                      <a:lnTo>
                        <a:pt x="343" y="250"/>
                      </a:lnTo>
                      <a:lnTo>
                        <a:pt x="344" y="250"/>
                      </a:lnTo>
                      <a:lnTo>
                        <a:pt x="344" y="250"/>
                      </a:lnTo>
                      <a:lnTo>
                        <a:pt x="345" y="250"/>
                      </a:lnTo>
                      <a:lnTo>
                        <a:pt x="346" y="251"/>
                      </a:lnTo>
                      <a:lnTo>
                        <a:pt x="346" y="251"/>
                      </a:lnTo>
                      <a:lnTo>
                        <a:pt x="346" y="252"/>
                      </a:lnTo>
                      <a:lnTo>
                        <a:pt x="347" y="252"/>
                      </a:lnTo>
                      <a:lnTo>
                        <a:pt x="348" y="252"/>
                      </a:lnTo>
                      <a:lnTo>
                        <a:pt x="348" y="252"/>
                      </a:lnTo>
                      <a:lnTo>
                        <a:pt x="348" y="252"/>
                      </a:lnTo>
                      <a:lnTo>
                        <a:pt x="349" y="252"/>
                      </a:lnTo>
                      <a:lnTo>
                        <a:pt x="349" y="253"/>
                      </a:lnTo>
                      <a:lnTo>
                        <a:pt x="350" y="253"/>
                      </a:lnTo>
                      <a:lnTo>
                        <a:pt x="350" y="253"/>
                      </a:lnTo>
                      <a:lnTo>
                        <a:pt x="350" y="254"/>
                      </a:lnTo>
                      <a:lnTo>
                        <a:pt x="351" y="254"/>
                      </a:lnTo>
                      <a:lnTo>
                        <a:pt x="352" y="255"/>
                      </a:lnTo>
                      <a:lnTo>
                        <a:pt x="352" y="256"/>
                      </a:lnTo>
                      <a:lnTo>
                        <a:pt x="352" y="256"/>
                      </a:lnTo>
                      <a:lnTo>
                        <a:pt x="353" y="256"/>
                      </a:lnTo>
                      <a:lnTo>
                        <a:pt x="353" y="257"/>
                      </a:lnTo>
                      <a:lnTo>
                        <a:pt x="354" y="258"/>
                      </a:lnTo>
                      <a:lnTo>
                        <a:pt x="354" y="258"/>
                      </a:lnTo>
                      <a:lnTo>
                        <a:pt x="354" y="259"/>
                      </a:lnTo>
                      <a:lnTo>
                        <a:pt x="354" y="259"/>
                      </a:lnTo>
                      <a:lnTo>
                        <a:pt x="354" y="260"/>
                      </a:lnTo>
                      <a:lnTo>
                        <a:pt x="354" y="260"/>
                      </a:lnTo>
                      <a:lnTo>
                        <a:pt x="354" y="261"/>
                      </a:lnTo>
                      <a:lnTo>
                        <a:pt x="355" y="261"/>
                      </a:lnTo>
                      <a:lnTo>
                        <a:pt x="355" y="262"/>
                      </a:lnTo>
                      <a:lnTo>
                        <a:pt x="356" y="262"/>
                      </a:lnTo>
                      <a:lnTo>
                        <a:pt x="356" y="262"/>
                      </a:lnTo>
                      <a:lnTo>
                        <a:pt x="356" y="262"/>
                      </a:lnTo>
                      <a:lnTo>
                        <a:pt x="357" y="262"/>
                      </a:lnTo>
                      <a:lnTo>
                        <a:pt x="357" y="263"/>
                      </a:lnTo>
                      <a:lnTo>
                        <a:pt x="358" y="263"/>
                      </a:lnTo>
                      <a:lnTo>
                        <a:pt x="358" y="264"/>
                      </a:lnTo>
                      <a:lnTo>
                        <a:pt x="359" y="264"/>
                      </a:lnTo>
                      <a:lnTo>
                        <a:pt x="359" y="265"/>
                      </a:lnTo>
                      <a:lnTo>
                        <a:pt x="359" y="265"/>
                      </a:lnTo>
                      <a:lnTo>
                        <a:pt x="359" y="265"/>
                      </a:lnTo>
                      <a:lnTo>
                        <a:pt x="360" y="265"/>
                      </a:lnTo>
                      <a:lnTo>
                        <a:pt x="360" y="266"/>
                      </a:lnTo>
                      <a:lnTo>
                        <a:pt x="361" y="266"/>
                      </a:lnTo>
                      <a:lnTo>
                        <a:pt x="361" y="267"/>
                      </a:lnTo>
                      <a:lnTo>
                        <a:pt x="361" y="267"/>
                      </a:lnTo>
                      <a:lnTo>
                        <a:pt x="361" y="267"/>
                      </a:lnTo>
                      <a:lnTo>
                        <a:pt x="361" y="268"/>
                      </a:lnTo>
                      <a:lnTo>
                        <a:pt x="361" y="269"/>
                      </a:lnTo>
                      <a:lnTo>
                        <a:pt x="361" y="269"/>
                      </a:lnTo>
                      <a:lnTo>
                        <a:pt x="361" y="270"/>
                      </a:lnTo>
                      <a:lnTo>
                        <a:pt x="361" y="271"/>
                      </a:lnTo>
                      <a:lnTo>
                        <a:pt x="362" y="271"/>
                      </a:lnTo>
                      <a:lnTo>
                        <a:pt x="362" y="271"/>
                      </a:lnTo>
                      <a:lnTo>
                        <a:pt x="363" y="271"/>
                      </a:lnTo>
                      <a:lnTo>
                        <a:pt x="363" y="271"/>
                      </a:lnTo>
                      <a:lnTo>
                        <a:pt x="364" y="271"/>
                      </a:lnTo>
                      <a:lnTo>
                        <a:pt x="365" y="271"/>
                      </a:lnTo>
                      <a:lnTo>
                        <a:pt x="365" y="271"/>
                      </a:lnTo>
                      <a:lnTo>
                        <a:pt x="365" y="272"/>
                      </a:lnTo>
                      <a:lnTo>
                        <a:pt x="365" y="273"/>
                      </a:lnTo>
                      <a:lnTo>
                        <a:pt x="365" y="273"/>
                      </a:lnTo>
                      <a:lnTo>
                        <a:pt x="365" y="274"/>
                      </a:lnTo>
                      <a:lnTo>
                        <a:pt x="365" y="275"/>
                      </a:lnTo>
                      <a:lnTo>
                        <a:pt x="366" y="275"/>
                      </a:lnTo>
                      <a:lnTo>
                        <a:pt x="367" y="275"/>
                      </a:lnTo>
                      <a:lnTo>
                        <a:pt x="367" y="275"/>
                      </a:lnTo>
                      <a:lnTo>
                        <a:pt x="368" y="276"/>
                      </a:lnTo>
                      <a:lnTo>
                        <a:pt x="368" y="277"/>
                      </a:lnTo>
                      <a:lnTo>
                        <a:pt x="368" y="277"/>
                      </a:lnTo>
                      <a:lnTo>
                        <a:pt x="367" y="277"/>
                      </a:lnTo>
                      <a:lnTo>
                        <a:pt x="367" y="277"/>
                      </a:lnTo>
                      <a:lnTo>
                        <a:pt x="367" y="278"/>
                      </a:lnTo>
                      <a:lnTo>
                        <a:pt x="366" y="279"/>
                      </a:lnTo>
                      <a:lnTo>
                        <a:pt x="367" y="280"/>
                      </a:lnTo>
                      <a:lnTo>
                        <a:pt x="367" y="280"/>
                      </a:lnTo>
                      <a:lnTo>
                        <a:pt x="368" y="280"/>
                      </a:lnTo>
                      <a:lnTo>
                        <a:pt x="369" y="280"/>
                      </a:lnTo>
                      <a:lnTo>
                        <a:pt x="369" y="280"/>
                      </a:lnTo>
                      <a:lnTo>
                        <a:pt x="370" y="279"/>
                      </a:lnTo>
                      <a:lnTo>
                        <a:pt x="371" y="279"/>
                      </a:lnTo>
                      <a:lnTo>
                        <a:pt x="371" y="279"/>
                      </a:lnTo>
                      <a:lnTo>
                        <a:pt x="372" y="280"/>
                      </a:lnTo>
                      <a:lnTo>
                        <a:pt x="372" y="281"/>
                      </a:lnTo>
                      <a:lnTo>
                        <a:pt x="372" y="282"/>
                      </a:lnTo>
                      <a:lnTo>
                        <a:pt x="371" y="283"/>
                      </a:lnTo>
                      <a:lnTo>
                        <a:pt x="371" y="284"/>
                      </a:lnTo>
                      <a:lnTo>
                        <a:pt x="371" y="284"/>
                      </a:lnTo>
                      <a:lnTo>
                        <a:pt x="371" y="285"/>
                      </a:lnTo>
                      <a:lnTo>
                        <a:pt x="372" y="286"/>
                      </a:lnTo>
                      <a:lnTo>
                        <a:pt x="372" y="286"/>
                      </a:lnTo>
                      <a:lnTo>
                        <a:pt x="372" y="287"/>
                      </a:lnTo>
                      <a:lnTo>
                        <a:pt x="373" y="287"/>
                      </a:lnTo>
                      <a:lnTo>
                        <a:pt x="373" y="287"/>
                      </a:lnTo>
                      <a:lnTo>
                        <a:pt x="374" y="287"/>
                      </a:lnTo>
                      <a:lnTo>
                        <a:pt x="374" y="288"/>
                      </a:lnTo>
                      <a:lnTo>
                        <a:pt x="375" y="288"/>
                      </a:lnTo>
                      <a:lnTo>
                        <a:pt x="375" y="288"/>
                      </a:lnTo>
                      <a:lnTo>
                        <a:pt x="375" y="288"/>
                      </a:lnTo>
                      <a:lnTo>
                        <a:pt x="375" y="289"/>
                      </a:lnTo>
                      <a:lnTo>
                        <a:pt x="375" y="290"/>
                      </a:lnTo>
                      <a:lnTo>
                        <a:pt x="375" y="290"/>
                      </a:lnTo>
                      <a:lnTo>
                        <a:pt x="375" y="290"/>
                      </a:lnTo>
                      <a:lnTo>
                        <a:pt x="375" y="291"/>
                      </a:lnTo>
                      <a:lnTo>
                        <a:pt x="375" y="292"/>
                      </a:lnTo>
                      <a:lnTo>
                        <a:pt x="375" y="292"/>
                      </a:lnTo>
                      <a:lnTo>
                        <a:pt x="375" y="292"/>
                      </a:lnTo>
                      <a:lnTo>
                        <a:pt x="375" y="292"/>
                      </a:lnTo>
                      <a:lnTo>
                        <a:pt x="375" y="292"/>
                      </a:lnTo>
                      <a:lnTo>
                        <a:pt x="376" y="292"/>
                      </a:lnTo>
                      <a:lnTo>
                        <a:pt x="377" y="292"/>
                      </a:lnTo>
                      <a:lnTo>
                        <a:pt x="377" y="293"/>
                      </a:lnTo>
                      <a:lnTo>
                        <a:pt x="377" y="294"/>
                      </a:lnTo>
                      <a:lnTo>
                        <a:pt x="378" y="294"/>
                      </a:lnTo>
                      <a:lnTo>
                        <a:pt x="378" y="294"/>
                      </a:lnTo>
                      <a:lnTo>
                        <a:pt x="379" y="294"/>
                      </a:lnTo>
                      <a:lnTo>
                        <a:pt x="380" y="294"/>
                      </a:lnTo>
                      <a:lnTo>
                        <a:pt x="380" y="294"/>
                      </a:lnTo>
                      <a:lnTo>
                        <a:pt x="381" y="294"/>
                      </a:lnTo>
                      <a:lnTo>
                        <a:pt x="381" y="293"/>
                      </a:lnTo>
                      <a:lnTo>
                        <a:pt x="382" y="293"/>
                      </a:lnTo>
                      <a:lnTo>
                        <a:pt x="382" y="294"/>
                      </a:lnTo>
                      <a:lnTo>
                        <a:pt x="382" y="294"/>
                      </a:lnTo>
                      <a:lnTo>
                        <a:pt x="383" y="294"/>
                      </a:lnTo>
                      <a:lnTo>
                        <a:pt x="384" y="294"/>
                      </a:lnTo>
                      <a:lnTo>
                        <a:pt x="384" y="293"/>
                      </a:lnTo>
                      <a:lnTo>
                        <a:pt x="384" y="293"/>
                      </a:lnTo>
                      <a:lnTo>
                        <a:pt x="384" y="294"/>
                      </a:lnTo>
                      <a:lnTo>
                        <a:pt x="385" y="294"/>
                      </a:lnTo>
                      <a:lnTo>
                        <a:pt x="384" y="294"/>
                      </a:lnTo>
                      <a:lnTo>
                        <a:pt x="384" y="294"/>
                      </a:lnTo>
                      <a:lnTo>
                        <a:pt x="384" y="295"/>
                      </a:lnTo>
                      <a:lnTo>
                        <a:pt x="384" y="296"/>
                      </a:lnTo>
                      <a:lnTo>
                        <a:pt x="385" y="296"/>
                      </a:lnTo>
                      <a:lnTo>
                        <a:pt x="386" y="296"/>
                      </a:lnTo>
                      <a:lnTo>
                        <a:pt x="386" y="296"/>
                      </a:lnTo>
                      <a:lnTo>
                        <a:pt x="387" y="296"/>
                      </a:lnTo>
                      <a:lnTo>
                        <a:pt x="387" y="296"/>
                      </a:lnTo>
                      <a:lnTo>
                        <a:pt x="388" y="296"/>
                      </a:lnTo>
                      <a:lnTo>
                        <a:pt x="388" y="296"/>
                      </a:lnTo>
                      <a:lnTo>
                        <a:pt x="388" y="295"/>
                      </a:lnTo>
                      <a:lnTo>
                        <a:pt x="389" y="295"/>
                      </a:lnTo>
                      <a:lnTo>
                        <a:pt x="390" y="295"/>
                      </a:lnTo>
                      <a:lnTo>
                        <a:pt x="390" y="294"/>
                      </a:lnTo>
                      <a:lnTo>
                        <a:pt x="390" y="294"/>
                      </a:lnTo>
                      <a:lnTo>
                        <a:pt x="391" y="295"/>
                      </a:lnTo>
                      <a:lnTo>
                        <a:pt x="392" y="296"/>
                      </a:lnTo>
                      <a:lnTo>
                        <a:pt x="392" y="296"/>
                      </a:lnTo>
                      <a:lnTo>
                        <a:pt x="392" y="297"/>
                      </a:lnTo>
                      <a:lnTo>
                        <a:pt x="392" y="298"/>
                      </a:lnTo>
                      <a:lnTo>
                        <a:pt x="392" y="298"/>
                      </a:lnTo>
                      <a:lnTo>
                        <a:pt x="393" y="299"/>
                      </a:lnTo>
                      <a:lnTo>
                        <a:pt x="393" y="300"/>
                      </a:lnTo>
                      <a:lnTo>
                        <a:pt x="392" y="300"/>
                      </a:lnTo>
                      <a:lnTo>
                        <a:pt x="392" y="300"/>
                      </a:lnTo>
                      <a:lnTo>
                        <a:pt x="392" y="301"/>
                      </a:lnTo>
                      <a:lnTo>
                        <a:pt x="392" y="302"/>
                      </a:lnTo>
                      <a:lnTo>
                        <a:pt x="391" y="302"/>
                      </a:lnTo>
                      <a:lnTo>
                        <a:pt x="391" y="303"/>
                      </a:lnTo>
                      <a:lnTo>
                        <a:pt x="391" y="303"/>
                      </a:lnTo>
                      <a:lnTo>
                        <a:pt x="391" y="304"/>
                      </a:lnTo>
                      <a:lnTo>
                        <a:pt x="391" y="305"/>
                      </a:lnTo>
                      <a:lnTo>
                        <a:pt x="392" y="305"/>
                      </a:lnTo>
                      <a:lnTo>
                        <a:pt x="392" y="305"/>
                      </a:lnTo>
                      <a:lnTo>
                        <a:pt x="393" y="305"/>
                      </a:lnTo>
                      <a:lnTo>
                        <a:pt x="394" y="305"/>
                      </a:lnTo>
                      <a:lnTo>
                        <a:pt x="394" y="305"/>
                      </a:lnTo>
                      <a:lnTo>
                        <a:pt x="395" y="305"/>
                      </a:lnTo>
                      <a:lnTo>
                        <a:pt x="396" y="305"/>
                      </a:lnTo>
                      <a:lnTo>
                        <a:pt x="397" y="305"/>
                      </a:lnTo>
                      <a:lnTo>
                        <a:pt x="397" y="305"/>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8" name="Freeform 74">
                  <a:extLst>
                    <a:ext uri="{FF2B5EF4-FFF2-40B4-BE49-F238E27FC236}">
                      <a16:creationId xmlns:a16="http://schemas.microsoft.com/office/drawing/2014/main" xmlns="" id="{87541D80-C6BD-01E9-099B-4E83E40C13EE}"/>
                    </a:ext>
                  </a:extLst>
                </p:cNvPr>
                <p:cNvSpPr>
                  <a:spLocks/>
                </p:cNvSpPr>
                <p:nvPr/>
              </p:nvSpPr>
              <p:spPr bwMode="auto">
                <a:xfrm>
                  <a:off x="4875" y="2776"/>
                  <a:ext cx="195" cy="738"/>
                </a:xfrm>
                <a:custGeom>
                  <a:avLst/>
                  <a:gdLst>
                    <a:gd name="T0" fmla="*/ 24 w 195"/>
                    <a:gd name="T1" fmla="*/ 4 h 738"/>
                    <a:gd name="T2" fmla="*/ 31 w 195"/>
                    <a:gd name="T3" fmla="*/ 8 h 738"/>
                    <a:gd name="T4" fmla="*/ 32 w 195"/>
                    <a:gd name="T5" fmla="*/ 18 h 738"/>
                    <a:gd name="T6" fmla="*/ 41 w 195"/>
                    <a:gd name="T7" fmla="*/ 21 h 738"/>
                    <a:gd name="T8" fmla="*/ 49 w 195"/>
                    <a:gd name="T9" fmla="*/ 21 h 738"/>
                    <a:gd name="T10" fmla="*/ 51 w 195"/>
                    <a:gd name="T11" fmla="*/ 29 h 738"/>
                    <a:gd name="T12" fmla="*/ 60 w 195"/>
                    <a:gd name="T13" fmla="*/ 31 h 738"/>
                    <a:gd name="T14" fmla="*/ 66 w 195"/>
                    <a:gd name="T15" fmla="*/ 35 h 738"/>
                    <a:gd name="T16" fmla="*/ 89 w 195"/>
                    <a:gd name="T17" fmla="*/ 21 h 738"/>
                    <a:gd name="T18" fmla="*/ 129 w 195"/>
                    <a:gd name="T19" fmla="*/ 52 h 738"/>
                    <a:gd name="T20" fmla="*/ 117 w 195"/>
                    <a:gd name="T21" fmla="*/ 61 h 738"/>
                    <a:gd name="T22" fmla="*/ 118 w 195"/>
                    <a:gd name="T23" fmla="*/ 68 h 738"/>
                    <a:gd name="T24" fmla="*/ 122 w 195"/>
                    <a:gd name="T25" fmla="*/ 76 h 738"/>
                    <a:gd name="T26" fmla="*/ 127 w 195"/>
                    <a:gd name="T27" fmla="*/ 86 h 738"/>
                    <a:gd name="T28" fmla="*/ 133 w 195"/>
                    <a:gd name="T29" fmla="*/ 93 h 738"/>
                    <a:gd name="T30" fmla="*/ 134 w 195"/>
                    <a:gd name="T31" fmla="*/ 105 h 738"/>
                    <a:gd name="T32" fmla="*/ 140 w 195"/>
                    <a:gd name="T33" fmla="*/ 122 h 738"/>
                    <a:gd name="T34" fmla="*/ 134 w 195"/>
                    <a:gd name="T35" fmla="*/ 129 h 738"/>
                    <a:gd name="T36" fmla="*/ 143 w 195"/>
                    <a:gd name="T37" fmla="*/ 146 h 738"/>
                    <a:gd name="T38" fmla="*/ 156 w 195"/>
                    <a:gd name="T39" fmla="*/ 171 h 738"/>
                    <a:gd name="T40" fmla="*/ 160 w 195"/>
                    <a:gd name="T41" fmla="*/ 179 h 738"/>
                    <a:gd name="T42" fmla="*/ 162 w 195"/>
                    <a:gd name="T43" fmla="*/ 189 h 738"/>
                    <a:gd name="T44" fmla="*/ 165 w 195"/>
                    <a:gd name="T45" fmla="*/ 199 h 738"/>
                    <a:gd name="T46" fmla="*/ 171 w 195"/>
                    <a:gd name="T47" fmla="*/ 206 h 738"/>
                    <a:gd name="T48" fmla="*/ 178 w 195"/>
                    <a:gd name="T49" fmla="*/ 215 h 738"/>
                    <a:gd name="T50" fmla="*/ 190 w 195"/>
                    <a:gd name="T51" fmla="*/ 223 h 738"/>
                    <a:gd name="T52" fmla="*/ 172 w 195"/>
                    <a:gd name="T53" fmla="*/ 231 h 738"/>
                    <a:gd name="T54" fmla="*/ 165 w 195"/>
                    <a:gd name="T55" fmla="*/ 244 h 738"/>
                    <a:gd name="T56" fmla="*/ 142 w 195"/>
                    <a:gd name="T57" fmla="*/ 313 h 738"/>
                    <a:gd name="T58" fmla="*/ 136 w 195"/>
                    <a:gd name="T59" fmla="*/ 331 h 738"/>
                    <a:gd name="T60" fmla="*/ 131 w 195"/>
                    <a:gd name="T61" fmla="*/ 346 h 738"/>
                    <a:gd name="T62" fmla="*/ 124 w 195"/>
                    <a:gd name="T63" fmla="*/ 366 h 738"/>
                    <a:gd name="T64" fmla="*/ 116 w 195"/>
                    <a:gd name="T65" fmla="*/ 390 h 738"/>
                    <a:gd name="T66" fmla="*/ 113 w 195"/>
                    <a:gd name="T67" fmla="*/ 400 h 738"/>
                    <a:gd name="T68" fmla="*/ 118 w 195"/>
                    <a:gd name="T69" fmla="*/ 405 h 738"/>
                    <a:gd name="T70" fmla="*/ 123 w 195"/>
                    <a:gd name="T71" fmla="*/ 413 h 738"/>
                    <a:gd name="T72" fmla="*/ 123 w 195"/>
                    <a:gd name="T73" fmla="*/ 425 h 738"/>
                    <a:gd name="T74" fmla="*/ 127 w 195"/>
                    <a:gd name="T75" fmla="*/ 433 h 738"/>
                    <a:gd name="T76" fmla="*/ 125 w 195"/>
                    <a:gd name="T77" fmla="*/ 440 h 738"/>
                    <a:gd name="T78" fmla="*/ 99 w 195"/>
                    <a:gd name="T79" fmla="*/ 455 h 738"/>
                    <a:gd name="T80" fmla="*/ 87 w 195"/>
                    <a:gd name="T81" fmla="*/ 480 h 738"/>
                    <a:gd name="T82" fmla="*/ 77 w 195"/>
                    <a:gd name="T83" fmla="*/ 499 h 738"/>
                    <a:gd name="T84" fmla="*/ 67 w 195"/>
                    <a:gd name="T85" fmla="*/ 519 h 738"/>
                    <a:gd name="T86" fmla="*/ 62 w 195"/>
                    <a:gd name="T87" fmla="*/ 530 h 738"/>
                    <a:gd name="T88" fmla="*/ 58 w 195"/>
                    <a:gd name="T89" fmla="*/ 539 h 738"/>
                    <a:gd name="T90" fmla="*/ 52 w 195"/>
                    <a:gd name="T91" fmla="*/ 550 h 738"/>
                    <a:gd name="T92" fmla="*/ 24 w 195"/>
                    <a:gd name="T93" fmla="*/ 607 h 738"/>
                    <a:gd name="T94" fmla="*/ 16 w 195"/>
                    <a:gd name="T95" fmla="*/ 623 h 738"/>
                    <a:gd name="T96" fmla="*/ 25 w 195"/>
                    <a:gd name="T97" fmla="*/ 642 h 738"/>
                    <a:gd name="T98" fmla="*/ 47 w 195"/>
                    <a:gd name="T99" fmla="*/ 661 h 738"/>
                    <a:gd name="T100" fmla="*/ 68 w 195"/>
                    <a:gd name="T101" fmla="*/ 680 h 738"/>
                    <a:gd name="T102" fmla="*/ 75 w 195"/>
                    <a:gd name="T103" fmla="*/ 697 h 738"/>
                    <a:gd name="T104" fmla="*/ 68 w 195"/>
                    <a:gd name="T105" fmla="*/ 707 h 738"/>
                    <a:gd name="T106" fmla="*/ 58 w 195"/>
                    <a:gd name="T107" fmla="*/ 701 h 738"/>
                    <a:gd name="T108" fmla="*/ 49 w 195"/>
                    <a:gd name="T109" fmla="*/ 709 h 738"/>
                    <a:gd name="T110" fmla="*/ 36 w 195"/>
                    <a:gd name="T111" fmla="*/ 712 h 738"/>
                    <a:gd name="T112" fmla="*/ 20 w 195"/>
                    <a:gd name="T113" fmla="*/ 723 h 738"/>
                    <a:gd name="T114" fmla="*/ 3 w 195"/>
                    <a:gd name="T115" fmla="*/ 735 h 738"/>
                    <a:gd name="T116" fmla="*/ 8 w 195"/>
                    <a:gd name="T117" fmla="*/ 727 h 738"/>
                    <a:gd name="T118" fmla="*/ 5 w 195"/>
                    <a:gd name="T119" fmla="*/ 71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5" h="738">
                      <a:moveTo>
                        <a:pt x="18" y="2"/>
                      </a:moveTo>
                      <a:lnTo>
                        <a:pt x="19" y="2"/>
                      </a:lnTo>
                      <a:lnTo>
                        <a:pt x="20" y="2"/>
                      </a:lnTo>
                      <a:lnTo>
                        <a:pt x="20" y="2"/>
                      </a:lnTo>
                      <a:lnTo>
                        <a:pt x="20" y="1"/>
                      </a:lnTo>
                      <a:lnTo>
                        <a:pt x="21" y="1"/>
                      </a:lnTo>
                      <a:lnTo>
                        <a:pt x="22" y="0"/>
                      </a:lnTo>
                      <a:lnTo>
                        <a:pt x="22" y="0"/>
                      </a:lnTo>
                      <a:lnTo>
                        <a:pt x="23" y="0"/>
                      </a:lnTo>
                      <a:lnTo>
                        <a:pt x="24" y="0"/>
                      </a:lnTo>
                      <a:lnTo>
                        <a:pt x="24" y="1"/>
                      </a:lnTo>
                      <a:lnTo>
                        <a:pt x="24" y="1"/>
                      </a:lnTo>
                      <a:lnTo>
                        <a:pt x="24" y="2"/>
                      </a:lnTo>
                      <a:lnTo>
                        <a:pt x="24" y="2"/>
                      </a:lnTo>
                      <a:lnTo>
                        <a:pt x="24" y="3"/>
                      </a:lnTo>
                      <a:lnTo>
                        <a:pt x="24" y="3"/>
                      </a:lnTo>
                      <a:lnTo>
                        <a:pt x="24" y="4"/>
                      </a:lnTo>
                      <a:lnTo>
                        <a:pt x="24" y="4"/>
                      </a:lnTo>
                      <a:lnTo>
                        <a:pt x="24" y="5"/>
                      </a:lnTo>
                      <a:lnTo>
                        <a:pt x="24" y="6"/>
                      </a:lnTo>
                      <a:lnTo>
                        <a:pt x="24" y="6"/>
                      </a:lnTo>
                      <a:lnTo>
                        <a:pt x="24" y="6"/>
                      </a:lnTo>
                      <a:lnTo>
                        <a:pt x="24" y="7"/>
                      </a:lnTo>
                      <a:lnTo>
                        <a:pt x="25" y="7"/>
                      </a:lnTo>
                      <a:lnTo>
                        <a:pt x="25" y="8"/>
                      </a:lnTo>
                      <a:lnTo>
                        <a:pt x="26" y="8"/>
                      </a:lnTo>
                      <a:lnTo>
                        <a:pt x="26" y="8"/>
                      </a:lnTo>
                      <a:lnTo>
                        <a:pt x="27" y="8"/>
                      </a:lnTo>
                      <a:lnTo>
                        <a:pt x="28" y="8"/>
                      </a:lnTo>
                      <a:lnTo>
                        <a:pt x="28" y="8"/>
                      </a:lnTo>
                      <a:lnTo>
                        <a:pt x="29" y="8"/>
                      </a:lnTo>
                      <a:lnTo>
                        <a:pt x="30" y="8"/>
                      </a:lnTo>
                      <a:lnTo>
                        <a:pt x="30" y="8"/>
                      </a:lnTo>
                      <a:lnTo>
                        <a:pt x="31" y="8"/>
                      </a:lnTo>
                      <a:lnTo>
                        <a:pt x="32" y="8"/>
                      </a:lnTo>
                      <a:lnTo>
                        <a:pt x="32" y="9"/>
                      </a:lnTo>
                      <a:lnTo>
                        <a:pt x="32" y="10"/>
                      </a:lnTo>
                      <a:lnTo>
                        <a:pt x="32" y="10"/>
                      </a:lnTo>
                      <a:lnTo>
                        <a:pt x="32" y="11"/>
                      </a:lnTo>
                      <a:lnTo>
                        <a:pt x="32" y="12"/>
                      </a:lnTo>
                      <a:lnTo>
                        <a:pt x="32" y="12"/>
                      </a:lnTo>
                      <a:lnTo>
                        <a:pt x="32" y="13"/>
                      </a:lnTo>
                      <a:lnTo>
                        <a:pt x="32" y="14"/>
                      </a:lnTo>
                      <a:lnTo>
                        <a:pt x="32" y="14"/>
                      </a:lnTo>
                      <a:lnTo>
                        <a:pt x="32" y="15"/>
                      </a:lnTo>
                      <a:lnTo>
                        <a:pt x="32" y="15"/>
                      </a:lnTo>
                      <a:lnTo>
                        <a:pt x="32" y="16"/>
                      </a:lnTo>
                      <a:lnTo>
                        <a:pt x="32" y="16"/>
                      </a:lnTo>
                      <a:lnTo>
                        <a:pt x="32" y="17"/>
                      </a:lnTo>
                      <a:lnTo>
                        <a:pt x="32" y="18"/>
                      </a:lnTo>
                      <a:lnTo>
                        <a:pt x="32" y="18"/>
                      </a:lnTo>
                      <a:lnTo>
                        <a:pt x="33" y="18"/>
                      </a:lnTo>
                      <a:lnTo>
                        <a:pt x="33" y="18"/>
                      </a:lnTo>
                      <a:lnTo>
                        <a:pt x="34" y="18"/>
                      </a:lnTo>
                      <a:lnTo>
                        <a:pt x="34" y="18"/>
                      </a:lnTo>
                      <a:lnTo>
                        <a:pt x="35" y="18"/>
                      </a:lnTo>
                      <a:lnTo>
                        <a:pt x="36" y="18"/>
                      </a:lnTo>
                      <a:lnTo>
                        <a:pt x="36" y="19"/>
                      </a:lnTo>
                      <a:lnTo>
                        <a:pt x="37" y="19"/>
                      </a:lnTo>
                      <a:lnTo>
                        <a:pt x="37" y="20"/>
                      </a:lnTo>
                      <a:lnTo>
                        <a:pt x="38" y="20"/>
                      </a:lnTo>
                      <a:lnTo>
                        <a:pt x="38" y="21"/>
                      </a:lnTo>
                      <a:lnTo>
                        <a:pt x="39" y="21"/>
                      </a:lnTo>
                      <a:lnTo>
                        <a:pt x="39" y="21"/>
                      </a:lnTo>
                      <a:lnTo>
                        <a:pt x="39" y="21"/>
                      </a:lnTo>
                      <a:lnTo>
                        <a:pt x="40" y="21"/>
                      </a:lnTo>
                      <a:lnTo>
                        <a:pt x="40" y="21"/>
                      </a:lnTo>
                      <a:lnTo>
                        <a:pt x="41" y="21"/>
                      </a:lnTo>
                      <a:lnTo>
                        <a:pt x="41" y="21"/>
                      </a:lnTo>
                      <a:lnTo>
                        <a:pt x="42" y="21"/>
                      </a:lnTo>
                      <a:lnTo>
                        <a:pt x="42" y="20"/>
                      </a:lnTo>
                      <a:lnTo>
                        <a:pt x="43" y="20"/>
                      </a:lnTo>
                      <a:lnTo>
                        <a:pt x="43" y="20"/>
                      </a:lnTo>
                      <a:lnTo>
                        <a:pt x="43" y="19"/>
                      </a:lnTo>
                      <a:lnTo>
                        <a:pt x="44" y="19"/>
                      </a:lnTo>
                      <a:lnTo>
                        <a:pt x="45" y="18"/>
                      </a:lnTo>
                      <a:lnTo>
                        <a:pt x="45" y="18"/>
                      </a:lnTo>
                      <a:lnTo>
                        <a:pt x="45" y="19"/>
                      </a:lnTo>
                      <a:lnTo>
                        <a:pt x="46" y="19"/>
                      </a:lnTo>
                      <a:lnTo>
                        <a:pt x="47" y="19"/>
                      </a:lnTo>
                      <a:lnTo>
                        <a:pt x="47" y="20"/>
                      </a:lnTo>
                      <a:lnTo>
                        <a:pt x="47" y="20"/>
                      </a:lnTo>
                      <a:lnTo>
                        <a:pt x="48" y="20"/>
                      </a:lnTo>
                      <a:lnTo>
                        <a:pt x="49" y="21"/>
                      </a:lnTo>
                      <a:lnTo>
                        <a:pt x="49" y="21"/>
                      </a:lnTo>
                      <a:lnTo>
                        <a:pt x="49" y="21"/>
                      </a:lnTo>
                      <a:lnTo>
                        <a:pt x="49" y="22"/>
                      </a:lnTo>
                      <a:lnTo>
                        <a:pt x="50" y="22"/>
                      </a:lnTo>
                      <a:lnTo>
                        <a:pt x="50" y="23"/>
                      </a:lnTo>
                      <a:lnTo>
                        <a:pt x="50" y="23"/>
                      </a:lnTo>
                      <a:lnTo>
                        <a:pt x="50" y="24"/>
                      </a:lnTo>
                      <a:lnTo>
                        <a:pt x="51" y="24"/>
                      </a:lnTo>
                      <a:lnTo>
                        <a:pt x="51" y="25"/>
                      </a:lnTo>
                      <a:lnTo>
                        <a:pt x="51" y="25"/>
                      </a:lnTo>
                      <a:lnTo>
                        <a:pt x="51" y="26"/>
                      </a:lnTo>
                      <a:lnTo>
                        <a:pt x="51" y="27"/>
                      </a:lnTo>
                      <a:lnTo>
                        <a:pt x="51" y="27"/>
                      </a:lnTo>
                      <a:lnTo>
                        <a:pt x="51" y="27"/>
                      </a:lnTo>
                      <a:lnTo>
                        <a:pt x="51" y="27"/>
                      </a:lnTo>
                      <a:lnTo>
                        <a:pt x="51" y="27"/>
                      </a:lnTo>
                      <a:lnTo>
                        <a:pt x="51" y="28"/>
                      </a:lnTo>
                      <a:lnTo>
                        <a:pt x="51" y="29"/>
                      </a:lnTo>
                      <a:lnTo>
                        <a:pt x="51" y="29"/>
                      </a:lnTo>
                      <a:lnTo>
                        <a:pt x="51" y="29"/>
                      </a:lnTo>
                      <a:lnTo>
                        <a:pt x="51" y="29"/>
                      </a:lnTo>
                      <a:lnTo>
                        <a:pt x="52" y="30"/>
                      </a:lnTo>
                      <a:lnTo>
                        <a:pt x="53" y="30"/>
                      </a:lnTo>
                      <a:lnTo>
                        <a:pt x="53" y="30"/>
                      </a:lnTo>
                      <a:lnTo>
                        <a:pt x="54" y="30"/>
                      </a:lnTo>
                      <a:lnTo>
                        <a:pt x="55" y="31"/>
                      </a:lnTo>
                      <a:lnTo>
                        <a:pt x="56" y="31"/>
                      </a:lnTo>
                      <a:lnTo>
                        <a:pt x="56" y="30"/>
                      </a:lnTo>
                      <a:lnTo>
                        <a:pt x="56" y="30"/>
                      </a:lnTo>
                      <a:lnTo>
                        <a:pt x="57" y="30"/>
                      </a:lnTo>
                      <a:lnTo>
                        <a:pt x="57" y="31"/>
                      </a:lnTo>
                      <a:lnTo>
                        <a:pt x="58" y="31"/>
                      </a:lnTo>
                      <a:lnTo>
                        <a:pt x="58" y="31"/>
                      </a:lnTo>
                      <a:lnTo>
                        <a:pt x="59" y="31"/>
                      </a:lnTo>
                      <a:lnTo>
                        <a:pt x="60" y="31"/>
                      </a:lnTo>
                      <a:lnTo>
                        <a:pt x="60" y="32"/>
                      </a:lnTo>
                      <a:lnTo>
                        <a:pt x="60" y="32"/>
                      </a:lnTo>
                      <a:lnTo>
                        <a:pt x="60" y="33"/>
                      </a:lnTo>
                      <a:lnTo>
                        <a:pt x="60" y="33"/>
                      </a:lnTo>
                      <a:lnTo>
                        <a:pt x="61" y="33"/>
                      </a:lnTo>
                      <a:lnTo>
                        <a:pt x="62" y="33"/>
                      </a:lnTo>
                      <a:lnTo>
                        <a:pt x="62" y="33"/>
                      </a:lnTo>
                      <a:lnTo>
                        <a:pt x="62" y="34"/>
                      </a:lnTo>
                      <a:lnTo>
                        <a:pt x="62" y="35"/>
                      </a:lnTo>
                      <a:lnTo>
                        <a:pt x="62" y="35"/>
                      </a:lnTo>
                      <a:lnTo>
                        <a:pt x="63" y="35"/>
                      </a:lnTo>
                      <a:lnTo>
                        <a:pt x="64" y="35"/>
                      </a:lnTo>
                      <a:lnTo>
                        <a:pt x="64" y="35"/>
                      </a:lnTo>
                      <a:lnTo>
                        <a:pt x="65" y="35"/>
                      </a:lnTo>
                      <a:lnTo>
                        <a:pt x="65" y="35"/>
                      </a:lnTo>
                      <a:lnTo>
                        <a:pt x="66" y="35"/>
                      </a:lnTo>
                      <a:lnTo>
                        <a:pt x="66" y="35"/>
                      </a:lnTo>
                      <a:lnTo>
                        <a:pt x="67" y="35"/>
                      </a:lnTo>
                      <a:lnTo>
                        <a:pt x="67" y="34"/>
                      </a:lnTo>
                      <a:lnTo>
                        <a:pt x="68" y="34"/>
                      </a:lnTo>
                      <a:lnTo>
                        <a:pt x="68" y="34"/>
                      </a:lnTo>
                      <a:lnTo>
                        <a:pt x="68" y="33"/>
                      </a:lnTo>
                      <a:lnTo>
                        <a:pt x="69" y="33"/>
                      </a:lnTo>
                      <a:lnTo>
                        <a:pt x="70" y="33"/>
                      </a:lnTo>
                      <a:lnTo>
                        <a:pt x="70" y="35"/>
                      </a:lnTo>
                      <a:lnTo>
                        <a:pt x="74" y="33"/>
                      </a:lnTo>
                      <a:lnTo>
                        <a:pt x="75" y="32"/>
                      </a:lnTo>
                      <a:lnTo>
                        <a:pt x="76" y="31"/>
                      </a:lnTo>
                      <a:lnTo>
                        <a:pt x="77" y="31"/>
                      </a:lnTo>
                      <a:lnTo>
                        <a:pt x="79" y="29"/>
                      </a:lnTo>
                      <a:lnTo>
                        <a:pt x="81" y="27"/>
                      </a:lnTo>
                      <a:lnTo>
                        <a:pt x="86" y="24"/>
                      </a:lnTo>
                      <a:lnTo>
                        <a:pt x="87" y="23"/>
                      </a:lnTo>
                      <a:lnTo>
                        <a:pt x="89" y="21"/>
                      </a:lnTo>
                      <a:lnTo>
                        <a:pt x="91" y="21"/>
                      </a:lnTo>
                      <a:lnTo>
                        <a:pt x="92" y="20"/>
                      </a:lnTo>
                      <a:lnTo>
                        <a:pt x="92" y="21"/>
                      </a:lnTo>
                      <a:lnTo>
                        <a:pt x="96" y="24"/>
                      </a:lnTo>
                      <a:lnTo>
                        <a:pt x="102" y="29"/>
                      </a:lnTo>
                      <a:lnTo>
                        <a:pt x="105" y="31"/>
                      </a:lnTo>
                      <a:lnTo>
                        <a:pt x="108" y="34"/>
                      </a:lnTo>
                      <a:lnTo>
                        <a:pt x="125" y="47"/>
                      </a:lnTo>
                      <a:lnTo>
                        <a:pt x="126" y="48"/>
                      </a:lnTo>
                      <a:lnTo>
                        <a:pt x="127" y="48"/>
                      </a:lnTo>
                      <a:lnTo>
                        <a:pt x="127" y="49"/>
                      </a:lnTo>
                      <a:lnTo>
                        <a:pt x="128" y="49"/>
                      </a:lnTo>
                      <a:lnTo>
                        <a:pt x="128" y="50"/>
                      </a:lnTo>
                      <a:lnTo>
                        <a:pt x="129" y="50"/>
                      </a:lnTo>
                      <a:lnTo>
                        <a:pt x="129" y="50"/>
                      </a:lnTo>
                      <a:lnTo>
                        <a:pt x="129" y="51"/>
                      </a:lnTo>
                      <a:lnTo>
                        <a:pt x="129" y="52"/>
                      </a:lnTo>
                      <a:lnTo>
                        <a:pt x="128" y="52"/>
                      </a:lnTo>
                      <a:lnTo>
                        <a:pt x="127" y="53"/>
                      </a:lnTo>
                      <a:lnTo>
                        <a:pt x="127" y="54"/>
                      </a:lnTo>
                      <a:lnTo>
                        <a:pt x="126" y="54"/>
                      </a:lnTo>
                      <a:lnTo>
                        <a:pt x="125" y="54"/>
                      </a:lnTo>
                      <a:lnTo>
                        <a:pt x="125" y="54"/>
                      </a:lnTo>
                      <a:lnTo>
                        <a:pt x="125" y="55"/>
                      </a:lnTo>
                      <a:lnTo>
                        <a:pt x="124" y="56"/>
                      </a:lnTo>
                      <a:lnTo>
                        <a:pt x="123" y="56"/>
                      </a:lnTo>
                      <a:lnTo>
                        <a:pt x="123" y="56"/>
                      </a:lnTo>
                      <a:lnTo>
                        <a:pt x="123" y="56"/>
                      </a:lnTo>
                      <a:lnTo>
                        <a:pt x="123" y="57"/>
                      </a:lnTo>
                      <a:lnTo>
                        <a:pt x="123" y="58"/>
                      </a:lnTo>
                      <a:lnTo>
                        <a:pt x="122" y="58"/>
                      </a:lnTo>
                      <a:lnTo>
                        <a:pt x="121" y="59"/>
                      </a:lnTo>
                      <a:lnTo>
                        <a:pt x="120" y="60"/>
                      </a:lnTo>
                      <a:lnTo>
                        <a:pt x="117" y="61"/>
                      </a:lnTo>
                      <a:lnTo>
                        <a:pt x="117" y="62"/>
                      </a:lnTo>
                      <a:lnTo>
                        <a:pt x="117" y="63"/>
                      </a:lnTo>
                      <a:lnTo>
                        <a:pt x="117" y="63"/>
                      </a:lnTo>
                      <a:lnTo>
                        <a:pt x="117" y="64"/>
                      </a:lnTo>
                      <a:lnTo>
                        <a:pt x="118" y="64"/>
                      </a:lnTo>
                      <a:lnTo>
                        <a:pt x="118" y="63"/>
                      </a:lnTo>
                      <a:lnTo>
                        <a:pt x="119" y="63"/>
                      </a:lnTo>
                      <a:lnTo>
                        <a:pt x="119" y="63"/>
                      </a:lnTo>
                      <a:lnTo>
                        <a:pt x="119" y="64"/>
                      </a:lnTo>
                      <a:lnTo>
                        <a:pt x="119" y="65"/>
                      </a:lnTo>
                      <a:lnTo>
                        <a:pt x="119" y="65"/>
                      </a:lnTo>
                      <a:lnTo>
                        <a:pt x="119" y="66"/>
                      </a:lnTo>
                      <a:lnTo>
                        <a:pt x="119" y="67"/>
                      </a:lnTo>
                      <a:lnTo>
                        <a:pt x="119" y="67"/>
                      </a:lnTo>
                      <a:lnTo>
                        <a:pt x="119" y="67"/>
                      </a:lnTo>
                      <a:lnTo>
                        <a:pt x="118" y="67"/>
                      </a:lnTo>
                      <a:lnTo>
                        <a:pt x="118" y="68"/>
                      </a:lnTo>
                      <a:lnTo>
                        <a:pt x="117" y="69"/>
                      </a:lnTo>
                      <a:lnTo>
                        <a:pt x="117" y="69"/>
                      </a:lnTo>
                      <a:lnTo>
                        <a:pt x="117" y="70"/>
                      </a:lnTo>
                      <a:lnTo>
                        <a:pt x="117" y="71"/>
                      </a:lnTo>
                      <a:lnTo>
                        <a:pt x="117" y="71"/>
                      </a:lnTo>
                      <a:lnTo>
                        <a:pt x="117" y="72"/>
                      </a:lnTo>
                      <a:lnTo>
                        <a:pt x="118" y="73"/>
                      </a:lnTo>
                      <a:lnTo>
                        <a:pt x="118" y="73"/>
                      </a:lnTo>
                      <a:lnTo>
                        <a:pt x="118" y="74"/>
                      </a:lnTo>
                      <a:lnTo>
                        <a:pt x="118" y="75"/>
                      </a:lnTo>
                      <a:lnTo>
                        <a:pt x="119" y="75"/>
                      </a:lnTo>
                      <a:lnTo>
                        <a:pt x="119" y="75"/>
                      </a:lnTo>
                      <a:lnTo>
                        <a:pt x="119" y="75"/>
                      </a:lnTo>
                      <a:lnTo>
                        <a:pt x="120" y="76"/>
                      </a:lnTo>
                      <a:lnTo>
                        <a:pt x="121" y="76"/>
                      </a:lnTo>
                      <a:lnTo>
                        <a:pt x="121" y="76"/>
                      </a:lnTo>
                      <a:lnTo>
                        <a:pt x="122" y="76"/>
                      </a:lnTo>
                      <a:lnTo>
                        <a:pt x="122" y="77"/>
                      </a:lnTo>
                      <a:lnTo>
                        <a:pt x="123" y="78"/>
                      </a:lnTo>
                      <a:lnTo>
                        <a:pt x="123" y="79"/>
                      </a:lnTo>
                      <a:lnTo>
                        <a:pt x="123" y="80"/>
                      </a:lnTo>
                      <a:lnTo>
                        <a:pt x="123" y="80"/>
                      </a:lnTo>
                      <a:lnTo>
                        <a:pt x="123" y="81"/>
                      </a:lnTo>
                      <a:lnTo>
                        <a:pt x="123" y="82"/>
                      </a:lnTo>
                      <a:lnTo>
                        <a:pt x="124" y="82"/>
                      </a:lnTo>
                      <a:lnTo>
                        <a:pt x="124" y="83"/>
                      </a:lnTo>
                      <a:lnTo>
                        <a:pt x="124" y="84"/>
                      </a:lnTo>
                      <a:lnTo>
                        <a:pt x="124" y="84"/>
                      </a:lnTo>
                      <a:lnTo>
                        <a:pt x="125" y="84"/>
                      </a:lnTo>
                      <a:lnTo>
                        <a:pt x="125" y="85"/>
                      </a:lnTo>
                      <a:lnTo>
                        <a:pt x="125" y="85"/>
                      </a:lnTo>
                      <a:lnTo>
                        <a:pt x="126" y="85"/>
                      </a:lnTo>
                      <a:lnTo>
                        <a:pt x="127" y="85"/>
                      </a:lnTo>
                      <a:lnTo>
                        <a:pt x="127" y="86"/>
                      </a:lnTo>
                      <a:lnTo>
                        <a:pt x="127" y="86"/>
                      </a:lnTo>
                      <a:lnTo>
                        <a:pt x="127" y="87"/>
                      </a:lnTo>
                      <a:lnTo>
                        <a:pt x="127" y="88"/>
                      </a:lnTo>
                      <a:lnTo>
                        <a:pt x="128" y="88"/>
                      </a:lnTo>
                      <a:lnTo>
                        <a:pt x="128" y="89"/>
                      </a:lnTo>
                      <a:lnTo>
                        <a:pt x="128" y="90"/>
                      </a:lnTo>
                      <a:lnTo>
                        <a:pt x="128" y="90"/>
                      </a:lnTo>
                      <a:lnTo>
                        <a:pt x="129" y="91"/>
                      </a:lnTo>
                      <a:lnTo>
                        <a:pt x="129" y="92"/>
                      </a:lnTo>
                      <a:lnTo>
                        <a:pt x="130" y="92"/>
                      </a:lnTo>
                      <a:lnTo>
                        <a:pt x="130" y="92"/>
                      </a:lnTo>
                      <a:lnTo>
                        <a:pt x="130" y="92"/>
                      </a:lnTo>
                      <a:lnTo>
                        <a:pt x="131" y="92"/>
                      </a:lnTo>
                      <a:lnTo>
                        <a:pt x="132" y="92"/>
                      </a:lnTo>
                      <a:lnTo>
                        <a:pt x="132" y="92"/>
                      </a:lnTo>
                      <a:lnTo>
                        <a:pt x="132" y="93"/>
                      </a:lnTo>
                      <a:lnTo>
                        <a:pt x="133" y="93"/>
                      </a:lnTo>
                      <a:lnTo>
                        <a:pt x="134" y="94"/>
                      </a:lnTo>
                      <a:lnTo>
                        <a:pt x="134" y="94"/>
                      </a:lnTo>
                      <a:lnTo>
                        <a:pt x="134" y="94"/>
                      </a:lnTo>
                      <a:lnTo>
                        <a:pt x="134" y="95"/>
                      </a:lnTo>
                      <a:lnTo>
                        <a:pt x="134" y="96"/>
                      </a:lnTo>
                      <a:lnTo>
                        <a:pt x="134" y="97"/>
                      </a:lnTo>
                      <a:lnTo>
                        <a:pt x="134" y="98"/>
                      </a:lnTo>
                      <a:lnTo>
                        <a:pt x="134" y="99"/>
                      </a:lnTo>
                      <a:lnTo>
                        <a:pt x="134" y="99"/>
                      </a:lnTo>
                      <a:lnTo>
                        <a:pt x="134" y="100"/>
                      </a:lnTo>
                      <a:lnTo>
                        <a:pt x="134" y="101"/>
                      </a:lnTo>
                      <a:lnTo>
                        <a:pt x="134" y="101"/>
                      </a:lnTo>
                      <a:lnTo>
                        <a:pt x="134" y="102"/>
                      </a:lnTo>
                      <a:lnTo>
                        <a:pt x="134" y="103"/>
                      </a:lnTo>
                      <a:lnTo>
                        <a:pt x="134" y="103"/>
                      </a:lnTo>
                      <a:lnTo>
                        <a:pt x="134" y="104"/>
                      </a:lnTo>
                      <a:lnTo>
                        <a:pt x="134" y="105"/>
                      </a:lnTo>
                      <a:lnTo>
                        <a:pt x="134" y="105"/>
                      </a:lnTo>
                      <a:lnTo>
                        <a:pt x="134" y="106"/>
                      </a:lnTo>
                      <a:lnTo>
                        <a:pt x="134" y="107"/>
                      </a:lnTo>
                      <a:lnTo>
                        <a:pt x="135" y="109"/>
                      </a:lnTo>
                      <a:lnTo>
                        <a:pt x="136" y="110"/>
                      </a:lnTo>
                      <a:lnTo>
                        <a:pt x="136" y="111"/>
                      </a:lnTo>
                      <a:lnTo>
                        <a:pt x="136" y="111"/>
                      </a:lnTo>
                      <a:lnTo>
                        <a:pt x="138" y="113"/>
                      </a:lnTo>
                      <a:lnTo>
                        <a:pt x="138" y="113"/>
                      </a:lnTo>
                      <a:lnTo>
                        <a:pt x="139" y="115"/>
                      </a:lnTo>
                      <a:lnTo>
                        <a:pt x="140" y="116"/>
                      </a:lnTo>
                      <a:lnTo>
                        <a:pt x="140" y="117"/>
                      </a:lnTo>
                      <a:lnTo>
                        <a:pt x="140" y="119"/>
                      </a:lnTo>
                      <a:lnTo>
                        <a:pt x="140" y="120"/>
                      </a:lnTo>
                      <a:lnTo>
                        <a:pt x="140" y="121"/>
                      </a:lnTo>
                      <a:lnTo>
                        <a:pt x="140" y="122"/>
                      </a:lnTo>
                      <a:lnTo>
                        <a:pt x="140" y="122"/>
                      </a:lnTo>
                      <a:lnTo>
                        <a:pt x="139" y="122"/>
                      </a:lnTo>
                      <a:lnTo>
                        <a:pt x="138" y="122"/>
                      </a:lnTo>
                      <a:lnTo>
                        <a:pt x="137" y="122"/>
                      </a:lnTo>
                      <a:lnTo>
                        <a:pt x="136" y="122"/>
                      </a:lnTo>
                      <a:lnTo>
                        <a:pt x="135" y="122"/>
                      </a:lnTo>
                      <a:lnTo>
                        <a:pt x="134" y="122"/>
                      </a:lnTo>
                      <a:lnTo>
                        <a:pt x="132" y="122"/>
                      </a:lnTo>
                      <a:lnTo>
                        <a:pt x="131" y="121"/>
                      </a:lnTo>
                      <a:lnTo>
                        <a:pt x="132" y="123"/>
                      </a:lnTo>
                      <a:lnTo>
                        <a:pt x="132" y="124"/>
                      </a:lnTo>
                      <a:lnTo>
                        <a:pt x="132" y="124"/>
                      </a:lnTo>
                      <a:lnTo>
                        <a:pt x="132" y="124"/>
                      </a:lnTo>
                      <a:lnTo>
                        <a:pt x="132" y="125"/>
                      </a:lnTo>
                      <a:lnTo>
                        <a:pt x="133" y="126"/>
                      </a:lnTo>
                      <a:lnTo>
                        <a:pt x="134" y="127"/>
                      </a:lnTo>
                      <a:lnTo>
                        <a:pt x="134" y="128"/>
                      </a:lnTo>
                      <a:lnTo>
                        <a:pt x="134" y="129"/>
                      </a:lnTo>
                      <a:lnTo>
                        <a:pt x="135" y="130"/>
                      </a:lnTo>
                      <a:lnTo>
                        <a:pt x="136" y="131"/>
                      </a:lnTo>
                      <a:lnTo>
                        <a:pt x="136" y="132"/>
                      </a:lnTo>
                      <a:lnTo>
                        <a:pt x="136" y="133"/>
                      </a:lnTo>
                      <a:lnTo>
                        <a:pt x="137" y="134"/>
                      </a:lnTo>
                      <a:lnTo>
                        <a:pt x="138" y="134"/>
                      </a:lnTo>
                      <a:lnTo>
                        <a:pt x="138" y="136"/>
                      </a:lnTo>
                      <a:lnTo>
                        <a:pt x="138" y="136"/>
                      </a:lnTo>
                      <a:lnTo>
                        <a:pt x="139" y="138"/>
                      </a:lnTo>
                      <a:lnTo>
                        <a:pt x="140" y="139"/>
                      </a:lnTo>
                      <a:lnTo>
                        <a:pt x="140" y="140"/>
                      </a:lnTo>
                      <a:lnTo>
                        <a:pt x="140" y="141"/>
                      </a:lnTo>
                      <a:lnTo>
                        <a:pt x="141" y="142"/>
                      </a:lnTo>
                      <a:lnTo>
                        <a:pt x="142" y="143"/>
                      </a:lnTo>
                      <a:lnTo>
                        <a:pt x="142" y="144"/>
                      </a:lnTo>
                      <a:lnTo>
                        <a:pt x="142" y="145"/>
                      </a:lnTo>
                      <a:lnTo>
                        <a:pt x="143" y="146"/>
                      </a:lnTo>
                      <a:lnTo>
                        <a:pt x="144" y="147"/>
                      </a:lnTo>
                      <a:lnTo>
                        <a:pt x="144" y="148"/>
                      </a:lnTo>
                      <a:lnTo>
                        <a:pt x="144" y="149"/>
                      </a:lnTo>
                      <a:lnTo>
                        <a:pt x="145" y="150"/>
                      </a:lnTo>
                      <a:lnTo>
                        <a:pt x="146" y="151"/>
                      </a:lnTo>
                      <a:lnTo>
                        <a:pt x="146" y="152"/>
                      </a:lnTo>
                      <a:lnTo>
                        <a:pt x="146" y="153"/>
                      </a:lnTo>
                      <a:lnTo>
                        <a:pt x="147" y="154"/>
                      </a:lnTo>
                      <a:lnTo>
                        <a:pt x="148" y="155"/>
                      </a:lnTo>
                      <a:lnTo>
                        <a:pt x="149" y="156"/>
                      </a:lnTo>
                      <a:lnTo>
                        <a:pt x="149" y="157"/>
                      </a:lnTo>
                      <a:lnTo>
                        <a:pt x="149" y="158"/>
                      </a:lnTo>
                      <a:lnTo>
                        <a:pt x="150" y="159"/>
                      </a:lnTo>
                      <a:lnTo>
                        <a:pt x="151" y="160"/>
                      </a:lnTo>
                      <a:lnTo>
                        <a:pt x="151" y="162"/>
                      </a:lnTo>
                      <a:lnTo>
                        <a:pt x="155" y="170"/>
                      </a:lnTo>
                      <a:lnTo>
                        <a:pt x="156" y="171"/>
                      </a:lnTo>
                      <a:lnTo>
                        <a:pt x="156" y="172"/>
                      </a:lnTo>
                      <a:lnTo>
                        <a:pt x="157" y="172"/>
                      </a:lnTo>
                      <a:lnTo>
                        <a:pt x="157" y="172"/>
                      </a:lnTo>
                      <a:lnTo>
                        <a:pt x="157" y="173"/>
                      </a:lnTo>
                      <a:lnTo>
                        <a:pt x="157" y="173"/>
                      </a:lnTo>
                      <a:lnTo>
                        <a:pt x="157" y="174"/>
                      </a:lnTo>
                      <a:lnTo>
                        <a:pt x="157" y="174"/>
                      </a:lnTo>
                      <a:lnTo>
                        <a:pt x="158" y="174"/>
                      </a:lnTo>
                      <a:lnTo>
                        <a:pt x="158" y="175"/>
                      </a:lnTo>
                      <a:lnTo>
                        <a:pt x="158" y="176"/>
                      </a:lnTo>
                      <a:lnTo>
                        <a:pt x="159" y="176"/>
                      </a:lnTo>
                      <a:lnTo>
                        <a:pt x="159" y="176"/>
                      </a:lnTo>
                      <a:lnTo>
                        <a:pt x="159" y="177"/>
                      </a:lnTo>
                      <a:lnTo>
                        <a:pt x="159" y="177"/>
                      </a:lnTo>
                      <a:lnTo>
                        <a:pt x="159" y="178"/>
                      </a:lnTo>
                      <a:lnTo>
                        <a:pt x="159" y="179"/>
                      </a:lnTo>
                      <a:lnTo>
                        <a:pt x="160" y="179"/>
                      </a:lnTo>
                      <a:lnTo>
                        <a:pt x="160" y="179"/>
                      </a:lnTo>
                      <a:lnTo>
                        <a:pt x="160" y="180"/>
                      </a:lnTo>
                      <a:lnTo>
                        <a:pt x="160" y="181"/>
                      </a:lnTo>
                      <a:lnTo>
                        <a:pt x="161" y="181"/>
                      </a:lnTo>
                      <a:lnTo>
                        <a:pt x="161" y="182"/>
                      </a:lnTo>
                      <a:lnTo>
                        <a:pt x="161" y="183"/>
                      </a:lnTo>
                      <a:lnTo>
                        <a:pt x="161" y="183"/>
                      </a:lnTo>
                      <a:lnTo>
                        <a:pt x="161" y="184"/>
                      </a:lnTo>
                      <a:lnTo>
                        <a:pt x="161" y="184"/>
                      </a:lnTo>
                      <a:lnTo>
                        <a:pt x="161" y="185"/>
                      </a:lnTo>
                      <a:lnTo>
                        <a:pt x="161" y="185"/>
                      </a:lnTo>
                      <a:lnTo>
                        <a:pt x="161" y="186"/>
                      </a:lnTo>
                      <a:lnTo>
                        <a:pt x="161" y="187"/>
                      </a:lnTo>
                      <a:lnTo>
                        <a:pt x="162" y="187"/>
                      </a:lnTo>
                      <a:lnTo>
                        <a:pt x="162" y="187"/>
                      </a:lnTo>
                      <a:lnTo>
                        <a:pt x="162" y="188"/>
                      </a:lnTo>
                      <a:lnTo>
                        <a:pt x="162" y="189"/>
                      </a:lnTo>
                      <a:lnTo>
                        <a:pt x="162" y="189"/>
                      </a:lnTo>
                      <a:lnTo>
                        <a:pt x="163" y="189"/>
                      </a:lnTo>
                      <a:lnTo>
                        <a:pt x="163" y="190"/>
                      </a:lnTo>
                      <a:lnTo>
                        <a:pt x="163" y="191"/>
                      </a:lnTo>
                      <a:lnTo>
                        <a:pt x="163" y="191"/>
                      </a:lnTo>
                      <a:lnTo>
                        <a:pt x="163" y="192"/>
                      </a:lnTo>
                      <a:lnTo>
                        <a:pt x="163" y="193"/>
                      </a:lnTo>
                      <a:lnTo>
                        <a:pt x="163" y="193"/>
                      </a:lnTo>
                      <a:lnTo>
                        <a:pt x="163" y="194"/>
                      </a:lnTo>
                      <a:lnTo>
                        <a:pt x="163" y="195"/>
                      </a:lnTo>
                      <a:lnTo>
                        <a:pt x="164" y="195"/>
                      </a:lnTo>
                      <a:lnTo>
                        <a:pt x="164" y="196"/>
                      </a:lnTo>
                      <a:lnTo>
                        <a:pt x="164" y="197"/>
                      </a:lnTo>
                      <a:lnTo>
                        <a:pt x="164" y="198"/>
                      </a:lnTo>
                      <a:lnTo>
                        <a:pt x="164" y="198"/>
                      </a:lnTo>
                      <a:lnTo>
                        <a:pt x="165" y="198"/>
                      </a:lnTo>
                      <a:lnTo>
                        <a:pt x="165" y="199"/>
                      </a:lnTo>
                      <a:lnTo>
                        <a:pt x="165" y="200"/>
                      </a:lnTo>
                      <a:lnTo>
                        <a:pt x="165" y="200"/>
                      </a:lnTo>
                      <a:lnTo>
                        <a:pt x="165" y="200"/>
                      </a:lnTo>
                      <a:lnTo>
                        <a:pt x="166" y="200"/>
                      </a:lnTo>
                      <a:lnTo>
                        <a:pt x="166" y="201"/>
                      </a:lnTo>
                      <a:lnTo>
                        <a:pt x="166" y="202"/>
                      </a:lnTo>
                      <a:lnTo>
                        <a:pt x="167" y="202"/>
                      </a:lnTo>
                      <a:lnTo>
                        <a:pt x="167" y="202"/>
                      </a:lnTo>
                      <a:lnTo>
                        <a:pt x="168" y="202"/>
                      </a:lnTo>
                      <a:lnTo>
                        <a:pt x="168" y="203"/>
                      </a:lnTo>
                      <a:lnTo>
                        <a:pt x="168" y="203"/>
                      </a:lnTo>
                      <a:lnTo>
                        <a:pt x="168" y="204"/>
                      </a:lnTo>
                      <a:lnTo>
                        <a:pt x="169" y="204"/>
                      </a:lnTo>
                      <a:lnTo>
                        <a:pt x="170" y="205"/>
                      </a:lnTo>
                      <a:lnTo>
                        <a:pt x="170" y="206"/>
                      </a:lnTo>
                      <a:lnTo>
                        <a:pt x="170" y="206"/>
                      </a:lnTo>
                      <a:lnTo>
                        <a:pt x="171" y="206"/>
                      </a:lnTo>
                      <a:lnTo>
                        <a:pt x="171" y="207"/>
                      </a:lnTo>
                      <a:lnTo>
                        <a:pt x="172" y="207"/>
                      </a:lnTo>
                      <a:lnTo>
                        <a:pt x="172" y="208"/>
                      </a:lnTo>
                      <a:lnTo>
                        <a:pt x="172" y="208"/>
                      </a:lnTo>
                      <a:lnTo>
                        <a:pt x="173" y="209"/>
                      </a:lnTo>
                      <a:lnTo>
                        <a:pt x="173" y="210"/>
                      </a:lnTo>
                      <a:lnTo>
                        <a:pt x="174" y="210"/>
                      </a:lnTo>
                      <a:lnTo>
                        <a:pt x="174" y="210"/>
                      </a:lnTo>
                      <a:lnTo>
                        <a:pt x="174" y="210"/>
                      </a:lnTo>
                      <a:lnTo>
                        <a:pt x="174" y="211"/>
                      </a:lnTo>
                      <a:lnTo>
                        <a:pt x="175" y="211"/>
                      </a:lnTo>
                      <a:lnTo>
                        <a:pt x="175" y="212"/>
                      </a:lnTo>
                      <a:lnTo>
                        <a:pt x="176" y="212"/>
                      </a:lnTo>
                      <a:lnTo>
                        <a:pt x="176" y="213"/>
                      </a:lnTo>
                      <a:lnTo>
                        <a:pt x="176" y="213"/>
                      </a:lnTo>
                      <a:lnTo>
                        <a:pt x="176" y="214"/>
                      </a:lnTo>
                      <a:lnTo>
                        <a:pt x="178" y="215"/>
                      </a:lnTo>
                      <a:lnTo>
                        <a:pt x="179" y="217"/>
                      </a:lnTo>
                      <a:lnTo>
                        <a:pt x="180" y="217"/>
                      </a:lnTo>
                      <a:lnTo>
                        <a:pt x="180" y="218"/>
                      </a:lnTo>
                      <a:lnTo>
                        <a:pt x="182" y="220"/>
                      </a:lnTo>
                      <a:lnTo>
                        <a:pt x="182" y="221"/>
                      </a:lnTo>
                      <a:lnTo>
                        <a:pt x="183" y="221"/>
                      </a:lnTo>
                      <a:lnTo>
                        <a:pt x="184" y="221"/>
                      </a:lnTo>
                      <a:lnTo>
                        <a:pt x="183" y="221"/>
                      </a:lnTo>
                      <a:lnTo>
                        <a:pt x="183" y="220"/>
                      </a:lnTo>
                      <a:lnTo>
                        <a:pt x="184" y="220"/>
                      </a:lnTo>
                      <a:lnTo>
                        <a:pt x="184" y="220"/>
                      </a:lnTo>
                      <a:lnTo>
                        <a:pt x="187" y="221"/>
                      </a:lnTo>
                      <a:lnTo>
                        <a:pt x="187" y="221"/>
                      </a:lnTo>
                      <a:lnTo>
                        <a:pt x="189" y="221"/>
                      </a:lnTo>
                      <a:lnTo>
                        <a:pt x="189" y="221"/>
                      </a:lnTo>
                      <a:lnTo>
                        <a:pt x="190" y="222"/>
                      </a:lnTo>
                      <a:lnTo>
                        <a:pt x="190" y="223"/>
                      </a:lnTo>
                      <a:lnTo>
                        <a:pt x="191" y="224"/>
                      </a:lnTo>
                      <a:lnTo>
                        <a:pt x="191" y="225"/>
                      </a:lnTo>
                      <a:lnTo>
                        <a:pt x="192" y="227"/>
                      </a:lnTo>
                      <a:lnTo>
                        <a:pt x="193" y="228"/>
                      </a:lnTo>
                      <a:lnTo>
                        <a:pt x="195" y="229"/>
                      </a:lnTo>
                      <a:lnTo>
                        <a:pt x="195" y="229"/>
                      </a:lnTo>
                      <a:lnTo>
                        <a:pt x="195" y="231"/>
                      </a:lnTo>
                      <a:lnTo>
                        <a:pt x="184" y="231"/>
                      </a:lnTo>
                      <a:lnTo>
                        <a:pt x="183" y="231"/>
                      </a:lnTo>
                      <a:lnTo>
                        <a:pt x="181" y="231"/>
                      </a:lnTo>
                      <a:lnTo>
                        <a:pt x="180" y="231"/>
                      </a:lnTo>
                      <a:lnTo>
                        <a:pt x="178" y="231"/>
                      </a:lnTo>
                      <a:lnTo>
                        <a:pt x="176" y="231"/>
                      </a:lnTo>
                      <a:lnTo>
                        <a:pt x="176" y="231"/>
                      </a:lnTo>
                      <a:lnTo>
                        <a:pt x="175" y="231"/>
                      </a:lnTo>
                      <a:lnTo>
                        <a:pt x="174" y="231"/>
                      </a:lnTo>
                      <a:lnTo>
                        <a:pt x="172" y="231"/>
                      </a:lnTo>
                      <a:lnTo>
                        <a:pt x="171" y="231"/>
                      </a:lnTo>
                      <a:lnTo>
                        <a:pt x="170" y="231"/>
                      </a:lnTo>
                      <a:lnTo>
                        <a:pt x="170" y="231"/>
                      </a:lnTo>
                      <a:lnTo>
                        <a:pt x="169" y="232"/>
                      </a:lnTo>
                      <a:lnTo>
                        <a:pt x="168" y="233"/>
                      </a:lnTo>
                      <a:lnTo>
                        <a:pt x="168" y="234"/>
                      </a:lnTo>
                      <a:lnTo>
                        <a:pt x="168" y="235"/>
                      </a:lnTo>
                      <a:lnTo>
                        <a:pt x="168" y="236"/>
                      </a:lnTo>
                      <a:lnTo>
                        <a:pt x="168" y="237"/>
                      </a:lnTo>
                      <a:lnTo>
                        <a:pt x="167" y="238"/>
                      </a:lnTo>
                      <a:lnTo>
                        <a:pt x="167" y="238"/>
                      </a:lnTo>
                      <a:lnTo>
                        <a:pt x="166" y="239"/>
                      </a:lnTo>
                      <a:lnTo>
                        <a:pt x="166" y="240"/>
                      </a:lnTo>
                      <a:lnTo>
                        <a:pt x="165" y="241"/>
                      </a:lnTo>
                      <a:lnTo>
                        <a:pt x="165" y="242"/>
                      </a:lnTo>
                      <a:lnTo>
                        <a:pt x="165" y="242"/>
                      </a:lnTo>
                      <a:lnTo>
                        <a:pt x="165" y="244"/>
                      </a:lnTo>
                      <a:lnTo>
                        <a:pt x="165" y="245"/>
                      </a:lnTo>
                      <a:lnTo>
                        <a:pt x="164" y="246"/>
                      </a:lnTo>
                      <a:lnTo>
                        <a:pt x="163" y="247"/>
                      </a:lnTo>
                      <a:lnTo>
                        <a:pt x="163" y="248"/>
                      </a:lnTo>
                      <a:lnTo>
                        <a:pt x="163" y="250"/>
                      </a:lnTo>
                      <a:lnTo>
                        <a:pt x="161" y="253"/>
                      </a:lnTo>
                      <a:lnTo>
                        <a:pt x="161" y="254"/>
                      </a:lnTo>
                      <a:lnTo>
                        <a:pt x="161" y="254"/>
                      </a:lnTo>
                      <a:lnTo>
                        <a:pt x="161" y="256"/>
                      </a:lnTo>
                      <a:lnTo>
                        <a:pt x="161" y="257"/>
                      </a:lnTo>
                      <a:lnTo>
                        <a:pt x="160" y="257"/>
                      </a:lnTo>
                      <a:lnTo>
                        <a:pt x="144" y="305"/>
                      </a:lnTo>
                      <a:lnTo>
                        <a:pt x="144" y="307"/>
                      </a:lnTo>
                      <a:lnTo>
                        <a:pt x="143" y="309"/>
                      </a:lnTo>
                      <a:lnTo>
                        <a:pt x="142" y="311"/>
                      </a:lnTo>
                      <a:lnTo>
                        <a:pt x="142" y="311"/>
                      </a:lnTo>
                      <a:lnTo>
                        <a:pt x="142" y="313"/>
                      </a:lnTo>
                      <a:lnTo>
                        <a:pt x="142" y="314"/>
                      </a:lnTo>
                      <a:lnTo>
                        <a:pt x="141" y="315"/>
                      </a:lnTo>
                      <a:lnTo>
                        <a:pt x="141" y="316"/>
                      </a:lnTo>
                      <a:lnTo>
                        <a:pt x="140" y="317"/>
                      </a:lnTo>
                      <a:lnTo>
                        <a:pt x="140" y="318"/>
                      </a:lnTo>
                      <a:lnTo>
                        <a:pt x="140" y="319"/>
                      </a:lnTo>
                      <a:lnTo>
                        <a:pt x="140" y="320"/>
                      </a:lnTo>
                      <a:lnTo>
                        <a:pt x="139" y="321"/>
                      </a:lnTo>
                      <a:lnTo>
                        <a:pt x="138" y="322"/>
                      </a:lnTo>
                      <a:lnTo>
                        <a:pt x="138" y="323"/>
                      </a:lnTo>
                      <a:lnTo>
                        <a:pt x="138" y="324"/>
                      </a:lnTo>
                      <a:lnTo>
                        <a:pt x="138" y="325"/>
                      </a:lnTo>
                      <a:lnTo>
                        <a:pt x="138" y="326"/>
                      </a:lnTo>
                      <a:lnTo>
                        <a:pt x="137" y="328"/>
                      </a:lnTo>
                      <a:lnTo>
                        <a:pt x="137" y="328"/>
                      </a:lnTo>
                      <a:lnTo>
                        <a:pt x="136" y="330"/>
                      </a:lnTo>
                      <a:lnTo>
                        <a:pt x="136" y="331"/>
                      </a:lnTo>
                      <a:lnTo>
                        <a:pt x="136" y="332"/>
                      </a:lnTo>
                      <a:lnTo>
                        <a:pt x="135" y="333"/>
                      </a:lnTo>
                      <a:lnTo>
                        <a:pt x="135" y="334"/>
                      </a:lnTo>
                      <a:lnTo>
                        <a:pt x="134" y="335"/>
                      </a:lnTo>
                      <a:lnTo>
                        <a:pt x="134" y="337"/>
                      </a:lnTo>
                      <a:lnTo>
                        <a:pt x="134" y="337"/>
                      </a:lnTo>
                      <a:lnTo>
                        <a:pt x="134" y="338"/>
                      </a:lnTo>
                      <a:lnTo>
                        <a:pt x="134" y="339"/>
                      </a:lnTo>
                      <a:lnTo>
                        <a:pt x="133" y="340"/>
                      </a:lnTo>
                      <a:lnTo>
                        <a:pt x="133" y="341"/>
                      </a:lnTo>
                      <a:lnTo>
                        <a:pt x="132" y="342"/>
                      </a:lnTo>
                      <a:lnTo>
                        <a:pt x="132" y="343"/>
                      </a:lnTo>
                      <a:lnTo>
                        <a:pt x="132" y="344"/>
                      </a:lnTo>
                      <a:lnTo>
                        <a:pt x="132" y="345"/>
                      </a:lnTo>
                      <a:lnTo>
                        <a:pt x="131" y="345"/>
                      </a:lnTo>
                      <a:lnTo>
                        <a:pt x="131" y="345"/>
                      </a:lnTo>
                      <a:lnTo>
                        <a:pt x="131" y="346"/>
                      </a:lnTo>
                      <a:lnTo>
                        <a:pt x="130" y="347"/>
                      </a:lnTo>
                      <a:lnTo>
                        <a:pt x="130" y="347"/>
                      </a:lnTo>
                      <a:lnTo>
                        <a:pt x="130" y="348"/>
                      </a:lnTo>
                      <a:lnTo>
                        <a:pt x="130" y="349"/>
                      </a:lnTo>
                      <a:lnTo>
                        <a:pt x="130" y="351"/>
                      </a:lnTo>
                      <a:lnTo>
                        <a:pt x="129" y="352"/>
                      </a:lnTo>
                      <a:lnTo>
                        <a:pt x="128" y="354"/>
                      </a:lnTo>
                      <a:lnTo>
                        <a:pt x="127" y="355"/>
                      </a:lnTo>
                      <a:lnTo>
                        <a:pt x="127" y="356"/>
                      </a:lnTo>
                      <a:lnTo>
                        <a:pt x="127" y="357"/>
                      </a:lnTo>
                      <a:lnTo>
                        <a:pt x="127" y="358"/>
                      </a:lnTo>
                      <a:lnTo>
                        <a:pt x="126" y="359"/>
                      </a:lnTo>
                      <a:lnTo>
                        <a:pt x="126" y="361"/>
                      </a:lnTo>
                      <a:lnTo>
                        <a:pt x="125" y="362"/>
                      </a:lnTo>
                      <a:lnTo>
                        <a:pt x="125" y="364"/>
                      </a:lnTo>
                      <a:lnTo>
                        <a:pt x="124" y="365"/>
                      </a:lnTo>
                      <a:lnTo>
                        <a:pt x="124" y="366"/>
                      </a:lnTo>
                      <a:lnTo>
                        <a:pt x="123" y="368"/>
                      </a:lnTo>
                      <a:lnTo>
                        <a:pt x="123" y="370"/>
                      </a:lnTo>
                      <a:lnTo>
                        <a:pt x="123" y="370"/>
                      </a:lnTo>
                      <a:lnTo>
                        <a:pt x="122" y="372"/>
                      </a:lnTo>
                      <a:lnTo>
                        <a:pt x="122" y="374"/>
                      </a:lnTo>
                      <a:lnTo>
                        <a:pt x="120" y="378"/>
                      </a:lnTo>
                      <a:lnTo>
                        <a:pt x="120" y="379"/>
                      </a:lnTo>
                      <a:lnTo>
                        <a:pt x="120" y="379"/>
                      </a:lnTo>
                      <a:lnTo>
                        <a:pt x="119" y="381"/>
                      </a:lnTo>
                      <a:lnTo>
                        <a:pt x="118" y="385"/>
                      </a:lnTo>
                      <a:lnTo>
                        <a:pt x="118" y="385"/>
                      </a:lnTo>
                      <a:lnTo>
                        <a:pt x="117" y="387"/>
                      </a:lnTo>
                      <a:lnTo>
                        <a:pt x="117" y="388"/>
                      </a:lnTo>
                      <a:lnTo>
                        <a:pt x="117" y="389"/>
                      </a:lnTo>
                      <a:lnTo>
                        <a:pt x="117" y="389"/>
                      </a:lnTo>
                      <a:lnTo>
                        <a:pt x="117" y="390"/>
                      </a:lnTo>
                      <a:lnTo>
                        <a:pt x="116" y="390"/>
                      </a:lnTo>
                      <a:lnTo>
                        <a:pt x="116" y="391"/>
                      </a:lnTo>
                      <a:lnTo>
                        <a:pt x="116" y="391"/>
                      </a:lnTo>
                      <a:lnTo>
                        <a:pt x="116" y="392"/>
                      </a:lnTo>
                      <a:lnTo>
                        <a:pt x="115" y="392"/>
                      </a:lnTo>
                      <a:lnTo>
                        <a:pt x="115" y="393"/>
                      </a:lnTo>
                      <a:lnTo>
                        <a:pt x="115" y="393"/>
                      </a:lnTo>
                      <a:lnTo>
                        <a:pt x="115" y="394"/>
                      </a:lnTo>
                      <a:lnTo>
                        <a:pt x="115" y="394"/>
                      </a:lnTo>
                      <a:lnTo>
                        <a:pt x="115" y="395"/>
                      </a:lnTo>
                      <a:lnTo>
                        <a:pt x="115" y="396"/>
                      </a:lnTo>
                      <a:lnTo>
                        <a:pt x="114" y="396"/>
                      </a:lnTo>
                      <a:lnTo>
                        <a:pt x="114" y="397"/>
                      </a:lnTo>
                      <a:lnTo>
                        <a:pt x="114" y="398"/>
                      </a:lnTo>
                      <a:lnTo>
                        <a:pt x="114" y="398"/>
                      </a:lnTo>
                      <a:lnTo>
                        <a:pt x="113" y="398"/>
                      </a:lnTo>
                      <a:lnTo>
                        <a:pt x="113" y="399"/>
                      </a:lnTo>
                      <a:lnTo>
                        <a:pt x="113" y="400"/>
                      </a:lnTo>
                      <a:lnTo>
                        <a:pt x="113" y="400"/>
                      </a:lnTo>
                      <a:lnTo>
                        <a:pt x="113" y="401"/>
                      </a:lnTo>
                      <a:lnTo>
                        <a:pt x="113" y="402"/>
                      </a:lnTo>
                      <a:lnTo>
                        <a:pt x="112" y="402"/>
                      </a:lnTo>
                      <a:lnTo>
                        <a:pt x="112" y="403"/>
                      </a:lnTo>
                      <a:lnTo>
                        <a:pt x="112" y="404"/>
                      </a:lnTo>
                      <a:lnTo>
                        <a:pt x="111" y="404"/>
                      </a:lnTo>
                      <a:lnTo>
                        <a:pt x="111" y="405"/>
                      </a:lnTo>
                      <a:lnTo>
                        <a:pt x="112" y="405"/>
                      </a:lnTo>
                      <a:lnTo>
                        <a:pt x="113" y="405"/>
                      </a:lnTo>
                      <a:lnTo>
                        <a:pt x="114" y="405"/>
                      </a:lnTo>
                      <a:lnTo>
                        <a:pt x="115" y="405"/>
                      </a:lnTo>
                      <a:lnTo>
                        <a:pt x="115" y="405"/>
                      </a:lnTo>
                      <a:lnTo>
                        <a:pt x="116" y="405"/>
                      </a:lnTo>
                      <a:lnTo>
                        <a:pt x="117" y="405"/>
                      </a:lnTo>
                      <a:lnTo>
                        <a:pt x="117" y="405"/>
                      </a:lnTo>
                      <a:lnTo>
                        <a:pt x="118" y="405"/>
                      </a:lnTo>
                      <a:lnTo>
                        <a:pt x="119" y="405"/>
                      </a:lnTo>
                      <a:lnTo>
                        <a:pt x="120" y="405"/>
                      </a:lnTo>
                      <a:lnTo>
                        <a:pt x="121" y="405"/>
                      </a:lnTo>
                      <a:lnTo>
                        <a:pt x="122" y="405"/>
                      </a:lnTo>
                      <a:lnTo>
                        <a:pt x="123" y="405"/>
                      </a:lnTo>
                      <a:lnTo>
                        <a:pt x="123" y="406"/>
                      </a:lnTo>
                      <a:lnTo>
                        <a:pt x="123" y="406"/>
                      </a:lnTo>
                      <a:lnTo>
                        <a:pt x="123" y="407"/>
                      </a:lnTo>
                      <a:lnTo>
                        <a:pt x="123" y="408"/>
                      </a:lnTo>
                      <a:lnTo>
                        <a:pt x="123" y="408"/>
                      </a:lnTo>
                      <a:lnTo>
                        <a:pt x="123" y="409"/>
                      </a:lnTo>
                      <a:lnTo>
                        <a:pt x="123" y="410"/>
                      </a:lnTo>
                      <a:lnTo>
                        <a:pt x="123" y="410"/>
                      </a:lnTo>
                      <a:lnTo>
                        <a:pt x="123" y="411"/>
                      </a:lnTo>
                      <a:lnTo>
                        <a:pt x="123" y="412"/>
                      </a:lnTo>
                      <a:lnTo>
                        <a:pt x="123" y="412"/>
                      </a:lnTo>
                      <a:lnTo>
                        <a:pt x="123" y="413"/>
                      </a:lnTo>
                      <a:lnTo>
                        <a:pt x="123" y="414"/>
                      </a:lnTo>
                      <a:lnTo>
                        <a:pt x="123" y="415"/>
                      </a:lnTo>
                      <a:lnTo>
                        <a:pt x="123" y="415"/>
                      </a:lnTo>
                      <a:lnTo>
                        <a:pt x="123" y="416"/>
                      </a:lnTo>
                      <a:lnTo>
                        <a:pt x="123" y="417"/>
                      </a:lnTo>
                      <a:lnTo>
                        <a:pt x="123" y="417"/>
                      </a:lnTo>
                      <a:lnTo>
                        <a:pt x="123" y="418"/>
                      </a:lnTo>
                      <a:lnTo>
                        <a:pt x="123" y="419"/>
                      </a:lnTo>
                      <a:lnTo>
                        <a:pt x="123" y="419"/>
                      </a:lnTo>
                      <a:lnTo>
                        <a:pt x="123" y="420"/>
                      </a:lnTo>
                      <a:lnTo>
                        <a:pt x="123" y="421"/>
                      </a:lnTo>
                      <a:lnTo>
                        <a:pt x="123" y="421"/>
                      </a:lnTo>
                      <a:lnTo>
                        <a:pt x="123" y="422"/>
                      </a:lnTo>
                      <a:lnTo>
                        <a:pt x="123" y="423"/>
                      </a:lnTo>
                      <a:lnTo>
                        <a:pt x="123" y="424"/>
                      </a:lnTo>
                      <a:lnTo>
                        <a:pt x="123" y="425"/>
                      </a:lnTo>
                      <a:lnTo>
                        <a:pt x="123" y="425"/>
                      </a:lnTo>
                      <a:lnTo>
                        <a:pt x="123" y="426"/>
                      </a:lnTo>
                      <a:lnTo>
                        <a:pt x="123" y="426"/>
                      </a:lnTo>
                      <a:lnTo>
                        <a:pt x="124" y="426"/>
                      </a:lnTo>
                      <a:lnTo>
                        <a:pt x="125" y="426"/>
                      </a:lnTo>
                      <a:lnTo>
                        <a:pt x="125" y="427"/>
                      </a:lnTo>
                      <a:lnTo>
                        <a:pt x="125" y="427"/>
                      </a:lnTo>
                      <a:lnTo>
                        <a:pt x="126" y="428"/>
                      </a:lnTo>
                      <a:lnTo>
                        <a:pt x="126" y="429"/>
                      </a:lnTo>
                      <a:lnTo>
                        <a:pt x="127" y="429"/>
                      </a:lnTo>
                      <a:lnTo>
                        <a:pt x="127" y="429"/>
                      </a:lnTo>
                      <a:lnTo>
                        <a:pt x="127" y="430"/>
                      </a:lnTo>
                      <a:lnTo>
                        <a:pt x="127" y="431"/>
                      </a:lnTo>
                      <a:lnTo>
                        <a:pt x="128" y="431"/>
                      </a:lnTo>
                      <a:lnTo>
                        <a:pt x="128" y="431"/>
                      </a:lnTo>
                      <a:lnTo>
                        <a:pt x="128" y="432"/>
                      </a:lnTo>
                      <a:lnTo>
                        <a:pt x="127" y="433"/>
                      </a:lnTo>
                      <a:lnTo>
                        <a:pt x="127" y="433"/>
                      </a:lnTo>
                      <a:lnTo>
                        <a:pt x="127" y="434"/>
                      </a:lnTo>
                      <a:lnTo>
                        <a:pt x="128" y="434"/>
                      </a:lnTo>
                      <a:lnTo>
                        <a:pt x="129" y="434"/>
                      </a:lnTo>
                      <a:lnTo>
                        <a:pt x="130" y="435"/>
                      </a:lnTo>
                      <a:lnTo>
                        <a:pt x="129" y="435"/>
                      </a:lnTo>
                      <a:lnTo>
                        <a:pt x="128" y="435"/>
                      </a:lnTo>
                      <a:lnTo>
                        <a:pt x="127" y="436"/>
                      </a:lnTo>
                      <a:lnTo>
                        <a:pt x="127" y="436"/>
                      </a:lnTo>
                      <a:lnTo>
                        <a:pt x="127" y="436"/>
                      </a:lnTo>
                      <a:lnTo>
                        <a:pt x="127" y="437"/>
                      </a:lnTo>
                      <a:lnTo>
                        <a:pt x="126" y="437"/>
                      </a:lnTo>
                      <a:lnTo>
                        <a:pt x="126" y="438"/>
                      </a:lnTo>
                      <a:lnTo>
                        <a:pt x="125" y="438"/>
                      </a:lnTo>
                      <a:lnTo>
                        <a:pt x="125" y="439"/>
                      </a:lnTo>
                      <a:lnTo>
                        <a:pt x="125" y="439"/>
                      </a:lnTo>
                      <a:lnTo>
                        <a:pt x="125" y="440"/>
                      </a:lnTo>
                      <a:lnTo>
                        <a:pt x="125" y="440"/>
                      </a:lnTo>
                      <a:lnTo>
                        <a:pt x="124" y="441"/>
                      </a:lnTo>
                      <a:lnTo>
                        <a:pt x="120" y="441"/>
                      </a:lnTo>
                      <a:lnTo>
                        <a:pt x="117" y="441"/>
                      </a:lnTo>
                      <a:lnTo>
                        <a:pt x="114" y="441"/>
                      </a:lnTo>
                      <a:lnTo>
                        <a:pt x="113" y="441"/>
                      </a:lnTo>
                      <a:lnTo>
                        <a:pt x="111" y="441"/>
                      </a:lnTo>
                      <a:lnTo>
                        <a:pt x="108" y="441"/>
                      </a:lnTo>
                      <a:lnTo>
                        <a:pt x="106" y="440"/>
                      </a:lnTo>
                      <a:lnTo>
                        <a:pt x="105" y="442"/>
                      </a:lnTo>
                      <a:lnTo>
                        <a:pt x="104" y="444"/>
                      </a:lnTo>
                      <a:lnTo>
                        <a:pt x="104" y="445"/>
                      </a:lnTo>
                      <a:lnTo>
                        <a:pt x="103" y="447"/>
                      </a:lnTo>
                      <a:lnTo>
                        <a:pt x="102" y="448"/>
                      </a:lnTo>
                      <a:lnTo>
                        <a:pt x="101" y="450"/>
                      </a:lnTo>
                      <a:lnTo>
                        <a:pt x="100" y="452"/>
                      </a:lnTo>
                      <a:lnTo>
                        <a:pt x="100" y="453"/>
                      </a:lnTo>
                      <a:lnTo>
                        <a:pt x="99" y="455"/>
                      </a:lnTo>
                      <a:lnTo>
                        <a:pt x="98" y="456"/>
                      </a:lnTo>
                      <a:lnTo>
                        <a:pt x="98" y="458"/>
                      </a:lnTo>
                      <a:lnTo>
                        <a:pt x="97" y="459"/>
                      </a:lnTo>
                      <a:lnTo>
                        <a:pt x="96" y="461"/>
                      </a:lnTo>
                      <a:lnTo>
                        <a:pt x="95" y="463"/>
                      </a:lnTo>
                      <a:lnTo>
                        <a:pt x="94" y="464"/>
                      </a:lnTo>
                      <a:lnTo>
                        <a:pt x="94" y="465"/>
                      </a:lnTo>
                      <a:lnTo>
                        <a:pt x="93" y="467"/>
                      </a:lnTo>
                      <a:lnTo>
                        <a:pt x="92" y="469"/>
                      </a:lnTo>
                      <a:lnTo>
                        <a:pt x="92" y="470"/>
                      </a:lnTo>
                      <a:lnTo>
                        <a:pt x="91" y="471"/>
                      </a:lnTo>
                      <a:lnTo>
                        <a:pt x="90" y="474"/>
                      </a:lnTo>
                      <a:lnTo>
                        <a:pt x="89" y="475"/>
                      </a:lnTo>
                      <a:lnTo>
                        <a:pt x="89" y="476"/>
                      </a:lnTo>
                      <a:lnTo>
                        <a:pt x="88" y="477"/>
                      </a:lnTo>
                      <a:lnTo>
                        <a:pt x="87" y="478"/>
                      </a:lnTo>
                      <a:lnTo>
                        <a:pt x="87" y="480"/>
                      </a:lnTo>
                      <a:lnTo>
                        <a:pt x="86" y="480"/>
                      </a:lnTo>
                      <a:lnTo>
                        <a:pt x="86" y="482"/>
                      </a:lnTo>
                      <a:lnTo>
                        <a:pt x="85" y="483"/>
                      </a:lnTo>
                      <a:lnTo>
                        <a:pt x="85" y="484"/>
                      </a:lnTo>
                      <a:lnTo>
                        <a:pt x="84" y="485"/>
                      </a:lnTo>
                      <a:lnTo>
                        <a:pt x="83" y="486"/>
                      </a:lnTo>
                      <a:lnTo>
                        <a:pt x="83" y="488"/>
                      </a:lnTo>
                      <a:lnTo>
                        <a:pt x="82" y="489"/>
                      </a:lnTo>
                      <a:lnTo>
                        <a:pt x="82" y="490"/>
                      </a:lnTo>
                      <a:lnTo>
                        <a:pt x="81" y="491"/>
                      </a:lnTo>
                      <a:lnTo>
                        <a:pt x="81" y="492"/>
                      </a:lnTo>
                      <a:lnTo>
                        <a:pt x="80" y="494"/>
                      </a:lnTo>
                      <a:lnTo>
                        <a:pt x="79" y="495"/>
                      </a:lnTo>
                      <a:lnTo>
                        <a:pt x="79" y="496"/>
                      </a:lnTo>
                      <a:lnTo>
                        <a:pt x="78" y="497"/>
                      </a:lnTo>
                      <a:lnTo>
                        <a:pt x="77" y="498"/>
                      </a:lnTo>
                      <a:lnTo>
                        <a:pt x="77" y="499"/>
                      </a:lnTo>
                      <a:lnTo>
                        <a:pt x="77" y="501"/>
                      </a:lnTo>
                      <a:lnTo>
                        <a:pt x="76" y="502"/>
                      </a:lnTo>
                      <a:lnTo>
                        <a:pt x="75" y="503"/>
                      </a:lnTo>
                      <a:lnTo>
                        <a:pt x="75" y="504"/>
                      </a:lnTo>
                      <a:lnTo>
                        <a:pt x="74" y="505"/>
                      </a:lnTo>
                      <a:lnTo>
                        <a:pt x="74" y="506"/>
                      </a:lnTo>
                      <a:lnTo>
                        <a:pt x="73" y="507"/>
                      </a:lnTo>
                      <a:lnTo>
                        <a:pt x="72" y="509"/>
                      </a:lnTo>
                      <a:lnTo>
                        <a:pt x="72" y="509"/>
                      </a:lnTo>
                      <a:lnTo>
                        <a:pt x="71" y="511"/>
                      </a:lnTo>
                      <a:lnTo>
                        <a:pt x="70" y="512"/>
                      </a:lnTo>
                      <a:lnTo>
                        <a:pt x="70" y="513"/>
                      </a:lnTo>
                      <a:lnTo>
                        <a:pt x="70" y="514"/>
                      </a:lnTo>
                      <a:lnTo>
                        <a:pt x="69" y="516"/>
                      </a:lnTo>
                      <a:lnTo>
                        <a:pt x="68" y="517"/>
                      </a:lnTo>
                      <a:lnTo>
                        <a:pt x="68" y="518"/>
                      </a:lnTo>
                      <a:lnTo>
                        <a:pt x="67" y="519"/>
                      </a:lnTo>
                      <a:lnTo>
                        <a:pt x="67" y="520"/>
                      </a:lnTo>
                      <a:lnTo>
                        <a:pt x="67" y="520"/>
                      </a:lnTo>
                      <a:lnTo>
                        <a:pt x="66" y="520"/>
                      </a:lnTo>
                      <a:lnTo>
                        <a:pt x="66" y="521"/>
                      </a:lnTo>
                      <a:lnTo>
                        <a:pt x="66" y="522"/>
                      </a:lnTo>
                      <a:lnTo>
                        <a:pt x="66" y="522"/>
                      </a:lnTo>
                      <a:lnTo>
                        <a:pt x="65" y="523"/>
                      </a:lnTo>
                      <a:lnTo>
                        <a:pt x="65" y="524"/>
                      </a:lnTo>
                      <a:lnTo>
                        <a:pt x="64" y="524"/>
                      </a:lnTo>
                      <a:lnTo>
                        <a:pt x="64" y="525"/>
                      </a:lnTo>
                      <a:lnTo>
                        <a:pt x="64" y="526"/>
                      </a:lnTo>
                      <a:lnTo>
                        <a:pt x="64" y="526"/>
                      </a:lnTo>
                      <a:lnTo>
                        <a:pt x="63" y="527"/>
                      </a:lnTo>
                      <a:lnTo>
                        <a:pt x="63" y="528"/>
                      </a:lnTo>
                      <a:lnTo>
                        <a:pt x="62" y="528"/>
                      </a:lnTo>
                      <a:lnTo>
                        <a:pt x="62" y="529"/>
                      </a:lnTo>
                      <a:lnTo>
                        <a:pt x="62" y="530"/>
                      </a:lnTo>
                      <a:lnTo>
                        <a:pt x="62" y="530"/>
                      </a:lnTo>
                      <a:lnTo>
                        <a:pt x="62" y="531"/>
                      </a:lnTo>
                      <a:lnTo>
                        <a:pt x="61" y="532"/>
                      </a:lnTo>
                      <a:lnTo>
                        <a:pt x="60" y="533"/>
                      </a:lnTo>
                      <a:lnTo>
                        <a:pt x="60" y="533"/>
                      </a:lnTo>
                      <a:lnTo>
                        <a:pt x="60" y="534"/>
                      </a:lnTo>
                      <a:lnTo>
                        <a:pt x="60" y="535"/>
                      </a:lnTo>
                      <a:lnTo>
                        <a:pt x="60" y="535"/>
                      </a:lnTo>
                      <a:lnTo>
                        <a:pt x="59" y="535"/>
                      </a:lnTo>
                      <a:lnTo>
                        <a:pt x="59" y="536"/>
                      </a:lnTo>
                      <a:lnTo>
                        <a:pt x="59" y="537"/>
                      </a:lnTo>
                      <a:lnTo>
                        <a:pt x="58" y="537"/>
                      </a:lnTo>
                      <a:lnTo>
                        <a:pt x="58" y="537"/>
                      </a:lnTo>
                      <a:lnTo>
                        <a:pt x="58" y="538"/>
                      </a:lnTo>
                      <a:lnTo>
                        <a:pt x="58" y="538"/>
                      </a:lnTo>
                      <a:lnTo>
                        <a:pt x="58" y="539"/>
                      </a:lnTo>
                      <a:lnTo>
                        <a:pt x="58" y="539"/>
                      </a:lnTo>
                      <a:lnTo>
                        <a:pt x="57" y="539"/>
                      </a:lnTo>
                      <a:lnTo>
                        <a:pt x="57" y="540"/>
                      </a:lnTo>
                      <a:lnTo>
                        <a:pt x="57" y="541"/>
                      </a:lnTo>
                      <a:lnTo>
                        <a:pt x="56" y="541"/>
                      </a:lnTo>
                      <a:lnTo>
                        <a:pt x="56" y="542"/>
                      </a:lnTo>
                      <a:lnTo>
                        <a:pt x="56" y="543"/>
                      </a:lnTo>
                      <a:lnTo>
                        <a:pt x="56" y="543"/>
                      </a:lnTo>
                      <a:lnTo>
                        <a:pt x="55" y="544"/>
                      </a:lnTo>
                      <a:lnTo>
                        <a:pt x="55" y="545"/>
                      </a:lnTo>
                      <a:lnTo>
                        <a:pt x="54" y="545"/>
                      </a:lnTo>
                      <a:lnTo>
                        <a:pt x="54" y="546"/>
                      </a:lnTo>
                      <a:lnTo>
                        <a:pt x="53" y="547"/>
                      </a:lnTo>
                      <a:lnTo>
                        <a:pt x="53" y="547"/>
                      </a:lnTo>
                      <a:lnTo>
                        <a:pt x="53" y="548"/>
                      </a:lnTo>
                      <a:lnTo>
                        <a:pt x="53" y="549"/>
                      </a:lnTo>
                      <a:lnTo>
                        <a:pt x="52" y="549"/>
                      </a:lnTo>
                      <a:lnTo>
                        <a:pt x="52" y="550"/>
                      </a:lnTo>
                      <a:lnTo>
                        <a:pt x="51" y="551"/>
                      </a:lnTo>
                      <a:lnTo>
                        <a:pt x="51" y="551"/>
                      </a:lnTo>
                      <a:lnTo>
                        <a:pt x="51" y="552"/>
                      </a:lnTo>
                      <a:lnTo>
                        <a:pt x="51" y="553"/>
                      </a:lnTo>
                      <a:lnTo>
                        <a:pt x="50" y="554"/>
                      </a:lnTo>
                      <a:lnTo>
                        <a:pt x="50" y="554"/>
                      </a:lnTo>
                      <a:lnTo>
                        <a:pt x="50" y="555"/>
                      </a:lnTo>
                      <a:lnTo>
                        <a:pt x="49" y="555"/>
                      </a:lnTo>
                      <a:lnTo>
                        <a:pt x="49" y="556"/>
                      </a:lnTo>
                      <a:lnTo>
                        <a:pt x="49" y="556"/>
                      </a:lnTo>
                      <a:lnTo>
                        <a:pt x="49" y="557"/>
                      </a:lnTo>
                      <a:lnTo>
                        <a:pt x="48" y="558"/>
                      </a:lnTo>
                      <a:lnTo>
                        <a:pt x="48" y="558"/>
                      </a:lnTo>
                      <a:lnTo>
                        <a:pt x="47" y="559"/>
                      </a:lnTo>
                      <a:lnTo>
                        <a:pt x="47" y="560"/>
                      </a:lnTo>
                      <a:lnTo>
                        <a:pt x="45" y="563"/>
                      </a:lnTo>
                      <a:lnTo>
                        <a:pt x="24" y="607"/>
                      </a:lnTo>
                      <a:lnTo>
                        <a:pt x="24" y="607"/>
                      </a:lnTo>
                      <a:lnTo>
                        <a:pt x="24" y="608"/>
                      </a:lnTo>
                      <a:lnTo>
                        <a:pt x="23" y="608"/>
                      </a:lnTo>
                      <a:lnTo>
                        <a:pt x="23" y="610"/>
                      </a:lnTo>
                      <a:lnTo>
                        <a:pt x="22" y="611"/>
                      </a:lnTo>
                      <a:lnTo>
                        <a:pt x="22" y="612"/>
                      </a:lnTo>
                      <a:lnTo>
                        <a:pt x="21" y="613"/>
                      </a:lnTo>
                      <a:lnTo>
                        <a:pt x="20" y="614"/>
                      </a:lnTo>
                      <a:lnTo>
                        <a:pt x="20" y="615"/>
                      </a:lnTo>
                      <a:lnTo>
                        <a:pt x="20" y="617"/>
                      </a:lnTo>
                      <a:lnTo>
                        <a:pt x="19" y="617"/>
                      </a:lnTo>
                      <a:lnTo>
                        <a:pt x="18" y="619"/>
                      </a:lnTo>
                      <a:lnTo>
                        <a:pt x="18" y="619"/>
                      </a:lnTo>
                      <a:lnTo>
                        <a:pt x="18" y="621"/>
                      </a:lnTo>
                      <a:lnTo>
                        <a:pt x="17" y="621"/>
                      </a:lnTo>
                      <a:lnTo>
                        <a:pt x="16" y="623"/>
                      </a:lnTo>
                      <a:lnTo>
                        <a:pt x="16" y="623"/>
                      </a:lnTo>
                      <a:lnTo>
                        <a:pt x="15" y="625"/>
                      </a:lnTo>
                      <a:lnTo>
                        <a:pt x="15" y="625"/>
                      </a:lnTo>
                      <a:lnTo>
                        <a:pt x="14" y="627"/>
                      </a:lnTo>
                      <a:lnTo>
                        <a:pt x="13" y="627"/>
                      </a:lnTo>
                      <a:lnTo>
                        <a:pt x="13" y="629"/>
                      </a:lnTo>
                      <a:lnTo>
                        <a:pt x="13" y="629"/>
                      </a:lnTo>
                      <a:lnTo>
                        <a:pt x="13" y="630"/>
                      </a:lnTo>
                      <a:lnTo>
                        <a:pt x="13" y="631"/>
                      </a:lnTo>
                      <a:lnTo>
                        <a:pt x="15" y="632"/>
                      </a:lnTo>
                      <a:lnTo>
                        <a:pt x="16" y="634"/>
                      </a:lnTo>
                      <a:lnTo>
                        <a:pt x="18" y="634"/>
                      </a:lnTo>
                      <a:lnTo>
                        <a:pt x="19" y="636"/>
                      </a:lnTo>
                      <a:lnTo>
                        <a:pt x="20" y="637"/>
                      </a:lnTo>
                      <a:lnTo>
                        <a:pt x="22" y="638"/>
                      </a:lnTo>
                      <a:lnTo>
                        <a:pt x="23" y="639"/>
                      </a:lnTo>
                      <a:lnTo>
                        <a:pt x="24" y="640"/>
                      </a:lnTo>
                      <a:lnTo>
                        <a:pt x="25" y="642"/>
                      </a:lnTo>
                      <a:lnTo>
                        <a:pt x="26" y="642"/>
                      </a:lnTo>
                      <a:lnTo>
                        <a:pt x="28" y="643"/>
                      </a:lnTo>
                      <a:lnTo>
                        <a:pt x="28" y="644"/>
                      </a:lnTo>
                      <a:lnTo>
                        <a:pt x="30" y="645"/>
                      </a:lnTo>
                      <a:lnTo>
                        <a:pt x="30" y="646"/>
                      </a:lnTo>
                      <a:lnTo>
                        <a:pt x="32" y="647"/>
                      </a:lnTo>
                      <a:lnTo>
                        <a:pt x="32" y="648"/>
                      </a:lnTo>
                      <a:lnTo>
                        <a:pt x="34" y="648"/>
                      </a:lnTo>
                      <a:lnTo>
                        <a:pt x="34" y="650"/>
                      </a:lnTo>
                      <a:lnTo>
                        <a:pt x="35" y="650"/>
                      </a:lnTo>
                      <a:lnTo>
                        <a:pt x="35" y="650"/>
                      </a:lnTo>
                      <a:lnTo>
                        <a:pt x="36" y="650"/>
                      </a:lnTo>
                      <a:lnTo>
                        <a:pt x="37" y="651"/>
                      </a:lnTo>
                      <a:lnTo>
                        <a:pt x="45" y="659"/>
                      </a:lnTo>
                      <a:lnTo>
                        <a:pt x="45" y="659"/>
                      </a:lnTo>
                      <a:lnTo>
                        <a:pt x="46" y="660"/>
                      </a:lnTo>
                      <a:lnTo>
                        <a:pt x="47" y="661"/>
                      </a:lnTo>
                      <a:lnTo>
                        <a:pt x="48" y="661"/>
                      </a:lnTo>
                      <a:lnTo>
                        <a:pt x="48" y="662"/>
                      </a:lnTo>
                      <a:lnTo>
                        <a:pt x="49" y="663"/>
                      </a:lnTo>
                      <a:lnTo>
                        <a:pt x="51" y="664"/>
                      </a:lnTo>
                      <a:lnTo>
                        <a:pt x="52" y="665"/>
                      </a:lnTo>
                      <a:lnTo>
                        <a:pt x="53" y="666"/>
                      </a:lnTo>
                      <a:lnTo>
                        <a:pt x="55" y="667"/>
                      </a:lnTo>
                      <a:lnTo>
                        <a:pt x="56" y="669"/>
                      </a:lnTo>
                      <a:lnTo>
                        <a:pt x="58" y="669"/>
                      </a:lnTo>
                      <a:lnTo>
                        <a:pt x="59" y="671"/>
                      </a:lnTo>
                      <a:lnTo>
                        <a:pt x="60" y="672"/>
                      </a:lnTo>
                      <a:lnTo>
                        <a:pt x="62" y="674"/>
                      </a:lnTo>
                      <a:lnTo>
                        <a:pt x="63" y="674"/>
                      </a:lnTo>
                      <a:lnTo>
                        <a:pt x="64" y="676"/>
                      </a:lnTo>
                      <a:lnTo>
                        <a:pt x="66" y="677"/>
                      </a:lnTo>
                      <a:lnTo>
                        <a:pt x="67" y="678"/>
                      </a:lnTo>
                      <a:lnTo>
                        <a:pt x="68" y="680"/>
                      </a:lnTo>
                      <a:lnTo>
                        <a:pt x="70" y="680"/>
                      </a:lnTo>
                      <a:lnTo>
                        <a:pt x="71" y="682"/>
                      </a:lnTo>
                      <a:lnTo>
                        <a:pt x="72" y="683"/>
                      </a:lnTo>
                      <a:lnTo>
                        <a:pt x="75" y="684"/>
                      </a:lnTo>
                      <a:lnTo>
                        <a:pt x="76" y="686"/>
                      </a:lnTo>
                      <a:lnTo>
                        <a:pt x="77" y="686"/>
                      </a:lnTo>
                      <a:lnTo>
                        <a:pt x="79" y="688"/>
                      </a:lnTo>
                      <a:lnTo>
                        <a:pt x="79" y="688"/>
                      </a:lnTo>
                      <a:lnTo>
                        <a:pt x="79" y="689"/>
                      </a:lnTo>
                      <a:lnTo>
                        <a:pt x="79" y="690"/>
                      </a:lnTo>
                      <a:lnTo>
                        <a:pt x="78" y="691"/>
                      </a:lnTo>
                      <a:lnTo>
                        <a:pt x="78" y="693"/>
                      </a:lnTo>
                      <a:lnTo>
                        <a:pt x="77" y="694"/>
                      </a:lnTo>
                      <a:lnTo>
                        <a:pt x="76" y="695"/>
                      </a:lnTo>
                      <a:lnTo>
                        <a:pt x="75" y="696"/>
                      </a:lnTo>
                      <a:lnTo>
                        <a:pt x="75" y="697"/>
                      </a:lnTo>
                      <a:lnTo>
                        <a:pt x="75" y="697"/>
                      </a:lnTo>
                      <a:lnTo>
                        <a:pt x="74" y="697"/>
                      </a:lnTo>
                      <a:lnTo>
                        <a:pt x="74" y="698"/>
                      </a:lnTo>
                      <a:lnTo>
                        <a:pt x="73" y="699"/>
                      </a:lnTo>
                      <a:lnTo>
                        <a:pt x="72" y="699"/>
                      </a:lnTo>
                      <a:lnTo>
                        <a:pt x="72" y="700"/>
                      </a:lnTo>
                      <a:lnTo>
                        <a:pt x="72" y="701"/>
                      </a:lnTo>
                      <a:lnTo>
                        <a:pt x="71" y="701"/>
                      </a:lnTo>
                      <a:lnTo>
                        <a:pt x="71" y="701"/>
                      </a:lnTo>
                      <a:lnTo>
                        <a:pt x="70" y="702"/>
                      </a:lnTo>
                      <a:lnTo>
                        <a:pt x="70" y="703"/>
                      </a:lnTo>
                      <a:lnTo>
                        <a:pt x="70" y="703"/>
                      </a:lnTo>
                      <a:lnTo>
                        <a:pt x="70" y="704"/>
                      </a:lnTo>
                      <a:lnTo>
                        <a:pt x="69" y="705"/>
                      </a:lnTo>
                      <a:lnTo>
                        <a:pt x="68" y="705"/>
                      </a:lnTo>
                      <a:lnTo>
                        <a:pt x="68" y="706"/>
                      </a:lnTo>
                      <a:lnTo>
                        <a:pt x="68" y="707"/>
                      </a:lnTo>
                      <a:lnTo>
                        <a:pt x="68" y="707"/>
                      </a:lnTo>
                      <a:lnTo>
                        <a:pt x="68" y="707"/>
                      </a:lnTo>
                      <a:lnTo>
                        <a:pt x="67" y="707"/>
                      </a:lnTo>
                      <a:lnTo>
                        <a:pt x="66" y="707"/>
                      </a:lnTo>
                      <a:lnTo>
                        <a:pt x="66" y="706"/>
                      </a:lnTo>
                      <a:lnTo>
                        <a:pt x="66" y="706"/>
                      </a:lnTo>
                      <a:lnTo>
                        <a:pt x="65" y="705"/>
                      </a:lnTo>
                      <a:lnTo>
                        <a:pt x="64" y="705"/>
                      </a:lnTo>
                      <a:lnTo>
                        <a:pt x="64" y="704"/>
                      </a:lnTo>
                      <a:lnTo>
                        <a:pt x="64" y="703"/>
                      </a:lnTo>
                      <a:lnTo>
                        <a:pt x="63" y="703"/>
                      </a:lnTo>
                      <a:lnTo>
                        <a:pt x="62" y="703"/>
                      </a:lnTo>
                      <a:lnTo>
                        <a:pt x="62" y="702"/>
                      </a:lnTo>
                      <a:lnTo>
                        <a:pt x="61" y="701"/>
                      </a:lnTo>
                      <a:lnTo>
                        <a:pt x="60" y="701"/>
                      </a:lnTo>
                      <a:lnTo>
                        <a:pt x="60" y="701"/>
                      </a:lnTo>
                      <a:lnTo>
                        <a:pt x="59" y="701"/>
                      </a:lnTo>
                      <a:lnTo>
                        <a:pt x="58" y="701"/>
                      </a:lnTo>
                      <a:lnTo>
                        <a:pt x="57" y="701"/>
                      </a:lnTo>
                      <a:lnTo>
                        <a:pt x="56" y="701"/>
                      </a:lnTo>
                      <a:lnTo>
                        <a:pt x="56" y="701"/>
                      </a:lnTo>
                      <a:lnTo>
                        <a:pt x="55" y="701"/>
                      </a:lnTo>
                      <a:lnTo>
                        <a:pt x="54" y="701"/>
                      </a:lnTo>
                      <a:lnTo>
                        <a:pt x="53" y="702"/>
                      </a:lnTo>
                      <a:lnTo>
                        <a:pt x="53" y="702"/>
                      </a:lnTo>
                      <a:lnTo>
                        <a:pt x="53" y="703"/>
                      </a:lnTo>
                      <a:lnTo>
                        <a:pt x="52" y="703"/>
                      </a:lnTo>
                      <a:lnTo>
                        <a:pt x="51" y="704"/>
                      </a:lnTo>
                      <a:lnTo>
                        <a:pt x="51" y="705"/>
                      </a:lnTo>
                      <a:lnTo>
                        <a:pt x="51" y="706"/>
                      </a:lnTo>
                      <a:lnTo>
                        <a:pt x="51" y="707"/>
                      </a:lnTo>
                      <a:lnTo>
                        <a:pt x="51" y="707"/>
                      </a:lnTo>
                      <a:lnTo>
                        <a:pt x="50" y="708"/>
                      </a:lnTo>
                      <a:lnTo>
                        <a:pt x="50" y="709"/>
                      </a:lnTo>
                      <a:lnTo>
                        <a:pt x="49" y="709"/>
                      </a:lnTo>
                      <a:lnTo>
                        <a:pt x="49" y="710"/>
                      </a:lnTo>
                      <a:lnTo>
                        <a:pt x="48" y="710"/>
                      </a:lnTo>
                      <a:lnTo>
                        <a:pt x="47" y="711"/>
                      </a:lnTo>
                      <a:lnTo>
                        <a:pt x="47" y="711"/>
                      </a:lnTo>
                      <a:lnTo>
                        <a:pt x="46" y="711"/>
                      </a:lnTo>
                      <a:lnTo>
                        <a:pt x="45" y="710"/>
                      </a:lnTo>
                      <a:lnTo>
                        <a:pt x="45" y="710"/>
                      </a:lnTo>
                      <a:lnTo>
                        <a:pt x="44" y="710"/>
                      </a:lnTo>
                      <a:lnTo>
                        <a:pt x="43" y="710"/>
                      </a:lnTo>
                      <a:lnTo>
                        <a:pt x="42" y="710"/>
                      </a:lnTo>
                      <a:lnTo>
                        <a:pt x="41" y="710"/>
                      </a:lnTo>
                      <a:lnTo>
                        <a:pt x="41" y="710"/>
                      </a:lnTo>
                      <a:lnTo>
                        <a:pt x="40" y="710"/>
                      </a:lnTo>
                      <a:lnTo>
                        <a:pt x="39" y="710"/>
                      </a:lnTo>
                      <a:lnTo>
                        <a:pt x="38" y="710"/>
                      </a:lnTo>
                      <a:lnTo>
                        <a:pt x="37" y="710"/>
                      </a:lnTo>
                      <a:lnTo>
                        <a:pt x="36" y="712"/>
                      </a:lnTo>
                      <a:lnTo>
                        <a:pt x="35" y="712"/>
                      </a:lnTo>
                      <a:lnTo>
                        <a:pt x="34" y="714"/>
                      </a:lnTo>
                      <a:lnTo>
                        <a:pt x="33" y="715"/>
                      </a:lnTo>
                      <a:lnTo>
                        <a:pt x="33" y="718"/>
                      </a:lnTo>
                      <a:lnTo>
                        <a:pt x="32" y="719"/>
                      </a:lnTo>
                      <a:lnTo>
                        <a:pt x="32" y="720"/>
                      </a:lnTo>
                      <a:lnTo>
                        <a:pt x="31" y="722"/>
                      </a:lnTo>
                      <a:lnTo>
                        <a:pt x="30" y="723"/>
                      </a:lnTo>
                      <a:lnTo>
                        <a:pt x="29" y="723"/>
                      </a:lnTo>
                      <a:lnTo>
                        <a:pt x="28" y="723"/>
                      </a:lnTo>
                      <a:lnTo>
                        <a:pt x="27" y="723"/>
                      </a:lnTo>
                      <a:lnTo>
                        <a:pt x="26" y="722"/>
                      </a:lnTo>
                      <a:lnTo>
                        <a:pt x="25" y="722"/>
                      </a:lnTo>
                      <a:lnTo>
                        <a:pt x="24" y="722"/>
                      </a:lnTo>
                      <a:lnTo>
                        <a:pt x="22" y="722"/>
                      </a:lnTo>
                      <a:lnTo>
                        <a:pt x="20" y="723"/>
                      </a:lnTo>
                      <a:lnTo>
                        <a:pt x="20" y="723"/>
                      </a:lnTo>
                      <a:lnTo>
                        <a:pt x="18" y="724"/>
                      </a:lnTo>
                      <a:lnTo>
                        <a:pt x="18" y="726"/>
                      </a:lnTo>
                      <a:lnTo>
                        <a:pt x="17" y="727"/>
                      </a:lnTo>
                      <a:lnTo>
                        <a:pt x="15" y="728"/>
                      </a:lnTo>
                      <a:lnTo>
                        <a:pt x="15" y="729"/>
                      </a:lnTo>
                      <a:lnTo>
                        <a:pt x="15" y="730"/>
                      </a:lnTo>
                      <a:lnTo>
                        <a:pt x="15" y="731"/>
                      </a:lnTo>
                      <a:lnTo>
                        <a:pt x="14" y="733"/>
                      </a:lnTo>
                      <a:lnTo>
                        <a:pt x="13" y="733"/>
                      </a:lnTo>
                      <a:lnTo>
                        <a:pt x="11" y="734"/>
                      </a:lnTo>
                      <a:lnTo>
                        <a:pt x="9" y="735"/>
                      </a:lnTo>
                      <a:lnTo>
                        <a:pt x="8" y="735"/>
                      </a:lnTo>
                      <a:lnTo>
                        <a:pt x="7" y="735"/>
                      </a:lnTo>
                      <a:lnTo>
                        <a:pt x="7" y="734"/>
                      </a:lnTo>
                      <a:lnTo>
                        <a:pt x="5" y="735"/>
                      </a:lnTo>
                      <a:lnTo>
                        <a:pt x="5" y="735"/>
                      </a:lnTo>
                      <a:lnTo>
                        <a:pt x="3" y="735"/>
                      </a:lnTo>
                      <a:lnTo>
                        <a:pt x="2" y="737"/>
                      </a:lnTo>
                      <a:lnTo>
                        <a:pt x="1" y="737"/>
                      </a:lnTo>
                      <a:lnTo>
                        <a:pt x="0" y="738"/>
                      </a:lnTo>
                      <a:lnTo>
                        <a:pt x="0" y="737"/>
                      </a:lnTo>
                      <a:lnTo>
                        <a:pt x="0" y="735"/>
                      </a:lnTo>
                      <a:lnTo>
                        <a:pt x="1" y="735"/>
                      </a:lnTo>
                      <a:lnTo>
                        <a:pt x="1" y="733"/>
                      </a:lnTo>
                      <a:lnTo>
                        <a:pt x="2" y="733"/>
                      </a:lnTo>
                      <a:lnTo>
                        <a:pt x="3" y="733"/>
                      </a:lnTo>
                      <a:lnTo>
                        <a:pt x="3" y="732"/>
                      </a:lnTo>
                      <a:lnTo>
                        <a:pt x="5" y="732"/>
                      </a:lnTo>
                      <a:lnTo>
                        <a:pt x="6" y="731"/>
                      </a:lnTo>
                      <a:lnTo>
                        <a:pt x="7" y="730"/>
                      </a:lnTo>
                      <a:lnTo>
                        <a:pt x="7" y="729"/>
                      </a:lnTo>
                      <a:lnTo>
                        <a:pt x="7" y="728"/>
                      </a:lnTo>
                      <a:lnTo>
                        <a:pt x="7" y="728"/>
                      </a:lnTo>
                      <a:lnTo>
                        <a:pt x="8" y="727"/>
                      </a:lnTo>
                      <a:lnTo>
                        <a:pt x="9" y="726"/>
                      </a:lnTo>
                      <a:lnTo>
                        <a:pt x="8" y="725"/>
                      </a:lnTo>
                      <a:lnTo>
                        <a:pt x="8" y="724"/>
                      </a:lnTo>
                      <a:lnTo>
                        <a:pt x="8" y="724"/>
                      </a:lnTo>
                      <a:lnTo>
                        <a:pt x="7" y="724"/>
                      </a:lnTo>
                      <a:lnTo>
                        <a:pt x="7" y="723"/>
                      </a:lnTo>
                      <a:lnTo>
                        <a:pt x="7" y="722"/>
                      </a:lnTo>
                      <a:lnTo>
                        <a:pt x="7" y="721"/>
                      </a:lnTo>
                      <a:lnTo>
                        <a:pt x="7" y="720"/>
                      </a:lnTo>
                      <a:lnTo>
                        <a:pt x="5" y="718"/>
                      </a:lnTo>
                      <a:lnTo>
                        <a:pt x="5" y="718"/>
                      </a:lnTo>
                      <a:lnTo>
                        <a:pt x="5" y="718"/>
                      </a:lnTo>
                      <a:lnTo>
                        <a:pt x="5" y="717"/>
                      </a:lnTo>
                      <a:lnTo>
                        <a:pt x="4" y="716"/>
                      </a:lnTo>
                      <a:lnTo>
                        <a:pt x="4" y="716"/>
                      </a:lnTo>
                      <a:lnTo>
                        <a:pt x="5" y="715"/>
                      </a:lnTo>
                      <a:lnTo>
                        <a:pt x="5" y="714"/>
                      </a:lnTo>
                      <a:lnTo>
                        <a:pt x="3" y="714"/>
                      </a:lnTo>
                      <a:lnTo>
                        <a:pt x="3" y="714"/>
                      </a:lnTo>
                      <a:lnTo>
                        <a:pt x="3" y="714"/>
                      </a:lnTo>
                      <a:lnTo>
                        <a:pt x="3" y="714"/>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59" name="Freeform 75">
                  <a:extLst>
                    <a:ext uri="{FF2B5EF4-FFF2-40B4-BE49-F238E27FC236}">
                      <a16:creationId xmlns:a16="http://schemas.microsoft.com/office/drawing/2014/main" xmlns="" id="{B5D877EE-0CF7-4ECE-CD7C-47219A2EF592}"/>
                    </a:ext>
                  </a:extLst>
                </p:cNvPr>
                <p:cNvSpPr>
                  <a:spLocks/>
                </p:cNvSpPr>
                <p:nvPr/>
              </p:nvSpPr>
              <p:spPr bwMode="auto">
                <a:xfrm>
                  <a:off x="3483" y="3273"/>
                  <a:ext cx="1396" cy="305"/>
                </a:xfrm>
                <a:custGeom>
                  <a:avLst/>
                  <a:gdLst>
                    <a:gd name="T0" fmla="*/ 1394 w 1396"/>
                    <a:gd name="T1" fmla="*/ 207 h 305"/>
                    <a:gd name="T2" fmla="*/ 1389 w 1396"/>
                    <a:gd name="T3" fmla="*/ 188 h 305"/>
                    <a:gd name="T4" fmla="*/ 1387 w 1396"/>
                    <a:gd name="T5" fmla="*/ 177 h 305"/>
                    <a:gd name="T6" fmla="*/ 1388 w 1396"/>
                    <a:gd name="T7" fmla="*/ 158 h 305"/>
                    <a:gd name="T8" fmla="*/ 1391 w 1396"/>
                    <a:gd name="T9" fmla="*/ 147 h 305"/>
                    <a:gd name="T10" fmla="*/ 1378 w 1396"/>
                    <a:gd name="T11" fmla="*/ 137 h 305"/>
                    <a:gd name="T12" fmla="*/ 1364 w 1396"/>
                    <a:gd name="T13" fmla="*/ 129 h 305"/>
                    <a:gd name="T14" fmla="*/ 1350 w 1396"/>
                    <a:gd name="T15" fmla="*/ 122 h 305"/>
                    <a:gd name="T16" fmla="*/ 1337 w 1396"/>
                    <a:gd name="T17" fmla="*/ 115 h 305"/>
                    <a:gd name="T18" fmla="*/ 1324 w 1396"/>
                    <a:gd name="T19" fmla="*/ 108 h 305"/>
                    <a:gd name="T20" fmla="*/ 1224 w 1396"/>
                    <a:gd name="T21" fmla="*/ 54 h 305"/>
                    <a:gd name="T22" fmla="*/ 1198 w 1396"/>
                    <a:gd name="T23" fmla="*/ 38 h 305"/>
                    <a:gd name="T24" fmla="*/ 1164 w 1396"/>
                    <a:gd name="T25" fmla="*/ 19 h 305"/>
                    <a:gd name="T26" fmla="*/ 868 w 1396"/>
                    <a:gd name="T27" fmla="*/ 19 h 305"/>
                    <a:gd name="T28" fmla="*/ 787 w 1396"/>
                    <a:gd name="T29" fmla="*/ 39 h 305"/>
                    <a:gd name="T30" fmla="*/ 746 w 1396"/>
                    <a:gd name="T31" fmla="*/ 46 h 305"/>
                    <a:gd name="T32" fmla="*/ 659 w 1396"/>
                    <a:gd name="T33" fmla="*/ 59 h 305"/>
                    <a:gd name="T34" fmla="*/ 590 w 1396"/>
                    <a:gd name="T35" fmla="*/ 70 h 305"/>
                    <a:gd name="T36" fmla="*/ 499 w 1396"/>
                    <a:gd name="T37" fmla="*/ 86 h 305"/>
                    <a:gd name="T38" fmla="*/ 476 w 1396"/>
                    <a:gd name="T39" fmla="*/ 147 h 305"/>
                    <a:gd name="T40" fmla="*/ 443 w 1396"/>
                    <a:gd name="T41" fmla="*/ 218 h 305"/>
                    <a:gd name="T42" fmla="*/ 404 w 1396"/>
                    <a:gd name="T43" fmla="*/ 274 h 305"/>
                    <a:gd name="T44" fmla="*/ 94 w 1396"/>
                    <a:gd name="T45" fmla="*/ 300 h 305"/>
                    <a:gd name="T46" fmla="*/ 95 w 1396"/>
                    <a:gd name="T47" fmla="*/ 290 h 305"/>
                    <a:gd name="T48" fmla="*/ 91 w 1396"/>
                    <a:gd name="T49" fmla="*/ 284 h 305"/>
                    <a:gd name="T50" fmla="*/ 83 w 1396"/>
                    <a:gd name="T51" fmla="*/ 288 h 305"/>
                    <a:gd name="T52" fmla="*/ 79 w 1396"/>
                    <a:gd name="T53" fmla="*/ 295 h 305"/>
                    <a:gd name="T54" fmla="*/ 69 w 1396"/>
                    <a:gd name="T55" fmla="*/ 298 h 305"/>
                    <a:gd name="T56" fmla="*/ 60 w 1396"/>
                    <a:gd name="T57" fmla="*/ 301 h 305"/>
                    <a:gd name="T58" fmla="*/ 52 w 1396"/>
                    <a:gd name="T59" fmla="*/ 301 h 305"/>
                    <a:gd name="T60" fmla="*/ 43 w 1396"/>
                    <a:gd name="T61" fmla="*/ 299 h 305"/>
                    <a:gd name="T62" fmla="*/ 36 w 1396"/>
                    <a:gd name="T63" fmla="*/ 297 h 305"/>
                    <a:gd name="T64" fmla="*/ 30 w 1396"/>
                    <a:gd name="T65" fmla="*/ 302 h 305"/>
                    <a:gd name="T66" fmla="*/ 11 w 1396"/>
                    <a:gd name="T67" fmla="*/ 293 h 305"/>
                    <a:gd name="T68" fmla="*/ 9 w 1396"/>
                    <a:gd name="T69" fmla="*/ 285 h 305"/>
                    <a:gd name="T70" fmla="*/ 10 w 1396"/>
                    <a:gd name="T71" fmla="*/ 276 h 305"/>
                    <a:gd name="T72" fmla="*/ 9 w 1396"/>
                    <a:gd name="T73" fmla="*/ 263 h 305"/>
                    <a:gd name="T74" fmla="*/ 9 w 1396"/>
                    <a:gd name="T75" fmla="*/ 253 h 305"/>
                    <a:gd name="T76" fmla="*/ 6 w 1396"/>
                    <a:gd name="T77" fmla="*/ 246 h 305"/>
                    <a:gd name="T78" fmla="*/ 11 w 1396"/>
                    <a:gd name="T79" fmla="*/ 240 h 305"/>
                    <a:gd name="T80" fmla="*/ 11 w 1396"/>
                    <a:gd name="T81" fmla="*/ 232 h 305"/>
                    <a:gd name="T82" fmla="*/ 10 w 1396"/>
                    <a:gd name="T83" fmla="*/ 219 h 305"/>
                    <a:gd name="T84" fmla="*/ 2 w 1396"/>
                    <a:gd name="T85" fmla="*/ 210 h 305"/>
                    <a:gd name="T86" fmla="*/ 1 w 1396"/>
                    <a:gd name="T87" fmla="*/ 199 h 305"/>
                    <a:gd name="T88" fmla="*/ 0 w 1396"/>
                    <a:gd name="T89" fmla="*/ 189 h 305"/>
                    <a:gd name="T90" fmla="*/ 1 w 1396"/>
                    <a:gd name="T91" fmla="*/ 180 h 305"/>
                    <a:gd name="T92" fmla="*/ 3 w 1396"/>
                    <a:gd name="T93" fmla="*/ 171 h 305"/>
                    <a:gd name="T94" fmla="*/ 4 w 1396"/>
                    <a:gd name="T95" fmla="*/ 162 h 305"/>
                    <a:gd name="T96" fmla="*/ 3 w 1396"/>
                    <a:gd name="T97" fmla="*/ 153 h 305"/>
                    <a:gd name="T98" fmla="*/ 5 w 1396"/>
                    <a:gd name="T99" fmla="*/ 143 h 305"/>
                    <a:gd name="T100" fmla="*/ 3 w 1396"/>
                    <a:gd name="T101" fmla="*/ 133 h 305"/>
                    <a:gd name="T102" fmla="*/ 3 w 1396"/>
                    <a:gd name="T103" fmla="*/ 123 h 305"/>
                    <a:gd name="T104" fmla="*/ 3 w 1396"/>
                    <a:gd name="T105" fmla="*/ 112 h 305"/>
                    <a:gd name="T106" fmla="*/ 3 w 1396"/>
                    <a:gd name="T107" fmla="*/ 103 h 305"/>
                    <a:gd name="T108" fmla="*/ 5 w 1396"/>
                    <a:gd name="T109" fmla="*/ 92 h 305"/>
                    <a:gd name="T110" fmla="*/ 6 w 1396"/>
                    <a:gd name="T111" fmla="*/ 84 h 305"/>
                    <a:gd name="T112" fmla="*/ 7 w 1396"/>
                    <a:gd name="T113" fmla="*/ 75 h 305"/>
                    <a:gd name="T114" fmla="*/ 7 w 1396"/>
                    <a:gd name="T115" fmla="*/ 69 h 305"/>
                    <a:gd name="T116" fmla="*/ 4 w 1396"/>
                    <a:gd name="T117" fmla="*/ 61 h 305"/>
                    <a:gd name="T118" fmla="*/ 5 w 1396"/>
                    <a:gd name="T119" fmla="*/ 5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6" h="305">
                      <a:moveTo>
                        <a:pt x="1395" y="217"/>
                      </a:moveTo>
                      <a:lnTo>
                        <a:pt x="1395" y="216"/>
                      </a:lnTo>
                      <a:lnTo>
                        <a:pt x="1395" y="215"/>
                      </a:lnTo>
                      <a:lnTo>
                        <a:pt x="1394" y="215"/>
                      </a:lnTo>
                      <a:lnTo>
                        <a:pt x="1394" y="214"/>
                      </a:lnTo>
                      <a:lnTo>
                        <a:pt x="1395" y="212"/>
                      </a:lnTo>
                      <a:lnTo>
                        <a:pt x="1395" y="212"/>
                      </a:lnTo>
                      <a:lnTo>
                        <a:pt x="1394" y="211"/>
                      </a:lnTo>
                      <a:lnTo>
                        <a:pt x="1393" y="210"/>
                      </a:lnTo>
                      <a:lnTo>
                        <a:pt x="1394" y="210"/>
                      </a:lnTo>
                      <a:lnTo>
                        <a:pt x="1395" y="210"/>
                      </a:lnTo>
                      <a:lnTo>
                        <a:pt x="1395" y="209"/>
                      </a:lnTo>
                      <a:lnTo>
                        <a:pt x="1396" y="208"/>
                      </a:lnTo>
                      <a:lnTo>
                        <a:pt x="1395" y="208"/>
                      </a:lnTo>
                      <a:lnTo>
                        <a:pt x="1395" y="208"/>
                      </a:lnTo>
                      <a:lnTo>
                        <a:pt x="1395" y="207"/>
                      </a:lnTo>
                      <a:lnTo>
                        <a:pt x="1394" y="207"/>
                      </a:lnTo>
                      <a:lnTo>
                        <a:pt x="1393" y="206"/>
                      </a:lnTo>
                      <a:lnTo>
                        <a:pt x="1393" y="206"/>
                      </a:lnTo>
                      <a:lnTo>
                        <a:pt x="1392" y="205"/>
                      </a:lnTo>
                      <a:lnTo>
                        <a:pt x="1392" y="204"/>
                      </a:lnTo>
                      <a:lnTo>
                        <a:pt x="1392" y="204"/>
                      </a:lnTo>
                      <a:lnTo>
                        <a:pt x="1392" y="202"/>
                      </a:lnTo>
                      <a:lnTo>
                        <a:pt x="1392" y="202"/>
                      </a:lnTo>
                      <a:lnTo>
                        <a:pt x="1391" y="201"/>
                      </a:lnTo>
                      <a:lnTo>
                        <a:pt x="1391" y="200"/>
                      </a:lnTo>
                      <a:lnTo>
                        <a:pt x="1391" y="200"/>
                      </a:lnTo>
                      <a:lnTo>
                        <a:pt x="1391" y="198"/>
                      </a:lnTo>
                      <a:lnTo>
                        <a:pt x="1391" y="196"/>
                      </a:lnTo>
                      <a:lnTo>
                        <a:pt x="1391" y="194"/>
                      </a:lnTo>
                      <a:lnTo>
                        <a:pt x="1390" y="194"/>
                      </a:lnTo>
                      <a:lnTo>
                        <a:pt x="1390" y="191"/>
                      </a:lnTo>
                      <a:lnTo>
                        <a:pt x="1389" y="189"/>
                      </a:lnTo>
                      <a:lnTo>
                        <a:pt x="1389" y="188"/>
                      </a:lnTo>
                      <a:lnTo>
                        <a:pt x="1388" y="187"/>
                      </a:lnTo>
                      <a:lnTo>
                        <a:pt x="1388" y="187"/>
                      </a:lnTo>
                      <a:lnTo>
                        <a:pt x="1387" y="186"/>
                      </a:lnTo>
                      <a:lnTo>
                        <a:pt x="1386" y="187"/>
                      </a:lnTo>
                      <a:lnTo>
                        <a:pt x="1386" y="187"/>
                      </a:lnTo>
                      <a:lnTo>
                        <a:pt x="1384" y="185"/>
                      </a:lnTo>
                      <a:lnTo>
                        <a:pt x="1383" y="185"/>
                      </a:lnTo>
                      <a:lnTo>
                        <a:pt x="1382" y="184"/>
                      </a:lnTo>
                      <a:lnTo>
                        <a:pt x="1382" y="183"/>
                      </a:lnTo>
                      <a:lnTo>
                        <a:pt x="1383" y="183"/>
                      </a:lnTo>
                      <a:lnTo>
                        <a:pt x="1384" y="182"/>
                      </a:lnTo>
                      <a:lnTo>
                        <a:pt x="1385" y="181"/>
                      </a:lnTo>
                      <a:lnTo>
                        <a:pt x="1386" y="180"/>
                      </a:lnTo>
                      <a:lnTo>
                        <a:pt x="1386" y="179"/>
                      </a:lnTo>
                      <a:lnTo>
                        <a:pt x="1386" y="179"/>
                      </a:lnTo>
                      <a:lnTo>
                        <a:pt x="1387" y="177"/>
                      </a:lnTo>
                      <a:lnTo>
                        <a:pt x="1387" y="177"/>
                      </a:lnTo>
                      <a:lnTo>
                        <a:pt x="1386" y="175"/>
                      </a:lnTo>
                      <a:lnTo>
                        <a:pt x="1386" y="173"/>
                      </a:lnTo>
                      <a:lnTo>
                        <a:pt x="1386" y="172"/>
                      </a:lnTo>
                      <a:lnTo>
                        <a:pt x="1386" y="171"/>
                      </a:lnTo>
                      <a:lnTo>
                        <a:pt x="1386" y="170"/>
                      </a:lnTo>
                      <a:lnTo>
                        <a:pt x="1385" y="169"/>
                      </a:lnTo>
                      <a:lnTo>
                        <a:pt x="1385" y="168"/>
                      </a:lnTo>
                      <a:lnTo>
                        <a:pt x="1385" y="166"/>
                      </a:lnTo>
                      <a:lnTo>
                        <a:pt x="1385" y="166"/>
                      </a:lnTo>
                      <a:lnTo>
                        <a:pt x="1386" y="165"/>
                      </a:lnTo>
                      <a:lnTo>
                        <a:pt x="1385" y="164"/>
                      </a:lnTo>
                      <a:lnTo>
                        <a:pt x="1386" y="163"/>
                      </a:lnTo>
                      <a:lnTo>
                        <a:pt x="1386" y="162"/>
                      </a:lnTo>
                      <a:lnTo>
                        <a:pt x="1386" y="161"/>
                      </a:lnTo>
                      <a:lnTo>
                        <a:pt x="1387" y="160"/>
                      </a:lnTo>
                      <a:lnTo>
                        <a:pt x="1388" y="159"/>
                      </a:lnTo>
                      <a:lnTo>
                        <a:pt x="1388" y="158"/>
                      </a:lnTo>
                      <a:lnTo>
                        <a:pt x="1390" y="157"/>
                      </a:lnTo>
                      <a:lnTo>
                        <a:pt x="1391" y="156"/>
                      </a:lnTo>
                      <a:lnTo>
                        <a:pt x="1392" y="156"/>
                      </a:lnTo>
                      <a:lnTo>
                        <a:pt x="1393" y="155"/>
                      </a:lnTo>
                      <a:lnTo>
                        <a:pt x="1393" y="153"/>
                      </a:lnTo>
                      <a:lnTo>
                        <a:pt x="1393" y="153"/>
                      </a:lnTo>
                      <a:lnTo>
                        <a:pt x="1394" y="153"/>
                      </a:lnTo>
                      <a:lnTo>
                        <a:pt x="1395" y="152"/>
                      </a:lnTo>
                      <a:lnTo>
                        <a:pt x="1395" y="152"/>
                      </a:lnTo>
                      <a:lnTo>
                        <a:pt x="1395" y="151"/>
                      </a:lnTo>
                      <a:lnTo>
                        <a:pt x="1396" y="151"/>
                      </a:lnTo>
                      <a:lnTo>
                        <a:pt x="1395" y="150"/>
                      </a:lnTo>
                      <a:lnTo>
                        <a:pt x="1394" y="149"/>
                      </a:lnTo>
                      <a:lnTo>
                        <a:pt x="1393" y="149"/>
                      </a:lnTo>
                      <a:lnTo>
                        <a:pt x="1393" y="148"/>
                      </a:lnTo>
                      <a:lnTo>
                        <a:pt x="1392" y="147"/>
                      </a:lnTo>
                      <a:lnTo>
                        <a:pt x="1391" y="147"/>
                      </a:lnTo>
                      <a:lnTo>
                        <a:pt x="1390" y="147"/>
                      </a:lnTo>
                      <a:lnTo>
                        <a:pt x="1389" y="146"/>
                      </a:lnTo>
                      <a:lnTo>
                        <a:pt x="1388" y="145"/>
                      </a:lnTo>
                      <a:lnTo>
                        <a:pt x="1388" y="145"/>
                      </a:lnTo>
                      <a:lnTo>
                        <a:pt x="1387" y="144"/>
                      </a:lnTo>
                      <a:lnTo>
                        <a:pt x="1386" y="143"/>
                      </a:lnTo>
                      <a:lnTo>
                        <a:pt x="1386" y="143"/>
                      </a:lnTo>
                      <a:lnTo>
                        <a:pt x="1385" y="142"/>
                      </a:lnTo>
                      <a:lnTo>
                        <a:pt x="1384" y="141"/>
                      </a:lnTo>
                      <a:lnTo>
                        <a:pt x="1383" y="141"/>
                      </a:lnTo>
                      <a:lnTo>
                        <a:pt x="1382" y="140"/>
                      </a:lnTo>
                      <a:lnTo>
                        <a:pt x="1382" y="140"/>
                      </a:lnTo>
                      <a:lnTo>
                        <a:pt x="1381" y="139"/>
                      </a:lnTo>
                      <a:lnTo>
                        <a:pt x="1380" y="139"/>
                      </a:lnTo>
                      <a:lnTo>
                        <a:pt x="1380" y="138"/>
                      </a:lnTo>
                      <a:lnTo>
                        <a:pt x="1379" y="137"/>
                      </a:lnTo>
                      <a:lnTo>
                        <a:pt x="1378" y="137"/>
                      </a:lnTo>
                      <a:lnTo>
                        <a:pt x="1378" y="137"/>
                      </a:lnTo>
                      <a:lnTo>
                        <a:pt x="1377" y="136"/>
                      </a:lnTo>
                      <a:lnTo>
                        <a:pt x="1376" y="135"/>
                      </a:lnTo>
                      <a:lnTo>
                        <a:pt x="1375" y="135"/>
                      </a:lnTo>
                      <a:lnTo>
                        <a:pt x="1374" y="135"/>
                      </a:lnTo>
                      <a:lnTo>
                        <a:pt x="1374" y="135"/>
                      </a:lnTo>
                      <a:lnTo>
                        <a:pt x="1373" y="134"/>
                      </a:lnTo>
                      <a:lnTo>
                        <a:pt x="1372" y="133"/>
                      </a:lnTo>
                      <a:lnTo>
                        <a:pt x="1371" y="133"/>
                      </a:lnTo>
                      <a:lnTo>
                        <a:pt x="1370" y="132"/>
                      </a:lnTo>
                      <a:lnTo>
                        <a:pt x="1369" y="132"/>
                      </a:lnTo>
                      <a:lnTo>
                        <a:pt x="1369" y="132"/>
                      </a:lnTo>
                      <a:lnTo>
                        <a:pt x="1367" y="131"/>
                      </a:lnTo>
                      <a:lnTo>
                        <a:pt x="1367" y="130"/>
                      </a:lnTo>
                      <a:lnTo>
                        <a:pt x="1366" y="130"/>
                      </a:lnTo>
                      <a:lnTo>
                        <a:pt x="1365" y="130"/>
                      </a:lnTo>
                      <a:lnTo>
                        <a:pt x="1364" y="129"/>
                      </a:lnTo>
                      <a:lnTo>
                        <a:pt x="1363" y="129"/>
                      </a:lnTo>
                      <a:lnTo>
                        <a:pt x="1363" y="128"/>
                      </a:lnTo>
                      <a:lnTo>
                        <a:pt x="1362" y="128"/>
                      </a:lnTo>
                      <a:lnTo>
                        <a:pt x="1361" y="128"/>
                      </a:lnTo>
                      <a:lnTo>
                        <a:pt x="1360" y="127"/>
                      </a:lnTo>
                      <a:lnTo>
                        <a:pt x="1359" y="126"/>
                      </a:lnTo>
                      <a:lnTo>
                        <a:pt x="1359" y="126"/>
                      </a:lnTo>
                      <a:lnTo>
                        <a:pt x="1358" y="126"/>
                      </a:lnTo>
                      <a:lnTo>
                        <a:pt x="1357" y="126"/>
                      </a:lnTo>
                      <a:lnTo>
                        <a:pt x="1356" y="125"/>
                      </a:lnTo>
                      <a:lnTo>
                        <a:pt x="1355" y="124"/>
                      </a:lnTo>
                      <a:lnTo>
                        <a:pt x="1355" y="124"/>
                      </a:lnTo>
                      <a:lnTo>
                        <a:pt x="1353" y="124"/>
                      </a:lnTo>
                      <a:lnTo>
                        <a:pt x="1353" y="123"/>
                      </a:lnTo>
                      <a:lnTo>
                        <a:pt x="1352" y="123"/>
                      </a:lnTo>
                      <a:lnTo>
                        <a:pt x="1351" y="122"/>
                      </a:lnTo>
                      <a:lnTo>
                        <a:pt x="1350" y="122"/>
                      </a:lnTo>
                      <a:lnTo>
                        <a:pt x="1349" y="122"/>
                      </a:lnTo>
                      <a:lnTo>
                        <a:pt x="1348" y="121"/>
                      </a:lnTo>
                      <a:lnTo>
                        <a:pt x="1348" y="120"/>
                      </a:lnTo>
                      <a:lnTo>
                        <a:pt x="1347" y="120"/>
                      </a:lnTo>
                      <a:lnTo>
                        <a:pt x="1346" y="120"/>
                      </a:lnTo>
                      <a:lnTo>
                        <a:pt x="1345" y="120"/>
                      </a:lnTo>
                      <a:lnTo>
                        <a:pt x="1344" y="119"/>
                      </a:lnTo>
                      <a:lnTo>
                        <a:pt x="1344" y="118"/>
                      </a:lnTo>
                      <a:lnTo>
                        <a:pt x="1343" y="118"/>
                      </a:lnTo>
                      <a:lnTo>
                        <a:pt x="1342" y="118"/>
                      </a:lnTo>
                      <a:lnTo>
                        <a:pt x="1342" y="117"/>
                      </a:lnTo>
                      <a:lnTo>
                        <a:pt x="1341" y="117"/>
                      </a:lnTo>
                      <a:lnTo>
                        <a:pt x="1340" y="116"/>
                      </a:lnTo>
                      <a:lnTo>
                        <a:pt x="1339" y="116"/>
                      </a:lnTo>
                      <a:lnTo>
                        <a:pt x="1338" y="116"/>
                      </a:lnTo>
                      <a:lnTo>
                        <a:pt x="1338" y="115"/>
                      </a:lnTo>
                      <a:lnTo>
                        <a:pt x="1337" y="115"/>
                      </a:lnTo>
                      <a:lnTo>
                        <a:pt x="1336" y="114"/>
                      </a:lnTo>
                      <a:lnTo>
                        <a:pt x="1336" y="114"/>
                      </a:lnTo>
                      <a:lnTo>
                        <a:pt x="1334" y="113"/>
                      </a:lnTo>
                      <a:lnTo>
                        <a:pt x="1334" y="113"/>
                      </a:lnTo>
                      <a:lnTo>
                        <a:pt x="1333" y="113"/>
                      </a:lnTo>
                      <a:lnTo>
                        <a:pt x="1332" y="112"/>
                      </a:lnTo>
                      <a:lnTo>
                        <a:pt x="1331" y="112"/>
                      </a:lnTo>
                      <a:lnTo>
                        <a:pt x="1331" y="111"/>
                      </a:lnTo>
                      <a:lnTo>
                        <a:pt x="1330" y="111"/>
                      </a:lnTo>
                      <a:lnTo>
                        <a:pt x="1329" y="111"/>
                      </a:lnTo>
                      <a:lnTo>
                        <a:pt x="1329" y="110"/>
                      </a:lnTo>
                      <a:lnTo>
                        <a:pt x="1328" y="110"/>
                      </a:lnTo>
                      <a:lnTo>
                        <a:pt x="1327" y="109"/>
                      </a:lnTo>
                      <a:lnTo>
                        <a:pt x="1326" y="109"/>
                      </a:lnTo>
                      <a:lnTo>
                        <a:pt x="1325" y="109"/>
                      </a:lnTo>
                      <a:lnTo>
                        <a:pt x="1325" y="108"/>
                      </a:lnTo>
                      <a:lnTo>
                        <a:pt x="1324" y="108"/>
                      </a:lnTo>
                      <a:lnTo>
                        <a:pt x="1323" y="107"/>
                      </a:lnTo>
                      <a:lnTo>
                        <a:pt x="1323" y="107"/>
                      </a:lnTo>
                      <a:lnTo>
                        <a:pt x="1312" y="102"/>
                      </a:lnTo>
                      <a:lnTo>
                        <a:pt x="1278" y="84"/>
                      </a:lnTo>
                      <a:lnTo>
                        <a:pt x="1252" y="70"/>
                      </a:lnTo>
                      <a:lnTo>
                        <a:pt x="1251" y="69"/>
                      </a:lnTo>
                      <a:lnTo>
                        <a:pt x="1250" y="69"/>
                      </a:lnTo>
                      <a:lnTo>
                        <a:pt x="1236" y="61"/>
                      </a:lnTo>
                      <a:lnTo>
                        <a:pt x="1235" y="61"/>
                      </a:lnTo>
                      <a:lnTo>
                        <a:pt x="1232" y="59"/>
                      </a:lnTo>
                      <a:lnTo>
                        <a:pt x="1232" y="59"/>
                      </a:lnTo>
                      <a:lnTo>
                        <a:pt x="1231" y="59"/>
                      </a:lnTo>
                      <a:lnTo>
                        <a:pt x="1230" y="57"/>
                      </a:lnTo>
                      <a:lnTo>
                        <a:pt x="1229" y="57"/>
                      </a:lnTo>
                      <a:lnTo>
                        <a:pt x="1226" y="56"/>
                      </a:lnTo>
                      <a:lnTo>
                        <a:pt x="1226" y="55"/>
                      </a:lnTo>
                      <a:lnTo>
                        <a:pt x="1224" y="54"/>
                      </a:lnTo>
                      <a:lnTo>
                        <a:pt x="1223" y="54"/>
                      </a:lnTo>
                      <a:lnTo>
                        <a:pt x="1222" y="52"/>
                      </a:lnTo>
                      <a:lnTo>
                        <a:pt x="1220" y="52"/>
                      </a:lnTo>
                      <a:lnTo>
                        <a:pt x="1219" y="51"/>
                      </a:lnTo>
                      <a:lnTo>
                        <a:pt x="1217" y="50"/>
                      </a:lnTo>
                      <a:lnTo>
                        <a:pt x="1215" y="49"/>
                      </a:lnTo>
                      <a:lnTo>
                        <a:pt x="1215" y="48"/>
                      </a:lnTo>
                      <a:lnTo>
                        <a:pt x="1215" y="48"/>
                      </a:lnTo>
                      <a:lnTo>
                        <a:pt x="1214" y="48"/>
                      </a:lnTo>
                      <a:lnTo>
                        <a:pt x="1209" y="45"/>
                      </a:lnTo>
                      <a:lnTo>
                        <a:pt x="1207" y="44"/>
                      </a:lnTo>
                      <a:lnTo>
                        <a:pt x="1207" y="44"/>
                      </a:lnTo>
                      <a:lnTo>
                        <a:pt x="1205" y="42"/>
                      </a:lnTo>
                      <a:lnTo>
                        <a:pt x="1203" y="41"/>
                      </a:lnTo>
                      <a:lnTo>
                        <a:pt x="1200" y="40"/>
                      </a:lnTo>
                      <a:lnTo>
                        <a:pt x="1199" y="39"/>
                      </a:lnTo>
                      <a:lnTo>
                        <a:pt x="1198" y="38"/>
                      </a:lnTo>
                      <a:lnTo>
                        <a:pt x="1197" y="38"/>
                      </a:lnTo>
                      <a:lnTo>
                        <a:pt x="1196" y="38"/>
                      </a:lnTo>
                      <a:lnTo>
                        <a:pt x="1196" y="38"/>
                      </a:lnTo>
                      <a:lnTo>
                        <a:pt x="1195" y="37"/>
                      </a:lnTo>
                      <a:lnTo>
                        <a:pt x="1189" y="33"/>
                      </a:lnTo>
                      <a:lnTo>
                        <a:pt x="1188" y="33"/>
                      </a:lnTo>
                      <a:lnTo>
                        <a:pt x="1186" y="31"/>
                      </a:lnTo>
                      <a:lnTo>
                        <a:pt x="1186" y="31"/>
                      </a:lnTo>
                      <a:lnTo>
                        <a:pt x="1180" y="27"/>
                      </a:lnTo>
                      <a:lnTo>
                        <a:pt x="1176" y="25"/>
                      </a:lnTo>
                      <a:lnTo>
                        <a:pt x="1175" y="25"/>
                      </a:lnTo>
                      <a:lnTo>
                        <a:pt x="1172" y="23"/>
                      </a:lnTo>
                      <a:lnTo>
                        <a:pt x="1169" y="21"/>
                      </a:lnTo>
                      <a:lnTo>
                        <a:pt x="1167" y="21"/>
                      </a:lnTo>
                      <a:lnTo>
                        <a:pt x="1167" y="20"/>
                      </a:lnTo>
                      <a:lnTo>
                        <a:pt x="1166" y="19"/>
                      </a:lnTo>
                      <a:lnTo>
                        <a:pt x="1164" y="19"/>
                      </a:lnTo>
                      <a:lnTo>
                        <a:pt x="1160" y="17"/>
                      </a:lnTo>
                      <a:lnTo>
                        <a:pt x="1151" y="17"/>
                      </a:lnTo>
                      <a:lnTo>
                        <a:pt x="1126" y="15"/>
                      </a:lnTo>
                      <a:lnTo>
                        <a:pt x="1027" y="6"/>
                      </a:lnTo>
                      <a:lnTo>
                        <a:pt x="966" y="1"/>
                      </a:lnTo>
                      <a:lnTo>
                        <a:pt x="954" y="1"/>
                      </a:lnTo>
                      <a:lnTo>
                        <a:pt x="943" y="0"/>
                      </a:lnTo>
                      <a:lnTo>
                        <a:pt x="937" y="1"/>
                      </a:lnTo>
                      <a:lnTo>
                        <a:pt x="929" y="3"/>
                      </a:lnTo>
                      <a:lnTo>
                        <a:pt x="924" y="4"/>
                      </a:lnTo>
                      <a:lnTo>
                        <a:pt x="913" y="7"/>
                      </a:lnTo>
                      <a:lnTo>
                        <a:pt x="908" y="8"/>
                      </a:lnTo>
                      <a:lnTo>
                        <a:pt x="901" y="10"/>
                      </a:lnTo>
                      <a:lnTo>
                        <a:pt x="893" y="12"/>
                      </a:lnTo>
                      <a:lnTo>
                        <a:pt x="886" y="14"/>
                      </a:lnTo>
                      <a:lnTo>
                        <a:pt x="875" y="17"/>
                      </a:lnTo>
                      <a:lnTo>
                        <a:pt x="868" y="19"/>
                      </a:lnTo>
                      <a:lnTo>
                        <a:pt x="861" y="20"/>
                      </a:lnTo>
                      <a:lnTo>
                        <a:pt x="850" y="23"/>
                      </a:lnTo>
                      <a:lnTo>
                        <a:pt x="839" y="26"/>
                      </a:lnTo>
                      <a:lnTo>
                        <a:pt x="837" y="27"/>
                      </a:lnTo>
                      <a:lnTo>
                        <a:pt x="829" y="29"/>
                      </a:lnTo>
                      <a:lnTo>
                        <a:pt x="820" y="31"/>
                      </a:lnTo>
                      <a:lnTo>
                        <a:pt x="810" y="33"/>
                      </a:lnTo>
                      <a:lnTo>
                        <a:pt x="808" y="34"/>
                      </a:lnTo>
                      <a:lnTo>
                        <a:pt x="807" y="34"/>
                      </a:lnTo>
                      <a:lnTo>
                        <a:pt x="803" y="35"/>
                      </a:lnTo>
                      <a:lnTo>
                        <a:pt x="801" y="36"/>
                      </a:lnTo>
                      <a:lnTo>
                        <a:pt x="798" y="36"/>
                      </a:lnTo>
                      <a:lnTo>
                        <a:pt x="797" y="37"/>
                      </a:lnTo>
                      <a:lnTo>
                        <a:pt x="793" y="38"/>
                      </a:lnTo>
                      <a:lnTo>
                        <a:pt x="791" y="38"/>
                      </a:lnTo>
                      <a:lnTo>
                        <a:pt x="789" y="39"/>
                      </a:lnTo>
                      <a:lnTo>
                        <a:pt x="787" y="39"/>
                      </a:lnTo>
                      <a:lnTo>
                        <a:pt x="786" y="40"/>
                      </a:lnTo>
                      <a:lnTo>
                        <a:pt x="785" y="40"/>
                      </a:lnTo>
                      <a:lnTo>
                        <a:pt x="784" y="40"/>
                      </a:lnTo>
                      <a:lnTo>
                        <a:pt x="783" y="40"/>
                      </a:lnTo>
                      <a:lnTo>
                        <a:pt x="781" y="40"/>
                      </a:lnTo>
                      <a:lnTo>
                        <a:pt x="778" y="41"/>
                      </a:lnTo>
                      <a:lnTo>
                        <a:pt x="776" y="41"/>
                      </a:lnTo>
                      <a:lnTo>
                        <a:pt x="774" y="41"/>
                      </a:lnTo>
                      <a:lnTo>
                        <a:pt x="772" y="42"/>
                      </a:lnTo>
                      <a:lnTo>
                        <a:pt x="770" y="42"/>
                      </a:lnTo>
                      <a:lnTo>
                        <a:pt x="769" y="42"/>
                      </a:lnTo>
                      <a:lnTo>
                        <a:pt x="768" y="42"/>
                      </a:lnTo>
                      <a:lnTo>
                        <a:pt x="762" y="43"/>
                      </a:lnTo>
                      <a:lnTo>
                        <a:pt x="755" y="44"/>
                      </a:lnTo>
                      <a:lnTo>
                        <a:pt x="752" y="44"/>
                      </a:lnTo>
                      <a:lnTo>
                        <a:pt x="750" y="45"/>
                      </a:lnTo>
                      <a:lnTo>
                        <a:pt x="746" y="46"/>
                      </a:lnTo>
                      <a:lnTo>
                        <a:pt x="742" y="46"/>
                      </a:lnTo>
                      <a:lnTo>
                        <a:pt x="732" y="48"/>
                      </a:lnTo>
                      <a:lnTo>
                        <a:pt x="728" y="48"/>
                      </a:lnTo>
                      <a:lnTo>
                        <a:pt x="726" y="48"/>
                      </a:lnTo>
                      <a:lnTo>
                        <a:pt x="723" y="49"/>
                      </a:lnTo>
                      <a:lnTo>
                        <a:pt x="718" y="50"/>
                      </a:lnTo>
                      <a:lnTo>
                        <a:pt x="715" y="50"/>
                      </a:lnTo>
                      <a:lnTo>
                        <a:pt x="711" y="51"/>
                      </a:lnTo>
                      <a:lnTo>
                        <a:pt x="685" y="55"/>
                      </a:lnTo>
                      <a:lnTo>
                        <a:pt x="681" y="56"/>
                      </a:lnTo>
                      <a:lnTo>
                        <a:pt x="679" y="56"/>
                      </a:lnTo>
                      <a:lnTo>
                        <a:pt x="675" y="57"/>
                      </a:lnTo>
                      <a:lnTo>
                        <a:pt x="672" y="57"/>
                      </a:lnTo>
                      <a:lnTo>
                        <a:pt x="668" y="58"/>
                      </a:lnTo>
                      <a:lnTo>
                        <a:pt x="666" y="58"/>
                      </a:lnTo>
                      <a:lnTo>
                        <a:pt x="662" y="59"/>
                      </a:lnTo>
                      <a:lnTo>
                        <a:pt x="659" y="59"/>
                      </a:lnTo>
                      <a:lnTo>
                        <a:pt x="654" y="60"/>
                      </a:lnTo>
                      <a:lnTo>
                        <a:pt x="652" y="61"/>
                      </a:lnTo>
                      <a:lnTo>
                        <a:pt x="645" y="61"/>
                      </a:lnTo>
                      <a:lnTo>
                        <a:pt x="643" y="62"/>
                      </a:lnTo>
                      <a:lnTo>
                        <a:pt x="637" y="63"/>
                      </a:lnTo>
                      <a:lnTo>
                        <a:pt x="633" y="63"/>
                      </a:lnTo>
                      <a:lnTo>
                        <a:pt x="628" y="64"/>
                      </a:lnTo>
                      <a:lnTo>
                        <a:pt x="624" y="65"/>
                      </a:lnTo>
                      <a:lnTo>
                        <a:pt x="622" y="65"/>
                      </a:lnTo>
                      <a:lnTo>
                        <a:pt x="618" y="65"/>
                      </a:lnTo>
                      <a:lnTo>
                        <a:pt x="614" y="66"/>
                      </a:lnTo>
                      <a:lnTo>
                        <a:pt x="612" y="67"/>
                      </a:lnTo>
                      <a:lnTo>
                        <a:pt x="609" y="67"/>
                      </a:lnTo>
                      <a:lnTo>
                        <a:pt x="603" y="68"/>
                      </a:lnTo>
                      <a:lnTo>
                        <a:pt x="599" y="69"/>
                      </a:lnTo>
                      <a:lnTo>
                        <a:pt x="593" y="69"/>
                      </a:lnTo>
                      <a:lnTo>
                        <a:pt x="590" y="70"/>
                      </a:lnTo>
                      <a:lnTo>
                        <a:pt x="585" y="71"/>
                      </a:lnTo>
                      <a:lnTo>
                        <a:pt x="579" y="71"/>
                      </a:lnTo>
                      <a:lnTo>
                        <a:pt x="573" y="73"/>
                      </a:lnTo>
                      <a:lnTo>
                        <a:pt x="564" y="74"/>
                      </a:lnTo>
                      <a:lnTo>
                        <a:pt x="559" y="75"/>
                      </a:lnTo>
                      <a:lnTo>
                        <a:pt x="550" y="76"/>
                      </a:lnTo>
                      <a:lnTo>
                        <a:pt x="535" y="78"/>
                      </a:lnTo>
                      <a:lnTo>
                        <a:pt x="525" y="80"/>
                      </a:lnTo>
                      <a:lnTo>
                        <a:pt x="519" y="81"/>
                      </a:lnTo>
                      <a:lnTo>
                        <a:pt x="514" y="82"/>
                      </a:lnTo>
                      <a:lnTo>
                        <a:pt x="510" y="82"/>
                      </a:lnTo>
                      <a:lnTo>
                        <a:pt x="508" y="82"/>
                      </a:lnTo>
                      <a:lnTo>
                        <a:pt x="504" y="83"/>
                      </a:lnTo>
                      <a:lnTo>
                        <a:pt x="500" y="84"/>
                      </a:lnTo>
                      <a:lnTo>
                        <a:pt x="500" y="84"/>
                      </a:lnTo>
                      <a:lnTo>
                        <a:pt x="499" y="86"/>
                      </a:lnTo>
                      <a:lnTo>
                        <a:pt x="499" y="86"/>
                      </a:lnTo>
                      <a:lnTo>
                        <a:pt x="499" y="88"/>
                      </a:lnTo>
                      <a:lnTo>
                        <a:pt x="499" y="88"/>
                      </a:lnTo>
                      <a:lnTo>
                        <a:pt x="498" y="89"/>
                      </a:lnTo>
                      <a:lnTo>
                        <a:pt x="498" y="90"/>
                      </a:lnTo>
                      <a:lnTo>
                        <a:pt x="498" y="90"/>
                      </a:lnTo>
                      <a:lnTo>
                        <a:pt x="497" y="90"/>
                      </a:lnTo>
                      <a:lnTo>
                        <a:pt x="497" y="91"/>
                      </a:lnTo>
                      <a:lnTo>
                        <a:pt x="497" y="92"/>
                      </a:lnTo>
                      <a:lnTo>
                        <a:pt x="497" y="93"/>
                      </a:lnTo>
                      <a:lnTo>
                        <a:pt x="495" y="98"/>
                      </a:lnTo>
                      <a:lnTo>
                        <a:pt x="491" y="108"/>
                      </a:lnTo>
                      <a:lnTo>
                        <a:pt x="487" y="118"/>
                      </a:lnTo>
                      <a:lnTo>
                        <a:pt x="484" y="126"/>
                      </a:lnTo>
                      <a:lnTo>
                        <a:pt x="480" y="136"/>
                      </a:lnTo>
                      <a:lnTo>
                        <a:pt x="479" y="137"/>
                      </a:lnTo>
                      <a:lnTo>
                        <a:pt x="478" y="140"/>
                      </a:lnTo>
                      <a:lnTo>
                        <a:pt x="476" y="147"/>
                      </a:lnTo>
                      <a:lnTo>
                        <a:pt x="472" y="158"/>
                      </a:lnTo>
                      <a:lnTo>
                        <a:pt x="468" y="168"/>
                      </a:lnTo>
                      <a:lnTo>
                        <a:pt x="465" y="173"/>
                      </a:lnTo>
                      <a:lnTo>
                        <a:pt x="461" y="184"/>
                      </a:lnTo>
                      <a:lnTo>
                        <a:pt x="460" y="186"/>
                      </a:lnTo>
                      <a:lnTo>
                        <a:pt x="458" y="191"/>
                      </a:lnTo>
                      <a:lnTo>
                        <a:pt x="457" y="194"/>
                      </a:lnTo>
                      <a:lnTo>
                        <a:pt x="456" y="196"/>
                      </a:lnTo>
                      <a:lnTo>
                        <a:pt x="455" y="199"/>
                      </a:lnTo>
                      <a:lnTo>
                        <a:pt x="453" y="202"/>
                      </a:lnTo>
                      <a:lnTo>
                        <a:pt x="453" y="204"/>
                      </a:lnTo>
                      <a:lnTo>
                        <a:pt x="453" y="204"/>
                      </a:lnTo>
                      <a:lnTo>
                        <a:pt x="451" y="206"/>
                      </a:lnTo>
                      <a:lnTo>
                        <a:pt x="449" y="210"/>
                      </a:lnTo>
                      <a:lnTo>
                        <a:pt x="447" y="212"/>
                      </a:lnTo>
                      <a:lnTo>
                        <a:pt x="445" y="214"/>
                      </a:lnTo>
                      <a:lnTo>
                        <a:pt x="443" y="218"/>
                      </a:lnTo>
                      <a:lnTo>
                        <a:pt x="442" y="219"/>
                      </a:lnTo>
                      <a:lnTo>
                        <a:pt x="441" y="220"/>
                      </a:lnTo>
                      <a:lnTo>
                        <a:pt x="440" y="221"/>
                      </a:lnTo>
                      <a:lnTo>
                        <a:pt x="440" y="221"/>
                      </a:lnTo>
                      <a:lnTo>
                        <a:pt x="440" y="221"/>
                      </a:lnTo>
                      <a:lnTo>
                        <a:pt x="440" y="222"/>
                      </a:lnTo>
                      <a:lnTo>
                        <a:pt x="439" y="223"/>
                      </a:lnTo>
                      <a:lnTo>
                        <a:pt x="438" y="224"/>
                      </a:lnTo>
                      <a:lnTo>
                        <a:pt x="438" y="225"/>
                      </a:lnTo>
                      <a:lnTo>
                        <a:pt x="438" y="225"/>
                      </a:lnTo>
                      <a:lnTo>
                        <a:pt x="434" y="231"/>
                      </a:lnTo>
                      <a:lnTo>
                        <a:pt x="426" y="242"/>
                      </a:lnTo>
                      <a:lnTo>
                        <a:pt x="421" y="248"/>
                      </a:lnTo>
                      <a:lnTo>
                        <a:pt x="417" y="255"/>
                      </a:lnTo>
                      <a:lnTo>
                        <a:pt x="413" y="261"/>
                      </a:lnTo>
                      <a:lnTo>
                        <a:pt x="408" y="268"/>
                      </a:lnTo>
                      <a:lnTo>
                        <a:pt x="404" y="274"/>
                      </a:lnTo>
                      <a:lnTo>
                        <a:pt x="402" y="277"/>
                      </a:lnTo>
                      <a:lnTo>
                        <a:pt x="398" y="283"/>
                      </a:lnTo>
                      <a:lnTo>
                        <a:pt x="394" y="288"/>
                      </a:lnTo>
                      <a:lnTo>
                        <a:pt x="391" y="292"/>
                      </a:lnTo>
                      <a:lnTo>
                        <a:pt x="388" y="296"/>
                      </a:lnTo>
                      <a:lnTo>
                        <a:pt x="388" y="297"/>
                      </a:lnTo>
                      <a:lnTo>
                        <a:pt x="260" y="297"/>
                      </a:lnTo>
                      <a:lnTo>
                        <a:pt x="178" y="297"/>
                      </a:lnTo>
                      <a:lnTo>
                        <a:pt x="172" y="297"/>
                      </a:lnTo>
                      <a:lnTo>
                        <a:pt x="121" y="301"/>
                      </a:lnTo>
                      <a:lnTo>
                        <a:pt x="120" y="301"/>
                      </a:lnTo>
                      <a:lnTo>
                        <a:pt x="111" y="301"/>
                      </a:lnTo>
                      <a:lnTo>
                        <a:pt x="106" y="301"/>
                      </a:lnTo>
                      <a:lnTo>
                        <a:pt x="101" y="301"/>
                      </a:lnTo>
                      <a:lnTo>
                        <a:pt x="94" y="301"/>
                      </a:lnTo>
                      <a:lnTo>
                        <a:pt x="94" y="301"/>
                      </a:lnTo>
                      <a:lnTo>
                        <a:pt x="94" y="300"/>
                      </a:lnTo>
                      <a:lnTo>
                        <a:pt x="94" y="299"/>
                      </a:lnTo>
                      <a:lnTo>
                        <a:pt x="94" y="298"/>
                      </a:lnTo>
                      <a:lnTo>
                        <a:pt x="93" y="298"/>
                      </a:lnTo>
                      <a:lnTo>
                        <a:pt x="94" y="297"/>
                      </a:lnTo>
                      <a:lnTo>
                        <a:pt x="94" y="297"/>
                      </a:lnTo>
                      <a:lnTo>
                        <a:pt x="94" y="296"/>
                      </a:lnTo>
                      <a:lnTo>
                        <a:pt x="93" y="296"/>
                      </a:lnTo>
                      <a:lnTo>
                        <a:pt x="93" y="295"/>
                      </a:lnTo>
                      <a:lnTo>
                        <a:pt x="93" y="295"/>
                      </a:lnTo>
                      <a:lnTo>
                        <a:pt x="94" y="295"/>
                      </a:lnTo>
                      <a:lnTo>
                        <a:pt x="94" y="294"/>
                      </a:lnTo>
                      <a:lnTo>
                        <a:pt x="94" y="293"/>
                      </a:lnTo>
                      <a:lnTo>
                        <a:pt x="94" y="293"/>
                      </a:lnTo>
                      <a:lnTo>
                        <a:pt x="94" y="292"/>
                      </a:lnTo>
                      <a:lnTo>
                        <a:pt x="95" y="292"/>
                      </a:lnTo>
                      <a:lnTo>
                        <a:pt x="95" y="291"/>
                      </a:lnTo>
                      <a:lnTo>
                        <a:pt x="95" y="290"/>
                      </a:lnTo>
                      <a:lnTo>
                        <a:pt x="95" y="290"/>
                      </a:lnTo>
                      <a:lnTo>
                        <a:pt x="94" y="289"/>
                      </a:lnTo>
                      <a:lnTo>
                        <a:pt x="94" y="287"/>
                      </a:lnTo>
                      <a:lnTo>
                        <a:pt x="94" y="286"/>
                      </a:lnTo>
                      <a:lnTo>
                        <a:pt x="94" y="286"/>
                      </a:lnTo>
                      <a:lnTo>
                        <a:pt x="94" y="285"/>
                      </a:lnTo>
                      <a:lnTo>
                        <a:pt x="94" y="284"/>
                      </a:lnTo>
                      <a:lnTo>
                        <a:pt x="94" y="284"/>
                      </a:lnTo>
                      <a:lnTo>
                        <a:pt x="94" y="284"/>
                      </a:lnTo>
                      <a:lnTo>
                        <a:pt x="94" y="283"/>
                      </a:lnTo>
                      <a:lnTo>
                        <a:pt x="94" y="283"/>
                      </a:lnTo>
                      <a:lnTo>
                        <a:pt x="93" y="284"/>
                      </a:lnTo>
                      <a:lnTo>
                        <a:pt x="92" y="284"/>
                      </a:lnTo>
                      <a:lnTo>
                        <a:pt x="92" y="284"/>
                      </a:lnTo>
                      <a:lnTo>
                        <a:pt x="91" y="284"/>
                      </a:lnTo>
                      <a:lnTo>
                        <a:pt x="91" y="284"/>
                      </a:lnTo>
                      <a:lnTo>
                        <a:pt x="91" y="284"/>
                      </a:lnTo>
                      <a:lnTo>
                        <a:pt x="90" y="284"/>
                      </a:lnTo>
                      <a:lnTo>
                        <a:pt x="90" y="284"/>
                      </a:lnTo>
                      <a:lnTo>
                        <a:pt x="90" y="284"/>
                      </a:lnTo>
                      <a:lnTo>
                        <a:pt x="89" y="284"/>
                      </a:lnTo>
                      <a:lnTo>
                        <a:pt x="88" y="284"/>
                      </a:lnTo>
                      <a:lnTo>
                        <a:pt x="87" y="284"/>
                      </a:lnTo>
                      <a:lnTo>
                        <a:pt x="87" y="284"/>
                      </a:lnTo>
                      <a:lnTo>
                        <a:pt x="87" y="285"/>
                      </a:lnTo>
                      <a:lnTo>
                        <a:pt x="86" y="285"/>
                      </a:lnTo>
                      <a:lnTo>
                        <a:pt x="85" y="285"/>
                      </a:lnTo>
                      <a:lnTo>
                        <a:pt x="83" y="285"/>
                      </a:lnTo>
                      <a:lnTo>
                        <a:pt x="83" y="286"/>
                      </a:lnTo>
                      <a:lnTo>
                        <a:pt x="83" y="286"/>
                      </a:lnTo>
                      <a:lnTo>
                        <a:pt x="83" y="286"/>
                      </a:lnTo>
                      <a:lnTo>
                        <a:pt x="82" y="287"/>
                      </a:lnTo>
                      <a:lnTo>
                        <a:pt x="82" y="288"/>
                      </a:lnTo>
                      <a:lnTo>
                        <a:pt x="83" y="288"/>
                      </a:lnTo>
                      <a:lnTo>
                        <a:pt x="83" y="288"/>
                      </a:lnTo>
                      <a:lnTo>
                        <a:pt x="82" y="288"/>
                      </a:lnTo>
                      <a:lnTo>
                        <a:pt x="82" y="289"/>
                      </a:lnTo>
                      <a:lnTo>
                        <a:pt x="82" y="290"/>
                      </a:lnTo>
                      <a:lnTo>
                        <a:pt x="82" y="290"/>
                      </a:lnTo>
                      <a:lnTo>
                        <a:pt x="81" y="290"/>
                      </a:lnTo>
                      <a:lnTo>
                        <a:pt x="81" y="290"/>
                      </a:lnTo>
                      <a:lnTo>
                        <a:pt x="81" y="291"/>
                      </a:lnTo>
                      <a:lnTo>
                        <a:pt x="81" y="291"/>
                      </a:lnTo>
                      <a:lnTo>
                        <a:pt x="81" y="292"/>
                      </a:lnTo>
                      <a:lnTo>
                        <a:pt x="81" y="292"/>
                      </a:lnTo>
                      <a:lnTo>
                        <a:pt x="81" y="293"/>
                      </a:lnTo>
                      <a:lnTo>
                        <a:pt x="80" y="293"/>
                      </a:lnTo>
                      <a:lnTo>
                        <a:pt x="80" y="293"/>
                      </a:lnTo>
                      <a:lnTo>
                        <a:pt x="80" y="294"/>
                      </a:lnTo>
                      <a:lnTo>
                        <a:pt x="80" y="295"/>
                      </a:lnTo>
                      <a:lnTo>
                        <a:pt x="79" y="295"/>
                      </a:lnTo>
                      <a:lnTo>
                        <a:pt x="79" y="296"/>
                      </a:lnTo>
                      <a:lnTo>
                        <a:pt x="79" y="296"/>
                      </a:lnTo>
                      <a:lnTo>
                        <a:pt x="78" y="296"/>
                      </a:lnTo>
                      <a:lnTo>
                        <a:pt x="77" y="296"/>
                      </a:lnTo>
                      <a:lnTo>
                        <a:pt x="76" y="295"/>
                      </a:lnTo>
                      <a:lnTo>
                        <a:pt x="75" y="295"/>
                      </a:lnTo>
                      <a:lnTo>
                        <a:pt x="75" y="295"/>
                      </a:lnTo>
                      <a:lnTo>
                        <a:pt x="74" y="295"/>
                      </a:lnTo>
                      <a:lnTo>
                        <a:pt x="73" y="295"/>
                      </a:lnTo>
                      <a:lnTo>
                        <a:pt x="73" y="296"/>
                      </a:lnTo>
                      <a:lnTo>
                        <a:pt x="73" y="296"/>
                      </a:lnTo>
                      <a:lnTo>
                        <a:pt x="73" y="297"/>
                      </a:lnTo>
                      <a:lnTo>
                        <a:pt x="71" y="297"/>
                      </a:lnTo>
                      <a:lnTo>
                        <a:pt x="71" y="297"/>
                      </a:lnTo>
                      <a:lnTo>
                        <a:pt x="70" y="297"/>
                      </a:lnTo>
                      <a:lnTo>
                        <a:pt x="70" y="298"/>
                      </a:lnTo>
                      <a:lnTo>
                        <a:pt x="69" y="298"/>
                      </a:lnTo>
                      <a:lnTo>
                        <a:pt x="68" y="298"/>
                      </a:lnTo>
                      <a:lnTo>
                        <a:pt x="68" y="298"/>
                      </a:lnTo>
                      <a:lnTo>
                        <a:pt x="68" y="299"/>
                      </a:lnTo>
                      <a:lnTo>
                        <a:pt x="67" y="299"/>
                      </a:lnTo>
                      <a:lnTo>
                        <a:pt x="66" y="299"/>
                      </a:lnTo>
                      <a:lnTo>
                        <a:pt x="66" y="299"/>
                      </a:lnTo>
                      <a:lnTo>
                        <a:pt x="65" y="299"/>
                      </a:lnTo>
                      <a:lnTo>
                        <a:pt x="64" y="300"/>
                      </a:lnTo>
                      <a:lnTo>
                        <a:pt x="64" y="300"/>
                      </a:lnTo>
                      <a:lnTo>
                        <a:pt x="63" y="300"/>
                      </a:lnTo>
                      <a:lnTo>
                        <a:pt x="62" y="301"/>
                      </a:lnTo>
                      <a:lnTo>
                        <a:pt x="62" y="301"/>
                      </a:lnTo>
                      <a:lnTo>
                        <a:pt x="62" y="300"/>
                      </a:lnTo>
                      <a:lnTo>
                        <a:pt x="61" y="300"/>
                      </a:lnTo>
                      <a:lnTo>
                        <a:pt x="60" y="300"/>
                      </a:lnTo>
                      <a:lnTo>
                        <a:pt x="60" y="301"/>
                      </a:lnTo>
                      <a:lnTo>
                        <a:pt x="60" y="301"/>
                      </a:lnTo>
                      <a:lnTo>
                        <a:pt x="59" y="301"/>
                      </a:lnTo>
                      <a:lnTo>
                        <a:pt x="58" y="301"/>
                      </a:lnTo>
                      <a:lnTo>
                        <a:pt x="58" y="300"/>
                      </a:lnTo>
                      <a:lnTo>
                        <a:pt x="57" y="300"/>
                      </a:lnTo>
                      <a:lnTo>
                        <a:pt x="57" y="301"/>
                      </a:lnTo>
                      <a:lnTo>
                        <a:pt x="56" y="300"/>
                      </a:lnTo>
                      <a:lnTo>
                        <a:pt x="56" y="300"/>
                      </a:lnTo>
                      <a:lnTo>
                        <a:pt x="56" y="301"/>
                      </a:lnTo>
                      <a:lnTo>
                        <a:pt x="55" y="301"/>
                      </a:lnTo>
                      <a:lnTo>
                        <a:pt x="55" y="301"/>
                      </a:lnTo>
                      <a:lnTo>
                        <a:pt x="55" y="302"/>
                      </a:lnTo>
                      <a:lnTo>
                        <a:pt x="54" y="302"/>
                      </a:lnTo>
                      <a:lnTo>
                        <a:pt x="54" y="301"/>
                      </a:lnTo>
                      <a:lnTo>
                        <a:pt x="54" y="301"/>
                      </a:lnTo>
                      <a:lnTo>
                        <a:pt x="53" y="301"/>
                      </a:lnTo>
                      <a:lnTo>
                        <a:pt x="52" y="301"/>
                      </a:lnTo>
                      <a:lnTo>
                        <a:pt x="52" y="301"/>
                      </a:lnTo>
                      <a:lnTo>
                        <a:pt x="52" y="301"/>
                      </a:lnTo>
                      <a:lnTo>
                        <a:pt x="51" y="300"/>
                      </a:lnTo>
                      <a:lnTo>
                        <a:pt x="50" y="300"/>
                      </a:lnTo>
                      <a:lnTo>
                        <a:pt x="50" y="301"/>
                      </a:lnTo>
                      <a:lnTo>
                        <a:pt x="49" y="300"/>
                      </a:lnTo>
                      <a:lnTo>
                        <a:pt x="49" y="299"/>
                      </a:lnTo>
                      <a:lnTo>
                        <a:pt x="48" y="299"/>
                      </a:lnTo>
                      <a:lnTo>
                        <a:pt x="48" y="300"/>
                      </a:lnTo>
                      <a:lnTo>
                        <a:pt x="47" y="299"/>
                      </a:lnTo>
                      <a:lnTo>
                        <a:pt x="47" y="299"/>
                      </a:lnTo>
                      <a:lnTo>
                        <a:pt x="47" y="299"/>
                      </a:lnTo>
                      <a:lnTo>
                        <a:pt x="46" y="299"/>
                      </a:lnTo>
                      <a:lnTo>
                        <a:pt x="45" y="299"/>
                      </a:lnTo>
                      <a:lnTo>
                        <a:pt x="45" y="299"/>
                      </a:lnTo>
                      <a:lnTo>
                        <a:pt x="45" y="299"/>
                      </a:lnTo>
                      <a:lnTo>
                        <a:pt x="44" y="299"/>
                      </a:lnTo>
                      <a:lnTo>
                        <a:pt x="43" y="299"/>
                      </a:lnTo>
                      <a:lnTo>
                        <a:pt x="43" y="299"/>
                      </a:lnTo>
                      <a:lnTo>
                        <a:pt x="43" y="299"/>
                      </a:lnTo>
                      <a:lnTo>
                        <a:pt x="42" y="299"/>
                      </a:lnTo>
                      <a:lnTo>
                        <a:pt x="41" y="299"/>
                      </a:lnTo>
                      <a:lnTo>
                        <a:pt x="41" y="299"/>
                      </a:lnTo>
                      <a:lnTo>
                        <a:pt x="40" y="298"/>
                      </a:lnTo>
                      <a:lnTo>
                        <a:pt x="39" y="298"/>
                      </a:lnTo>
                      <a:lnTo>
                        <a:pt x="39" y="298"/>
                      </a:lnTo>
                      <a:lnTo>
                        <a:pt x="38" y="298"/>
                      </a:lnTo>
                      <a:lnTo>
                        <a:pt x="38" y="297"/>
                      </a:lnTo>
                      <a:lnTo>
                        <a:pt x="37" y="297"/>
                      </a:lnTo>
                      <a:lnTo>
                        <a:pt x="37" y="297"/>
                      </a:lnTo>
                      <a:lnTo>
                        <a:pt x="37" y="297"/>
                      </a:lnTo>
                      <a:lnTo>
                        <a:pt x="37" y="297"/>
                      </a:lnTo>
                      <a:lnTo>
                        <a:pt x="36" y="297"/>
                      </a:lnTo>
                      <a:lnTo>
                        <a:pt x="36" y="298"/>
                      </a:lnTo>
                      <a:lnTo>
                        <a:pt x="36" y="297"/>
                      </a:lnTo>
                      <a:lnTo>
                        <a:pt x="35" y="298"/>
                      </a:lnTo>
                      <a:lnTo>
                        <a:pt x="35" y="298"/>
                      </a:lnTo>
                      <a:lnTo>
                        <a:pt x="35" y="299"/>
                      </a:lnTo>
                      <a:lnTo>
                        <a:pt x="35" y="299"/>
                      </a:lnTo>
                      <a:lnTo>
                        <a:pt x="34" y="299"/>
                      </a:lnTo>
                      <a:lnTo>
                        <a:pt x="34" y="300"/>
                      </a:lnTo>
                      <a:lnTo>
                        <a:pt x="34" y="299"/>
                      </a:lnTo>
                      <a:lnTo>
                        <a:pt x="33" y="299"/>
                      </a:lnTo>
                      <a:lnTo>
                        <a:pt x="33" y="300"/>
                      </a:lnTo>
                      <a:lnTo>
                        <a:pt x="33" y="300"/>
                      </a:lnTo>
                      <a:lnTo>
                        <a:pt x="33" y="301"/>
                      </a:lnTo>
                      <a:lnTo>
                        <a:pt x="32" y="301"/>
                      </a:lnTo>
                      <a:lnTo>
                        <a:pt x="31" y="301"/>
                      </a:lnTo>
                      <a:lnTo>
                        <a:pt x="31" y="301"/>
                      </a:lnTo>
                      <a:lnTo>
                        <a:pt x="30" y="301"/>
                      </a:lnTo>
                      <a:lnTo>
                        <a:pt x="30" y="302"/>
                      </a:lnTo>
                      <a:lnTo>
                        <a:pt x="30" y="302"/>
                      </a:lnTo>
                      <a:lnTo>
                        <a:pt x="29" y="302"/>
                      </a:lnTo>
                      <a:lnTo>
                        <a:pt x="28" y="302"/>
                      </a:lnTo>
                      <a:lnTo>
                        <a:pt x="28" y="303"/>
                      </a:lnTo>
                      <a:lnTo>
                        <a:pt x="28" y="303"/>
                      </a:lnTo>
                      <a:lnTo>
                        <a:pt x="27" y="303"/>
                      </a:lnTo>
                      <a:lnTo>
                        <a:pt x="26" y="303"/>
                      </a:lnTo>
                      <a:lnTo>
                        <a:pt x="24" y="302"/>
                      </a:lnTo>
                      <a:lnTo>
                        <a:pt x="23" y="303"/>
                      </a:lnTo>
                      <a:lnTo>
                        <a:pt x="21" y="303"/>
                      </a:lnTo>
                      <a:lnTo>
                        <a:pt x="20" y="305"/>
                      </a:lnTo>
                      <a:lnTo>
                        <a:pt x="17" y="305"/>
                      </a:lnTo>
                      <a:lnTo>
                        <a:pt x="16" y="305"/>
                      </a:lnTo>
                      <a:lnTo>
                        <a:pt x="14" y="303"/>
                      </a:lnTo>
                      <a:lnTo>
                        <a:pt x="12" y="303"/>
                      </a:lnTo>
                      <a:lnTo>
                        <a:pt x="11" y="298"/>
                      </a:lnTo>
                      <a:lnTo>
                        <a:pt x="10" y="295"/>
                      </a:lnTo>
                      <a:lnTo>
                        <a:pt x="11" y="293"/>
                      </a:lnTo>
                      <a:lnTo>
                        <a:pt x="11" y="293"/>
                      </a:lnTo>
                      <a:lnTo>
                        <a:pt x="10" y="293"/>
                      </a:lnTo>
                      <a:lnTo>
                        <a:pt x="10" y="292"/>
                      </a:lnTo>
                      <a:lnTo>
                        <a:pt x="10" y="291"/>
                      </a:lnTo>
                      <a:lnTo>
                        <a:pt x="10" y="290"/>
                      </a:lnTo>
                      <a:lnTo>
                        <a:pt x="10" y="290"/>
                      </a:lnTo>
                      <a:lnTo>
                        <a:pt x="9" y="290"/>
                      </a:lnTo>
                      <a:lnTo>
                        <a:pt x="9" y="289"/>
                      </a:lnTo>
                      <a:lnTo>
                        <a:pt x="10" y="289"/>
                      </a:lnTo>
                      <a:lnTo>
                        <a:pt x="10" y="288"/>
                      </a:lnTo>
                      <a:lnTo>
                        <a:pt x="9" y="288"/>
                      </a:lnTo>
                      <a:lnTo>
                        <a:pt x="10" y="288"/>
                      </a:lnTo>
                      <a:lnTo>
                        <a:pt x="9" y="288"/>
                      </a:lnTo>
                      <a:lnTo>
                        <a:pt x="9" y="287"/>
                      </a:lnTo>
                      <a:lnTo>
                        <a:pt x="9" y="286"/>
                      </a:lnTo>
                      <a:lnTo>
                        <a:pt x="9" y="286"/>
                      </a:lnTo>
                      <a:lnTo>
                        <a:pt x="9" y="285"/>
                      </a:lnTo>
                      <a:lnTo>
                        <a:pt x="9" y="284"/>
                      </a:lnTo>
                      <a:lnTo>
                        <a:pt x="9" y="284"/>
                      </a:lnTo>
                      <a:lnTo>
                        <a:pt x="10" y="283"/>
                      </a:lnTo>
                      <a:lnTo>
                        <a:pt x="10" y="282"/>
                      </a:lnTo>
                      <a:lnTo>
                        <a:pt x="10" y="282"/>
                      </a:lnTo>
                      <a:lnTo>
                        <a:pt x="10" y="281"/>
                      </a:lnTo>
                      <a:lnTo>
                        <a:pt x="10" y="280"/>
                      </a:lnTo>
                      <a:lnTo>
                        <a:pt x="10" y="280"/>
                      </a:lnTo>
                      <a:lnTo>
                        <a:pt x="10" y="279"/>
                      </a:lnTo>
                      <a:lnTo>
                        <a:pt x="10" y="278"/>
                      </a:lnTo>
                      <a:lnTo>
                        <a:pt x="9" y="278"/>
                      </a:lnTo>
                      <a:lnTo>
                        <a:pt x="9" y="278"/>
                      </a:lnTo>
                      <a:lnTo>
                        <a:pt x="10" y="278"/>
                      </a:lnTo>
                      <a:lnTo>
                        <a:pt x="9" y="278"/>
                      </a:lnTo>
                      <a:lnTo>
                        <a:pt x="10" y="278"/>
                      </a:lnTo>
                      <a:lnTo>
                        <a:pt x="10" y="277"/>
                      </a:lnTo>
                      <a:lnTo>
                        <a:pt x="10" y="276"/>
                      </a:lnTo>
                      <a:lnTo>
                        <a:pt x="10" y="274"/>
                      </a:lnTo>
                      <a:lnTo>
                        <a:pt x="10" y="272"/>
                      </a:lnTo>
                      <a:lnTo>
                        <a:pt x="10" y="271"/>
                      </a:lnTo>
                      <a:lnTo>
                        <a:pt x="10" y="271"/>
                      </a:lnTo>
                      <a:lnTo>
                        <a:pt x="10" y="270"/>
                      </a:lnTo>
                      <a:lnTo>
                        <a:pt x="9" y="269"/>
                      </a:lnTo>
                      <a:lnTo>
                        <a:pt x="9" y="268"/>
                      </a:lnTo>
                      <a:lnTo>
                        <a:pt x="9" y="267"/>
                      </a:lnTo>
                      <a:lnTo>
                        <a:pt x="9" y="267"/>
                      </a:lnTo>
                      <a:lnTo>
                        <a:pt x="9" y="267"/>
                      </a:lnTo>
                      <a:lnTo>
                        <a:pt x="9" y="266"/>
                      </a:lnTo>
                      <a:lnTo>
                        <a:pt x="9" y="266"/>
                      </a:lnTo>
                      <a:lnTo>
                        <a:pt x="9" y="266"/>
                      </a:lnTo>
                      <a:lnTo>
                        <a:pt x="9" y="265"/>
                      </a:lnTo>
                      <a:lnTo>
                        <a:pt x="9" y="265"/>
                      </a:lnTo>
                      <a:lnTo>
                        <a:pt x="9" y="265"/>
                      </a:lnTo>
                      <a:lnTo>
                        <a:pt x="9" y="263"/>
                      </a:lnTo>
                      <a:lnTo>
                        <a:pt x="9" y="262"/>
                      </a:lnTo>
                      <a:lnTo>
                        <a:pt x="9" y="261"/>
                      </a:lnTo>
                      <a:lnTo>
                        <a:pt x="9" y="261"/>
                      </a:lnTo>
                      <a:lnTo>
                        <a:pt x="9" y="260"/>
                      </a:lnTo>
                      <a:lnTo>
                        <a:pt x="9" y="259"/>
                      </a:lnTo>
                      <a:lnTo>
                        <a:pt x="9" y="259"/>
                      </a:lnTo>
                      <a:lnTo>
                        <a:pt x="9" y="258"/>
                      </a:lnTo>
                      <a:lnTo>
                        <a:pt x="9" y="257"/>
                      </a:lnTo>
                      <a:lnTo>
                        <a:pt x="8" y="257"/>
                      </a:lnTo>
                      <a:lnTo>
                        <a:pt x="8" y="256"/>
                      </a:lnTo>
                      <a:lnTo>
                        <a:pt x="8" y="255"/>
                      </a:lnTo>
                      <a:lnTo>
                        <a:pt x="8" y="255"/>
                      </a:lnTo>
                      <a:lnTo>
                        <a:pt x="8" y="254"/>
                      </a:lnTo>
                      <a:lnTo>
                        <a:pt x="9" y="254"/>
                      </a:lnTo>
                      <a:lnTo>
                        <a:pt x="9" y="253"/>
                      </a:lnTo>
                      <a:lnTo>
                        <a:pt x="9" y="253"/>
                      </a:lnTo>
                      <a:lnTo>
                        <a:pt x="9" y="253"/>
                      </a:lnTo>
                      <a:lnTo>
                        <a:pt x="9" y="252"/>
                      </a:lnTo>
                      <a:lnTo>
                        <a:pt x="9" y="252"/>
                      </a:lnTo>
                      <a:lnTo>
                        <a:pt x="8" y="252"/>
                      </a:lnTo>
                      <a:lnTo>
                        <a:pt x="8" y="251"/>
                      </a:lnTo>
                      <a:lnTo>
                        <a:pt x="7" y="250"/>
                      </a:lnTo>
                      <a:lnTo>
                        <a:pt x="8" y="250"/>
                      </a:lnTo>
                      <a:lnTo>
                        <a:pt x="8" y="250"/>
                      </a:lnTo>
                      <a:lnTo>
                        <a:pt x="8" y="249"/>
                      </a:lnTo>
                      <a:lnTo>
                        <a:pt x="7" y="249"/>
                      </a:lnTo>
                      <a:lnTo>
                        <a:pt x="7" y="248"/>
                      </a:lnTo>
                      <a:lnTo>
                        <a:pt x="7" y="248"/>
                      </a:lnTo>
                      <a:lnTo>
                        <a:pt x="7" y="248"/>
                      </a:lnTo>
                      <a:lnTo>
                        <a:pt x="7" y="248"/>
                      </a:lnTo>
                      <a:lnTo>
                        <a:pt x="7" y="248"/>
                      </a:lnTo>
                      <a:lnTo>
                        <a:pt x="6" y="248"/>
                      </a:lnTo>
                      <a:lnTo>
                        <a:pt x="6" y="247"/>
                      </a:lnTo>
                      <a:lnTo>
                        <a:pt x="6" y="246"/>
                      </a:lnTo>
                      <a:lnTo>
                        <a:pt x="7" y="246"/>
                      </a:lnTo>
                      <a:lnTo>
                        <a:pt x="7" y="246"/>
                      </a:lnTo>
                      <a:lnTo>
                        <a:pt x="7" y="246"/>
                      </a:lnTo>
                      <a:lnTo>
                        <a:pt x="7" y="245"/>
                      </a:lnTo>
                      <a:lnTo>
                        <a:pt x="8" y="244"/>
                      </a:lnTo>
                      <a:lnTo>
                        <a:pt x="9" y="244"/>
                      </a:lnTo>
                      <a:lnTo>
                        <a:pt x="9" y="244"/>
                      </a:lnTo>
                      <a:lnTo>
                        <a:pt x="8" y="243"/>
                      </a:lnTo>
                      <a:lnTo>
                        <a:pt x="9" y="243"/>
                      </a:lnTo>
                      <a:lnTo>
                        <a:pt x="9" y="244"/>
                      </a:lnTo>
                      <a:lnTo>
                        <a:pt x="9" y="243"/>
                      </a:lnTo>
                      <a:lnTo>
                        <a:pt x="9" y="242"/>
                      </a:lnTo>
                      <a:lnTo>
                        <a:pt x="9" y="242"/>
                      </a:lnTo>
                      <a:lnTo>
                        <a:pt x="9" y="241"/>
                      </a:lnTo>
                      <a:lnTo>
                        <a:pt x="10" y="241"/>
                      </a:lnTo>
                      <a:lnTo>
                        <a:pt x="10" y="240"/>
                      </a:lnTo>
                      <a:lnTo>
                        <a:pt x="11" y="240"/>
                      </a:lnTo>
                      <a:lnTo>
                        <a:pt x="11" y="240"/>
                      </a:lnTo>
                      <a:lnTo>
                        <a:pt x="11" y="239"/>
                      </a:lnTo>
                      <a:lnTo>
                        <a:pt x="11" y="239"/>
                      </a:lnTo>
                      <a:lnTo>
                        <a:pt x="11" y="239"/>
                      </a:lnTo>
                      <a:lnTo>
                        <a:pt x="11" y="238"/>
                      </a:lnTo>
                      <a:lnTo>
                        <a:pt x="11" y="238"/>
                      </a:lnTo>
                      <a:lnTo>
                        <a:pt x="11" y="238"/>
                      </a:lnTo>
                      <a:lnTo>
                        <a:pt x="12" y="237"/>
                      </a:lnTo>
                      <a:lnTo>
                        <a:pt x="12" y="236"/>
                      </a:lnTo>
                      <a:lnTo>
                        <a:pt x="13" y="236"/>
                      </a:lnTo>
                      <a:lnTo>
                        <a:pt x="13" y="235"/>
                      </a:lnTo>
                      <a:lnTo>
                        <a:pt x="13" y="234"/>
                      </a:lnTo>
                      <a:lnTo>
                        <a:pt x="12" y="234"/>
                      </a:lnTo>
                      <a:lnTo>
                        <a:pt x="12" y="234"/>
                      </a:lnTo>
                      <a:lnTo>
                        <a:pt x="12" y="233"/>
                      </a:lnTo>
                      <a:lnTo>
                        <a:pt x="12" y="232"/>
                      </a:lnTo>
                      <a:lnTo>
                        <a:pt x="11" y="232"/>
                      </a:lnTo>
                      <a:lnTo>
                        <a:pt x="11" y="232"/>
                      </a:lnTo>
                      <a:lnTo>
                        <a:pt x="10" y="232"/>
                      </a:lnTo>
                      <a:lnTo>
                        <a:pt x="10" y="231"/>
                      </a:lnTo>
                      <a:lnTo>
                        <a:pt x="10" y="231"/>
                      </a:lnTo>
                      <a:lnTo>
                        <a:pt x="11" y="231"/>
                      </a:lnTo>
                      <a:lnTo>
                        <a:pt x="11" y="230"/>
                      </a:lnTo>
                      <a:lnTo>
                        <a:pt x="11" y="229"/>
                      </a:lnTo>
                      <a:lnTo>
                        <a:pt x="11" y="230"/>
                      </a:lnTo>
                      <a:lnTo>
                        <a:pt x="10" y="230"/>
                      </a:lnTo>
                      <a:lnTo>
                        <a:pt x="9" y="229"/>
                      </a:lnTo>
                      <a:lnTo>
                        <a:pt x="9" y="229"/>
                      </a:lnTo>
                      <a:lnTo>
                        <a:pt x="9" y="227"/>
                      </a:lnTo>
                      <a:lnTo>
                        <a:pt x="9" y="227"/>
                      </a:lnTo>
                      <a:lnTo>
                        <a:pt x="9" y="225"/>
                      </a:lnTo>
                      <a:lnTo>
                        <a:pt x="9" y="223"/>
                      </a:lnTo>
                      <a:lnTo>
                        <a:pt x="10" y="221"/>
                      </a:lnTo>
                      <a:lnTo>
                        <a:pt x="10" y="219"/>
                      </a:lnTo>
                      <a:lnTo>
                        <a:pt x="8" y="219"/>
                      </a:lnTo>
                      <a:lnTo>
                        <a:pt x="8" y="217"/>
                      </a:lnTo>
                      <a:lnTo>
                        <a:pt x="8" y="217"/>
                      </a:lnTo>
                      <a:lnTo>
                        <a:pt x="7" y="215"/>
                      </a:lnTo>
                      <a:lnTo>
                        <a:pt x="7" y="215"/>
                      </a:lnTo>
                      <a:lnTo>
                        <a:pt x="7" y="214"/>
                      </a:lnTo>
                      <a:lnTo>
                        <a:pt x="7" y="213"/>
                      </a:lnTo>
                      <a:lnTo>
                        <a:pt x="6" y="213"/>
                      </a:lnTo>
                      <a:lnTo>
                        <a:pt x="5" y="213"/>
                      </a:lnTo>
                      <a:lnTo>
                        <a:pt x="5" y="212"/>
                      </a:lnTo>
                      <a:lnTo>
                        <a:pt x="4" y="212"/>
                      </a:lnTo>
                      <a:lnTo>
                        <a:pt x="3" y="212"/>
                      </a:lnTo>
                      <a:lnTo>
                        <a:pt x="3" y="212"/>
                      </a:lnTo>
                      <a:lnTo>
                        <a:pt x="2" y="211"/>
                      </a:lnTo>
                      <a:lnTo>
                        <a:pt x="2" y="210"/>
                      </a:lnTo>
                      <a:lnTo>
                        <a:pt x="1" y="210"/>
                      </a:lnTo>
                      <a:lnTo>
                        <a:pt x="2" y="210"/>
                      </a:lnTo>
                      <a:lnTo>
                        <a:pt x="2" y="209"/>
                      </a:lnTo>
                      <a:lnTo>
                        <a:pt x="2" y="208"/>
                      </a:lnTo>
                      <a:lnTo>
                        <a:pt x="1" y="208"/>
                      </a:lnTo>
                      <a:lnTo>
                        <a:pt x="1" y="207"/>
                      </a:lnTo>
                      <a:lnTo>
                        <a:pt x="1" y="206"/>
                      </a:lnTo>
                      <a:lnTo>
                        <a:pt x="1" y="206"/>
                      </a:lnTo>
                      <a:lnTo>
                        <a:pt x="1" y="205"/>
                      </a:lnTo>
                      <a:lnTo>
                        <a:pt x="1" y="204"/>
                      </a:lnTo>
                      <a:lnTo>
                        <a:pt x="1" y="204"/>
                      </a:lnTo>
                      <a:lnTo>
                        <a:pt x="1" y="203"/>
                      </a:lnTo>
                      <a:lnTo>
                        <a:pt x="1" y="202"/>
                      </a:lnTo>
                      <a:lnTo>
                        <a:pt x="1" y="202"/>
                      </a:lnTo>
                      <a:lnTo>
                        <a:pt x="1" y="201"/>
                      </a:lnTo>
                      <a:lnTo>
                        <a:pt x="1" y="200"/>
                      </a:lnTo>
                      <a:lnTo>
                        <a:pt x="1" y="200"/>
                      </a:lnTo>
                      <a:lnTo>
                        <a:pt x="1" y="200"/>
                      </a:lnTo>
                      <a:lnTo>
                        <a:pt x="1" y="199"/>
                      </a:lnTo>
                      <a:lnTo>
                        <a:pt x="1" y="198"/>
                      </a:lnTo>
                      <a:lnTo>
                        <a:pt x="1" y="198"/>
                      </a:lnTo>
                      <a:lnTo>
                        <a:pt x="1" y="198"/>
                      </a:lnTo>
                      <a:lnTo>
                        <a:pt x="1" y="197"/>
                      </a:lnTo>
                      <a:lnTo>
                        <a:pt x="1" y="196"/>
                      </a:lnTo>
                      <a:lnTo>
                        <a:pt x="1" y="196"/>
                      </a:lnTo>
                      <a:lnTo>
                        <a:pt x="1" y="196"/>
                      </a:lnTo>
                      <a:lnTo>
                        <a:pt x="1" y="195"/>
                      </a:lnTo>
                      <a:lnTo>
                        <a:pt x="1" y="194"/>
                      </a:lnTo>
                      <a:lnTo>
                        <a:pt x="1" y="194"/>
                      </a:lnTo>
                      <a:lnTo>
                        <a:pt x="1" y="193"/>
                      </a:lnTo>
                      <a:lnTo>
                        <a:pt x="1" y="192"/>
                      </a:lnTo>
                      <a:lnTo>
                        <a:pt x="1" y="191"/>
                      </a:lnTo>
                      <a:lnTo>
                        <a:pt x="1" y="191"/>
                      </a:lnTo>
                      <a:lnTo>
                        <a:pt x="1" y="190"/>
                      </a:lnTo>
                      <a:lnTo>
                        <a:pt x="0" y="190"/>
                      </a:lnTo>
                      <a:lnTo>
                        <a:pt x="0" y="189"/>
                      </a:lnTo>
                      <a:lnTo>
                        <a:pt x="0" y="189"/>
                      </a:lnTo>
                      <a:lnTo>
                        <a:pt x="0" y="188"/>
                      </a:lnTo>
                      <a:lnTo>
                        <a:pt x="0" y="187"/>
                      </a:lnTo>
                      <a:lnTo>
                        <a:pt x="0" y="187"/>
                      </a:lnTo>
                      <a:lnTo>
                        <a:pt x="0" y="186"/>
                      </a:lnTo>
                      <a:lnTo>
                        <a:pt x="1" y="186"/>
                      </a:lnTo>
                      <a:lnTo>
                        <a:pt x="1" y="185"/>
                      </a:lnTo>
                      <a:lnTo>
                        <a:pt x="1" y="185"/>
                      </a:lnTo>
                      <a:lnTo>
                        <a:pt x="1" y="184"/>
                      </a:lnTo>
                      <a:lnTo>
                        <a:pt x="0" y="183"/>
                      </a:lnTo>
                      <a:lnTo>
                        <a:pt x="0" y="183"/>
                      </a:lnTo>
                      <a:lnTo>
                        <a:pt x="1" y="183"/>
                      </a:lnTo>
                      <a:lnTo>
                        <a:pt x="1" y="182"/>
                      </a:lnTo>
                      <a:lnTo>
                        <a:pt x="1" y="181"/>
                      </a:lnTo>
                      <a:lnTo>
                        <a:pt x="1" y="181"/>
                      </a:lnTo>
                      <a:lnTo>
                        <a:pt x="1" y="180"/>
                      </a:lnTo>
                      <a:lnTo>
                        <a:pt x="1" y="180"/>
                      </a:lnTo>
                      <a:lnTo>
                        <a:pt x="1" y="179"/>
                      </a:lnTo>
                      <a:lnTo>
                        <a:pt x="1" y="179"/>
                      </a:lnTo>
                      <a:lnTo>
                        <a:pt x="1" y="178"/>
                      </a:lnTo>
                      <a:lnTo>
                        <a:pt x="1" y="177"/>
                      </a:lnTo>
                      <a:lnTo>
                        <a:pt x="1" y="177"/>
                      </a:lnTo>
                      <a:lnTo>
                        <a:pt x="1" y="177"/>
                      </a:lnTo>
                      <a:lnTo>
                        <a:pt x="1" y="177"/>
                      </a:lnTo>
                      <a:lnTo>
                        <a:pt x="1" y="176"/>
                      </a:lnTo>
                      <a:lnTo>
                        <a:pt x="1" y="175"/>
                      </a:lnTo>
                      <a:lnTo>
                        <a:pt x="1" y="175"/>
                      </a:lnTo>
                      <a:lnTo>
                        <a:pt x="1" y="174"/>
                      </a:lnTo>
                      <a:lnTo>
                        <a:pt x="2" y="174"/>
                      </a:lnTo>
                      <a:lnTo>
                        <a:pt x="2" y="173"/>
                      </a:lnTo>
                      <a:lnTo>
                        <a:pt x="2" y="172"/>
                      </a:lnTo>
                      <a:lnTo>
                        <a:pt x="2" y="172"/>
                      </a:lnTo>
                      <a:lnTo>
                        <a:pt x="3" y="172"/>
                      </a:lnTo>
                      <a:lnTo>
                        <a:pt x="3" y="171"/>
                      </a:lnTo>
                      <a:lnTo>
                        <a:pt x="2" y="170"/>
                      </a:lnTo>
                      <a:lnTo>
                        <a:pt x="2" y="170"/>
                      </a:lnTo>
                      <a:lnTo>
                        <a:pt x="3" y="169"/>
                      </a:lnTo>
                      <a:lnTo>
                        <a:pt x="3" y="168"/>
                      </a:lnTo>
                      <a:lnTo>
                        <a:pt x="3" y="168"/>
                      </a:lnTo>
                      <a:lnTo>
                        <a:pt x="3" y="168"/>
                      </a:lnTo>
                      <a:lnTo>
                        <a:pt x="3" y="167"/>
                      </a:lnTo>
                      <a:lnTo>
                        <a:pt x="4" y="167"/>
                      </a:lnTo>
                      <a:lnTo>
                        <a:pt x="3" y="166"/>
                      </a:lnTo>
                      <a:lnTo>
                        <a:pt x="3" y="166"/>
                      </a:lnTo>
                      <a:lnTo>
                        <a:pt x="4" y="166"/>
                      </a:lnTo>
                      <a:lnTo>
                        <a:pt x="4" y="165"/>
                      </a:lnTo>
                      <a:lnTo>
                        <a:pt x="4" y="164"/>
                      </a:lnTo>
                      <a:lnTo>
                        <a:pt x="4" y="164"/>
                      </a:lnTo>
                      <a:lnTo>
                        <a:pt x="4" y="163"/>
                      </a:lnTo>
                      <a:lnTo>
                        <a:pt x="4" y="162"/>
                      </a:lnTo>
                      <a:lnTo>
                        <a:pt x="4" y="162"/>
                      </a:lnTo>
                      <a:lnTo>
                        <a:pt x="4" y="161"/>
                      </a:lnTo>
                      <a:lnTo>
                        <a:pt x="4" y="160"/>
                      </a:lnTo>
                      <a:lnTo>
                        <a:pt x="3" y="160"/>
                      </a:lnTo>
                      <a:lnTo>
                        <a:pt x="3" y="160"/>
                      </a:lnTo>
                      <a:lnTo>
                        <a:pt x="3" y="159"/>
                      </a:lnTo>
                      <a:lnTo>
                        <a:pt x="3" y="158"/>
                      </a:lnTo>
                      <a:lnTo>
                        <a:pt x="3" y="158"/>
                      </a:lnTo>
                      <a:lnTo>
                        <a:pt x="4" y="158"/>
                      </a:lnTo>
                      <a:lnTo>
                        <a:pt x="4" y="157"/>
                      </a:lnTo>
                      <a:lnTo>
                        <a:pt x="3" y="157"/>
                      </a:lnTo>
                      <a:lnTo>
                        <a:pt x="3" y="156"/>
                      </a:lnTo>
                      <a:lnTo>
                        <a:pt x="3" y="156"/>
                      </a:lnTo>
                      <a:lnTo>
                        <a:pt x="3" y="155"/>
                      </a:lnTo>
                      <a:lnTo>
                        <a:pt x="3" y="154"/>
                      </a:lnTo>
                      <a:lnTo>
                        <a:pt x="3" y="154"/>
                      </a:lnTo>
                      <a:lnTo>
                        <a:pt x="3" y="153"/>
                      </a:lnTo>
                      <a:lnTo>
                        <a:pt x="3" y="153"/>
                      </a:lnTo>
                      <a:lnTo>
                        <a:pt x="3" y="152"/>
                      </a:lnTo>
                      <a:lnTo>
                        <a:pt x="3" y="151"/>
                      </a:lnTo>
                      <a:lnTo>
                        <a:pt x="3" y="151"/>
                      </a:lnTo>
                      <a:lnTo>
                        <a:pt x="3" y="150"/>
                      </a:lnTo>
                      <a:lnTo>
                        <a:pt x="3" y="149"/>
                      </a:lnTo>
                      <a:lnTo>
                        <a:pt x="3" y="149"/>
                      </a:lnTo>
                      <a:lnTo>
                        <a:pt x="4" y="149"/>
                      </a:lnTo>
                      <a:lnTo>
                        <a:pt x="4" y="148"/>
                      </a:lnTo>
                      <a:lnTo>
                        <a:pt x="5" y="147"/>
                      </a:lnTo>
                      <a:lnTo>
                        <a:pt x="5" y="147"/>
                      </a:lnTo>
                      <a:lnTo>
                        <a:pt x="5" y="146"/>
                      </a:lnTo>
                      <a:lnTo>
                        <a:pt x="5" y="145"/>
                      </a:lnTo>
                      <a:lnTo>
                        <a:pt x="5" y="145"/>
                      </a:lnTo>
                      <a:lnTo>
                        <a:pt x="5" y="145"/>
                      </a:lnTo>
                      <a:lnTo>
                        <a:pt x="5" y="144"/>
                      </a:lnTo>
                      <a:lnTo>
                        <a:pt x="5" y="143"/>
                      </a:lnTo>
                      <a:lnTo>
                        <a:pt x="5" y="143"/>
                      </a:lnTo>
                      <a:lnTo>
                        <a:pt x="5" y="142"/>
                      </a:lnTo>
                      <a:lnTo>
                        <a:pt x="5" y="141"/>
                      </a:lnTo>
                      <a:lnTo>
                        <a:pt x="5" y="141"/>
                      </a:lnTo>
                      <a:lnTo>
                        <a:pt x="5" y="140"/>
                      </a:lnTo>
                      <a:lnTo>
                        <a:pt x="5" y="140"/>
                      </a:lnTo>
                      <a:lnTo>
                        <a:pt x="5" y="139"/>
                      </a:lnTo>
                      <a:lnTo>
                        <a:pt x="5" y="139"/>
                      </a:lnTo>
                      <a:lnTo>
                        <a:pt x="5" y="138"/>
                      </a:lnTo>
                      <a:lnTo>
                        <a:pt x="5" y="137"/>
                      </a:lnTo>
                      <a:lnTo>
                        <a:pt x="5" y="137"/>
                      </a:lnTo>
                      <a:lnTo>
                        <a:pt x="5" y="136"/>
                      </a:lnTo>
                      <a:lnTo>
                        <a:pt x="5" y="135"/>
                      </a:lnTo>
                      <a:lnTo>
                        <a:pt x="4" y="135"/>
                      </a:lnTo>
                      <a:lnTo>
                        <a:pt x="4" y="135"/>
                      </a:lnTo>
                      <a:lnTo>
                        <a:pt x="4" y="134"/>
                      </a:lnTo>
                      <a:lnTo>
                        <a:pt x="3" y="134"/>
                      </a:lnTo>
                      <a:lnTo>
                        <a:pt x="3" y="133"/>
                      </a:lnTo>
                      <a:lnTo>
                        <a:pt x="3" y="132"/>
                      </a:lnTo>
                      <a:lnTo>
                        <a:pt x="3" y="132"/>
                      </a:lnTo>
                      <a:lnTo>
                        <a:pt x="3" y="131"/>
                      </a:lnTo>
                      <a:lnTo>
                        <a:pt x="3" y="131"/>
                      </a:lnTo>
                      <a:lnTo>
                        <a:pt x="3" y="130"/>
                      </a:lnTo>
                      <a:lnTo>
                        <a:pt x="3" y="130"/>
                      </a:lnTo>
                      <a:lnTo>
                        <a:pt x="3" y="129"/>
                      </a:lnTo>
                      <a:lnTo>
                        <a:pt x="3" y="128"/>
                      </a:lnTo>
                      <a:lnTo>
                        <a:pt x="3" y="128"/>
                      </a:lnTo>
                      <a:lnTo>
                        <a:pt x="3" y="127"/>
                      </a:lnTo>
                      <a:lnTo>
                        <a:pt x="3" y="126"/>
                      </a:lnTo>
                      <a:lnTo>
                        <a:pt x="3" y="126"/>
                      </a:lnTo>
                      <a:lnTo>
                        <a:pt x="3" y="126"/>
                      </a:lnTo>
                      <a:lnTo>
                        <a:pt x="3" y="125"/>
                      </a:lnTo>
                      <a:lnTo>
                        <a:pt x="3" y="124"/>
                      </a:lnTo>
                      <a:lnTo>
                        <a:pt x="3" y="124"/>
                      </a:lnTo>
                      <a:lnTo>
                        <a:pt x="3" y="123"/>
                      </a:lnTo>
                      <a:lnTo>
                        <a:pt x="3" y="122"/>
                      </a:lnTo>
                      <a:lnTo>
                        <a:pt x="3" y="122"/>
                      </a:lnTo>
                      <a:lnTo>
                        <a:pt x="3" y="121"/>
                      </a:lnTo>
                      <a:lnTo>
                        <a:pt x="3" y="120"/>
                      </a:lnTo>
                      <a:lnTo>
                        <a:pt x="3" y="120"/>
                      </a:lnTo>
                      <a:lnTo>
                        <a:pt x="3" y="119"/>
                      </a:lnTo>
                      <a:lnTo>
                        <a:pt x="3" y="118"/>
                      </a:lnTo>
                      <a:lnTo>
                        <a:pt x="3" y="118"/>
                      </a:lnTo>
                      <a:lnTo>
                        <a:pt x="3" y="117"/>
                      </a:lnTo>
                      <a:lnTo>
                        <a:pt x="3" y="116"/>
                      </a:lnTo>
                      <a:lnTo>
                        <a:pt x="3" y="116"/>
                      </a:lnTo>
                      <a:lnTo>
                        <a:pt x="2" y="115"/>
                      </a:lnTo>
                      <a:lnTo>
                        <a:pt x="2" y="114"/>
                      </a:lnTo>
                      <a:lnTo>
                        <a:pt x="2" y="113"/>
                      </a:lnTo>
                      <a:lnTo>
                        <a:pt x="3" y="113"/>
                      </a:lnTo>
                      <a:lnTo>
                        <a:pt x="3" y="113"/>
                      </a:lnTo>
                      <a:lnTo>
                        <a:pt x="3" y="112"/>
                      </a:lnTo>
                      <a:lnTo>
                        <a:pt x="3" y="111"/>
                      </a:lnTo>
                      <a:lnTo>
                        <a:pt x="3" y="111"/>
                      </a:lnTo>
                      <a:lnTo>
                        <a:pt x="3" y="110"/>
                      </a:lnTo>
                      <a:lnTo>
                        <a:pt x="3" y="109"/>
                      </a:lnTo>
                      <a:lnTo>
                        <a:pt x="3" y="109"/>
                      </a:lnTo>
                      <a:lnTo>
                        <a:pt x="3" y="108"/>
                      </a:lnTo>
                      <a:lnTo>
                        <a:pt x="3" y="107"/>
                      </a:lnTo>
                      <a:lnTo>
                        <a:pt x="3" y="107"/>
                      </a:lnTo>
                      <a:lnTo>
                        <a:pt x="3" y="107"/>
                      </a:lnTo>
                      <a:lnTo>
                        <a:pt x="3" y="106"/>
                      </a:lnTo>
                      <a:lnTo>
                        <a:pt x="3" y="105"/>
                      </a:lnTo>
                      <a:lnTo>
                        <a:pt x="3" y="105"/>
                      </a:lnTo>
                      <a:lnTo>
                        <a:pt x="3" y="105"/>
                      </a:lnTo>
                      <a:lnTo>
                        <a:pt x="3" y="104"/>
                      </a:lnTo>
                      <a:lnTo>
                        <a:pt x="3" y="103"/>
                      </a:lnTo>
                      <a:lnTo>
                        <a:pt x="3" y="103"/>
                      </a:lnTo>
                      <a:lnTo>
                        <a:pt x="3" y="103"/>
                      </a:lnTo>
                      <a:lnTo>
                        <a:pt x="3" y="102"/>
                      </a:lnTo>
                      <a:lnTo>
                        <a:pt x="3" y="101"/>
                      </a:lnTo>
                      <a:lnTo>
                        <a:pt x="3" y="101"/>
                      </a:lnTo>
                      <a:lnTo>
                        <a:pt x="3" y="100"/>
                      </a:lnTo>
                      <a:lnTo>
                        <a:pt x="3" y="99"/>
                      </a:lnTo>
                      <a:lnTo>
                        <a:pt x="4" y="99"/>
                      </a:lnTo>
                      <a:lnTo>
                        <a:pt x="4" y="99"/>
                      </a:lnTo>
                      <a:lnTo>
                        <a:pt x="4" y="98"/>
                      </a:lnTo>
                      <a:lnTo>
                        <a:pt x="4" y="97"/>
                      </a:lnTo>
                      <a:lnTo>
                        <a:pt x="4" y="97"/>
                      </a:lnTo>
                      <a:lnTo>
                        <a:pt x="4" y="96"/>
                      </a:lnTo>
                      <a:lnTo>
                        <a:pt x="4" y="95"/>
                      </a:lnTo>
                      <a:lnTo>
                        <a:pt x="5" y="95"/>
                      </a:lnTo>
                      <a:lnTo>
                        <a:pt x="5" y="94"/>
                      </a:lnTo>
                      <a:lnTo>
                        <a:pt x="5" y="94"/>
                      </a:lnTo>
                      <a:lnTo>
                        <a:pt x="5" y="93"/>
                      </a:lnTo>
                      <a:lnTo>
                        <a:pt x="5" y="92"/>
                      </a:lnTo>
                      <a:lnTo>
                        <a:pt x="5" y="92"/>
                      </a:lnTo>
                      <a:lnTo>
                        <a:pt x="5" y="92"/>
                      </a:lnTo>
                      <a:lnTo>
                        <a:pt x="6" y="92"/>
                      </a:lnTo>
                      <a:lnTo>
                        <a:pt x="6" y="91"/>
                      </a:lnTo>
                      <a:lnTo>
                        <a:pt x="6" y="90"/>
                      </a:lnTo>
                      <a:lnTo>
                        <a:pt x="6" y="90"/>
                      </a:lnTo>
                      <a:lnTo>
                        <a:pt x="7" y="90"/>
                      </a:lnTo>
                      <a:lnTo>
                        <a:pt x="7" y="89"/>
                      </a:lnTo>
                      <a:lnTo>
                        <a:pt x="7" y="88"/>
                      </a:lnTo>
                      <a:lnTo>
                        <a:pt x="7" y="88"/>
                      </a:lnTo>
                      <a:lnTo>
                        <a:pt x="7" y="87"/>
                      </a:lnTo>
                      <a:lnTo>
                        <a:pt x="7" y="86"/>
                      </a:lnTo>
                      <a:lnTo>
                        <a:pt x="7" y="86"/>
                      </a:lnTo>
                      <a:lnTo>
                        <a:pt x="7" y="86"/>
                      </a:lnTo>
                      <a:lnTo>
                        <a:pt x="7" y="85"/>
                      </a:lnTo>
                      <a:lnTo>
                        <a:pt x="6" y="85"/>
                      </a:lnTo>
                      <a:lnTo>
                        <a:pt x="6" y="84"/>
                      </a:lnTo>
                      <a:lnTo>
                        <a:pt x="6" y="84"/>
                      </a:lnTo>
                      <a:lnTo>
                        <a:pt x="5" y="84"/>
                      </a:lnTo>
                      <a:lnTo>
                        <a:pt x="6" y="84"/>
                      </a:lnTo>
                      <a:lnTo>
                        <a:pt x="6" y="83"/>
                      </a:lnTo>
                      <a:lnTo>
                        <a:pt x="6" y="82"/>
                      </a:lnTo>
                      <a:lnTo>
                        <a:pt x="6" y="82"/>
                      </a:lnTo>
                      <a:lnTo>
                        <a:pt x="6" y="81"/>
                      </a:lnTo>
                      <a:lnTo>
                        <a:pt x="6" y="80"/>
                      </a:lnTo>
                      <a:lnTo>
                        <a:pt x="6" y="80"/>
                      </a:lnTo>
                      <a:lnTo>
                        <a:pt x="6" y="79"/>
                      </a:lnTo>
                      <a:lnTo>
                        <a:pt x="6" y="78"/>
                      </a:lnTo>
                      <a:lnTo>
                        <a:pt x="6" y="78"/>
                      </a:lnTo>
                      <a:lnTo>
                        <a:pt x="6" y="77"/>
                      </a:lnTo>
                      <a:lnTo>
                        <a:pt x="7" y="77"/>
                      </a:lnTo>
                      <a:lnTo>
                        <a:pt x="7" y="76"/>
                      </a:lnTo>
                      <a:lnTo>
                        <a:pt x="7" y="76"/>
                      </a:lnTo>
                      <a:lnTo>
                        <a:pt x="7" y="75"/>
                      </a:lnTo>
                      <a:lnTo>
                        <a:pt x="8" y="75"/>
                      </a:lnTo>
                      <a:lnTo>
                        <a:pt x="8" y="74"/>
                      </a:lnTo>
                      <a:lnTo>
                        <a:pt x="8" y="75"/>
                      </a:lnTo>
                      <a:lnTo>
                        <a:pt x="9" y="75"/>
                      </a:lnTo>
                      <a:lnTo>
                        <a:pt x="9" y="74"/>
                      </a:lnTo>
                      <a:lnTo>
                        <a:pt x="9" y="73"/>
                      </a:lnTo>
                      <a:lnTo>
                        <a:pt x="9" y="73"/>
                      </a:lnTo>
                      <a:lnTo>
                        <a:pt x="9" y="73"/>
                      </a:lnTo>
                      <a:lnTo>
                        <a:pt x="9" y="72"/>
                      </a:lnTo>
                      <a:lnTo>
                        <a:pt x="9" y="72"/>
                      </a:lnTo>
                      <a:lnTo>
                        <a:pt x="9" y="71"/>
                      </a:lnTo>
                      <a:lnTo>
                        <a:pt x="8" y="71"/>
                      </a:lnTo>
                      <a:lnTo>
                        <a:pt x="8" y="71"/>
                      </a:lnTo>
                      <a:lnTo>
                        <a:pt x="7" y="71"/>
                      </a:lnTo>
                      <a:lnTo>
                        <a:pt x="7" y="70"/>
                      </a:lnTo>
                      <a:lnTo>
                        <a:pt x="7" y="69"/>
                      </a:lnTo>
                      <a:lnTo>
                        <a:pt x="7" y="69"/>
                      </a:lnTo>
                      <a:lnTo>
                        <a:pt x="6" y="69"/>
                      </a:lnTo>
                      <a:lnTo>
                        <a:pt x="6" y="68"/>
                      </a:lnTo>
                      <a:lnTo>
                        <a:pt x="6" y="67"/>
                      </a:lnTo>
                      <a:lnTo>
                        <a:pt x="5" y="67"/>
                      </a:lnTo>
                      <a:lnTo>
                        <a:pt x="5" y="67"/>
                      </a:lnTo>
                      <a:lnTo>
                        <a:pt x="5" y="67"/>
                      </a:lnTo>
                      <a:lnTo>
                        <a:pt x="5" y="66"/>
                      </a:lnTo>
                      <a:lnTo>
                        <a:pt x="5" y="65"/>
                      </a:lnTo>
                      <a:lnTo>
                        <a:pt x="5" y="65"/>
                      </a:lnTo>
                      <a:lnTo>
                        <a:pt x="5" y="64"/>
                      </a:lnTo>
                      <a:lnTo>
                        <a:pt x="5" y="63"/>
                      </a:lnTo>
                      <a:lnTo>
                        <a:pt x="5" y="63"/>
                      </a:lnTo>
                      <a:lnTo>
                        <a:pt x="4" y="62"/>
                      </a:lnTo>
                      <a:lnTo>
                        <a:pt x="5" y="62"/>
                      </a:lnTo>
                      <a:lnTo>
                        <a:pt x="5" y="61"/>
                      </a:lnTo>
                      <a:lnTo>
                        <a:pt x="4" y="61"/>
                      </a:lnTo>
                      <a:lnTo>
                        <a:pt x="4" y="61"/>
                      </a:lnTo>
                      <a:lnTo>
                        <a:pt x="4" y="60"/>
                      </a:lnTo>
                      <a:lnTo>
                        <a:pt x="5" y="60"/>
                      </a:lnTo>
                      <a:lnTo>
                        <a:pt x="5" y="59"/>
                      </a:lnTo>
                      <a:lnTo>
                        <a:pt x="5" y="60"/>
                      </a:lnTo>
                      <a:lnTo>
                        <a:pt x="5" y="59"/>
                      </a:lnTo>
                      <a:lnTo>
                        <a:pt x="5" y="59"/>
                      </a:lnTo>
                      <a:lnTo>
                        <a:pt x="5" y="58"/>
                      </a:lnTo>
                      <a:lnTo>
                        <a:pt x="5" y="58"/>
                      </a:lnTo>
                      <a:lnTo>
                        <a:pt x="5" y="57"/>
                      </a:lnTo>
                      <a:lnTo>
                        <a:pt x="5" y="57"/>
                      </a:lnTo>
                      <a:lnTo>
                        <a:pt x="5" y="57"/>
                      </a:lnTo>
                      <a:lnTo>
                        <a:pt x="5" y="56"/>
                      </a:lnTo>
                      <a:lnTo>
                        <a:pt x="5" y="55"/>
                      </a:lnTo>
                      <a:lnTo>
                        <a:pt x="5" y="54"/>
                      </a:lnTo>
                      <a:lnTo>
                        <a:pt x="5" y="54"/>
                      </a:lnTo>
                      <a:lnTo>
                        <a:pt x="5" y="53"/>
                      </a:lnTo>
                      <a:lnTo>
                        <a:pt x="5" y="52"/>
                      </a:lnTo>
                      <a:lnTo>
                        <a:pt x="5" y="52"/>
                      </a:lnTo>
                      <a:lnTo>
                        <a:pt x="5" y="52"/>
                      </a:lnTo>
                      <a:lnTo>
                        <a:pt x="5" y="51"/>
                      </a:lnTo>
                      <a:lnTo>
                        <a:pt x="5" y="5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1" name="Freeform 76">
                  <a:extLst>
                    <a:ext uri="{FF2B5EF4-FFF2-40B4-BE49-F238E27FC236}">
                      <a16:creationId xmlns:a16="http://schemas.microsoft.com/office/drawing/2014/main" xmlns="" id="{CEDF99F0-5651-0730-9A70-8AA8466B0977}"/>
                    </a:ext>
                  </a:extLst>
                </p:cNvPr>
                <p:cNvSpPr>
                  <a:spLocks/>
                </p:cNvSpPr>
                <p:nvPr/>
              </p:nvSpPr>
              <p:spPr bwMode="auto">
                <a:xfrm>
                  <a:off x="3286" y="2983"/>
                  <a:ext cx="204" cy="340"/>
                </a:xfrm>
                <a:custGeom>
                  <a:avLst/>
                  <a:gdLst>
                    <a:gd name="T0" fmla="*/ 200 w 204"/>
                    <a:gd name="T1" fmla="*/ 323 h 340"/>
                    <a:gd name="T2" fmla="*/ 198 w 204"/>
                    <a:gd name="T3" fmla="*/ 309 h 340"/>
                    <a:gd name="T4" fmla="*/ 199 w 204"/>
                    <a:gd name="T5" fmla="*/ 302 h 340"/>
                    <a:gd name="T6" fmla="*/ 198 w 204"/>
                    <a:gd name="T7" fmla="*/ 294 h 340"/>
                    <a:gd name="T8" fmla="*/ 195 w 204"/>
                    <a:gd name="T9" fmla="*/ 260 h 340"/>
                    <a:gd name="T10" fmla="*/ 195 w 204"/>
                    <a:gd name="T11" fmla="*/ 243 h 340"/>
                    <a:gd name="T12" fmla="*/ 199 w 204"/>
                    <a:gd name="T13" fmla="*/ 233 h 340"/>
                    <a:gd name="T14" fmla="*/ 201 w 204"/>
                    <a:gd name="T15" fmla="*/ 226 h 340"/>
                    <a:gd name="T16" fmla="*/ 202 w 204"/>
                    <a:gd name="T17" fmla="*/ 217 h 340"/>
                    <a:gd name="T18" fmla="*/ 196 w 204"/>
                    <a:gd name="T19" fmla="*/ 213 h 340"/>
                    <a:gd name="T20" fmla="*/ 189 w 204"/>
                    <a:gd name="T21" fmla="*/ 215 h 340"/>
                    <a:gd name="T22" fmla="*/ 184 w 204"/>
                    <a:gd name="T23" fmla="*/ 218 h 340"/>
                    <a:gd name="T24" fmla="*/ 176 w 204"/>
                    <a:gd name="T25" fmla="*/ 219 h 340"/>
                    <a:gd name="T26" fmla="*/ 168 w 204"/>
                    <a:gd name="T27" fmla="*/ 216 h 340"/>
                    <a:gd name="T28" fmla="*/ 159 w 204"/>
                    <a:gd name="T29" fmla="*/ 214 h 340"/>
                    <a:gd name="T30" fmla="*/ 153 w 204"/>
                    <a:gd name="T31" fmla="*/ 216 h 340"/>
                    <a:gd name="T32" fmla="*/ 151 w 204"/>
                    <a:gd name="T33" fmla="*/ 226 h 340"/>
                    <a:gd name="T34" fmla="*/ 152 w 204"/>
                    <a:gd name="T35" fmla="*/ 235 h 340"/>
                    <a:gd name="T36" fmla="*/ 151 w 204"/>
                    <a:gd name="T37" fmla="*/ 244 h 340"/>
                    <a:gd name="T38" fmla="*/ 147 w 204"/>
                    <a:gd name="T39" fmla="*/ 252 h 340"/>
                    <a:gd name="T40" fmla="*/ 143 w 204"/>
                    <a:gd name="T41" fmla="*/ 252 h 340"/>
                    <a:gd name="T42" fmla="*/ 136 w 204"/>
                    <a:gd name="T43" fmla="*/ 253 h 340"/>
                    <a:gd name="T44" fmla="*/ 126 w 204"/>
                    <a:gd name="T45" fmla="*/ 253 h 340"/>
                    <a:gd name="T46" fmla="*/ 121 w 204"/>
                    <a:gd name="T47" fmla="*/ 243 h 340"/>
                    <a:gd name="T48" fmla="*/ 118 w 204"/>
                    <a:gd name="T49" fmla="*/ 237 h 340"/>
                    <a:gd name="T50" fmla="*/ 117 w 204"/>
                    <a:gd name="T51" fmla="*/ 231 h 340"/>
                    <a:gd name="T52" fmla="*/ 117 w 204"/>
                    <a:gd name="T53" fmla="*/ 221 h 340"/>
                    <a:gd name="T54" fmla="*/ 113 w 204"/>
                    <a:gd name="T55" fmla="*/ 214 h 340"/>
                    <a:gd name="T56" fmla="*/ 109 w 204"/>
                    <a:gd name="T57" fmla="*/ 206 h 340"/>
                    <a:gd name="T58" fmla="*/ 103 w 204"/>
                    <a:gd name="T59" fmla="*/ 202 h 340"/>
                    <a:gd name="T60" fmla="*/ 96 w 204"/>
                    <a:gd name="T61" fmla="*/ 196 h 340"/>
                    <a:gd name="T62" fmla="*/ 86 w 204"/>
                    <a:gd name="T63" fmla="*/ 197 h 340"/>
                    <a:gd name="T64" fmla="*/ 80 w 204"/>
                    <a:gd name="T65" fmla="*/ 191 h 340"/>
                    <a:gd name="T66" fmla="*/ 77 w 204"/>
                    <a:gd name="T67" fmla="*/ 182 h 340"/>
                    <a:gd name="T68" fmla="*/ 72 w 204"/>
                    <a:gd name="T69" fmla="*/ 173 h 340"/>
                    <a:gd name="T70" fmla="*/ 65 w 204"/>
                    <a:gd name="T71" fmla="*/ 165 h 340"/>
                    <a:gd name="T72" fmla="*/ 56 w 204"/>
                    <a:gd name="T73" fmla="*/ 160 h 340"/>
                    <a:gd name="T74" fmla="*/ 52 w 204"/>
                    <a:gd name="T75" fmla="*/ 144 h 340"/>
                    <a:gd name="T76" fmla="*/ 47 w 204"/>
                    <a:gd name="T77" fmla="*/ 134 h 340"/>
                    <a:gd name="T78" fmla="*/ 47 w 204"/>
                    <a:gd name="T79" fmla="*/ 118 h 340"/>
                    <a:gd name="T80" fmla="*/ 48 w 204"/>
                    <a:gd name="T81" fmla="*/ 111 h 340"/>
                    <a:gd name="T82" fmla="*/ 49 w 204"/>
                    <a:gd name="T83" fmla="*/ 106 h 340"/>
                    <a:gd name="T84" fmla="*/ 55 w 204"/>
                    <a:gd name="T85" fmla="*/ 102 h 340"/>
                    <a:gd name="T86" fmla="*/ 54 w 204"/>
                    <a:gd name="T87" fmla="*/ 96 h 340"/>
                    <a:gd name="T88" fmla="*/ 53 w 204"/>
                    <a:gd name="T89" fmla="*/ 88 h 340"/>
                    <a:gd name="T90" fmla="*/ 54 w 204"/>
                    <a:gd name="T91" fmla="*/ 83 h 340"/>
                    <a:gd name="T92" fmla="*/ 50 w 204"/>
                    <a:gd name="T93" fmla="*/ 77 h 340"/>
                    <a:gd name="T94" fmla="*/ 46 w 204"/>
                    <a:gd name="T95" fmla="*/ 73 h 340"/>
                    <a:gd name="T96" fmla="*/ 39 w 204"/>
                    <a:gd name="T97" fmla="*/ 67 h 340"/>
                    <a:gd name="T98" fmla="*/ 33 w 204"/>
                    <a:gd name="T99" fmla="*/ 63 h 340"/>
                    <a:gd name="T100" fmla="*/ 24 w 204"/>
                    <a:gd name="T101" fmla="*/ 59 h 340"/>
                    <a:gd name="T102" fmla="*/ 19 w 204"/>
                    <a:gd name="T103" fmla="*/ 51 h 340"/>
                    <a:gd name="T104" fmla="*/ 18 w 204"/>
                    <a:gd name="T105" fmla="*/ 41 h 340"/>
                    <a:gd name="T106" fmla="*/ 16 w 204"/>
                    <a:gd name="T107" fmla="*/ 38 h 340"/>
                    <a:gd name="T108" fmla="*/ 18 w 204"/>
                    <a:gd name="T109" fmla="*/ 31 h 340"/>
                    <a:gd name="T110" fmla="*/ 11 w 204"/>
                    <a:gd name="T111" fmla="*/ 27 h 340"/>
                    <a:gd name="T112" fmla="*/ 8 w 204"/>
                    <a:gd name="T113" fmla="*/ 22 h 340"/>
                    <a:gd name="T114" fmla="*/ 6 w 204"/>
                    <a:gd name="T115" fmla="*/ 15 h 340"/>
                    <a:gd name="T116" fmla="*/ 4 w 204"/>
                    <a:gd name="T117" fmla="*/ 9 h 340"/>
                    <a:gd name="T118" fmla="*/ 1 w 204"/>
                    <a:gd name="T119" fmla="*/ 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340">
                      <a:moveTo>
                        <a:pt x="202" y="340"/>
                      </a:moveTo>
                      <a:lnTo>
                        <a:pt x="202" y="340"/>
                      </a:lnTo>
                      <a:lnTo>
                        <a:pt x="202" y="340"/>
                      </a:lnTo>
                      <a:lnTo>
                        <a:pt x="203" y="339"/>
                      </a:lnTo>
                      <a:lnTo>
                        <a:pt x="204" y="339"/>
                      </a:lnTo>
                      <a:lnTo>
                        <a:pt x="203" y="338"/>
                      </a:lnTo>
                      <a:lnTo>
                        <a:pt x="203" y="338"/>
                      </a:lnTo>
                      <a:lnTo>
                        <a:pt x="203" y="337"/>
                      </a:lnTo>
                      <a:lnTo>
                        <a:pt x="203" y="336"/>
                      </a:lnTo>
                      <a:lnTo>
                        <a:pt x="203" y="335"/>
                      </a:lnTo>
                      <a:lnTo>
                        <a:pt x="204" y="334"/>
                      </a:lnTo>
                      <a:lnTo>
                        <a:pt x="204" y="333"/>
                      </a:lnTo>
                      <a:lnTo>
                        <a:pt x="202" y="331"/>
                      </a:lnTo>
                      <a:lnTo>
                        <a:pt x="202" y="330"/>
                      </a:lnTo>
                      <a:lnTo>
                        <a:pt x="203" y="330"/>
                      </a:lnTo>
                      <a:lnTo>
                        <a:pt x="201" y="324"/>
                      </a:lnTo>
                      <a:lnTo>
                        <a:pt x="200" y="323"/>
                      </a:lnTo>
                      <a:lnTo>
                        <a:pt x="200" y="321"/>
                      </a:lnTo>
                      <a:lnTo>
                        <a:pt x="200" y="321"/>
                      </a:lnTo>
                      <a:lnTo>
                        <a:pt x="200" y="319"/>
                      </a:lnTo>
                      <a:lnTo>
                        <a:pt x="200" y="318"/>
                      </a:lnTo>
                      <a:lnTo>
                        <a:pt x="200" y="317"/>
                      </a:lnTo>
                      <a:lnTo>
                        <a:pt x="200" y="317"/>
                      </a:lnTo>
                      <a:lnTo>
                        <a:pt x="199" y="316"/>
                      </a:lnTo>
                      <a:lnTo>
                        <a:pt x="199" y="315"/>
                      </a:lnTo>
                      <a:lnTo>
                        <a:pt x="200" y="315"/>
                      </a:lnTo>
                      <a:lnTo>
                        <a:pt x="200" y="314"/>
                      </a:lnTo>
                      <a:lnTo>
                        <a:pt x="200" y="313"/>
                      </a:lnTo>
                      <a:lnTo>
                        <a:pt x="200" y="312"/>
                      </a:lnTo>
                      <a:lnTo>
                        <a:pt x="200" y="311"/>
                      </a:lnTo>
                      <a:lnTo>
                        <a:pt x="200" y="311"/>
                      </a:lnTo>
                      <a:lnTo>
                        <a:pt x="199" y="310"/>
                      </a:lnTo>
                      <a:lnTo>
                        <a:pt x="198" y="309"/>
                      </a:lnTo>
                      <a:lnTo>
                        <a:pt x="198" y="309"/>
                      </a:lnTo>
                      <a:lnTo>
                        <a:pt x="198" y="308"/>
                      </a:lnTo>
                      <a:lnTo>
                        <a:pt x="199" y="308"/>
                      </a:lnTo>
                      <a:lnTo>
                        <a:pt x="199" y="307"/>
                      </a:lnTo>
                      <a:lnTo>
                        <a:pt x="199" y="307"/>
                      </a:lnTo>
                      <a:lnTo>
                        <a:pt x="200" y="307"/>
                      </a:lnTo>
                      <a:lnTo>
                        <a:pt x="200" y="306"/>
                      </a:lnTo>
                      <a:lnTo>
                        <a:pt x="200" y="306"/>
                      </a:lnTo>
                      <a:lnTo>
                        <a:pt x="200" y="305"/>
                      </a:lnTo>
                      <a:lnTo>
                        <a:pt x="201" y="305"/>
                      </a:lnTo>
                      <a:lnTo>
                        <a:pt x="201" y="304"/>
                      </a:lnTo>
                      <a:lnTo>
                        <a:pt x="200" y="304"/>
                      </a:lnTo>
                      <a:lnTo>
                        <a:pt x="200" y="304"/>
                      </a:lnTo>
                      <a:lnTo>
                        <a:pt x="200" y="303"/>
                      </a:lnTo>
                      <a:lnTo>
                        <a:pt x="200" y="303"/>
                      </a:lnTo>
                      <a:lnTo>
                        <a:pt x="200" y="302"/>
                      </a:lnTo>
                      <a:lnTo>
                        <a:pt x="199" y="302"/>
                      </a:lnTo>
                      <a:lnTo>
                        <a:pt x="199" y="302"/>
                      </a:lnTo>
                      <a:lnTo>
                        <a:pt x="198" y="302"/>
                      </a:lnTo>
                      <a:lnTo>
                        <a:pt x="198" y="302"/>
                      </a:lnTo>
                      <a:lnTo>
                        <a:pt x="198" y="301"/>
                      </a:lnTo>
                      <a:lnTo>
                        <a:pt x="198" y="300"/>
                      </a:lnTo>
                      <a:lnTo>
                        <a:pt x="198" y="300"/>
                      </a:lnTo>
                      <a:lnTo>
                        <a:pt x="198" y="299"/>
                      </a:lnTo>
                      <a:lnTo>
                        <a:pt x="197" y="298"/>
                      </a:lnTo>
                      <a:lnTo>
                        <a:pt x="197" y="298"/>
                      </a:lnTo>
                      <a:lnTo>
                        <a:pt x="197" y="297"/>
                      </a:lnTo>
                      <a:lnTo>
                        <a:pt x="198" y="297"/>
                      </a:lnTo>
                      <a:lnTo>
                        <a:pt x="198" y="296"/>
                      </a:lnTo>
                      <a:lnTo>
                        <a:pt x="198" y="296"/>
                      </a:lnTo>
                      <a:lnTo>
                        <a:pt x="198" y="296"/>
                      </a:lnTo>
                      <a:lnTo>
                        <a:pt x="198" y="296"/>
                      </a:lnTo>
                      <a:lnTo>
                        <a:pt x="198" y="295"/>
                      </a:lnTo>
                      <a:lnTo>
                        <a:pt x="198" y="295"/>
                      </a:lnTo>
                      <a:lnTo>
                        <a:pt x="198" y="294"/>
                      </a:lnTo>
                      <a:lnTo>
                        <a:pt x="199" y="294"/>
                      </a:lnTo>
                      <a:lnTo>
                        <a:pt x="199" y="294"/>
                      </a:lnTo>
                      <a:lnTo>
                        <a:pt x="199" y="290"/>
                      </a:lnTo>
                      <a:lnTo>
                        <a:pt x="200" y="289"/>
                      </a:lnTo>
                      <a:lnTo>
                        <a:pt x="199" y="288"/>
                      </a:lnTo>
                      <a:lnTo>
                        <a:pt x="199" y="279"/>
                      </a:lnTo>
                      <a:lnTo>
                        <a:pt x="200" y="277"/>
                      </a:lnTo>
                      <a:lnTo>
                        <a:pt x="200" y="274"/>
                      </a:lnTo>
                      <a:lnTo>
                        <a:pt x="198" y="272"/>
                      </a:lnTo>
                      <a:lnTo>
                        <a:pt x="198" y="269"/>
                      </a:lnTo>
                      <a:lnTo>
                        <a:pt x="198" y="267"/>
                      </a:lnTo>
                      <a:lnTo>
                        <a:pt x="197" y="265"/>
                      </a:lnTo>
                      <a:lnTo>
                        <a:pt x="195" y="263"/>
                      </a:lnTo>
                      <a:lnTo>
                        <a:pt x="194" y="262"/>
                      </a:lnTo>
                      <a:lnTo>
                        <a:pt x="194" y="260"/>
                      </a:lnTo>
                      <a:lnTo>
                        <a:pt x="194" y="260"/>
                      </a:lnTo>
                      <a:lnTo>
                        <a:pt x="195" y="260"/>
                      </a:lnTo>
                      <a:lnTo>
                        <a:pt x="195" y="259"/>
                      </a:lnTo>
                      <a:lnTo>
                        <a:pt x="194" y="258"/>
                      </a:lnTo>
                      <a:lnTo>
                        <a:pt x="194" y="257"/>
                      </a:lnTo>
                      <a:lnTo>
                        <a:pt x="194" y="256"/>
                      </a:lnTo>
                      <a:lnTo>
                        <a:pt x="194" y="255"/>
                      </a:lnTo>
                      <a:lnTo>
                        <a:pt x="193" y="254"/>
                      </a:lnTo>
                      <a:lnTo>
                        <a:pt x="193" y="254"/>
                      </a:lnTo>
                      <a:lnTo>
                        <a:pt x="193" y="253"/>
                      </a:lnTo>
                      <a:lnTo>
                        <a:pt x="192" y="252"/>
                      </a:lnTo>
                      <a:lnTo>
                        <a:pt x="193" y="250"/>
                      </a:lnTo>
                      <a:lnTo>
                        <a:pt x="193" y="250"/>
                      </a:lnTo>
                      <a:lnTo>
                        <a:pt x="193" y="249"/>
                      </a:lnTo>
                      <a:lnTo>
                        <a:pt x="193" y="248"/>
                      </a:lnTo>
                      <a:lnTo>
                        <a:pt x="194" y="246"/>
                      </a:lnTo>
                      <a:lnTo>
                        <a:pt x="194" y="244"/>
                      </a:lnTo>
                      <a:lnTo>
                        <a:pt x="195" y="244"/>
                      </a:lnTo>
                      <a:lnTo>
                        <a:pt x="195" y="243"/>
                      </a:lnTo>
                      <a:lnTo>
                        <a:pt x="195" y="241"/>
                      </a:lnTo>
                      <a:lnTo>
                        <a:pt x="195" y="240"/>
                      </a:lnTo>
                      <a:lnTo>
                        <a:pt x="196" y="239"/>
                      </a:lnTo>
                      <a:lnTo>
                        <a:pt x="196" y="239"/>
                      </a:lnTo>
                      <a:lnTo>
                        <a:pt x="196" y="238"/>
                      </a:lnTo>
                      <a:lnTo>
                        <a:pt x="197" y="238"/>
                      </a:lnTo>
                      <a:lnTo>
                        <a:pt x="197" y="237"/>
                      </a:lnTo>
                      <a:lnTo>
                        <a:pt x="198" y="237"/>
                      </a:lnTo>
                      <a:lnTo>
                        <a:pt x="198" y="237"/>
                      </a:lnTo>
                      <a:lnTo>
                        <a:pt x="198" y="237"/>
                      </a:lnTo>
                      <a:lnTo>
                        <a:pt x="198" y="236"/>
                      </a:lnTo>
                      <a:lnTo>
                        <a:pt x="199" y="236"/>
                      </a:lnTo>
                      <a:lnTo>
                        <a:pt x="199" y="235"/>
                      </a:lnTo>
                      <a:lnTo>
                        <a:pt x="199" y="235"/>
                      </a:lnTo>
                      <a:lnTo>
                        <a:pt x="199" y="234"/>
                      </a:lnTo>
                      <a:lnTo>
                        <a:pt x="199" y="233"/>
                      </a:lnTo>
                      <a:lnTo>
                        <a:pt x="199" y="233"/>
                      </a:lnTo>
                      <a:lnTo>
                        <a:pt x="199" y="232"/>
                      </a:lnTo>
                      <a:lnTo>
                        <a:pt x="199" y="231"/>
                      </a:lnTo>
                      <a:lnTo>
                        <a:pt x="199" y="231"/>
                      </a:lnTo>
                      <a:lnTo>
                        <a:pt x="200" y="231"/>
                      </a:lnTo>
                      <a:lnTo>
                        <a:pt x="200" y="231"/>
                      </a:lnTo>
                      <a:lnTo>
                        <a:pt x="200" y="230"/>
                      </a:lnTo>
                      <a:lnTo>
                        <a:pt x="200" y="229"/>
                      </a:lnTo>
                      <a:lnTo>
                        <a:pt x="200" y="229"/>
                      </a:lnTo>
                      <a:lnTo>
                        <a:pt x="200" y="229"/>
                      </a:lnTo>
                      <a:lnTo>
                        <a:pt x="200" y="229"/>
                      </a:lnTo>
                      <a:lnTo>
                        <a:pt x="200" y="229"/>
                      </a:lnTo>
                      <a:lnTo>
                        <a:pt x="200" y="228"/>
                      </a:lnTo>
                      <a:lnTo>
                        <a:pt x="200" y="228"/>
                      </a:lnTo>
                      <a:lnTo>
                        <a:pt x="200" y="227"/>
                      </a:lnTo>
                      <a:lnTo>
                        <a:pt x="200" y="226"/>
                      </a:lnTo>
                      <a:lnTo>
                        <a:pt x="201" y="226"/>
                      </a:lnTo>
                      <a:lnTo>
                        <a:pt x="201" y="226"/>
                      </a:lnTo>
                      <a:lnTo>
                        <a:pt x="201" y="225"/>
                      </a:lnTo>
                      <a:lnTo>
                        <a:pt x="201" y="224"/>
                      </a:lnTo>
                      <a:lnTo>
                        <a:pt x="200" y="224"/>
                      </a:lnTo>
                      <a:lnTo>
                        <a:pt x="201" y="224"/>
                      </a:lnTo>
                      <a:lnTo>
                        <a:pt x="201" y="223"/>
                      </a:lnTo>
                      <a:lnTo>
                        <a:pt x="201" y="222"/>
                      </a:lnTo>
                      <a:lnTo>
                        <a:pt x="202" y="222"/>
                      </a:lnTo>
                      <a:lnTo>
                        <a:pt x="202" y="222"/>
                      </a:lnTo>
                      <a:lnTo>
                        <a:pt x="202" y="221"/>
                      </a:lnTo>
                      <a:lnTo>
                        <a:pt x="202" y="220"/>
                      </a:lnTo>
                      <a:lnTo>
                        <a:pt x="202" y="220"/>
                      </a:lnTo>
                      <a:lnTo>
                        <a:pt x="202" y="219"/>
                      </a:lnTo>
                      <a:lnTo>
                        <a:pt x="202" y="218"/>
                      </a:lnTo>
                      <a:lnTo>
                        <a:pt x="202" y="218"/>
                      </a:lnTo>
                      <a:lnTo>
                        <a:pt x="202" y="218"/>
                      </a:lnTo>
                      <a:lnTo>
                        <a:pt x="202" y="218"/>
                      </a:lnTo>
                      <a:lnTo>
                        <a:pt x="202" y="217"/>
                      </a:lnTo>
                      <a:lnTo>
                        <a:pt x="202" y="216"/>
                      </a:lnTo>
                      <a:lnTo>
                        <a:pt x="202" y="216"/>
                      </a:lnTo>
                      <a:lnTo>
                        <a:pt x="202" y="217"/>
                      </a:lnTo>
                      <a:lnTo>
                        <a:pt x="201" y="217"/>
                      </a:lnTo>
                      <a:lnTo>
                        <a:pt x="200" y="217"/>
                      </a:lnTo>
                      <a:lnTo>
                        <a:pt x="200" y="217"/>
                      </a:lnTo>
                      <a:lnTo>
                        <a:pt x="199" y="217"/>
                      </a:lnTo>
                      <a:lnTo>
                        <a:pt x="199" y="218"/>
                      </a:lnTo>
                      <a:lnTo>
                        <a:pt x="198" y="218"/>
                      </a:lnTo>
                      <a:lnTo>
                        <a:pt x="198" y="217"/>
                      </a:lnTo>
                      <a:lnTo>
                        <a:pt x="198" y="216"/>
                      </a:lnTo>
                      <a:lnTo>
                        <a:pt x="198" y="216"/>
                      </a:lnTo>
                      <a:lnTo>
                        <a:pt x="198" y="215"/>
                      </a:lnTo>
                      <a:lnTo>
                        <a:pt x="198" y="214"/>
                      </a:lnTo>
                      <a:lnTo>
                        <a:pt x="197" y="214"/>
                      </a:lnTo>
                      <a:lnTo>
                        <a:pt x="196" y="214"/>
                      </a:lnTo>
                      <a:lnTo>
                        <a:pt x="196" y="213"/>
                      </a:lnTo>
                      <a:lnTo>
                        <a:pt x="196" y="213"/>
                      </a:lnTo>
                      <a:lnTo>
                        <a:pt x="195" y="214"/>
                      </a:lnTo>
                      <a:lnTo>
                        <a:pt x="194" y="214"/>
                      </a:lnTo>
                      <a:lnTo>
                        <a:pt x="195" y="214"/>
                      </a:lnTo>
                      <a:lnTo>
                        <a:pt x="195" y="214"/>
                      </a:lnTo>
                      <a:lnTo>
                        <a:pt x="195" y="215"/>
                      </a:lnTo>
                      <a:lnTo>
                        <a:pt x="195" y="216"/>
                      </a:lnTo>
                      <a:lnTo>
                        <a:pt x="194" y="216"/>
                      </a:lnTo>
                      <a:lnTo>
                        <a:pt x="194" y="216"/>
                      </a:lnTo>
                      <a:lnTo>
                        <a:pt x="193" y="216"/>
                      </a:lnTo>
                      <a:lnTo>
                        <a:pt x="192" y="216"/>
                      </a:lnTo>
                      <a:lnTo>
                        <a:pt x="192" y="216"/>
                      </a:lnTo>
                      <a:lnTo>
                        <a:pt x="191" y="216"/>
                      </a:lnTo>
                      <a:lnTo>
                        <a:pt x="191" y="215"/>
                      </a:lnTo>
                      <a:lnTo>
                        <a:pt x="190" y="215"/>
                      </a:lnTo>
                      <a:lnTo>
                        <a:pt x="189" y="215"/>
                      </a:lnTo>
                      <a:lnTo>
                        <a:pt x="189" y="215"/>
                      </a:lnTo>
                      <a:lnTo>
                        <a:pt x="188" y="215"/>
                      </a:lnTo>
                      <a:lnTo>
                        <a:pt x="188" y="214"/>
                      </a:lnTo>
                      <a:lnTo>
                        <a:pt x="187" y="214"/>
                      </a:lnTo>
                      <a:lnTo>
                        <a:pt x="187" y="214"/>
                      </a:lnTo>
                      <a:lnTo>
                        <a:pt x="187" y="214"/>
                      </a:lnTo>
                      <a:lnTo>
                        <a:pt x="186" y="214"/>
                      </a:lnTo>
                      <a:lnTo>
                        <a:pt x="185" y="214"/>
                      </a:lnTo>
                      <a:lnTo>
                        <a:pt x="185" y="214"/>
                      </a:lnTo>
                      <a:lnTo>
                        <a:pt x="185" y="214"/>
                      </a:lnTo>
                      <a:lnTo>
                        <a:pt x="184" y="214"/>
                      </a:lnTo>
                      <a:lnTo>
                        <a:pt x="184" y="215"/>
                      </a:lnTo>
                      <a:lnTo>
                        <a:pt x="183" y="215"/>
                      </a:lnTo>
                      <a:lnTo>
                        <a:pt x="183" y="216"/>
                      </a:lnTo>
                      <a:lnTo>
                        <a:pt x="183" y="216"/>
                      </a:lnTo>
                      <a:lnTo>
                        <a:pt x="184" y="216"/>
                      </a:lnTo>
                      <a:lnTo>
                        <a:pt x="184" y="217"/>
                      </a:lnTo>
                      <a:lnTo>
                        <a:pt x="184" y="218"/>
                      </a:lnTo>
                      <a:lnTo>
                        <a:pt x="184" y="218"/>
                      </a:lnTo>
                      <a:lnTo>
                        <a:pt x="183" y="218"/>
                      </a:lnTo>
                      <a:lnTo>
                        <a:pt x="183" y="218"/>
                      </a:lnTo>
                      <a:lnTo>
                        <a:pt x="183" y="218"/>
                      </a:lnTo>
                      <a:lnTo>
                        <a:pt x="182" y="218"/>
                      </a:lnTo>
                      <a:lnTo>
                        <a:pt x="181" y="217"/>
                      </a:lnTo>
                      <a:lnTo>
                        <a:pt x="181" y="217"/>
                      </a:lnTo>
                      <a:lnTo>
                        <a:pt x="180" y="216"/>
                      </a:lnTo>
                      <a:lnTo>
                        <a:pt x="180" y="217"/>
                      </a:lnTo>
                      <a:lnTo>
                        <a:pt x="179" y="217"/>
                      </a:lnTo>
                      <a:lnTo>
                        <a:pt x="179" y="218"/>
                      </a:lnTo>
                      <a:lnTo>
                        <a:pt x="178" y="218"/>
                      </a:lnTo>
                      <a:lnTo>
                        <a:pt x="178" y="218"/>
                      </a:lnTo>
                      <a:lnTo>
                        <a:pt x="177" y="219"/>
                      </a:lnTo>
                      <a:lnTo>
                        <a:pt x="177" y="220"/>
                      </a:lnTo>
                      <a:lnTo>
                        <a:pt x="176" y="220"/>
                      </a:lnTo>
                      <a:lnTo>
                        <a:pt x="176" y="219"/>
                      </a:lnTo>
                      <a:lnTo>
                        <a:pt x="175" y="218"/>
                      </a:lnTo>
                      <a:lnTo>
                        <a:pt x="175" y="218"/>
                      </a:lnTo>
                      <a:lnTo>
                        <a:pt x="175" y="218"/>
                      </a:lnTo>
                      <a:lnTo>
                        <a:pt x="174" y="218"/>
                      </a:lnTo>
                      <a:lnTo>
                        <a:pt x="173" y="218"/>
                      </a:lnTo>
                      <a:lnTo>
                        <a:pt x="173" y="218"/>
                      </a:lnTo>
                      <a:lnTo>
                        <a:pt x="172" y="218"/>
                      </a:lnTo>
                      <a:lnTo>
                        <a:pt x="171" y="218"/>
                      </a:lnTo>
                      <a:lnTo>
                        <a:pt x="170" y="218"/>
                      </a:lnTo>
                      <a:lnTo>
                        <a:pt x="170" y="219"/>
                      </a:lnTo>
                      <a:lnTo>
                        <a:pt x="170" y="219"/>
                      </a:lnTo>
                      <a:lnTo>
                        <a:pt x="170" y="218"/>
                      </a:lnTo>
                      <a:lnTo>
                        <a:pt x="169" y="218"/>
                      </a:lnTo>
                      <a:lnTo>
                        <a:pt x="168" y="218"/>
                      </a:lnTo>
                      <a:lnTo>
                        <a:pt x="168" y="218"/>
                      </a:lnTo>
                      <a:lnTo>
                        <a:pt x="168" y="217"/>
                      </a:lnTo>
                      <a:lnTo>
                        <a:pt x="168" y="216"/>
                      </a:lnTo>
                      <a:lnTo>
                        <a:pt x="168" y="216"/>
                      </a:lnTo>
                      <a:lnTo>
                        <a:pt x="168" y="216"/>
                      </a:lnTo>
                      <a:lnTo>
                        <a:pt x="168" y="216"/>
                      </a:lnTo>
                      <a:lnTo>
                        <a:pt x="167" y="216"/>
                      </a:lnTo>
                      <a:lnTo>
                        <a:pt x="167" y="215"/>
                      </a:lnTo>
                      <a:lnTo>
                        <a:pt x="166" y="215"/>
                      </a:lnTo>
                      <a:lnTo>
                        <a:pt x="166" y="215"/>
                      </a:lnTo>
                      <a:lnTo>
                        <a:pt x="165" y="215"/>
                      </a:lnTo>
                      <a:lnTo>
                        <a:pt x="164" y="215"/>
                      </a:lnTo>
                      <a:lnTo>
                        <a:pt x="164" y="215"/>
                      </a:lnTo>
                      <a:lnTo>
                        <a:pt x="163" y="215"/>
                      </a:lnTo>
                      <a:lnTo>
                        <a:pt x="162" y="215"/>
                      </a:lnTo>
                      <a:lnTo>
                        <a:pt x="162" y="216"/>
                      </a:lnTo>
                      <a:lnTo>
                        <a:pt x="161" y="215"/>
                      </a:lnTo>
                      <a:lnTo>
                        <a:pt x="160" y="215"/>
                      </a:lnTo>
                      <a:lnTo>
                        <a:pt x="160" y="214"/>
                      </a:lnTo>
                      <a:lnTo>
                        <a:pt x="159" y="214"/>
                      </a:lnTo>
                      <a:lnTo>
                        <a:pt x="158" y="214"/>
                      </a:lnTo>
                      <a:lnTo>
                        <a:pt x="158" y="213"/>
                      </a:lnTo>
                      <a:lnTo>
                        <a:pt x="157" y="213"/>
                      </a:lnTo>
                      <a:lnTo>
                        <a:pt x="156" y="213"/>
                      </a:lnTo>
                      <a:lnTo>
                        <a:pt x="156" y="214"/>
                      </a:lnTo>
                      <a:lnTo>
                        <a:pt x="156" y="214"/>
                      </a:lnTo>
                      <a:lnTo>
                        <a:pt x="155" y="214"/>
                      </a:lnTo>
                      <a:lnTo>
                        <a:pt x="155" y="215"/>
                      </a:lnTo>
                      <a:lnTo>
                        <a:pt x="154" y="215"/>
                      </a:lnTo>
                      <a:lnTo>
                        <a:pt x="154" y="214"/>
                      </a:lnTo>
                      <a:lnTo>
                        <a:pt x="154" y="214"/>
                      </a:lnTo>
                      <a:lnTo>
                        <a:pt x="154" y="214"/>
                      </a:lnTo>
                      <a:lnTo>
                        <a:pt x="153" y="214"/>
                      </a:lnTo>
                      <a:lnTo>
                        <a:pt x="153" y="214"/>
                      </a:lnTo>
                      <a:lnTo>
                        <a:pt x="152" y="215"/>
                      </a:lnTo>
                      <a:lnTo>
                        <a:pt x="153" y="215"/>
                      </a:lnTo>
                      <a:lnTo>
                        <a:pt x="153" y="216"/>
                      </a:lnTo>
                      <a:lnTo>
                        <a:pt x="154" y="216"/>
                      </a:lnTo>
                      <a:lnTo>
                        <a:pt x="154" y="216"/>
                      </a:lnTo>
                      <a:lnTo>
                        <a:pt x="154" y="217"/>
                      </a:lnTo>
                      <a:lnTo>
                        <a:pt x="154" y="218"/>
                      </a:lnTo>
                      <a:lnTo>
                        <a:pt x="154" y="218"/>
                      </a:lnTo>
                      <a:lnTo>
                        <a:pt x="153" y="218"/>
                      </a:lnTo>
                      <a:lnTo>
                        <a:pt x="152" y="218"/>
                      </a:lnTo>
                      <a:lnTo>
                        <a:pt x="151" y="218"/>
                      </a:lnTo>
                      <a:lnTo>
                        <a:pt x="151" y="220"/>
                      </a:lnTo>
                      <a:lnTo>
                        <a:pt x="151" y="220"/>
                      </a:lnTo>
                      <a:lnTo>
                        <a:pt x="151" y="221"/>
                      </a:lnTo>
                      <a:lnTo>
                        <a:pt x="151" y="222"/>
                      </a:lnTo>
                      <a:lnTo>
                        <a:pt x="151" y="223"/>
                      </a:lnTo>
                      <a:lnTo>
                        <a:pt x="151" y="224"/>
                      </a:lnTo>
                      <a:lnTo>
                        <a:pt x="151" y="225"/>
                      </a:lnTo>
                      <a:lnTo>
                        <a:pt x="151" y="226"/>
                      </a:lnTo>
                      <a:lnTo>
                        <a:pt x="151" y="226"/>
                      </a:lnTo>
                      <a:lnTo>
                        <a:pt x="151" y="227"/>
                      </a:lnTo>
                      <a:lnTo>
                        <a:pt x="151" y="228"/>
                      </a:lnTo>
                      <a:lnTo>
                        <a:pt x="151" y="229"/>
                      </a:lnTo>
                      <a:lnTo>
                        <a:pt x="151" y="229"/>
                      </a:lnTo>
                      <a:lnTo>
                        <a:pt x="151" y="230"/>
                      </a:lnTo>
                      <a:lnTo>
                        <a:pt x="152" y="230"/>
                      </a:lnTo>
                      <a:lnTo>
                        <a:pt x="152" y="231"/>
                      </a:lnTo>
                      <a:lnTo>
                        <a:pt x="152" y="231"/>
                      </a:lnTo>
                      <a:lnTo>
                        <a:pt x="151" y="231"/>
                      </a:lnTo>
                      <a:lnTo>
                        <a:pt x="151" y="232"/>
                      </a:lnTo>
                      <a:lnTo>
                        <a:pt x="151" y="233"/>
                      </a:lnTo>
                      <a:lnTo>
                        <a:pt x="151" y="233"/>
                      </a:lnTo>
                      <a:lnTo>
                        <a:pt x="151" y="233"/>
                      </a:lnTo>
                      <a:lnTo>
                        <a:pt x="152" y="233"/>
                      </a:lnTo>
                      <a:lnTo>
                        <a:pt x="152" y="234"/>
                      </a:lnTo>
                      <a:lnTo>
                        <a:pt x="152" y="235"/>
                      </a:lnTo>
                      <a:lnTo>
                        <a:pt x="152" y="235"/>
                      </a:lnTo>
                      <a:lnTo>
                        <a:pt x="151" y="235"/>
                      </a:lnTo>
                      <a:lnTo>
                        <a:pt x="151" y="236"/>
                      </a:lnTo>
                      <a:lnTo>
                        <a:pt x="151" y="237"/>
                      </a:lnTo>
                      <a:lnTo>
                        <a:pt x="151" y="237"/>
                      </a:lnTo>
                      <a:lnTo>
                        <a:pt x="151" y="238"/>
                      </a:lnTo>
                      <a:lnTo>
                        <a:pt x="151" y="239"/>
                      </a:lnTo>
                      <a:lnTo>
                        <a:pt x="151" y="239"/>
                      </a:lnTo>
                      <a:lnTo>
                        <a:pt x="150" y="239"/>
                      </a:lnTo>
                      <a:lnTo>
                        <a:pt x="150" y="240"/>
                      </a:lnTo>
                      <a:lnTo>
                        <a:pt x="151" y="240"/>
                      </a:lnTo>
                      <a:lnTo>
                        <a:pt x="151" y="241"/>
                      </a:lnTo>
                      <a:lnTo>
                        <a:pt x="151" y="241"/>
                      </a:lnTo>
                      <a:lnTo>
                        <a:pt x="151" y="241"/>
                      </a:lnTo>
                      <a:lnTo>
                        <a:pt x="151" y="242"/>
                      </a:lnTo>
                      <a:lnTo>
                        <a:pt x="151" y="243"/>
                      </a:lnTo>
                      <a:lnTo>
                        <a:pt x="151" y="243"/>
                      </a:lnTo>
                      <a:lnTo>
                        <a:pt x="151" y="244"/>
                      </a:lnTo>
                      <a:lnTo>
                        <a:pt x="151" y="245"/>
                      </a:lnTo>
                      <a:lnTo>
                        <a:pt x="150" y="245"/>
                      </a:lnTo>
                      <a:lnTo>
                        <a:pt x="150" y="245"/>
                      </a:lnTo>
                      <a:lnTo>
                        <a:pt x="151" y="246"/>
                      </a:lnTo>
                      <a:lnTo>
                        <a:pt x="151" y="246"/>
                      </a:lnTo>
                      <a:lnTo>
                        <a:pt x="151" y="247"/>
                      </a:lnTo>
                      <a:lnTo>
                        <a:pt x="151" y="248"/>
                      </a:lnTo>
                      <a:lnTo>
                        <a:pt x="151" y="248"/>
                      </a:lnTo>
                      <a:lnTo>
                        <a:pt x="151" y="248"/>
                      </a:lnTo>
                      <a:lnTo>
                        <a:pt x="151" y="249"/>
                      </a:lnTo>
                      <a:lnTo>
                        <a:pt x="150" y="249"/>
                      </a:lnTo>
                      <a:lnTo>
                        <a:pt x="149" y="250"/>
                      </a:lnTo>
                      <a:lnTo>
                        <a:pt x="149" y="250"/>
                      </a:lnTo>
                      <a:lnTo>
                        <a:pt x="148" y="250"/>
                      </a:lnTo>
                      <a:lnTo>
                        <a:pt x="148" y="251"/>
                      </a:lnTo>
                      <a:lnTo>
                        <a:pt x="148" y="252"/>
                      </a:lnTo>
                      <a:lnTo>
                        <a:pt x="147" y="252"/>
                      </a:lnTo>
                      <a:lnTo>
                        <a:pt x="147" y="252"/>
                      </a:lnTo>
                      <a:lnTo>
                        <a:pt x="148" y="252"/>
                      </a:lnTo>
                      <a:lnTo>
                        <a:pt x="149" y="252"/>
                      </a:lnTo>
                      <a:lnTo>
                        <a:pt x="149" y="253"/>
                      </a:lnTo>
                      <a:lnTo>
                        <a:pt x="149" y="254"/>
                      </a:lnTo>
                      <a:lnTo>
                        <a:pt x="149" y="254"/>
                      </a:lnTo>
                      <a:lnTo>
                        <a:pt x="148" y="254"/>
                      </a:lnTo>
                      <a:lnTo>
                        <a:pt x="147" y="254"/>
                      </a:lnTo>
                      <a:lnTo>
                        <a:pt x="147" y="254"/>
                      </a:lnTo>
                      <a:lnTo>
                        <a:pt x="146" y="254"/>
                      </a:lnTo>
                      <a:lnTo>
                        <a:pt x="146" y="253"/>
                      </a:lnTo>
                      <a:lnTo>
                        <a:pt x="146" y="252"/>
                      </a:lnTo>
                      <a:lnTo>
                        <a:pt x="145" y="252"/>
                      </a:lnTo>
                      <a:lnTo>
                        <a:pt x="145" y="252"/>
                      </a:lnTo>
                      <a:lnTo>
                        <a:pt x="144" y="252"/>
                      </a:lnTo>
                      <a:lnTo>
                        <a:pt x="144" y="253"/>
                      </a:lnTo>
                      <a:lnTo>
                        <a:pt x="143" y="252"/>
                      </a:lnTo>
                      <a:lnTo>
                        <a:pt x="143" y="253"/>
                      </a:lnTo>
                      <a:lnTo>
                        <a:pt x="143" y="254"/>
                      </a:lnTo>
                      <a:lnTo>
                        <a:pt x="142" y="254"/>
                      </a:lnTo>
                      <a:lnTo>
                        <a:pt x="142" y="253"/>
                      </a:lnTo>
                      <a:lnTo>
                        <a:pt x="141" y="253"/>
                      </a:lnTo>
                      <a:lnTo>
                        <a:pt x="141" y="252"/>
                      </a:lnTo>
                      <a:lnTo>
                        <a:pt x="141" y="252"/>
                      </a:lnTo>
                      <a:lnTo>
                        <a:pt x="141" y="252"/>
                      </a:lnTo>
                      <a:lnTo>
                        <a:pt x="140" y="252"/>
                      </a:lnTo>
                      <a:lnTo>
                        <a:pt x="140" y="252"/>
                      </a:lnTo>
                      <a:lnTo>
                        <a:pt x="139" y="252"/>
                      </a:lnTo>
                      <a:lnTo>
                        <a:pt x="139" y="252"/>
                      </a:lnTo>
                      <a:lnTo>
                        <a:pt x="139" y="252"/>
                      </a:lnTo>
                      <a:lnTo>
                        <a:pt x="138" y="252"/>
                      </a:lnTo>
                      <a:lnTo>
                        <a:pt x="137" y="252"/>
                      </a:lnTo>
                      <a:lnTo>
                        <a:pt x="137" y="253"/>
                      </a:lnTo>
                      <a:lnTo>
                        <a:pt x="136" y="253"/>
                      </a:lnTo>
                      <a:lnTo>
                        <a:pt x="135" y="253"/>
                      </a:lnTo>
                      <a:lnTo>
                        <a:pt x="135" y="253"/>
                      </a:lnTo>
                      <a:lnTo>
                        <a:pt x="134" y="253"/>
                      </a:lnTo>
                      <a:lnTo>
                        <a:pt x="133" y="253"/>
                      </a:lnTo>
                      <a:lnTo>
                        <a:pt x="132" y="253"/>
                      </a:lnTo>
                      <a:lnTo>
                        <a:pt x="132" y="253"/>
                      </a:lnTo>
                      <a:lnTo>
                        <a:pt x="131" y="254"/>
                      </a:lnTo>
                      <a:lnTo>
                        <a:pt x="130" y="254"/>
                      </a:lnTo>
                      <a:lnTo>
                        <a:pt x="130" y="254"/>
                      </a:lnTo>
                      <a:lnTo>
                        <a:pt x="129" y="253"/>
                      </a:lnTo>
                      <a:lnTo>
                        <a:pt x="128" y="253"/>
                      </a:lnTo>
                      <a:lnTo>
                        <a:pt x="128" y="253"/>
                      </a:lnTo>
                      <a:lnTo>
                        <a:pt x="127" y="253"/>
                      </a:lnTo>
                      <a:lnTo>
                        <a:pt x="127" y="252"/>
                      </a:lnTo>
                      <a:lnTo>
                        <a:pt x="126" y="252"/>
                      </a:lnTo>
                      <a:lnTo>
                        <a:pt x="126" y="253"/>
                      </a:lnTo>
                      <a:lnTo>
                        <a:pt x="126" y="253"/>
                      </a:lnTo>
                      <a:lnTo>
                        <a:pt x="125" y="252"/>
                      </a:lnTo>
                      <a:lnTo>
                        <a:pt x="124" y="252"/>
                      </a:lnTo>
                      <a:lnTo>
                        <a:pt x="124" y="251"/>
                      </a:lnTo>
                      <a:lnTo>
                        <a:pt x="124" y="250"/>
                      </a:lnTo>
                      <a:lnTo>
                        <a:pt x="124" y="250"/>
                      </a:lnTo>
                      <a:lnTo>
                        <a:pt x="123" y="250"/>
                      </a:lnTo>
                      <a:lnTo>
                        <a:pt x="122" y="249"/>
                      </a:lnTo>
                      <a:lnTo>
                        <a:pt x="123" y="248"/>
                      </a:lnTo>
                      <a:lnTo>
                        <a:pt x="123" y="248"/>
                      </a:lnTo>
                      <a:lnTo>
                        <a:pt x="123" y="247"/>
                      </a:lnTo>
                      <a:lnTo>
                        <a:pt x="123" y="246"/>
                      </a:lnTo>
                      <a:lnTo>
                        <a:pt x="123" y="245"/>
                      </a:lnTo>
                      <a:lnTo>
                        <a:pt x="122" y="245"/>
                      </a:lnTo>
                      <a:lnTo>
                        <a:pt x="122" y="245"/>
                      </a:lnTo>
                      <a:lnTo>
                        <a:pt x="121" y="245"/>
                      </a:lnTo>
                      <a:lnTo>
                        <a:pt x="121" y="244"/>
                      </a:lnTo>
                      <a:lnTo>
                        <a:pt x="121" y="243"/>
                      </a:lnTo>
                      <a:lnTo>
                        <a:pt x="120" y="243"/>
                      </a:lnTo>
                      <a:lnTo>
                        <a:pt x="120" y="243"/>
                      </a:lnTo>
                      <a:lnTo>
                        <a:pt x="120" y="242"/>
                      </a:lnTo>
                      <a:lnTo>
                        <a:pt x="120" y="241"/>
                      </a:lnTo>
                      <a:lnTo>
                        <a:pt x="120" y="241"/>
                      </a:lnTo>
                      <a:lnTo>
                        <a:pt x="120" y="240"/>
                      </a:lnTo>
                      <a:lnTo>
                        <a:pt x="119" y="240"/>
                      </a:lnTo>
                      <a:lnTo>
                        <a:pt x="118" y="240"/>
                      </a:lnTo>
                      <a:lnTo>
                        <a:pt x="118" y="239"/>
                      </a:lnTo>
                      <a:lnTo>
                        <a:pt x="118" y="239"/>
                      </a:lnTo>
                      <a:lnTo>
                        <a:pt x="118" y="239"/>
                      </a:lnTo>
                      <a:lnTo>
                        <a:pt x="118" y="239"/>
                      </a:lnTo>
                      <a:lnTo>
                        <a:pt x="118" y="238"/>
                      </a:lnTo>
                      <a:lnTo>
                        <a:pt x="118" y="237"/>
                      </a:lnTo>
                      <a:lnTo>
                        <a:pt x="118" y="237"/>
                      </a:lnTo>
                      <a:lnTo>
                        <a:pt x="118" y="237"/>
                      </a:lnTo>
                      <a:lnTo>
                        <a:pt x="118" y="237"/>
                      </a:lnTo>
                      <a:lnTo>
                        <a:pt x="118" y="236"/>
                      </a:lnTo>
                      <a:lnTo>
                        <a:pt x="119" y="237"/>
                      </a:lnTo>
                      <a:lnTo>
                        <a:pt x="120" y="236"/>
                      </a:lnTo>
                      <a:lnTo>
                        <a:pt x="120" y="235"/>
                      </a:lnTo>
                      <a:lnTo>
                        <a:pt x="120" y="235"/>
                      </a:lnTo>
                      <a:lnTo>
                        <a:pt x="120" y="235"/>
                      </a:lnTo>
                      <a:lnTo>
                        <a:pt x="119" y="234"/>
                      </a:lnTo>
                      <a:lnTo>
                        <a:pt x="118" y="234"/>
                      </a:lnTo>
                      <a:lnTo>
                        <a:pt x="118" y="233"/>
                      </a:lnTo>
                      <a:lnTo>
                        <a:pt x="118" y="233"/>
                      </a:lnTo>
                      <a:lnTo>
                        <a:pt x="119" y="233"/>
                      </a:lnTo>
                      <a:lnTo>
                        <a:pt x="120" y="233"/>
                      </a:lnTo>
                      <a:lnTo>
                        <a:pt x="120" y="232"/>
                      </a:lnTo>
                      <a:lnTo>
                        <a:pt x="119" y="232"/>
                      </a:lnTo>
                      <a:lnTo>
                        <a:pt x="118" y="231"/>
                      </a:lnTo>
                      <a:lnTo>
                        <a:pt x="118" y="232"/>
                      </a:lnTo>
                      <a:lnTo>
                        <a:pt x="117" y="231"/>
                      </a:lnTo>
                      <a:lnTo>
                        <a:pt x="117" y="231"/>
                      </a:lnTo>
                      <a:lnTo>
                        <a:pt x="117" y="230"/>
                      </a:lnTo>
                      <a:lnTo>
                        <a:pt x="118" y="229"/>
                      </a:lnTo>
                      <a:lnTo>
                        <a:pt x="118" y="229"/>
                      </a:lnTo>
                      <a:lnTo>
                        <a:pt x="117" y="228"/>
                      </a:lnTo>
                      <a:lnTo>
                        <a:pt x="118" y="227"/>
                      </a:lnTo>
                      <a:lnTo>
                        <a:pt x="118" y="226"/>
                      </a:lnTo>
                      <a:lnTo>
                        <a:pt x="118" y="226"/>
                      </a:lnTo>
                      <a:lnTo>
                        <a:pt x="117" y="225"/>
                      </a:lnTo>
                      <a:lnTo>
                        <a:pt x="117" y="224"/>
                      </a:lnTo>
                      <a:lnTo>
                        <a:pt x="116" y="224"/>
                      </a:lnTo>
                      <a:lnTo>
                        <a:pt x="116" y="223"/>
                      </a:lnTo>
                      <a:lnTo>
                        <a:pt x="115" y="223"/>
                      </a:lnTo>
                      <a:lnTo>
                        <a:pt x="115" y="222"/>
                      </a:lnTo>
                      <a:lnTo>
                        <a:pt x="116" y="222"/>
                      </a:lnTo>
                      <a:lnTo>
                        <a:pt x="116" y="222"/>
                      </a:lnTo>
                      <a:lnTo>
                        <a:pt x="117" y="221"/>
                      </a:lnTo>
                      <a:lnTo>
                        <a:pt x="117" y="220"/>
                      </a:lnTo>
                      <a:lnTo>
                        <a:pt x="116" y="220"/>
                      </a:lnTo>
                      <a:lnTo>
                        <a:pt x="115" y="220"/>
                      </a:lnTo>
                      <a:lnTo>
                        <a:pt x="115" y="219"/>
                      </a:lnTo>
                      <a:lnTo>
                        <a:pt x="114" y="219"/>
                      </a:lnTo>
                      <a:lnTo>
                        <a:pt x="113" y="218"/>
                      </a:lnTo>
                      <a:lnTo>
                        <a:pt x="114" y="218"/>
                      </a:lnTo>
                      <a:lnTo>
                        <a:pt x="114" y="218"/>
                      </a:lnTo>
                      <a:lnTo>
                        <a:pt x="114" y="217"/>
                      </a:lnTo>
                      <a:lnTo>
                        <a:pt x="113" y="217"/>
                      </a:lnTo>
                      <a:lnTo>
                        <a:pt x="113" y="216"/>
                      </a:lnTo>
                      <a:lnTo>
                        <a:pt x="114" y="216"/>
                      </a:lnTo>
                      <a:lnTo>
                        <a:pt x="115" y="216"/>
                      </a:lnTo>
                      <a:lnTo>
                        <a:pt x="115" y="216"/>
                      </a:lnTo>
                      <a:lnTo>
                        <a:pt x="115" y="215"/>
                      </a:lnTo>
                      <a:lnTo>
                        <a:pt x="114" y="214"/>
                      </a:lnTo>
                      <a:lnTo>
                        <a:pt x="113" y="214"/>
                      </a:lnTo>
                      <a:lnTo>
                        <a:pt x="113" y="213"/>
                      </a:lnTo>
                      <a:lnTo>
                        <a:pt x="112" y="213"/>
                      </a:lnTo>
                      <a:lnTo>
                        <a:pt x="111" y="212"/>
                      </a:lnTo>
                      <a:lnTo>
                        <a:pt x="112" y="212"/>
                      </a:lnTo>
                      <a:lnTo>
                        <a:pt x="112" y="212"/>
                      </a:lnTo>
                      <a:lnTo>
                        <a:pt x="112" y="211"/>
                      </a:lnTo>
                      <a:lnTo>
                        <a:pt x="112" y="210"/>
                      </a:lnTo>
                      <a:lnTo>
                        <a:pt x="112" y="210"/>
                      </a:lnTo>
                      <a:lnTo>
                        <a:pt x="112" y="209"/>
                      </a:lnTo>
                      <a:lnTo>
                        <a:pt x="111" y="208"/>
                      </a:lnTo>
                      <a:lnTo>
                        <a:pt x="111" y="208"/>
                      </a:lnTo>
                      <a:lnTo>
                        <a:pt x="111" y="208"/>
                      </a:lnTo>
                      <a:lnTo>
                        <a:pt x="111" y="207"/>
                      </a:lnTo>
                      <a:lnTo>
                        <a:pt x="110" y="207"/>
                      </a:lnTo>
                      <a:lnTo>
                        <a:pt x="110" y="206"/>
                      </a:lnTo>
                      <a:lnTo>
                        <a:pt x="109" y="206"/>
                      </a:lnTo>
                      <a:lnTo>
                        <a:pt x="109" y="206"/>
                      </a:lnTo>
                      <a:lnTo>
                        <a:pt x="108" y="205"/>
                      </a:lnTo>
                      <a:lnTo>
                        <a:pt x="108" y="205"/>
                      </a:lnTo>
                      <a:lnTo>
                        <a:pt x="107" y="205"/>
                      </a:lnTo>
                      <a:lnTo>
                        <a:pt x="107" y="205"/>
                      </a:lnTo>
                      <a:lnTo>
                        <a:pt x="107" y="205"/>
                      </a:lnTo>
                      <a:lnTo>
                        <a:pt x="106" y="205"/>
                      </a:lnTo>
                      <a:lnTo>
                        <a:pt x="106" y="206"/>
                      </a:lnTo>
                      <a:lnTo>
                        <a:pt x="105" y="206"/>
                      </a:lnTo>
                      <a:lnTo>
                        <a:pt x="105" y="205"/>
                      </a:lnTo>
                      <a:lnTo>
                        <a:pt x="105" y="205"/>
                      </a:lnTo>
                      <a:lnTo>
                        <a:pt x="105" y="204"/>
                      </a:lnTo>
                      <a:lnTo>
                        <a:pt x="106" y="203"/>
                      </a:lnTo>
                      <a:lnTo>
                        <a:pt x="105" y="203"/>
                      </a:lnTo>
                      <a:lnTo>
                        <a:pt x="105" y="203"/>
                      </a:lnTo>
                      <a:lnTo>
                        <a:pt x="104" y="203"/>
                      </a:lnTo>
                      <a:lnTo>
                        <a:pt x="103" y="203"/>
                      </a:lnTo>
                      <a:lnTo>
                        <a:pt x="103" y="202"/>
                      </a:lnTo>
                      <a:lnTo>
                        <a:pt x="103" y="202"/>
                      </a:lnTo>
                      <a:lnTo>
                        <a:pt x="103" y="201"/>
                      </a:lnTo>
                      <a:lnTo>
                        <a:pt x="103" y="201"/>
                      </a:lnTo>
                      <a:lnTo>
                        <a:pt x="103" y="200"/>
                      </a:lnTo>
                      <a:lnTo>
                        <a:pt x="103" y="199"/>
                      </a:lnTo>
                      <a:lnTo>
                        <a:pt x="102" y="199"/>
                      </a:lnTo>
                      <a:lnTo>
                        <a:pt x="101" y="199"/>
                      </a:lnTo>
                      <a:lnTo>
                        <a:pt x="101" y="198"/>
                      </a:lnTo>
                      <a:lnTo>
                        <a:pt x="100" y="198"/>
                      </a:lnTo>
                      <a:lnTo>
                        <a:pt x="99" y="198"/>
                      </a:lnTo>
                      <a:lnTo>
                        <a:pt x="99" y="199"/>
                      </a:lnTo>
                      <a:lnTo>
                        <a:pt x="99" y="198"/>
                      </a:lnTo>
                      <a:lnTo>
                        <a:pt x="98" y="198"/>
                      </a:lnTo>
                      <a:lnTo>
                        <a:pt x="97" y="197"/>
                      </a:lnTo>
                      <a:lnTo>
                        <a:pt x="96" y="197"/>
                      </a:lnTo>
                      <a:lnTo>
                        <a:pt x="96" y="197"/>
                      </a:lnTo>
                      <a:lnTo>
                        <a:pt x="96" y="196"/>
                      </a:lnTo>
                      <a:lnTo>
                        <a:pt x="95" y="196"/>
                      </a:lnTo>
                      <a:lnTo>
                        <a:pt x="94" y="197"/>
                      </a:lnTo>
                      <a:lnTo>
                        <a:pt x="94" y="197"/>
                      </a:lnTo>
                      <a:lnTo>
                        <a:pt x="93" y="197"/>
                      </a:lnTo>
                      <a:lnTo>
                        <a:pt x="92" y="197"/>
                      </a:lnTo>
                      <a:lnTo>
                        <a:pt x="92" y="197"/>
                      </a:lnTo>
                      <a:lnTo>
                        <a:pt x="92" y="197"/>
                      </a:lnTo>
                      <a:lnTo>
                        <a:pt x="91" y="197"/>
                      </a:lnTo>
                      <a:lnTo>
                        <a:pt x="91" y="197"/>
                      </a:lnTo>
                      <a:lnTo>
                        <a:pt x="90" y="197"/>
                      </a:lnTo>
                      <a:lnTo>
                        <a:pt x="90" y="197"/>
                      </a:lnTo>
                      <a:lnTo>
                        <a:pt x="89" y="197"/>
                      </a:lnTo>
                      <a:lnTo>
                        <a:pt x="88" y="197"/>
                      </a:lnTo>
                      <a:lnTo>
                        <a:pt x="88" y="197"/>
                      </a:lnTo>
                      <a:lnTo>
                        <a:pt x="87" y="197"/>
                      </a:lnTo>
                      <a:lnTo>
                        <a:pt x="86" y="197"/>
                      </a:lnTo>
                      <a:lnTo>
                        <a:pt x="86" y="197"/>
                      </a:lnTo>
                      <a:lnTo>
                        <a:pt x="85" y="197"/>
                      </a:lnTo>
                      <a:lnTo>
                        <a:pt x="84" y="196"/>
                      </a:lnTo>
                      <a:lnTo>
                        <a:pt x="84" y="195"/>
                      </a:lnTo>
                      <a:lnTo>
                        <a:pt x="84" y="195"/>
                      </a:lnTo>
                      <a:lnTo>
                        <a:pt x="83" y="195"/>
                      </a:lnTo>
                      <a:lnTo>
                        <a:pt x="82" y="195"/>
                      </a:lnTo>
                      <a:lnTo>
                        <a:pt x="82" y="195"/>
                      </a:lnTo>
                      <a:lnTo>
                        <a:pt x="81" y="195"/>
                      </a:lnTo>
                      <a:lnTo>
                        <a:pt x="81" y="194"/>
                      </a:lnTo>
                      <a:lnTo>
                        <a:pt x="81" y="193"/>
                      </a:lnTo>
                      <a:lnTo>
                        <a:pt x="80" y="193"/>
                      </a:lnTo>
                      <a:lnTo>
                        <a:pt x="80" y="193"/>
                      </a:lnTo>
                      <a:lnTo>
                        <a:pt x="80" y="193"/>
                      </a:lnTo>
                      <a:lnTo>
                        <a:pt x="79" y="193"/>
                      </a:lnTo>
                      <a:lnTo>
                        <a:pt x="79" y="192"/>
                      </a:lnTo>
                      <a:lnTo>
                        <a:pt x="79" y="191"/>
                      </a:lnTo>
                      <a:lnTo>
                        <a:pt x="80" y="191"/>
                      </a:lnTo>
                      <a:lnTo>
                        <a:pt x="79" y="190"/>
                      </a:lnTo>
                      <a:lnTo>
                        <a:pt x="79" y="189"/>
                      </a:lnTo>
                      <a:lnTo>
                        <a:pt x="78" y="189"/>
                      </a:lnTo>
                      <a:lnTo>
                        <a:pt x="78" y="190"/>
                      </a:lnTo>
                      <a:lnTo>
                        <a:pt x="77" y="190"/>
                      </a:lnTo>
                      <a:lnTo>
                        <a:pt x="77" y="189"/>
                      </a:lnTo>
                      <a:lnTo>
                        <a:pt x="77" y="189"/>
                      </a:lnTo>
                      <a:lnTo>
                        <a:pt x="78" y="188"/>
                      </a:lnTo>
                      <a:lnTo>
                        <a:pt x="78" y="187"/>
                      </a:lnTo>
                      <a:lnTo>
                        <a:pt x="79" y="186"/>
                      </a:lnTo>
                      <a:lnTo>
                        <a:pt x="78" y="186"/>
                      </a:lnTo>
                      <a:lnTo>
                        <a:pt x="78" y="185"/>
                      </a:lnTo>
                      <a:lnTo>
                        <a:pt x="77" y="184"/>
                      </a:lnTo>
                      <a:lnTo>
                        <a:pt x="77" y="184"/>
                      </a:lnTo>
                      <a:lnTo>
                        <a:pt x="77" y="183"/>
                      </a:lnTo>
                      <a:lnTo>
                        <a:pt x="77" y="182"/>
                      </a:lnTo>
                      <a:lnTo>
                        <a:pt x="77" y="182"/>
                      </a:lnTo>
                      <a:lnTo>
                        <a:pt x="77" y="181"/>
                      </a:lnTo>
                      <a:lnTo>
                        <a:pt x="77" y="180"/>
                      </a:lnTo>
                      <a:lnTo>
                        <a:pt x="76" y="180"/>
                      </a:lnTo>
                      <a:lnTo>
                        <a:pt x="75" y="179"/>
                      </a:lnTo>
                      <a:lnTo>
                        <a:pt x="75" y="178"/>
                      </a:lnTo>
                      <a:lnTo>
                        <a:pt x="74" y="178"/>
                      </a:lnTo>
                      <a:lnTo>
                        <a:pt x="74" y="177"/>
                      </a:lnTo>
                      <a:lnTo>
                        <a:pt x="74" y="176"/>
                      </a:lnTo>
                      <a:lnTo>
                        <a:pt x="74" y="176"/>
                      </a:lnTo>
                      <a:lnTo>
                        <a:pt x="74" y="175"/>
                      </a:lnTo>
                      <a:lnTo>
                        <a:pt x="74" y="174"/>
                      </a:lnTo>
                      <a:lnTo>
                        <a:pt x="73" y="174"/>
                      </a:lnTo>
                      <a:lnTo>
                        <a:pt x="73" y="174"/>
                      </a:lnTo>
                      <a:lnTo>
                        <a:pt x="72" y="174"/>
                      </a:lnTo>
                      <a:lnTo>
                        <a:pt x="71" y="174"/>
                      </a:lnTo>
                      <a:lnTo>
                        <a:pt x="71" y="173"/>
                      </a:lnTo>
                      <a:lnTo>
                        <a:pt x="72" y="173"/>
                      </a:lnTo>
                      <a:lnTo>
                        <a:pt x="72" y="172"/>
                      </a:lnTo>
                      <a:lnTo>
                        <a:pt x="71" y="172"/>
                      </a:lnTo>
                      <a:lnTo>
                        <a:pt x="71" y="171"/>
                      </a:lnTo>
                      <a:lnTo>
                        <a:pt x="70" y="170"/>
                      </a:lnTo>
                      <a:lnTo>
                        <a:pt x="70" y="170"/>
                      </a:lnTo>
                      <a:lnTo>
                        <a:pt x="70" y="169"/>
                      </a:lnTo>
                      <a:lnTo>
                        <a:pt x="69" y="169"/>
                      </a:lnTo>
                      <a:lnTo>
                        <a:pt x="69" y="168"/>
                      </a:lnTo>
                      <a:lnTo>
                        <a:pt x="69" y="168"/>
                      </a:lnTo>
                      <a:lnTo>
                        <a:pt x="68" y="169"/>
                      </a:lnTo>
                      <a:lnTo>
                        <a:pt x="67" y="168"/>
                      </a:lnTo>
                      <a:lnTo>
                        <a:pt x="67" y="168"/>
                      </a:lnTo>
                      <a:lnTo>
                        <a:pt x="67" y="167"/>
                      </a:lnTo>
                      <a:lnTo>
                        <a:pt x="66" y="166"/>
                      </a:lnTo>
                      <a:lnTo>
                        <a:pt x="66" y="165"/>
                      </a:lnTo>
                      <a:lnTo>
                        <a:pt x="65" y="165"/>
                      </a:lnTo>
                      <a:lnTo>
                        <a:pt x="65" y="165"/>
                      </a:lnTo>
                      <a:lnTo>
                        <a:pt x="64" y="164"/>
                      </a:lnTo>
                      <a:lnTo>
                        <a:pt x="63" y="163"/>
                      </a:lnTo>
                      <a:lnTo>
                        <a:pt x="63" y="163"/>
                      </a:lnTo>
                      <a:lnTo>
                        <a:pt x="63" y="163"/>
                      </a:lnTo>
                      <a:lnTo>
                        <a:pt x="62" y="163"/>
                      </a:lnTo>
                      <a:lnTo>
                        <a:pt x="61" y="163"/>
                      </a:lnTo>
                      <a:lnTo>
                        <a:pt x="61" y="163"/>
                      </a:lnTo>
                      <a:lnTo>
                        <a:pt x="60" y="163"/>
                      </a:lnTo>
                      <a:lnTo>
                        <a:pt x="59" y="163"/>
                      </a:lnTo>
                      <a:lnTo>
                        <a:pt x="58" y="163"/>
                      </a:lnTo>
                      <a:lnTo>
                        <a:pt x="58" y="163"/>
                      </a:lnTo>
                      <a:lnTo>
                        <a:pt x="58" y="162"/>
                      </a:lnTo>
                      <a:lnTo>
                        <a:pt x="57" y="162"/>
                      </a:lnTo>
                      <a:lnTo>
                        <a:pt x="56" y="161"/>
                      </a:lnTo>
                      <a:lnTo>
                        <a:pt x="56" y="161"/>
                      </a:lnTo>
                      <a:lnTo>
                        <a:pt x="56" y="160"/>
                      </a:lnTo>
                      <a:lnTo>
                        <a:pt x="56" y="160"/>
                      </a:lnTo>
                      <a:lnTo>
                        <a:pt x="55" y="160"/>
                      </a:lnTo>
                      <a:lnTo>
                        <a:pt x="55" y="159"/>
                      </a:lnTo>
                      <a:lnTo>
                        <a:pt x="54" y="159"/>
                      </a:lnTo>
                      <a:lnTo>
                        <a:pt x="55" y="158"/>
                      </a:lnTo>
                      <a:lnTo>
                        <a:pt x="55" y="157"/>
                      </a:lnTo>
                      <a:lnTo>
                        <a:pt x="56" y="157"/>
                      </a:lnTo>
                      <a:lnTo>
                        <a:pt x="56" y="157"/>
                      </a:lnTo>
                      <a:lnTo>
                        <a:pt x="56" y="155"/>
                      </a:lnTo>
                      <a:lnTo>
                        <a:pt x="56" y="154"/>
                      </a:lnTo>
                      <a:lnTo>
                        <a:pt x="56" y="153"/>
                      </a:lnTo>
                      <a:lnTo>
                        <a:pt x="56" y="152"/>
                      </a:lnTo>
                      <a:lnTo>
                        <a:pt x="56" y="151"/>
                      </a:lnTo>
                      <a:lnTo>
                        <a:pt x="56" y="150"/>
                      </a:lnTo>
                      <a:lnTo>
                        <a:pt x="56" y="149"/>
                      </a:lnTo>
                      <a:lnTo>
                        <a:pt x="54" y="147"/>
                      </a:lnTo>
                      <a:lnTo>
                        <a:pt x="54" y="146"/>
                      </a:lnTo>
                      <a:lnTo>
                        <a:pt x="52" y="144"/>
                      </a:lnTo>
                      <a:lnTo>
                        <a:pt x="51" y="144"/>
                      </a:lnTo>
                      <a:lnTo>
                        <a:pt x="50" y="143"/>
                      </a:lnTo>
                      <a:lnTo>
                        <a:pt x="50" y="143"/>
                      </a:lnTo>
                      <a:lnTo>
                        <a:pt x="48" y="143"/>
                      </a:lnTo>
                      <a:lnTo>
                        <a:pt x="48" y="142"/>
                      </a:lnTo>
                      <a:lnTo>
                        <a:pt x="48" y="142"/>
                      </a:lnTo>
                      <a:lnTo>
                        <a:pt x="48" y="142"/>
                      </a:lnTo>
                      <a:lnTo>
                        <a:pt x="48" y="141"/>
                      </a:lnTo>
                      <a:lnTo>
                        <a:pt x="48" y="141"/>
                      </a:lnTo>
                      <a:lnTo>
                        <a:pt x="49" y="140"/>
                      </a:lnTo>
                      <a:lnTo>
                        <a:pt x="50" y="140"/>
                      </a:lnTo>
                      <a:lnTo>
                        <a:pt x="50" y="140"/>
                      </a:lnTo>
                      <a:lnTo>
                        <a:pt x="49" y="138"/>
                      </a:lnTo>
                      <a:lnTo>
                        <a:pt x="48" y="138"/>
                      </a:lnTo>
                      <a:lnTo>
                        <a:pt x="48" y="137"/>
                      </a:lnTo>
                      <a:lnTo>
                        <a:pt x="48" y="136"/>
                      </a:lnTo>
                      <a:lnTo>
                        <a:pt x="47" y="134"/>
                      </a:lnTo>
                      <a:lnTo>
                        <a:pt x="48" y="132"/>
                      </a:lnTo>
                      <a:lnTo>
                        <a:pt x="49" y="131"/>
                      </a:lnTo>
                      <a:lnTo>
                        <a:pt x="49" y="130"/>
                      </a:lnTo>
                      <a:lnTo>
                        <a:pt x="50" y="127"/>
                      </a:lnTo>
                      <a:lnTo>
                        <a:pt x="50" y="127"/>
                      </a:lnTo>
                      <a:lnTo>
                        <a:pt x="50" y="125"/>
                      </a:lnTo>
                      <a:lnTo>
                        <a:pt x="50" y="124"/>
                      </a:lnTo>
                      <a:lnTo>
                        <a:pt x="50" y="123"/>
                      </a:lnTo>
                      <a:lnTo>
                        <a:pt x="49" y="122"/>
                      </a:lnTo>
                      <a:lnTo>
                        <a:pt x="49" y="121"/>
                      </a:lnTo>
                      <a:lnTo>
                        <a:pt x="49" y="121"/>
                      </a:lnTo>
                      <a:lnTo>
                        <a:pt x="49" y="120"/>
                      </a:lnTo>
                      <a:lnTo>
                        <a:pt x="49" y="119"/>
                      </a:lnTo>
                      <a:lnTo>
                        <a:pt x="49" y="119"/>
                      </a:lnTo>
                      <a:lnTo>
                        <a:pt x="48" y="118"/>
                      </a:lnTo>
                      <a:lnTo>
                        <a:pt x="48" y="118"/>
                      </a:lnTo>
                      <a:lnTo>
                        <a:pt x="47" y="118"/>
                      </a:lnTo>
                      <a:lnTo>
                        <a:pt x="46" y="119"/>
                      </a:lnTo>
                      <a:lnTo>
                        <a:pt x="46" y="119"/>
                      </a:lnTo>
                      <a:lnTo>
                        <a:pt x="45" y="118"/>
                      </a:lnTo>
                      <a:lnTo>
                        <a:pt x="45" y="117"/>
                      </a:lnTo>
                      <a:lnTo>
                        <a:pt x="45" y="117"/>
                      </a:lnTo>
                      <a:lnTo>
                        <a:pt x="46" y="117"/>
                      </a:lnTo>
                      <a:lnTo>
                        <a:pt x="46" y="116"/>
                      </a:lnTo>
                      <a:lnTo>
                        <a:pt x="46" y="115"/>
                      </a:lnTo>
                      <a:lnTo>
                        <a:pt x="46" y="115"/>
                      </a:lnTo>
                      <a:lnTo>
                        <a:pt x="46" y="115"/>
                      </a:lnTo>
                      <a:lnTo>
                        <a:pt x="47" y="115"/>
                      </a:lnTo>
                      <a:lnTo>
                        <a:pt x="47" y="114"/>
                      </a:lnTo>
                      <a:lnTo>
                        <a:pt x="47" y="113"/>
                      </a:lnTo>
                      <a:lnTo>
                        <a:pt x="47" y="113"/>
                      </a:lnTo>
                      <a:lnTo>
                        <a:pt x="48" y="113"/>
                      </a:lnTo>
                      <a:lnTo>
                        <a:pt x="48" y="112"/>
                      </a:lnTo>
                      <a:lnTo>
                        <a:pt x="48" y="111"/>
                      </a:lnTo>
                      <a:lnTo>
                        <a:pt x="48" y="112"/>
                      </a:lnTo>
                      <a:lnTo>
                        <a:pt x="48" y="112"/>
                      </a:lnTo>
                      <a:lnTo>
                        <a:pt x="48" y="113"/>
                      </a:lnTo>
                      <a:lnTo>
                        <a:pt x="49" y="113"/>
                      </a:lnTo>
                      <a:lnTo>
                        <a:pt x="50" y="113"/>
                      </a:lnTo>
                      <a:lnTo>
                        <a:pt x="50" y="112"/>
                      </a:lnTo>
                      <a:lnTo>
                        <a:pt x="49" y="111"/>
                      </a:lnTo>
                      <a:lnTo>
                        <a:pt x="49" y="111"/>
                      </a:lnTo>
                      <a:lnTo>
                        <a:pt x="48" y="111"/>
                      </a:lnTo>
                      <a:lnTo>
                        <a:pt x="48" y="110"/>
                      </a:lnTo>
                      <a:lnTo>
                        <a:pt x="48" y="109"/>
                      </a:lnTo>
                      <a:lnTo>
                        <a:pt x="48" y="109"/>
                      </a:lnTo>
                      <a:lnTo>
                        <a:pt x="48" y="109"/>
                      </a:lnTo>
                      <a:lnTo>
                        <a:pt x="48" y="108"/>
                      </a:lnTo>
                      <a:lnTo>
                        <a:pt x="48" y="107"/>
                      </a:lnTo>
                      <a:lnTo>
                        <a:pt x="48" y="106"/>
                      </a:lnTo>
                      <a:lnTo>
                        <a:pt x="49" y="106"/>
                      </a:lnTo>
                      <a:lnTo>
                        <a:pt x="50" y="106"/>
                      </a:lnTo>
                      <a:lnTo>
                        <a:pt x="50" y="106"/>
                      </a:lnTo>
                      <a:lnTo>
                        <a:pt x="50" y="106"/>
                      </a:lnTo>
                      <a:lnTo>
                        <a:pt x="50" y="105"/>
                      </a:lnTo>
                      <a:lnTo>
                        <a:pt x="51" y="104"/>
                      </a:lnTo>
                      <a:lnTo>
                        <a:pt x="52" y="104"/>
                      </a:lnTo>
                      <a:lnTo>
                        <a:pt x="52" y="104"/>
                      </a:lnTo>
                      <a:lnTo>
                        <a:pt x="52" y="104"/>
                      </a:lnTo>
                      <a:lnTo>
                        <a:pt x="53" y="104"/>
                      </a:lnTo>
                      <a:lnTo>
                        <a:pt x="53" y="103"/>
                      </a:lnTo>
                      <a:lnTo>
                        <a:pt x="54" y="104"/>
                      </a:lnTo>
                      <a:lnTo>
                        <a:pt x="54" y="104"/>
                      </a:lnTo>
                      <a:lnTo>
                        <a:pt x="54" y="104"/>
                      </a:lnTo>
                      <a:lnTo>
                        <a:pt x="54" y="104"/>
                      </a:lnTo>
                      <a:lnTo>
                        <a:pt x="54" y="103"/>
                      </a:lnTo>
                      <a:lnTo>
                        <a:pt x="54" y="102"/>
                      </a:lnTo>
                      <a:lnTo>
                        <a:pt x="55" y="102"/>
                      </a:lnTo>
                      <a:lnTo>
                        <a:pt x="55" y="102"/>
                      </a:lnTo>
                      <a:lnTo>
                        <a:pt x="55" y="101"/>
                      </a:lnTo>
                      <a:lnTo>
                        <a:pt x="56" y="101"/>
                      </a:lnTo>
                      <a:lnTo>
                        <a:pt x="56" y="100"/>
                      </a:lnTo>
                      <a:lnTo>
                        <a:pt x="56" y="100"/>
                      </a:lnTo>
                      <a:lnTo>
                        <a:pt x="57" y="100"/>
                      </a:lnTo>
                      <a:lnTo>
                        <a:pt x="57" y="99"/>
                      </a:lnTo>
                      <a:lnTo>
                        <a:pt x="56" y="99"/>
                      </a:lnTo>
                      <a:lnTo>
                        <a:pt x="56" y="99"/>
                      </a:lnTo>
                      <a:lnTo>
                        <a:pt x="56" y="98"/>
                      </a:lnTo>
                      <a:lnTo>
                        <a:pt x="56" y="98"/>
                      </a:lnTo>
                      <a:lnTo>
                        <a:pt x="55" y="98"/>
                      </a:lnTo>
                      <a:lnTo>
                        <a:pt x="55" y="97"/>
                      </a:lnTo>
                      <a:lnTo>
                        <a:pt x="54" y="97"/>
                      </a:lnTo>
                      <a:lnTo>
                        <a:pt x="54" y="97"/>
                      </a:lnTo>
                      <a:lnTo>
                        <a:pt x="54" y="96"/>
                      </a:lnTo>
                      <a:lnTo>
                        <a:pt x="54" y="96"/>
                      </a:lnTo>
                      <a:lnTo>
                        <a:pt x="54" y="96"/>
                      </a:lnTo>
                      <a:lnTo>
                        <a:pt x="55" y="95"/>
                      </a:lnTo>
                      <a:lnTo>
                        <a:pt x="55" y="94"/>
                      </a:lnTo>
                      <a:lnTo>
                        <a:pt x="55" y="94"/>
                      </a:lnTo>
                      <a:lnTo>
                        <a:pt x="55" y="93"/>
                      </a:lnTo>
                      <a:lnTo>
                        <a:pt x="54" y="92"/>
                      </a:lnTo>
                      <a:lnTo>
                        <a:pt x="54" y="92"/>
                      </a:lnTo>
                      <a:lnTo>
                        <a:pt x="53" y="92"/>
                      </a:lnTo>
                      <a:lnTo>
                        <a:pt x="53" y="91"/>
                      </a:lnTo>
                      <a:lnTo>
                        <a:pt x="52" y="91"/>
                      </a:lnTo>
                      <a:lnTo>
                        <a:pt x="53" y="90"/>
                      </a:lnTo>
                      <a:lnTo>
                        <a:pt x="54" y="90"/>
                      </a:lnTo>
                      <a:lnTo>
                        <a:pt x="53" y="90"/>
                      </a:lnTo>
                      <a:lnTo>
                        <a:pt x="52" y="90"/>
                      </a:lnTo>
                      <a:lnTo>
                        <a:pt x="52" y="89"/>
                      </a:lnTo>
                      <a:lnTo>
                        <a:pt x="53" y="89"/>
                      </a:lnTo>
                      <a:lnTo>
                        <a:pt x="53" y="88"/>
                      </a:lnTo>
                      <a:lnTo>
                        <a:pt x="54" y="88"/>
                      </a:lnTo>
                      <a:lnTo>
                        <a:pt x="54" y="87"/>
                      </a:lnTo>
                      <a:lnTo>
                        <a:pt x="54" y="87"/>
                      </a:lnTo>
                      <a:lnTo>
                        <a:pt x="54" y="88"/>
                      </a:lnTo>
                      <a:lnTo>
                        <a:pt x="55" y="88"/>
                      </a:lnTo>
                      <a:lnTo>
                        <a:pt x="56" y="88"/>
                      </a:lnTo>
                      <a:lnTo>
                        <a:pt x="56" y="87"/>
                      </a:lnTo>
                      <a:lnTo>
                        <a:pt x="55" y="87"/>
                      </a:lnTo>
                      <a:lnTo>
                        <a:pt x="55" y="87"/>
                      </a:lnTo>
                      <a:lnTo>
                        <a:pt x="54" y="87"/>
                      </a:lnTo>
                      <a:lnTo>
                        <a:pt x="54" y="86"/>
                      </a:lnTo>
                      <a:lnTo>
                        <a:pt x="54" y="85"/>
                      </a:lnTo>
                      <a:lnTo>
                        <a:pt x="54" y="85"/>
                      </a:lnTo>
                      <a:lnTo>
                        <a:pt x="54" y="85"/>
                      </a:lnTo>
                      <a:lnTo>
                        <a:pt x="54" y="84"/>
                      </a:lnTo>
                      <a:lnTo>
                        <a:pt x="54" y="83"/>
                      </a:lnTo>
                      <a:lnTo>
                        <a:pt x="54" y="83"/>
                      </a:lnTo>
                      <a:lnTo>
                        <a:pt x="54" y="83"/>
                      </a:lnTo>
                      <a:lnTo>
                        <a:pt x="53" y="83"/>
                      </a:lnTo>
                      <a:lnTo>
                        <a:pt x="52" y="83"/>
                      </a:lnTo>
                      <a:lnTo>
                        <a:pt x="52" y="83"/>
                      </a:lnTo>
                      <a:lnTo>
                        <a:pt x="52" y="82"/>
                      </a:lnTo>
                      <a:lnTo>
                        <a:pt x="52" y="81"/>
                      </a:lnTo>
                      <a:lnTo>
                        <a:pt x="52" y="81"/>
                      </a:lnTo>
                      <a:lnTo>
                        <a:pt x="52" y="80"/>
                      </a:lnTo>
                      <a:lnTo>
                        <a:pt x="52" y="80"/>
                      </a:lnTo>
                      <a:lnTo>
                        <a:pt x="52" y="79"/>
                      </a:lnTo>
                      <a:lnTo>
                        <a:pt x="52" y="79"/>
                      </a:lnTo>
                      <a:lnTo>
                        <a:pt x="52" y="79"/>
                      </a:lnTo>
                      <a:lnTo>
                        <a:pt x="51" y="79"/>
                      </a:lnTo>
                      <a:lnTo>
                        <a:pt x="50" y="79"/>
                      </a:lnTo>
                      <a:lnTo>
                        <a:pt x="50" y="78"/>
                      </a:lnTo>
                      <a:lnTo>
                        <a:pt x="50" y="77"/>
                      </a:lnTo>
                      <a:lnTo>
                        <a:pt x="50" y="77"/>
                      </a:lnTo>
                      <a:lnTo>
                        <a:pt x="50" y="76"/>
                      </a:lnTo>
                      <a:lnTo>
                        <a:pt x="50" y="75"/>
                      </a:lnTo>
                      <a:lnTo>
                        <a:pt x="50" y="75"/>
                      </a:lnTo>
                      <a:lnTo>
                        <a:pt x="51" y="75"/>
                      </a:lnTo>
                      <a:lnTo>
                        <a:pt x="51" y="74"/>
                      </a:lnTo>
                      <a:lnTo>
                        <a:pt x="51" y="73"/>
                      </a:lnTo>
                      <a:lnTo>
                        <a:pt x="50" y="73"/>
                      </a:lnTo>
                      <a:lnTo>
                        <a:pt x="50" y="73"/>
                      </a:lnTo>
                      <a:lnTo>
                        <a:pt x="50" y="73"/>
                      </a:lnTo>
                      <a:lnTo>
                        <a:pt x="49" y="73"/>
                      </a:lnTo>
                      <a:lnTo>
                        <a:pt x="49" y="73"/>
                      </a:lnTo>
                      <a:lnTo>
                        <a:pt x="49" y="73"/>
                      </a:lnTo>
                      <a:lnTo>
                        <a:pt x="48" y="73"/>
                      </a:lnTo>
                      <a:lnTo>
                        <a:pt x="48" y="73"/>
                      </a:lnTo>
                      <a:lnTo>
                        <a:pt x="47" y="73"/>
                      </a:lnTo>
                      <a:lnTo>
                        <a:pt x="46" y="73"/>
                      </a:lnTo>
                      <a:lnTo>
                        <a:pt x="46" y="73"/>
                      </a:lnTo>
                      <a:lnTo>
                        <a:pt x="46" y="73"/>
                      </a:lnTo>
                      <a:lnTo>
                        <a:pt x="45" y="73"/>
                      </a:lnTo>
                      <a:lnTo>
                        <a:pt x="45" y="72"/>
                      </a:lnTo>
                      <a:lnTo>
                        <a:pt x="45" y="71"/>
                      </a:lnTo>
                      <a:lnTo>
                        <a:pt x="44" y="71"/>
                      </a:lnTo>
                      <a:lnTo>
                        <a:pt x="44" y="71"/>
                      </a:lnTo>
                      <a:lnTo>
                        <a:pt x="44" y="70"/>
                      </a:lnTo>
                      <a:lnTo>
                        <a:pt x="43" y="70"/>
                      </a:lnTo>
                      <a:lnTo>
                        <a:pt x="43" y="69"/>
                      </a:lnTo>
                      <a:lnTo>
                        <a:pt x="43" y="68"/>
                      </a:lnTo>
                      <a:lnTo>
                        <a:pt x="43" y="68"/>
                      </a:lnTo>
                      <a:lnTo>
                        <a:pt x="43" y="67"/>
                      </a:lnTo>
                      <a:lnTo>
                        <a:pt x="42" y="67"/>
                      </a:lnTo>
                      <a:lnTo>
                        <a:pt x="42" y="67"/>
                      </a:lnTo>
                      <a:lnTo>
                        <a:pt x="41" y="67"/>
                      </a:lnTo>
                      <a:lnTo>
                        <a:pt x="40" y="67"/>
                      </a:lnTo>
                      <a:lnTo>
                        <a:pt x="39" y="67"/>
                      </a:lnTo>
                      <a:lnTo>
                        <a:pt x="39" y="67"/>
                      </a:lnTo>
                      <a:lnTo>
                        <a:pt x="39" y="66"/>
                      </a:lnTo>
                      <a:lnTo>
                        <a:pt x="38" y="66"/>
                      </a:lnTo>
                      <a:lnTo>
                        <a:pt x="38" y="66"/>
                      </a:lnTo>
                      <a:lnTo>
                        <a:pt x="37" y="66"/>
                      </a:lnTo>
                      <a:lnTo>
                        <a:pt x="37" y="65"/>
                      </a:lnTo>
                      <a:lnTo>
                        <a:pt x="37" y="65"/>
                      </a:lnTo>
                      <a:lnTo>
                        <a:pt x="37" y="66"/>
                      </a:lnTo>
                      <a:lnTo>
                        <a:pt x="36" y="66"/>
                      </a:lnTo>
                      <a:lnTo>
                        <a:pt x="35" y="66"/>
                      </a:lnTo>
                      <a:lnTo>
                        <a:pt x="35" y="65"/>
                      </a:lnTo>
                      <a:lnTo>
                        <a:pt x="35" y="64"/>
                      </a:lnTo>
                      <a:lnTo>
                        <a:pt x="35" y="64"/>
                      </a:lnTo>
                      <a:lnTo>
                        <a:pt x="34" y="64"/>
                      </a:lnTo>
                      <a:lnTo>
                        <a:pt x="33" y="64"/>
                      </a:lnTo>
                      <a:lnTo>
                        <a:pt x="33" y="63"/>
                      </a:lnTo>
                      <a:lnTo>
                        <a:pt x="33" y="63"/>
                      </a:lnTo>
                      <a:lnTo>
                        <a:pt x="32" y="63"/>
                      </a:lnTo>
                      <a:lnTo>
                        <a:pt x="31" y="62"/>
                      </a:lnTo>
                      <a:lnTo>
                        <a:pt x="31" y="62"/>
                      </a:lnTo>
                      <a:lnTo>
                        <a:pt x="31" y="62"/>
                      </a:lnTo>
                      <a:lnTo>
                        <a:pt x="30" y="61"/>
                      </a:lnTo>
                      <a:lnTo>
                        <a:pt x="29" y="61"/>
                      </a:lnTo>
                      <a:lnTo>
                        <a:pt x="29" y="61"/>
                      </a:lnTo>
                      <a:lnTo>
                        <a:pt x="29" y="60"/>
                      </a:lnTo>
                      <a:lnTo>
                        <a:pt x="28" y="60"/>
                      </a:lnTo>
                      <a:lnTo>
                        <a:pt x="27" y="60"/>
                      </a:lnTo>
                      <a:lnTo>
                        <a:pt x="27" y="60"/>
                      </a:lnTo>
                      <a:lnTo>
                        <a:pt x="26" y="60"/>
                      </a:lnTo>
                      <a:lnTo>
                        <a:pt x="26" y="61"/>
                      </a:lnTo>
                      <a:lnTo>
                        <a:pt x="25" y="60"/>
                      </a:lnTo>
                      <a:lnTo>
                        <a:pt x="25" y="60"/>
                      </a:lnTo>
                      <a:lnTo>
                        <a:pt x="25" y="59"/>
                      </a:lnTo>
                      <a:lnTo>
                        <a:pt x="24" y="59"/>
                      </a:lnTo>
                      <a:lnTo>
                        <a:pt x="23" y="58"/>
                      </a:lnTo>
                      <a:lnTo>
                        <a:pt x="23" y="58"/>
                      </a:lnTo>
                      <a:lnTo>
                        <a:pt x="23" y="57"/>
                      </a:lnTo>
                      <a:lnTo>
                        <a:pt x="23" y="57"/>
                      </a:lnTo>
                      <a:lnTo>
                        <a:pt x="23" y="56"/>
                      </a:lnTo>
                      <a:lnTo>
                        <a:pt x="22" y="56"/>
                      </a:lnTo>
                      <a:lnTo>
                        <a:pt x="22" y="56"/>
                      </a:lnTo>
                      <a:lnTo>
                        <a:pt x="21" y="56"/>
                      </a:lnTo>
                      <a:lnTo>
                        <a:pt x="21" y="55"/>
                      </a:lnTo>
                      <a:lnTo>
                        <a:pt x="21" y="54"/>
                      </a:lnTo>
                      <a:lnTo>
                        <a:pt x="21" y="54"/>
                      </a:lnTo>
                      <a:lnTo>
                        <a:pt x="20" y="54"/>
                      </a:lnTo>
                      <a:lnTo>
                        <a:pt x="20" y="53"/>
                      </a:lnTo>
                      <a:lnTo>
                        <a:pt x="20" y="53"/>
                      </a:lnTo>
                      <a:lnTo>
                        <a:pt x="19" y="52"/>
                      </a:lnTo>
                      <a:lnTo>
                        <a:pt x="19" y="52"/>
                      </a:lnTo>
                      <a:lnTo>
                        <a:pt x="19" y="51"/>
                      </a:lnTo>
                      <a:lnTo>
                        <a:pt x="19" y="50"/>
                      </a:lnTo>
                      <a:lnTo>
                        <a:pt x="19" y="50"/>
                      </a:lnTo>
                      <a:lnTo>
                        <a:pt x="19" y="49"/>
                      </a:lnTo>
                      <a:lnTo>
                        <a:pt x="18" y="49"/>
                      </a:lnTo>
                      <a:lnTo>
                        <a:pt x="18" y="48"/>
                      </a:lnTo>
                      <a:lnTo>
                        <a:pt x="18" y="47"/>
                      </a:lnTo>
                      <a:lnTo>
                        <a:pt x="18" y="47"/>
                      </a:lnTo>
                      <a:lnTo>
                        <a:pt x="18" y="47"/>
                      </a:lnTo>
                      <a:lnTo>
                        <a:pt x="18" y="46"/>
                      </a:lnTo>
                      <a:lnTo>
                        <a:pt x="18" y="45"/>
                      </a:lnTo>
                      <a:lnTo>
                        <a:pt x="18" y="45"/>
                      </a:lnTo>
                      <a:lnTo>
                        <a:pt x="18" y="44"/>
                      </a:lnTo>
                      <a:lnTo>
                        <a:pt x="18" y="43"/>
                      </a:lnTo>
                      <a:lnTo>
                        <a:pt x="18" y="43"/>
                      </a:lnTo>
                      <a:lnTo>
                        <a:pt x="18" y="42"/>
                      </a:lnTo>
                      <a:lnTo>
                        <a:pt x="18" y="41"/>
                      </a:lnTo>
                      <a:lnTo>
                        <a:pt x="18" y="41"/>
                      </a:lnTo>
                      <a:lnTo>
                        <a:pt x="18" y="40"/>
                      </a:lnTo>
                      <a:lnTo>
                        <a:pt x="17" y="40"/>
                      </a:lnTo>
                      <a:lnTo>
                        <a:pt x="16" y="40"/>
                      </a:lnTo>
                      <a:lnTo>
                        <a:pt x="16" y="39"/>
                      </a:lnTo>
                      <a:lnTo>
                        <a:pt x="16" y="39"/>
                      </a:lnTo>
                      <a:lnTo>
                        <a:pt x="15" y="40"/>
                      </a:lnTo>
                      <a:lnTo>
                        <a:pt x="15" y="41"/>
                      </a:lnTo>
                      <a:lnTo>
                        <a:pt x="15" y="40"/>
                      </a:lnTo>
                      <a:lnTo>
                        <a:pt x="14" y="41"/>
                      </a:lnTo>
                      <a:lnTo>
                        <a:pt x="14" y="41"/>
                      </a:lnTo>
                      <a:lnTo>
                        <a:pt x="14" y="40"/>
                      </a:lnTo>
                      <a:lnTo>
                        <a:pt x="14" y="40"/>
                      </a:lnTo>
                      <a:lnTo>
                        <a:pt x="14" y="39"/>
                      </a:lnTo>
                      <a:lnTo>
                        <a:pt x="14" y="39"/>
                      </a:lnTo>
                      <a:lnTo>
                        <a:pt x="15" y="39"/>
                      </a:lnTo>
                      <a:lnTo>
                        <a:pt x="16" y="39"/>
                      </a:lnTo>
                      <a:lnTo>
                        <a:pt x="16" y="38"/>
                      </a:lnTo>
                      <a:lnTo>
                        <a:pt x="16" y="37"/>
                      </a:lnTo>
                      <a:lnTo>
                        <a:pt x="16" y="37"/>
                      </a:lnTo>
                      <a:lnTo>
                        <a:pt x="15" y="37"/>
                      </a:lnTo>
                      <a:lnTo>
                        <a:pt x="15" y="36"/>
                      </a:lnTo>
                      <a:lnTo>
                        <a:pt x="14" y="36"/>
                      </a:lnTo>
                      <a:lnTo>
                        <a:pt x="15" y="36"/>
                      </a:lnTo>
                      <a:lnTo>
                        <a:pt x="15" y="35"/>
                      </a:lnTo>
                      <a:lnTo>
                        <a:pt x="16" y="35"/>
                      </a:lnTo>
                      <a:lnTo>
                        <a:pt x="16" y="35"/>
                      </a:lnTo>
                      <a:lnTo>
                        <a:pt x="16" y="34"/>
                      </a:lnTo>
                      <a:lnTo>
                        <a:pt x="16" y="33"/>
                      </a:lnTo>
                      <a:lnTo>
                        <a:pt x="16" y="33"/>
                      </a:lnTo>
                      <a:lnTo>
                        <a:pt x="17" y="33"/>
                      </a:lnTo>
                      <a:lnTo>
                        <a:pt x="17" y="32"/>
                      </a:lnTo>
                      <a:lnTo>
                        <a:pt x="17" y="31"/>
                      </a:lnTo>
                      <a:lnTo>
                        <a:pt x="18" y="31"/>
                      </a:lnTo>
                      <a:lnTo>
                        <a:pt x="18" y="31"/>
                      </a:lnTo>
                      <a:lnTo>
                        <a:pt x="17" y="31"/>
                      </a:lnTo>
                      <a:lnTo>
                        <a:pt x="17" y="30"/>
                      </a:lnTo>
                      <a:lnTo>
                        <a:pt x="16" y="29"/>
                      </a:lnTo>
                      <a:lnTo>
                        <a:pt x="16" y="28"/>
                      </a:lnTo>
                      <a:lnTo>
                        <a:pt x="16" y="28"/>
                      </a:lnTo>
                      <a:lnTo>
                        <a:pt x="15" y="28"/>
                      </a:lnTo>
                      <a:lnTo>
                        <a:pt x="14" y="28"/>
                      </a:lnTo>
                      <a:lnTo>
                        <a:pt x="14" y="28"/>
                      </a:lnTo>
                      <a:lnTo>
                        <a:pt x="14" y="28"/>
                      </a:lnTo>
                      <a:lnTo>
                        <a:pt x="13" y="28"/>
                      </a:lnTo>
                      <a:lnTo>
                        <a:pt x="13" y="28"/>
                      </a:lnTo>
                      <a:lnTo>
                        <a:pt x="13" y="27"/>
                      </a:lnTo>
                      <a:lnTo>
                        <a:pt x="12" y="27"/>
                      </a:lnTo>
                      <a:lnTo>
                        <a:pt x="12" y="27"/>
                      </a:lnTo>
                      <a:lnTo>
                        <a:pt x="12" y="28"/>
                      </a:lnTo>
                      <a:lnTo>
                        <a:pt x="11" y="28"/>
                      </a:lnTo>
                      <a:lnTo>
                        <a:pt x="11" y="27"/>
                      </a:lnTo>
                      <a:lnTo>
                        <a:pt x="11" y="26"/>
                      </a:lnTo>
                      <a:lnTo>
                        <a:pt x="10" y="26"/>
                      </a:lnTo>
                      <a:lnTo>
                        <a:pt x="10" y="27"/>
                      </a:lnTo>
                      <a:lnTo>
                        <a:pt x="10" y="28"/>
                      </a:lnTo>
                      <a:lnTo>
                        <a:pt x="10" y="27"/>
                      </a:lnTo>
                      <a:lnTo>
                        <a:pt x="10" y="27"/>
                      </a:lnTo>
                      <a:lnTo>
                        <a:pt x="10" y="26"/>
                      </a:lnTo>
                      <a:lnTo>
                        <a:pt x="9" y="26"/>
                      </a:lnTo>
                      <a:lnTo>
                        <a:pt x="8" y="25"/>
                      </a:lnTo>
                      <a:lnTo>
                        <a:pt x="8" y="24"/>
                      </a:lnTo>
                      <a:lnTo>
                        <a:pt x="8" y="24"/>
                      </a:lnTo>
                      <a:lnTo>
                        <a:pt x="9" y="24"/>
                      </a:lnTo>
                      <a:lnTo>
                        <a:pt x="10" y="23"/>
                      </a:lnTo>
                      <a:lnTo>
                        <a:pt x="10" y="22"/>
                      </a:lnTo>
                      <a:lnTo>
                        <a:pt x="9" y="22"/>
                      </a:lnTo>
                      <a:lnTo>
                        <a:pt x="8" y="22"/>
                      </a:lnTo>
                      <a:lnTo>
                        <a:pt x="8" y="22"/>
                      </a:lnTo>
                      <a:lnTo>
                        <a:pt x="8" y="22"/>
                      </a:lnTo>
                      <a:lnTo>
                        <a:pt x="8" y="21"/>
                      </a:lnTo>
                      <a:lnTo>
                        <a:pt x="8" y="20"/>
                      </a:lnTo>
                      <a:lnTo>
                        <a:pt x="8" y="20"/>
                      </a:lnTo>
                      <a:lnTo>
                        <a:pt x="7" y="20"/>
                      </a:lnTo>
                      <a:lnTo>
                        <a:pt x="6" y="20"/>
                      </a:lnTo>
                      <a:lnTo>
                        <a:pt x="6" y="20"/>
                      </a:lnTo>
                      <a:lnTo>
                        <a:pt x="5" y="20"/>
                      </a:lnTo>
                      <a:lnTo>
                        <a:pt x="4" y="20"/>
                      </a:lnTo>
                      <a:lnTo>
                        <a:pt x="4" y="19"/>
                      </a:lnTo>
                      <a:lnTo>
                        <a:pt x="5" y="18"/>
                      </a:lnTo>
                      <a:lnTo>
                        <a:pt x="5" y="18"/>
                      </a:lnTo>
                      <a:lnTo>
                        <a:pt x="5" y="17"/>
                      </a:lnTo>
                      <a:lnTo>
                        <a:pt x="5" y="16"/>
                      </a:lnTo>
                      <a:lnTo>
                        <a:pt x="6" y="16"/>
                      </a:lnTo>
                      <a:lnTo>
                        <a:pt x="6" y="16"/>
                      </a:lnTo>
                      <a:lnTo>
                        <a:pt x="6" y="15"/>
                      </a:lnTo>
                      <a:lnTo>
                        <a:pt x="5" y="15"/>
                      </a:lnTo>
                      <a:lnTo>
                        <a:pt x="6" y="14"/>
                      </a:lnTo>
                      <a:lnTo>
                        <a:pt x="5" y="14"/>
                      </a:lnTo>
                      <a:lnTo>
                        <a:pt x="4" y="14"/>
                      </a:lnTo>
                      <a:lnTo>
                        <a:pt x="4" y="14"/>
                      </a:lnTo>
                      <a:lnTo>
                        <a:pt x="4" y="14"/>
                      </a:lnTo>
                      <a:lnTo>
                        <a:pt x="4" y="13"/>
                      </a:lnTo>
                      <a:lnTo>
                        <a:pt x="4" y="13"/>
                      </a:lnTo>
                      <a:lnTo>
                        <a:pt x="4" y="12"/>
                      </a:lnTo>
                      <a:lnTo>
                        <a:pt x="5" y="12"/>
                      </a:lnTo>
                      <a:lnTo>
                        <a:pt x="5" y="11"/>
                      </a:lnTo>
                      <a:lnTo>
                        <a:pt x="6" y="11"/>
                      </a:lnTo>
                      <a:lnTo>
                        <a:pt x="5" y="11"/>
                      </a:lnTo>
                      <a:lnTo>
                        <a:pt x="4" y="11"/>
                      </a:lnTo>
                      <a:lnTo>
                        <a:pt x="4" y="10"/>
                      </a:lnTo>
                      <a:lnTo>
                        <a:pt x="4" y="10"/>
                      </a:lnTo>
                      <a:lnTo>
                        <a:pt x="4" y="9"/>
                      </a:lnTo>
                      <a:lnTo>
                        <a:pt x="4" y="8"/>
                      </a:lnTo>
                      <a:lnTo>
                        <a:pt x="3" y="7"/>
                      </a:lnTo>
                      <a:lnTo>
                        <a:pt x="3" y="7"/>
                      </a:lnTo>
                      <a:lnTo>
                        <a:pt x="3" y="6"/>
                      </a:lnTo>
                      <a:lnTo>
                        <a:pt x="3" y="5"/>
                      </a:lnTo>
                      <a:lnTo>
                        <a:pt x="3" y="5"/>
                      </a:lnTo>
                      <a:lnTo>
                        <a:pt x="2" y="5"/>
                      </a:lnTo>
                      <a:lnTo>
                        <a:pt x="2" y="4"/>
                      </a:lnTo>
                      <a:lnTo>
                        <a:pt x="3" y="4"/>
                      </a:lnTo>
                      <a:lnTo>
                        <a:pt x="2" y="3"/>
                      </a:lnTo>
                      <a:lnTo>
                        <a:pt x="2" y="4"/>
                      </a:lnTo>
                      <a:lnTo>
                        <a:pt x="1" y="4"/>
                      </a:lnTo>
                      <a:lnTo>
                        <a:pt x="1" y="4"/>
                      </a:lnTo>
                      <a:lnTo>
                        <a:pt x="1" y="3"/>
                      </a:lnTo>
                      <a:lnTo>
                        <a:pt x="1" y="3"/>
                      </a:lnTo>
                      <a:lnTo>
                        <a:pt x="1" y="2"/>
                      </a:lnTo>
                      <a:lnTo>
                        <a:pt x="1" y="1"/>
                      </a:lnTo>
                      <a:lnTo>
                        <a:pt x="1" y="1"/>
                      </a:lnTo>
                      <a:lnTo>
                        <a:pt x="0" y="1"/>
                      </a:lnTo>
                      <a:lnTo>
                        <a:pt x="0" y="1"/>
                      </a:lnTo>
                      <a:lnTo>
                        <a:pt x="0"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2" name="Freeform 77">
                  <a:extLst>
                    <a:ext uri="{FF2B5EF4-FFF2-40B4-BE49-F238E27FC236}">
                      <a16:creationId xmlns:a16="http://schemas.microsoft.com/office/drawing/2014/main" xmlns="" id="{085EF291-8777-95FD-082E-1602B3A90E82}"/>
                    </a:ext>
                  </a:extLst>
                </p:cNvPr>
                <p:cNvSpPr>
                  <a:spLocks/>
                </p:cNvSpPr>
                <p:nvPr/>
              </p:nvSpPr>
              <p:spPr bwMode="auto">
                <a:xfrm>
                  <a:off x="3207" y="2684"/>
                  <a:ext cx="146" cy="299"/>
                </a:xfrm>
                <a:custGeom>
                  <a:avLst/>
                  <a:gdLst>
                    <a:gd name="T0" fmla="*/ 76 w 146"/>
                    <a:gd name="T1" fmla="*/ 293 h 299"/>
                    <a:gd name="T2" fmla="*/ 74 w 146"/>
                    <a:gd name="T3" fmla="*/ 287 h 299"/>
                    <a:gd name="T4" fmla="*/ 72 w 146"/>
                    <a:gd name="T5" fmla="*/ 281 h 299"/>
                    <a:gd name="T6" fmla="*/ 64 w 146"/>
                    <a:gd name="T7" fmla="*/ 275 h 299"/>
                    <a:gd name="T8" fmla="*/ 57 w 146"/>
                    <a:gd name="T9" fmla="*/ 271 h 299"/>
                    <a:gd name="T10" fmla="*/ 49 w 146"/>
                    <a:gd name="T11" fmla="*/ 266 h 299"/>
                    <a:gd name="T12" fmla="*/ 41 w 146"/>
                    <a:gd name="T13" fmla="*/ 268 h 299"/>
                    <a:gd name="T14" fmla="*/ 32 w 146"/>
                    <a:gd name="T15" fmla="*/ 267 h 299"/>
                    <a:gd name="T16" fmla="*/ 26 w 146"/>
                    <a:gd name="T17" fmla="*/ 262 h 299"/>
                    <a:gd name="T18" fmla="*/ 24 w 146"/>
                    <a:gd name="T19" fmla="*/ 256 h 299"/>
                    <a:gd name="T20" fmla="*/ 19 w 146"/>
                    <a:gd name="T21" fmla="*/ 252 h 299"/>
                    <a:gd name="T22" fmla="*/ 14 w 146"/>
                    <a:gd name="T23" fmla="*/ 244 h 299"/>
                    <a:gd name="T24" fmla="*/ 10 w 146"/>
                    <a:gd name="T25" fmla="*/ 235 h 299"/>
                    <a:gd name="T26" fmla="*/ 4 w 146"/>
                    <a:gd name="T27" fmla="*/ 233 h 299"/>
                    <a:gd name="T28" fmla="*/ 2 w 146"/>
                    <a:gd name="T29" fmla="*/ 214 h 299"/>
                    <a:gd name="T30" fmla="*/ 9 w 146"/>
                    <a:gd name="T31" fmla="*/ 191 h 299"/>
                    <a:gd name="T32" fmla="*/ 12 w 146"/>
                    <a:gd name="T33" fmla="*/ 181 h 299"/>
                    <a:gd name="T34" fmla="*/ 15 w 146"/>
                    <a:gd name="T35" fmla="*/ 172 h 299"/>
                    <a:gd name="T36" fmla="*/ 24 w 146"/>
                    <a:gd name="T37" fmla="*/ 170 h 299"/>
                    <a:gd name="T38" fmla="*/ 32 w 146"/>
                    <a:gd name="T39" fmla="*/ 167 h 299"/>
                    <a:gd name="T40" fmla="*/ 40 w 146"/>
                    <a:gd name="T41" fmla="*/ 165 h 299"/>
                    <a:gd name="T42" fmla="*/ 42 w 146"/>
                    <a:gd name="T43" fmla="*/ 159 h 299"/>
                    <a:gd name="T44" fmla="*/ 46 w 146"/>
                    <a:gd name="T45" fmla="*/ 151 h 299"/>
                    <a:gd name="T46" fmla="*/ 51 w 146"/>
                    <a:gd name="T47" fmla="*/ 147 h 299"/>
                    <a:gd name="T48" fmla="*/ 55 w 146"/>
                    <a:gd name="T49" fmla="*/ 140 h 299"/>
                    <a:gd name="T50" fmla="*/ 53 w 146"/>
                    <a:gd name="T51" fmla="*/ 132 h 299"/>
                    <a:gd name="T52" fmla="*/ 60 w 146"/>
                    <a:gd name="T53" fmla="*/ 125 h 299"/>
                    <a:gd name="T54" fmla="*/ 72 w 146"/>
                    <a:gd name="T55" fmla="*/ 119 h 299"/>
                    <a:gd name="T56" fmla="*/ 78 w 146"/>
                    <a:gd name="T57" fmla="*/ 123 h 299"/>
                    <a:gd name="T58" fmla="*/ 95 w 146"/>
                    <a:gd name="T59" fmla="*/ 124 h 299"/>
                    <a:gd name="T60" fmla="*/ 97 w 146"/>
                    <a:gd name="T61" fmla="*/ 115 h 299"/>
                    <a:gd name="T62" fmla="*/ 102 w 146"/>
                    <a:gd name="T63" fmla="*/ 108 h 299"/>
                    <a:gd name="T64" fmla="*/ 102 w 146"/>
                    <a:gd name="T65" fmla="*/ 101 h 299"/>
                    <a:gd name="T66" fmla="*/ 106 w 146"/>
                    <a:gd name="T67" fmla="*/ 96 h 299"/>
                    <a:gd name="T68" fmla="*/ 114 w 146"/>
                    <a:gd name="T69" fmla="*/ 93 h 299"/>
                    <a:gd name="T70" fmla="*/ 116 w 146"/>
                    <a:gd name="T71" fmla="*/ 88 h 299"/>
                    <a:gd name="T72" fmla="*/ 125 w 146"/>
                    <a:gd name="T73" fmla="*/ 90 h 299"/>
                    <a:gd name="T74" fmla="*/ 133 w 146"/>
                    <a:gd name="T75" fmla="*/ 89 h 299"/>
                    <a:gd name="T76" fmla="*/ 140 w 146"/>
                    <a:gd name="T77" fmla="*/ 87 h 299"/>
                    <a:gd name="T78" fmla="*/ 144 w 146"/>
                    <a:gd name="T79" fmla="*/ 79 h 299"/>
                    <a:gd name="T80" fmla="*/ 144 w 146"/>
                    <a:gd name="T81" fmla="*/ 71 h 299"/>
                    <a:gd name="T82" fmla="*/ 143 w 146"/>
                    <a:gd name="T83" fmla="*/ 64 h 299"/>
                    <a:gd name="T84" fmla="*/ 142 w 146"/>
                    <a:gd name="T85" fmla="*/ 58 h 299"/>
                    <a:gd name="T86" fmla="*/ 137 w 146"/>
                    <a:gd name="T87" fmla="*/ 54 h 299"/>
                    <a:gd name="T88" fmla="*/ 132 w 146"/>
                    <a:gd name="T89" fmla="*/ 49 h 299"/>
                    <a:gd name="T90" fmla="*/ 125 w 146"/>
                    <a:gd name="T91" fmla="*/ 45 h 299"/>
                    <a:gd name="T92" fmla="*/ 124 w 146"/>
                    <a:gd name="T93" fmla="*/ 45 h 299"/>
                    <a:gd name="T94" fmla="*/ 120 w 146"/>
                    <a:gd name="T95" fmla="*/ 40 h 299"/>
                    <a:gd name="T96" fmla="*/ 119 w 146"/>
                    <a:gd name="T97" fmla="*/ 35 h 299"/>
                    <a:gd name="T98" fmla="*/ 114 w 146"/>
                    <a:gd name="T99" fmla="*/ 35 h 299"/>
                    <a:gd name="T100" fmla="*/ 111 w 146"/>
                    <a:gd name="T101" fmla="*/ 32 h 299"/>
                    <a:gd name="T102" fmla="*/ 112 w 146"/>
                    <a:gd name="T103" fmla="*/ 24 h 299"/>
                    <a:gd name="T104" fmla="*/ 103 w 146"/>
                    <a:gd name="T105" fmla="*/ 23 h 299"/>
                    <a:gd name="T106" fmla="*/ 103 w 146"/>
                    <a:gd name="T107" fmla="*/ 18 h 299"/>
                    <a:gd name="T108" fmla="*/ 104 w 146"/>
                    <a:gd name="T109" fmla="*/ 14 h 299"/>
                    <a:gd name="T110" fmla="*/ 97 w 146"/>
                    <a:gd name="T111" fmla="*/ 14 h 299"/>
                    <a:gd name="T112" fmla="*/ 94 w 146"/>
                    <a:gd name="T113" fmla="*/ 11 h 299"/>
                    <a:gd name="T114" fmla="*/ 85 w 146"/>
                    <a:gd name="T115" fmla="*/ 12 h 299"/>
                    <a:gd name="T116" fmla="*/ 82 w 146"/>
                    <a:gd name="T117" fmla="*/ 6 h 299"/>
                    <a:gd name="T118" fmla="*/ 72 w 146"/>
                    <a:gd name="T119" fmla="*/ 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 h="299">
                      <a:moveTo>
                        <a:pt x="79" y="299"/>
                      </a:moveTo>
                      <a:lnTo>
                        <a:pt x="80" y="298"/>
                      </a:lnTo>
                      <a:lnTo>
                        <a:pt x="80" y="298"/>
                      </a:lnTo>
                      <a:lnTo>
                        <a:pt x="80" y="298"/>
                      </a:lnTo>
                      <a:lnTo>
                        <a:pt x="80" y="297"/>
                      </a:lnTo>
                      <a:lnTo>
                        <a:pt x="80" y="297"/>
                      </a:lnTo>
                      <a:lnTo>
                        <a:pt x="80" y="296"/>
                      </a:lnTo>
                      <a:lnTo>
                        <a:pt x="79" y="296"/>
                      </a:lnTo>
                      <a:lnTo>
                        <a:pt x="79" y="296"/>
                      </a:lnTo>
                      <a:lnTo>
                        <a:pt x="78" y="295"/>
                      </a:lnTo>
                      <a:lnTo>
                        <a:pt x="78" y="295"/>
                      </a:lnTo>
                      <a:lnTo>
                        <a:pt x="77" y="294"/>
                      </a:lnTo>
                      <a:lnTo>
                        <a:pt x="77" y="294"/>
                      </a:lnTo>
                      <a:lnTo>
                        <a:pt x="76" y="294"/>
                      </a:lnTo>
                      <a:lnTo>
                        <a:pt x="76" y="294"/>
                      </a:lnTo>
                      <a:lnTo>
                        <a:pt x="76" y="293"/>
                      </a:lnTo>
                      <a:lnTo>
                        <a:pt x="76" y="293"/>
                      </a:lnTo>
                      <a:lnTo>
                        <a:pt x="76" y="292"/>
                      </a:lnTo>
                      <a:lnTo>
                        <a:pt x="77" y="292"/>
                      </a:lnTo>
                      <a:lnTo>
                        <a:pt x="77" y="292"/>
                      </a:lnTo>
                      <a:lnTo>
                        <a:pt x="77" y="291"/>
                      </a:lnTo>
                      <a:lnTo>
                        <a:pt x="77" y="290"/>
                      </a:lnTo>
                      <a:lnTo>
                        <a:pt x="76" y="290"/>
                      </a:lnTo>
                      <a:lnTo>
                        <a:pt x="76" y="290"/>
                      </a:lnTo>
                      <a:lnTo>
                        <a:pt x="76" y="290"/>
                      </a:lnTo>
                      <a:lnTo>
                        <a:pt x="76" y="290"/>
                      </a:lnTo>
                      <a:lnTo>
                        <a:pt x="76" y="290"/>
                      </a:lnTo>
                      <a:lnTo>
                        <a:pt x="75" y="290"/>
                      </a:lnTo>
                      <a:lnTo>
                        <a:pt x="74" y="290"/>
                      </a:lnTo>
                      <a:lnTo>
                        <a:pt x="74" y="289"/>
                      </a:lnTo>
                      <a:lnTo>
                        <a:pt x="74" y="289"/>
                      </a:lnTo>
                      <a:lnTo>
                        <a:pt x="74" y="288"/>
                      </a:lnTo>
                      <a:lnTo>
                        <a:pt x="74" y="287"/>
                      </a:lnTo>
                      <a:lnTo>
                        <a:pt x="74" y="287"/>
                      </a:lnTo>
                      <a:lnTo>
                        <a:pt x="74" y="286"/>
                      </a:lnTo>
                      <a:lnTo>
                        <a:pt x="74" y="286"/>
                      </a:lnTo>
                      <a:lnTo>
                        <a:pt x="74" y="285"/>
                      </a:lnTo>
                      <a:lnTo>
                        <a:pt x="73" y="285"/>
                      </a:lnTo>
                      <a:lnTo>
                        <a:pt x="73" y="285"/>
                      </a:lnTo>
                      <a:lnTo>
                        <a:pt x="73" y="284"/>
                      </a:lnTo>
                      <a:lnTo>
                        <a:pt x="74" y="284"/>
                      </a:lnTo>
                      <a:lnTo>
                        <a:pt x="74" y="283"/>
                      </a:lnTo>
                      <a:lnTo>
                        <a:pt x="74" y="283"/>
                      </a:lnTo>
                      <a:lnTo>
                        <a:pt x="73" y="283"/>
                      </a:lnTo>
                      <a:lnTo>
                        <a:pt x="73" y="283"/>
                      </a:lnTo>
                      <a:lnTo>
                        <a:pt x="72" y="283"/>
                      </a:lnTo>
                      <a:lnTo>
                        <a:pt x="72" y="283"/>
                      </a:lnTo>
                      <a:lnTo>
                        <a:pt x="72" y="283"/>
                      </a:lnTo>
                      <a:lnTo>
                        <a:pt x="72" y="282"/>
                      </a:lnTo>
                      <a:lnTo>
                        <a:pt x="72" y="282"/>
                      </a:lnTo>
                      <a:lnTo>
                        <a:pt x="72" y="281"/>
                      </a:lnTo>
                      <a:lnTo>
                        <a:pt x="71" y="281"/>
                      </a:lnTo>
                      <a:lnTo>
                        <a:pt x="70" y="281"/>
                      </a:lnTo>
                      <a:lnTo>
                        <a:pt x="70" y="281"/>
                      </a:lnTo>
                      <a:lnTo>
                        <a:pt x="70" y="281"/>
                      </a:lnTo>
                      <a:lnTo>
                        <a:pt x="70" y="280"/>
                      </a:lnTo>
                      <a:lnTo>
                        <a:pt x="70" y="279"/>
                      </a:lnTo>
                      <a:lnTo>
                        <a:pt x="69" y="279"/>
                      </a:lnTo>
                      <a:lnTo>
                        <a:pt x="68" y="278"/>
                      </a:lnTo>
                      <a:lnTo>
                        <a:pt x="68" y="277"/>
                      </a:lnTo>
                      <a:lnTo>
                        <a:pt x="68" y="277"/>
                      </a:lnTo>
                      <a:lnTo>
                        <a:pt x="67" y="277"/>
                      </a:lnTo>
                      <a:lnTo>
                        <a:pt x="66" y="277"/>
                      </a:lnTo>
                      <a:lnTo>
                        <a:pt x="66" y="276"/>
                      </a:lnTo>
                      <a:lnTo>
                        <a:pt x="65" y="276"/>
                      </a:lnTo>
                      <a:lnTo>
                        <a:pt x="65" y="275"/>
                      </a:lnTo>
                      <a:lnTo>
                        <a:pt x="64" y="275"/>
                      </a:lnTo>
                      <a:lnTo>
                        <a:pt x="64" y="275"/>
                      </a:lnTo>
                      <a:lnTo>
                        <a:pt x="64" y="274"/>
                      </a:lnTo>
                      <a:lnTo>
                        <a:pt x="64" y="274"/>
                      </a:lnTo>
                      <a:lnTo>
                        <a:pt x="63" y="274"/>
                      </a:lnTo>
                      <a:lnTo>
                        <a:pt x="63" y="273"/>
                      </a:lnTo>
                      <a:lnTo>
                        <a:pt x="62" y="273"/>
                      </a:lnTo>
                      <a:lnTo>
                        <a:pt x="61" y="273"/>
                      </a:lnTo>
                      <a:lnTo>
                        <a:pt x="61" y="273"/>
                      </a:lnTo>
                      <a:lnTo>
                        <a:pt x="61" y="273"/>
                      </a:lnTo>
                      <a:lnTo>
                        <a:pt x="60" y="273"/>
                      </a:lnTo>
                      <a:lnTo>
                        <a:pt x="60" y="272"/>
                      </a:lnTo>
                      <a:lnTo>
                        <a:pt x="59" y="272"/>
                      </a:lnTo>
                      <a:lnTo>
                        <a:pt x="59" y="271"/>
                      </a:lnTo>
                      <a:lnTo>
                        <a:pt x="59" y="271"/>
                      </a:lnTo>
                      <a:lnTo>
                        <a:pt x="58" y="271"/>
                      </a:lnTo>
                      <a:lnTo>
                        <a:pt x="57" y="271"/>
                      </a:lnTo>
                      <a:lnTo>
                        <a:pt x="57" y="271"/>
                      </a:lnTo>
                      <a:lnTo>
                        <a:pt x="57" y="271"/>
                      </a:lnTo>
                      <a:lnTo>
                        <a:pt x="56" y="271"/>
                      </a:lnTo>
                      <a:lnTo>
                        <a:pt x="55" y="271"/>
                      </a:lnTo>
                      <a:lnTo>
                        <a:pt x="55" y="270"/>
                      </a:lnTo>
                      <a:lnTo>
                        <a:pt x="55" y="270"/>
                      </a:lnTo>
                      <a:lnTo>
                        <a:pt x="54" y="270"/>
                      </a:lnTo>
                      <a:lnTo>
                        <a:pt x="53" y="270"/>
                      </a:lnTo>
                      <a:lnTo>
                        <a:pt x="53" y="270"/>
                      </a:lnTo>
                      <a:lnTo>
                        <a:pt x="53" y="269"/>
                      </a:lnTo>
                      <a:lnTo>
                        <a:pt x="52" y="268"/>
                      </a:lnTo>
                      <a:lnTo>
                        <a:pt x="51" y="268"/>
                      </a:lnTo>
                      <a:lnTo>
                        <a:pt x="51" y="268"/>
                      </a:lnTo>
                      <a:lnTo>
                        <a:pt x="51" y="267"/>
                      </a:lnTo>
                      <a:lnTo>
                        <a:pt x="51" y="266"/>
                      </a:lnTo>
                      <a:lnTo>
                        <a:pt x="51" y="266"/>
                      </a:lnTo>
                      <a:lnTo>
                        <a:pt x="51" y="266"/>
                      </a:lnTo>
                      <a:lnTo>
                        <a:pt x="50" y="266"/>
                      </a:lnTo>
                      <a:lnTo>
                        <a:pt x="49" y="266"/>
                      </a:lnTo>
                      <a:lnTo>
                        <a:pt x="49" y="266"/>
                      </a:lnTo>
                      <a:lnTo>
                        <a:pt x="49" y="266"/>
                      </a:lnTo>
                      <a:lnTo>
                        <a:pt x="48" y="266"/>
                      </a:lnTo>
                      <a:lnTo>
                        <a:pt x="48" y="266"/>
                      </a:lnTo>
                      <a:lnTo>
                        <a:pt x="47" y="266"/>
                      </a:lnTo>
                      <a:lnTo>
                        <a:pt x="47" y="266"/>
                      </a:lnTo>
                      <a:lnTo>
                        <a:pt x="46" y="266"/>
                      </a:lnTo>
                      <a:lnTo>
                        <a:pt x="45" y="266"/>
                      </a:lnTo>
                      <a:lnTo>
                        <a:pt x="45" y="266"/>
                      </a:lnTo>
                      <a:lnTo>
                        <a:pt x="45" y="267"/>
                      </a:lnTo>
                      <a:lnTo>
                        <a:pt x="44" y="267"/>
                      </a:lnTo>
                      <a:lnTo>
                        <a:pt x="43" y="268"/>
                      </a:lnTo>
                      <a:lnTo>
                        <a:pt x="42" y="268"/>
                      </a:lnTo>
                      <a:lnTo>
                        <a:pt x="42" y="268"/>
                      </a:lnTo>
                      <a:lnTo>
                        <a:pt x="42" y="268"/>
                      </a:lnTo>
                      <a:lnTo>
                        <a:pt x="42" y="268"/>
                      </a:lnTo>
                      <a:lnTo>
                        <a:pt x="41" y="268"/>
                      </a:lnTo>
                      <a:lnTo>
                        <a:pt x="40" y="268"/>
                      </a:lnTo>
                      <a:lnTo>
                        <a:pt x="40" y="268"/>
                      </a:lnTo>
                      <a:lnTo>
                        <a:pt x="39" y="268"/>
                      </a:lnTo>
                      <a:lnTo>
                        <a:pt x="38" y="268"/>
                      </a:lnTo>
                      <a:lnTo>
                        <a:pt x="38" y="268"/>
                      </a:lnTo>
                      <a:lnTo>
                        <a:pt x="37" y="268"/>
                      </a:lnTo>
                      <a:lnTo>
                        <a:pt x="36" y="268"/>
                      </a:lnTo>
                      <a:lnTo>
                        <a:pt x="36" y="268"/>
                      </a:lnTo>
                      <a:lnTo>
                        <a:pt x="35" y="268"/>
                      </a:lnTo>
                      <a:lnTo>
                        <a:pt x="34" y="268"/>
                      </a:lnTo>
                      <a:lnTo>
                        <a:pt x="34" y="268"/>
                      </a:lnTo>
                      <a:lnTo>
                        <a:pt x="33" y="268"/>
                      </a:lnTo>
                      <a:lnTo>
                        <a:pt x="33" y="267"/>
                      </a:lnTo>
                      <a:lnTo>
                        <a:pt x="32" y="267"/>
                      </a:lnTo>
                      <a:lnTo>
                        <a:pt x="32" y="268"/>
                      </a:lnTo>
                      <a:lnTo>
                        <a:pt x="32" y="268"/>
                      </a:lnTo>
                      <a:lnTo>
                        <a:pt x="32" y="267"/>
                      </a:lnTo>
                      <a:lnTo>
                        <a:pt x="31" y="267"/>
                      </a:lnTo>
                      <a:lnTo>
                        <a:pt x="30" y="267"/>
                      </a:lnTo>
                      <a:lnTo>
                        <a:pt x="30" y="266"/>
                      </a:lnTo>
                      <a:lnTo>
                        <a:pt x="30" y="266"/>
                      </a:lnTo>
                      <a:lnTo>
                        <a:pt x="30" y="266"/>
                      </a:lnTo>
                      <a:lnTo>
                        <a:pt x="29" y="266"/>
                      </a:lnTo>
                      <a:lnTo>
                        <a:pt x="29" y="265"/>
                      </a:lnTo>
                      <a:lnTo>
                        <a:pt x="28" y="265"/>
                      </a:lnTo>
                      <a:lnTo>
                        <a:pt x="28" y="264"/>
                      </a:lnTo>
                      <a:lnTo>
                        <a:pt x="28" y="264"/>
                      </a:lnTo>
                      <a:lnTo>
                        <a:pt x="28" y="264"/>
                      </a:lnTo>
                      <a:lnTo>
                        <a:pt x="27" y="264"/>
                      </a:lnTo>
                      <a:lnTo>
                        <a:pt x="27" y="263"/>
                      </a:lnTo>
                      <a:lnTo>
                        <a:pt x="26" y="263"/>
                      </a:lnTo>
                      <a:lnTo>
                        <a:pt x="26" y="262"/>
                      </a:lnTo>
                      <a:lnTo>
                        <a:pt x="26" y="262"/>
                      </a:lnTo>
                      <a:lnTo>
                        <a:pt x="26" y="262"/>
                      </a:lnTo>
                      <a:lnTo>
                        <a:pt x="26" y="261"/>
                      </a:lnTo>
                      <a:lnTo>
                        <a:pt x="26" y="260"/>
                      </a:lnTo>
                      <a:lnTo>
                        <a:pt x="25" y="260"/>
                      </a:lnTo>
                      <a:lnTo>
                        <a:pt x="25" y="261"/>
                      </a:lnTo>
                      <a:lnTo>
                        <a:pt x="25" y="260"/>
                      </a:lnTo>
                      <a:lnTo>
                        <a:pt x="25" y="260"/>
                      </a:lnTo>
                      <a:lnTo>
                        <a:pt x="25" y="259"/>
                      </a:lnTo>
                      <a:lnTo>
                        <a:pt x="25" y="258"/>
                      </a:lnTo>
                      <a:lnTo>
                        <a:pt x="24" y="258"/>
                      </a:lnTo>
                      <a:lnTo>
                        <a:pt x="24" y="258"/>
                      </a:lnTo>
                      <a:lnTo>
                        <a:pt x="23" y="258"/>
                      </a:lnTo>
                      <a:lnTo>
                        <a:pt x="23" y="257"/>
                      </a:lnTo>
                      <a:lnTo>
                        <a:pt x="24" y="257"/>
                      </a:lnTo>
                      <a:lnTo>
                        <a:pt x="24" y="256"/>
                      </a:lnTo>
                      <a:lnTo>
                        <a:pt x="25" y="256"/>
                      </a:lnTo>
                      <a:lnTo>
                        <a:pt x="25" y="256"/>
                      </a:lnTo>
                      <a:lnTo>
                        <a:pt x="24" y="256"/>
                      </a:lnTo>
                      <a:lnTo>
                        <a:pt x="24" y="255"/>
                      </a:lnTo>
                      <a:lnTo>
                        <a:pt x="25" y="255"/>
                      </a:lnTo>
                      <a:lnTo>
                        <a:pt x="25" y="254"/>
                      </a:lnTo>
                      <a:lnTo>
                        <a:pt x="24" y="254"/>
                      </a:lnTo>
                      <a:lnTo>
                        <a:pt x="24" y="254"/>
                      </a:lnTo>
                      <a:lnTo>
                        <a:pt x="24" y="253"/>
                      </a:lnTo>
                      <a:lnTo>
                        <a:pt x="24" y="252"/>
                      </a:lnTo>
                      <a:lnTo>
                        <a:pt x="23" y="252"/>
                      </a:lnTo>
                      <a:lnTo>
                        <a:pt x="23" y="253"/>
                      </a:lnTo>
                      <a:lnTo>
                        <a:pt x="23" y="253"/>
                      </a:lnTo>
                      <a:lnTo>
                        <a:pt x="23" y="252"/>
                      </a:lnTo>
                      <a:lnTo>
                        <a:pt x="22" y="252"/>
                      </a:lnTo>
                      <a:lnTo>
                        <a:pt x="21" y="252"/>
                      </a:lnTo>
                      <a:lnTo>
                        <a:pt x="21" y="252"/>
                      </a:lnTo>
                      <a:lnTo>
                        <a:pt x="21" y="252"/>
                      </a:lnTo>
                      <a:lnTo>
                        <a:pt x="20" y="252"/>
                      </a:lnTo>
                      <a:lnTo>
                        <a:pt x="19" y="252"/>
                      </a:lnTo>
                      <a:lnTo>
                        <a:pt x="19" y="252"/>
                      </a:lnTo>
                      <a:lnTo>
                        <a:pt x="19" y="251"/>
                      </a:lnTo>
                      <a:lnTo>
                        <a:pt x="18" y="250"/>
                      </a:lnTo>
                      <a:lnTo>
                        <a:pt x="17" y="250"/>
                      </a:lnTo>
                      <a:lnTo>
                        <a:pt x="17" y="250"/>
                      </a:lnTo>
                      <a:lnTo>
                        <a:pt x="17" y="249"/>
                      </a:lnTo>
                      <a:lnTo>
                        <a:pt x="17" y="248"/>
                      </a:lnTo>
                      <a:lnTo>
                        <a:pt x="16" y="248"/>
                      </a:lnTo>
                      <a:lnTo>
                        <a:pt x="16" y="247"/>
                      </a:lnTo>
                      <a:lnTo>
                        <a:pt x="16" y="247"/>
                      </a:lnTo>
                      <a:lnTo>
                        <a:pt x="16" y="246"/>
                      </a:lnTo>
                      <a:lnTo>
                        <a:pt x="15" y="246"/>
                      </a:lnTo>
                      <a:lnTo>
                        <a:pt x="15" y="245"/>
                      </a:lnTo>
                      <a:lnTo>
                        <a:pt x="15" y="245"/>
                      </a:lnTo>
                      <a:lnTo>
                        <a:pt x="15" y="245"/>
                      </a:lnTo>
                      <a:lnTo>
                        <a:pt x="14" y="245"/>
                      </a:lnTo>
                      <a:lnTo>
                        <a:pt x="14" y="244"/>
                      </a:lnTo>
                      <a:lnTo>
                        <a:pt x="14" y="243"/>
                      </a:lnTo>
                      <a:lnTo>
                        <a:pt x="13" y="243"/>
                      </a:lnTo>
                      <a:lnTo>
                        <a:pt x="13" y="243"/>
                      </a:lnTo>
                      <a:lnTo>
                        <a:pt x="13" y="243"/>
                      </a:lnTo>
                      <a:lnTo>
                        <a:pt x="13" y="242"/>
                      </a:lnTo>
                      <a:lnTo>
                        <a:pt x="12" y="241"/>
                      </a:lnTo>
                      <a:lnTo>
                        <a:pt x="12" y="241"/>
                      </a:lnTo>
                      <a:lnTo>
                        <a:pt x="12" y="240"/>
                      </a:lnTo>
                      <a:lnTo>
                        <a:pt x="11" y="239"/>
                      </a:lnTo>
                      <a:lnTo>
                        <a:pt x="11" y="239"/>
                      </a:lnTo>
                      <a:lnTo>
                        <a:pt x="11" y="238"/>
                      </a:lnTo>
                      <a:lnTo>
                        <a:pt x="12" y="238"/>
                      </a:lnTo>
                      <a:lnTo>
                        <a:pt x="11" y="237"/>
                      </a:lnTo>
                      <a:lnTo>
                        <a:pt x="11" y="237"/>
                      </a:lnTo>
                      <a:lnTo>
                        <a:pt x="11" y="237"/>
                      </a:lnTo>
                      <a:lnTo>
                        <a:pt x="10" y="236"/>
                      </a:lnTo>
                      <a:lnTo>
                        <a:pt x="10" y="235"/>
                      </a:lnTo>
                      <a:lnTo>
                        <a:pt x="9" y="235"/>
                      </a:lnTo>
                      <a:lnTo>
                        <a:pt x="9" y="236"/>
                      </a:lnTo>
                      <a:lnTo>
                        <a:pt x="9" y="237"/>
                      </a:lnTo>
                      <a:lnTo>
                        <a:pt x="9" y="237"/>
                      </a:lnTo>
                      <a:lnTo>
                        <a:pt x="9" y="236"/>
                      </a:lnTo>
                      <a:lnTo>
                        <a:pt x="8" y="236"/>
                      </a:lnTo>
                      <a:lnTo>
                        <a:pt x="8" y="237"/>
                      </a:lnTo>
                      <a:lnTo>
                        <a:pt x="7" y="237"/>
                      </a:lnTo>
                      <a:lnTo>
                        <a:pt x="7" y="236"/>
                      </a:lnTo>
                      <a:lnTo>
                        <a:pt x="7" y="236"/>
                      </a:lnTo>
                      <a:lnTo>
                        <a:pt x="7" y="235"/>
                      </a:lnTo>
                      <a:lnTo>
                        <a:pt x="7" y="235"/>
                      </a:lnTo>
                      <a:lnTo>
                        <a:pt x="6" y="235"/>
                      </a:lnTo>
                      <a:lnTo>
                        <a:pt x="6" y="234"/>
                      </a:lnTo>
                      <a:lnTo>
                        <a:pt x="5" y="234"/>
                      </a:lnTo>
                      <a:lnTo>
                        <a:pt x="4" y="233"/>
                      </a:lnTo>
                      <a:lnTo>
                        <a:pt x="4" y="233"/>
                      </a:lnTo>
                      <a:lnTo>
                        <a:pt x="4" y="233"/>
                      </a:lnTo>
                      <a:lnTo>
                        <a:pt x="4" y="232"/>
                      </a:lnTo>
                      <a:lnTo>
                        <a:pt x="3" y="232"/>
                      </a:lnTo>
                      <a:lnTo>
                        <a:pt x="3" y="231"/>
                      </a:lnTo>
                      <a:lnTo>
                        <a:pt x="3" y="231"/>
                      </a:lnTo>
                      <a:lnTo>
                        <a:pt x="3" y="230"/>
                      </a:lnTo>
                      <a:lnTo>
                        <a:pt x="2" y="230"/>
                      </a:lnTo>
                      <a:lnTo>
                        <a:pt x="2" y="229"/>
                      </a:lnTo>
                      <a:lnTo>
                        <a:pt x="2" y="229"/>
                      </a:lnTo>
                      <a:lnTo>
                        <a:pt x="2" y="228"/>
                      </a:lnTo>
                      <a:lnTo>
                        <a:pt x="1" y="228"/>
                      </a:lnTo>
                      <a:lnTo>
                        <a:pt x="1" y="228"/>
                      </a:lnTo>
                      <a:lnTo>
                        <a:pt x="1" y="227"/>
                      </a:lnTo>
                      <a:lnTo>
                        <a:pt x="0" y="227"/>
                      </a:lnTo>
                      <a:lnTo>
                        <a:pt x="7" y="224"/>
                      </a:lnTo>
                      <a:lnTo>
                        <a:pt x="4" y="219"/>
                      </a:lnTo>
                      <a:lnTo>
                        <a:pt x="2" y="214"/>
                      </a:lnTo>
                      <a:lnTo>
                        <a:pt x="1" y="213"/>
                      </a:lnTo>
                      <a:lnTo>
                        <a:pt x="4" y="200"/>
                      </a:lnTo>
                      <a:lnTo>
                        <a:pt x="7" y="198"/>
                      </a:lnTo>
                      <a:lnTo>
                        <a:pt x="7" y="197"/>
                      </a:lnTo>
                      <a:lnTo>
                        <a:pt x="8" y="197"/>
                      </a:lnTo>
                      <a:lnTo>
                        <a:pt x="8" y="197"/>
                      </a:lnTo>
                      <a:lnTo>
                        <a:pt x="9" y="197"/>
                      </a:lnTo>
                      <a:lnTo>
                        <a:pt x="9" y="196"/>
                      </a:lnTo>
                      <a:lnTo>
                        <a:pt x="9" y="195"/>
                      </a:lnTo>
                      <a:lnTo>
                        <a:pt x="9" y="195"/>
                      </a:lnTo>
                      <a:lnTo>
                        <a:pt x="9" y="195"/>
                      </a:lnTo>
                      <a:lnTo>
                        <a:pt x="9" y="194"/>
                      </a:lnTo>
                      <a:lnTo>
                        <a:pt x="9" y="193"/>
                      </a:lnTo>
                      <a:lnTo>
                        <a:pt x="9" y="193"/>
                      </a:lnTo>
                      <a:lnTo>
                        <a:pt x="9" y="193"/>
                      </a:lnTo>
                      <a:lnTo>
                        <a:pt x="9" y="192"/>
                      </a:lnTo>
                      <a:lnTo>
                        <a:pt x="9" y="191"/>
                      </a:lnTo>
                      <a:lnTo>
                        <a:pt x="9" y="191"/>
                      </a:lnTo>
                      <a:lnTo>
                        <a:pt x="9" y="191"/>
                      </a:lnTo>
                      <a:lnTo>
                        <a:pt x="9" y="190"/>
                      </a:lnTo>
                      <a:lnTo>
                        <a:pt x="9" y="189"/>
                      </a:lnTo>
                      <a:lnTo>
                        <a:pt x="9" y="188"/>
                      </a:lnTo>
                      <a:lnTo>
                        <a:pt x="10" y="188"/>
                      </a:lnTo>
                      <a:lnTo>
                        <a:pt x="10" y="187"/>
                      </a:lnTo>
                      <a:lnTo>
                        <a:pt x="10" y="186"/>
                      </a:lnTo>
                      <a:lnTo>
                        <a:pt x="10" y="186"/>
                      </a:lnTo>
                      <a:lnTo>
                        <a:pt x="11" y="186"/>
                      </a:lnTo>
                      <a:lnTo>
                        <a:pt x="11" y="185"/>
                      </a:lnTo>
                      <a:lnTo>
                        <a:pt x="11" y="184"/>
                      </a:lnTo>
                      <a:lnTo>
                        <a:pt x="11" y="184"/>
                      </a:lnTo>
                      <a:lnTo>
                        <a:pt x="11" y="183"/>
                      </a:lnTo>
                      <a:lnTo>
                        <a:pt x="11" y="182"/>
                      </a:lnTo>
                      <a:lnTo>
                        <a:pt x="12" y="182"/>
                      </a:lnTo>
                      <a:lnTo>
                        <a:pt x="12" y="181"/>
                      </a:lnTo>
                      <a:lnTo>
                        <a:pt x="12" y="180"/>
                      </a:lnTo>
                      <a:lnTo>
                        <a:pt x="13" y="180"/>
                      </a:lnTo>
                      <a:lnTo>
                        <a:pt x="13" y="179"/>
                      </a:lnTo>
                      <a:lnTo>
                        <a:pt x="13" y="178"/>
                      </a:lnTo>
                      <a:lnTo>
                        <a:pt x="13" y="178"/>
                      </a:lnTo>
                      <a:lnTo>
                        <a:pt x="13" y="177"/>
                      </a:lnTo>
                      <a:lnTo>
                        <a:pt x="13" y="177"/>
                      </a:lnTo>
                      <a:lnTo>
                        <a:pt x="13" y="176"/>
                      </a:lnTo>
                      <a:lnTo>
                        <a:pt x="13" y="176"/>
                      </a:lnTo>
                      <a:lnTo>
                        <a:pt x="13" y="175"/>
                      </a:lnTo>
                      <a:lnTo>
                        <a:pt x="14" y="175"/>
                      </a:lnTo>
                      <a:lnTo>
                        <a:pt x="14" y="174"/>
                      </a:lnTo>
                      <a:lnTo>
                        <a:pt x="15" y="174"/>
                      </a:lnTo>
                      <a:lnTo>
                        <a:pt x="15" y="174"/>
                      </a:lnTo>
                      <a:lnTo>
                        <a:pt x="15" y="173"/>
                      </a:lnTo>
                      <a:lnTo>
                        <a:pt x="15" y="173"/>
                      </a:lnTo>
                      <a:lnTo>
                        <a:pt x="15" y="172"/>
                      </a:lnTo>
                      <a:lnTo>
                        <a:pt x="16" y="172"/>
                      </a:lnTo>
                      <a:lnTo>
                        <a:pt x="17" y="172"/>
                      </a:lnTo>
                      <a:lnTo>
                        <a:pt x="17" y="172"/>
                      </a:lnTo>
                      <a:lnTo>
                        <a:pt x="18" y="172"/>
                      </a:lnTo>
                      <a:lnTo>
                        <a:pt x="19" y="172"/>
                      </a:lnTo>
                      <a:lnTo>
                        <a:pt x="19" y="172"/>
                      </a:lnTo>
                      <a:lnTo>
                        <a:pt x="19" y="171"/>
                      </a:lnTo>
                      <a:lnTo>
                        <a:pt x="20" y="171"/>
                      </a:lnTo>
                      <a:lnTo>
                        <a:pt x="21" y="171"/>
                      </a:lnTo>
                      <a:lnTo>
                        <a:pt x="21" y="171"/>
                      </a:lnTo>
                      <a:lnTo>
                        <a:pt x="22" y="171"/>
                      </a:lnTo>
                      <a:lnTo>
                        <a:pt x="23" y="171"/>
                      </a:lnTo>
                      <a:lnTo>
                        <a:pt x="23" y="170"/>
                      </a:lnTo>
                      <a:lnTo>
                        <a:pt x="23" y="171"/>
                      </a:lnTo>
                      <a:lnTo>
                        <a:pt x="23" y="171"/>
                      </a:lnTo>
                      <a:lnTo>
                        <a:pt x="24" y="171"/>
                      </a:lnTo>
                      <a:lnTo>
                        <a:pt x="24" y="170"/>
                      </a:lnTo>
                      <a:lnTo>
                        <a:pt x="25" y="170"/>
                      </a:lnTo>
                      <a:lnTo>
                        <a:pt x="25" y="169"/>
                      </a:lnTo>
                      <a:lnTo>
                        <a:pt x="25" y="169"/>
                      </a:lnTo>
                      <a:lnTo>
                        <a:pt x="26" y="169"/>
                      </a:lnTo>
                      <a:lnTo>
                        <a:pt x="26" y="168"/>
                      </a:lnTo>
                      <a:lnTo>
                        <a:pt x="26" y="168"/>
                      </a:lnTo>
                      <a:lnTo>
                        <a:pt x="26" y="167"/>
                      </a:lnTo>
                      <a:lnTo>
                        <a:pt x="26" y="167"/>
                      </a:lnTo>
                      <a:lnTo>
                        <a:pt x="27" y="166"/>
                      </a:lnTo>
                      <a:lnTo>
                        <a:pt x="28" y="166"/>
                      </a:lnTo>
                      <a:lnTo>
                        <a:pt x="28" y="166"/>
                      </a:lnTo>
                      <a:lnTo>
                        <a:pt x="29" y="166"/>
                      </a:lnTo>
                      <a:lnTo>
                        <a:pt x="30" y="166"/>
                      </a:lnTo>
                      <a:lnTo>
                        <a:pt x="30" y="167"/>
                      </a:lnTo>
                      <a:lnTo>
                        <a:pt x="30" y="167"/>
                      </a:lnTo>
                      <a:lnTo>
                        <a:pt x="31" y="167"/>
                      </a:lnTo>
                      <a:lnTo>
                        <a:pt x="32" y="167"/>
                      </a:lnTo>
                      <a:lnTo>
                        <a:pt x="32" y="166"/>
                      </a:lnTo>
                      <a:lnTo>
                        <a:pt x="32" y="166"/>
                      </a:lnTo>
                      <a:lnTo>
                        <a:pt x="33" y="166"/>
                      </a:lnTo>
                      <a:lnTo>
                        <a:pt x="34" y="166"/>
                      </a:lnTo>
                      <a:lnTo>
                        <a:pt x="34" y="166"/>
                      </a:lnTo>
                      <a:lnTo>
                        <a:pt x="34" y="165"/>
                      </a:lnTo>
                      <a:lnTo>
                        <a:pt x="35" y="165"/>
                      </a:lnTo>
                      <a:lnTo>
                        <a:pt x="36" y="165"/>
                      </a:lnTo>
                      <a:lnTo>
                        <a:pt x="36" y="165"/>
                      </a:lnTo>
                      <a:lnTo>
                        <a:pt x="37" y="165"/>
                      </a:lnTo>
                      <a:lnTo>
                        <a:pt x="37" y="166"/>
                      </a:lnTo>
                      <a:lnTo>
                        <a:pt x="38" y="166"/>
                      </a:lnTo>
                      <a:lnTo>
                        <a:pt x="38" y="166"/>
                      </a:lnTo>
                      <a:lnTo>
                        <a:pt x="38" y="165"/>
                      </a:lnTo>
                      <a:lnTo>
                        <a:pt x="39" y="165"/>
                      </a:lnTo>
                      <a:lnTo>
                        <a:pt x="40" y="165"/>
                      </a:lnTo>
                      <a:lnTo>
                        <a:pt x="40" y="165"/>
                      </a:lnTo>
                      <a:lnTo>
                        <a:pt x="40" y="164"/>
                      </a:lnTo>
                      <a:lnTo>
                        <a:pt x="41" y="164"/>
                      </a:lnTo>
                      <a:lnTo>
                        <a:pt x="42" y="164"/>
                      </a:lnTo>
                      <a:lnTo>
                        <a:pt x="42" y="164"/>
                      </a:lnTo>
                      <a:lnTo>
                        <a:pt x="43" y="164"/>
                      </a:lnTo>
                      <a:lnTo>
                        <a:pt x="43" y="163"/>
                      </a:lnTo>
                      <a:lnTo>
                        <a:pt x="43" y="163"/>
                      </a:lnTo>
                      <a:lnTo>
                        <a:pt x="42" y="163"/>
                      </a:lnTo>
                      <a:lnTo>
                        <a:pt x="42" y="162"/>
                      </a:lnTo>
                      <a:lnTo>
                        <a:pt x="43" y="162"/>
                      </a:lnTo>
                      <a:lnTo>
                        <a:pt x="43" y="161"/>
                      </a:lnTo>
                      <a:lnTo>
                        <a:pt x="42" y="161"/>
                      </a:lnTo>
                      <a:lnTo>
                        <a:pt x="42" y="161"/>
                      </a:lnTo>
                      <a:lnTo>
                        <a:pt x="43" y="161"/>
                      </a:lnTo>
                      <a:lnTo>
                        <a:pt x="43" y="160"/>
                      </a:lnTo>
                      <a:lnTo>
                        <a:pt x="42" y="160"/>
                      </a:lnTo>
                      <a:lnTo>
                        <a:pt x="42" y="159"/>
                      </a:lnTo>
                      <a:lnTo>
                        <a:pt x="42" y="159"/>
                      </a:lnTo>
                      <a:lnTo>
                        <a:pt x="42" y="158"/>
                      </a:lnTo>
                      <a:lnTo>
                        <a:pt x="42" y="157"/>
                      </a:lnTo>
                      <a:lnTo>
                        <a:pt x="42" y="157"/>
                      </a:lnTo>
                      <a:lnTo>
                        <a:pt x="42" y="156"/>
                      </a:lnTo>
                      <a:lnTo>
                        <a:pt x="42" y="155"/>
                      </a:lnTo>
                      <a:lnTo>
                        <a:pt x="43" y="155"/>
                      </a:lnTo>
                      <a:lnTo>
                        <a:pt x="43" y="155"/>
                      </a:lnTo>
                      <a:lnTo>
                        <a:pt x="44" y="155"/>
                      </a:lnTo>
                      <a:lnTo>
                        <a:pt x="44" y="154"/>
                      </a:lnTo>
                      <a:lnTo>
                        <a:pt x="45" y="154"/>
                      </a:lnTo>
                      <a:lnTo>
                        <a:pt x="45" y="153"/>
                      </a:lnTo>
                      <a:lnTo>
                        <a:pt x="45" y="153"/>
                      </a:lnTo>
                      <a:lnTo>
                        <a:pt x="45" y="153"/>
                      </a:lnTo>
                      <a:lnTo>
                        <a:pt x="45" y="152"/>
                      </a:lnTo>
                      <a:lnTo>
                        <a:pt x="46" y="152"/>
                      </a:lnTo>
                      <a:lnTo>
                        <a:pt x="46" y="151"/>
                      </a:lnTo>
                      <a:lnTo>
                        <a:pt x="46" y="151"/>
                      </a:lnTo>
                      <a:lnTo>
                        <a:pt x="47" y="151"/>
                      </a:lnTo>
                      <a:lnTo>
                        <a:pt x="47" y="151"/>
                      </a:lnTo>
                      <a:lnTo>
                        <a:pt x="47" y="151"/>
                      </a:lnTo>
                      <a:lnTo>
                        <a:pt x="47" y="152"/>
                      </a:lnTo>
                      <a:lnTo>
                        <a:pt x="48" y="152"/>
                      </a:lnTo>
                      <a:lnTo>
                        <a:pt x="49" y="152"/>
                      </a:lnTo>
                      <a:lnTo>
                        <a:pt x="49" y="151"/>
                      </a:lnTo>
                      <a:lnTo>
                        <a:pt x="49" y="151"/>
                      </a:lnTo>
                      <a:lnTo>
                        <a:pt x="49" y="151"/>
                      </a:lnTo>
                      <a:lnTo>
                        <a:pt x="49" y="150"/>
                      </a:lnTo>
                      <a:lnTo>
                        <a:pt x="49" y="149"/>
                      </a:lnTo>
                      <a:lnTo>
                        <a:pt x="49" y="148"/>
                      </a:lnTo>
                      <a:lnTo>
                        <a:pt x="50" y="148"/>
                      </a:lnTo>
                      <a:lnTo>
                        <a:pt x="50" y="148"/>
                      </a:lnTo>
                      <a:lnTo>
                        <a:pt x="51" y="148"/>
                      </a:lnTo>
                      <a:lnTo>
                        <a:pt x="51" y="147"/>
                      </a:lnTo>
                      <a:lnTo>
                        <a:pt x="51" y="147"/>
                      </a:lnTo>
                      <a:lnTo>
                        <a:pt x="51" y="146"/>
                      </a:lnTo>
                      <a:lnTo>
                        <a:pt x="52" y="146"/>
                      </a:lnTo>
                      <a:lnTo>
                        <a:pt x="53" y="146"/>
                      </a:lnTo>
                      <a:lnTo>
                        <a:pt x="53" y="145"/>
                      </a:lnTo>
                      <a:lnTo>
                        <a:pt x="52" y="145"/>
                      </a:lnTo>
                      <a:lnTo>
                        <a:pt x="53" y="145"/>
                      </a:lnTo>
                      <a:lnTo>
                        <a:pt x="53" y="144"/>
                      </a:lnTo>
                      <a:lnTo>
                        <a:pt x="53" y="144"/>
                      </a:lnTo>
                      <a:lnTo>
                        <a:pt x="53" y="144"/>
                      </a:lnTo>
                      <a:lnTo>
                        <a:pt x="54" y="144"/>
                      </a:lnTo>
                      <a:lnTo>
                        <a:pt x="54" y="143"/>
                      </a:lnTo>
                      <a:lnTo>
                        <a:pt x="54" y="142"/>
                      </a:lnTo>
                      <a:lnTo>
                        <a:pt x="54" y="142"/>
                      </a:lnTo>
                      <a:lnTo>
                        <a:pt x="54" y="141"/>
                      </a:lnTo>
                      <a:lnTo>
                        <a:pt x="55" y="141"/>
                      </a:lnTo>
                      <a:lnTo>
                        <a:pt x="55" y="140"/>
                      </a:lnTo>
                      <a:lnTo>
                        <a:pt x="55" y="140"/>
                      </a:lnTo>
                      <a:lnTo>
                        <a:pt x="55" y="139"/>
                      </a:lnTo>
                      <a:lnTo>
                        <a:pt x="55" y="138"/>
                      </a:lnTo>
                      <a:lnTo>
                        <a:pt x="55" y="138"/>
                      </a:lnTo>
                      <a:lnTo>
                        <a:pt x="55" y="138"/>
                      </a:lnTo>
                      <a:lnTo>
                        <a:pt x="55" y="137"/>
                      </a:lnTo>
                      <a:lnTo>
                        <a:pt x="55" y="136"/>
                      </a:lnTo>
                      <a:lnTo>
                        <a:pt x="55" y="136"/>
                      </a:lnTo>
                      <a:lnTo>
                        <a:pt x="56" y="136"/>
                      </a:lnTo>
                      <a:lnTo>
                        <a:pt x="55" y="135"/>
                      </a:lnTo>
                      <a:lnTo>
                        <a:pt x="55" y="134"/>
                      </a:lnTo>
                      <a:lnTo>
                        <a:pt x="55" y="134"/>
                      </a:lnTo>
                      <a:lnTo>
                        <a:pt x="54" y="134"/>
                      </a:lnTo>
                      <a:lnTo>
                        <a:pt x="54" y="133"/>
                      </a:lnTo>
                      <a:lnTo>
                        <a:pt x="53" y="133"/>
                      </a:lnTo>
                      <a:lnTo>
                        <a:pt x="53" y="132"/>
                      </a:lnTo>
                      <a:lnTo>
                        <a:pt x="53" y="132"/>
                      </a:lnTo>
                      <a:lnTo>
                        <a:pt x="53" y="131"/>
                      </a:lnTo>
                      <a:lnTo>
                        <a:pt x="53" y="130"/>
                      </a:lnTo>
                      <a:lnTo>
                        <a:pt x="53" y="129"/>
                      </a:lnTo>
                      <a:lnTo>
                        <a:pt x="53" y="129"/>
                      </a:lnTo>
                      <a:lnTo>
                        <a:pt x="53" y="128"/>
                      </a:lnTo>
                      <a:lnTo>
                        <a:pt x="53" y="127"/>
                      </a:lnTo>
                      <a:lnTo>
                        <a:pt x="53" y="127"/>
                      </a:lnTo>
                      <a:lnTo>
                        <a:pt x="52" y="127"/>
                      </a:lnTo>
                      <a:lnTo>
                        <a:pt x="52" y="126"/>
                      </a:lnTo>
                      <a:lnTo>
                        <a:pt x="52" y="125"/>
                      </a:lnTo>
                      <a:lnTo>
                        <a:pt x="52" y="125"/>
                      </a:lnTo>
                      <a:lnTo>
                        <a:pt x="52" y="124"/>
                      </a:lnTo>
                      <a:lnTo>
                        <a:pt x="53" y="124"/>
                      </a:lnTo>
                      <a:lnTo>
                        <a:pt x="55" y="123"/>
                      </a:lnTo>
                      <a:lnTo>
                        <a:pt x="57" y="123"/>
                      </a:lnTo>
                      <a:lnTo>
                        <a:pt x="58" y="124"/>
                      </a:lnTo>
                      <a:lnTo>
                        <a:pt x="60" y="125"/>
                      </a:lnTo>
                      <a:lnTo>
                        <a:pt x="61" y="125"/>
                      </a:lnTo>
                      <a:lnTo>
                        <a:pt x="61" y="125"/>
                      </a:lnTo>
                      <a:lnTo>
                        <a:pt x="62" y="125"/>
                      </a:lnTo>
                      <a:lnTo>
                        <a:pt x="63" y="125"/>
                      </a:lnTo>
                      <a:lnTo>
                        <a:pt x="64" y="126"/>
                      </a:lnTo>
                      <a:lnTo>
                        <a:pt x="65" y="126"/>
                      </a:lnTo>
                      <a:lnTo>
                        <a:pt x="66" y="126"/>
                      </a:lnTo>
                      <a:lnTo>
                        <a:pt x="66" y="125"/>
                      </a:lnTo>
                      <a:lnTo>
                        <a:pt x="67" y="123"/>
                      </a:lnTo>
                      <a:lnTo>
                        <a:pt x="68" y="123"/>
                      </a:lnTo>
                      <a:lnTo>
                        <a:pt x="68" y="122"/>
                      </a:lnTo>
                      <a:lnTo>
                        <a:pt x="69" y="122"/>
                      </a:lnTo>
                      <a:lnTo>
                        <a:pt x="70" y="121"/>
                      </a:lnTo>
                      <a:lnTo>
                        <a:pt x="70" y="121"/>
                      </a:lnTo>
                      <a:lnTo>
                        <a:pt x="70" y="121"/>
                      </a:lnTo>
                      <a:lnTo>
                        <a:pt x="71" y="120"/>
                      </a:lnTo>
                      <a:lnTo>
                        <a:pt x="72" y="119"/>
                      </a:lnTo>
                      <a:lnTo>
                        <a:pt x="72" y="119"/>
                      </a:lnTo>
                      <a:lnTo>
                        <a:pt x="73" y="119"/>
                      </a:lnTo>
                      <a:lnTo>
                        <a:pt x="72" y="119"/>
                      </a:lnTo>
                      <a:lnTo>
                        <a:pt x="73" y="118"/>
                      </a:lnTo>
                      <a:lnTo>
                        <a:pt x="73" y="117"/>
                      </a:lnTo>
                      <a:lnTo>
                        <a:pt x="74" y="118"/>
                      </a:lnTo>
                      <a:lnTo>
                        <a:pt x="74" y="118"/>
                      </a:lnTo>
                      <a:lnTo>
                        <a:pt x="74" y="119"/>
                      </a:lnTo>
                      <a:lnTo>
                        <a:pt x="74" y="119"/>
                      </a:lnTo>
                      <a:lnTo>
                        <a:pt x="74" y="120"/>
                      </a:lnTo>
                      <a:lnTo>
                        <a:pt x="75" y="121"/>
                      </a:lnTo>
                      <a:lnTo>
                        <a:pt x="76" y="121"/>
                      </a:lnTo>
                      <a:lnTo>
                        <a:pt x="76" y="121"/>
                      </a:lnTo>
                      <a:lnTo>
                        <a:pt x="76" y="121"/>
                      </a:lnTo>
                      <a:lnTo>
                        <a:pt x="77" y="122"/>
                      </a:lnTo>
                      <a:lnTo>
                        <a:pt x="78" y="123"/>
                      </a:lnTo>
                      <a:lnTo>
                        <a:pt x="78" y="123"/>
                      </a:lnTo>
                      <a:lnTo>
                        <a:pt x="79" y="123"/>
                      </a:lnTo>
                      <a:lnTo>
                        <a:pt x="80" y="123"/>
                      </a:lnTo>
                      <a:lnTo>
                        <a:pt x="80" y="124"/>
                      </a:lnTo>
                      <a:lnTo>
                        <a:pt x="81" y="124"/>
                      </a:lnTo>
                      <a:lnTo>
                        <a:pt x="82" y="124"/>
                      </a:lnTo>
                      <a:lnTo>
                        <a:pt x="83" y="123"/>
                      </a:lnTo>
                      <a:lnTo>
                        <a:pt x="83" y="123"/>
                      </a:lnTo>
                      <a:lnTo>
                        <a:pt x="83" y="124"/>
                      </a:lnTo>
                      <a:lnTo>
                        <a:pt x="84" y="124"/>
                      </a:lnTo>
                      <a:lnTo>
                        <a:pt x="85" y="124"/>
                      </a:lnTo>
                      <a:lnTo>
                        <a:pt x="85" y="124"/>
                      </a:lnTo>
                      <a:lnTo>
                        <a:pt x="85" y="125"/>
                      </a:lnTo>
                      <a:lnTo>
                        <a:pt x="86" y="125"/>
                      </a:lnTo>
                      <a:lnTo>
                        <a:pt x="86" y="125"/>
                      </a:lnTo>
                      <a:lnTo>
                        <a:pt x="87" y="125"/>
                      </a:lnTo>
                      <a:lnTo>
                        <a:pt x="87" y="125"/>
                      </a:lnTo>
                      <a:lnTo>
                        <a:pt x="95" y="124"/>
                      </a:lnTo>
                      <a:lnTo>
                        <a:pt x="96" y="121"/>
                      </a:lnTo>
                      <a:lnTo>
                        <a:pt x="96" y="121"/>
                      </a:lnTo>
                      <a:lnTo>
                        <a:pt x="96" y="120"/>
                      </a:lnTo>
                      <a:lnTo>
                        <a:pt x="96" y="119"/>
                      </a:lnTo>
                      <a:lnTo>
                        <a:pt x="96" y="119"/>
                      </a:lnTo>
                      <a:lnTo>
                        <a:pt x="97" y="119"/>
                      </a:lnTo>
                      <a:lnTo>
                        <a:pt x="97" y="118"/>
                      </a:lnTo>
                      <a:lnTo>
                        <a:pt x="97" y="118"/>
                      </a:lnTo>
                      <a:lnTo>
                        <a:pt x="97" y="117"/>
                      </a:lnTo>
                      <a:lnTo>
                        <a:pt x="97" y="117"/>
                      </a:lnTo>
                      <a:lnTo>
                        <a:pt x="97" y="117"/>
                      </a:lnTo>
                      <a:lnTo>
                        <a:pt x="97" y="116"/>
                      </a:lnTo>
                      <a:lnTo>
                        <a:pt x="96" y="116"/>
                      </a:lnTo>
                      <a:lnTo>
                        <a:pt x="97" y="115"/>
                      </a:lnTo>
                      <a:lnTo>
                        <a:pt x="97" y="115"/>
                      </a:lnTo>
                      <a:lnTo>
                        <a:pt x="96" y="115"/>
                      </a:lnTo>
                      <a:lnTo>
                        <a:pt x="97" y="115"/>
                      </a:lnTo>
                      <a:lnTo>
                        <a:pt x="97" y="115"/>
                      </a:lnTo>
                      <a:lnTo>
                        <a:pt x="97" y="114"/>
                      </a:lnTo>
                      <a:lnTo>
                        <a:pt x="98" y="115"/>
                      </a:lnTo>
                      <a:lnTo>
                        <a:pt x="98" y="114"/>
                      </a:lnTo>
                      <a:lnTo>
                        <a:pt x="99" y="114"/>
                      </a:lnTo>
                      <a:lnTo>
                        <a:pt x="99" y="114"/>
                      </a:lnTo>
                      <a:lnTo>
                        <a:pt x="99" y="113"/>
                      </a:lnTo>
                      <a:lnTo>
                        <a:pt x="100" y="113"/>
                      </a:lnTo>
                      <a:lnTo>
                        <a:pt x="101" y="113"/>
                      </a:lnTo>
                      <a:lnTo>
                        <a:pt x="101" y="113"/>
                      </a:lnTo>
                      <a:lnTo>
                        <a:pt x="101" y="112"/>
                      </a:lnTo>
                      <a:lnTo>
                        <a:pt x="101" y="111"/>
                      </a:lnTo>
                      <a:lnTo>
                        <a:pt x="101" y="110"/>
                      </a:lnTo>
                      <a:lnTo>
                        <a:pt x="101" y="110"/>
                      </a:lnTo>
                      <a:lnTo>
                        <a:pt x="101" y="109"/>
                      </a:lnTo>
                      <a:lnTo>
                        <a:pt x="101" y="108"/>
                      </a:lnTo>
                      <a:lnTo>
                        <a:pt x="102" y="108"/>
                      </a:lnTo>
                      <a:lnTo>
                        <a:pt x="102" y="108"/>
                      </a:lnTo>
                      <a:lnTo>
                        <a:pt x="101" y="108"/>
                      </a:lnTo>
                      <a:lnTo>
                        <a:pt x="102" y="108"/>
                      </a:lnTo>
                      <a:lnTo>
                        <a:pt x="102" y="107"/>
                      </a:lnTo>
                      <a:lnTo>
                        <a:pt x="102" y="107"/>
                      </a:lnTo>
                      <a:lnTo>
                        <a:pt x="103" y="107"/>
                      </a:lnTo>
                      <a:lnTo>
                        <a:pt x="104" y="106"/>
                      </a:lnTo>
                      <a:lnTo>
                        <a:pt x="103" y="106"/>
                      </a:lnTo>
                      <a:lnTo>
                        <a:pt x="103" y="105"/>
                      </a:lnTo>
                      <a:lnTo>
                        <a:pt x="103" y="104"/>
                      </a:lnTo>
                      <a:lnTo>
                        <a:pt x="103" y="104"/>
                      </a:lnTo>
                      <a:lnTo>
                        <a:pt x="102" y="104"/>
                      </a:lnTo>
                      <a:lnTo>
                        <a:pt x="102" y="103"/>
                      </a:lnTo>
                      <a:lnTo>
                        <a:pt x="102" y="102"/>
                      </a:lnTo>
                      <a:lnTo>
                        <a:pt x="102" y="102"/>
                      </a:lnTo>
                      <a:lnTo>
                        <a:pt x="102" y="102"/>
                      </a:lnTo>
                      <a:lnTo>
                        <a:pt x="102" y="101"/>
                      </a:lnTo>
                      <a:lnTo>
                        <a:pt x="102" y="100"/>
                      </a:lnTo>
                      <a:lnTo>
                        <a:pt x="102" y="100"/>
                      </a:lnTo>
                      <a:lnTo>
                        <a:pt x="102" y="100"/>
                      </a:lnTo>
                      <a:lnTo>
                        <a:pt x="103" y="100"/>
                      </a:lnTo>
                      <a:lnTo>
                        <a:pt x="104" y="99"/>
                      </a:lnTo>
                      <a:lnTo>
                        <a:pt x="103" y="98"/>
                      </a:lnTo>
                      <a:lnTo>
                        <a:pt x="103" y="98"/>
                      </a:lnTo>
                      <a:lnTo>
                        <a:pt x="102" y="98"/>
                      </a:lnTo>
                      <a:lnTo>
                        <a:pt x="102" y="97"/>
                      </a:lnTo>
                      <a:lnTo>
                        <a:pt x="102" y="96"/>
                      </a:lnTo>
                      <a:lnTo>
                        <a:pt x="102" y="96"/>
                      </a:lnTo>
                      <a:lnTo>
                        <a:pt x="102" y="96"/>
                      </a:lnTo>
                      <a:lnTo>
                        <a:pt x="103" y="96"/>
                      </a:lnTo>
                      <a:lnTo>
                        <a:pt x="104" y="96"/>
                      </a:lnTo>
                      <a:lnTo>
                        <a:pt x="104" y="96"/>
                      </a:lnTo>
                      <a:lnTo>
                        <a:pt x="105" y="96"/>
                      </a:lnTo>
                      <a:lnTo>
                        <a:pt x="106" y="96"/>
                      </a:lnTo>
                      <a:lnTo>
                        <a:pt x="106" y="97"/>
                      </a:lnTo>
                      <a:lnTo>
                        <a:pt x="107" y="97"/>
                      </a:lnTo>
                      <a:lnTo>
                        <a:pt x="108" y="97"/>
                      </a:lnTo>
                      <a:lnTo>
                        <a:pt x="108" y="97"/>
                      </a:lnTo>
                      <a:lnTo>
                        <a:pt x="109" y="96"/>
                      </a:lnTo>
                      <a:lnTo>
                        <a:pt x="109" y="96"/>
                      </a:lnTo>
                      <a:lnTo>
                        <a:pt x="110" y="96"/>
                      </a:lnTo>
                      <a:lnTo>
                        <a:pt x="110" y="96"/>
                      </a:lnTo>
                      <a:lnTo>
                        <a:pt x="110" y="95"/>
                      </a:lnTo>
                      <a:lnTo>
                        <a:pt x="110" y="94"/>
                      </a:lnTo>
                      <a:lnTo>
                        <a:pt x="111" y="94"/>
                      </a:lnTo>
                      <a:lnTo>
                        <a:pt x="112" y="94"/>
                      </a:lnTo>
                      <a:lnTo>
                        <a:pt x="112" y="94"/>
                      </a:lnTo>
                      <a:lnTo>
                        <a:pt x="113" y="94"/>
                      </a:lnTo>
                      <a:lnTo>
                        <a:pt x="114" y="94"/>
                      </a:lnTo>
                      <a:lnTo>
                        <a:pt x="114" y="94"/>
                      </a:lnTo>
                      <a:lnTo>
                        <a:pt x="114" y="93"/>
                      </a:lnTo>
                      <a:lnTo>
                        <a:pt x="114" y="93"/>
                      </a:lnTo>
                      <a:lnTo>
                        <a:pt x="113" y="93"/>
                      </a:lnTo>
                      <a:lnTo>
                        <a:pt x="113" y="92"/>
                      </a:lnTo>
                      <a:lnTo>
                        <a:pt x="114" y="92"/>
                      </a:lnTo>
                      <a:lnTo>
                        <a:pt x="114" y="91"/>
                      </a:lnTo>
                      <a:lnTo>
                        <a:pt x="114" y="91"/>
                      </a:lnTo>
                      <a:lnTo>
                        <a:pt x="114" y="92"/>
                      </a:lnTo>
                      <a:lnTo>
                        <a:pt x="114" y="92"/>
                      </a:lnTo>
                      <a:lnTo>
                        <a:pt x="114" y="92"/>
                      </a:lnTo>
                      <a:lnTo>
                        <a:pt x="115" y="92"/>
                      </a:lnTo>
                      <a:lnTo>
                        <a:pt x="115" y="91"/>
                      </a:lnTo>
                      <a:lnTo>
                        <a:pt x="115" y="90"/>
                      </a:lnTo>
                      <a:lnTo>
                        <a:pt x="115" y="89"/>
                      </a:lnTo>
                      <a:lnTo>
                        <a:pt x="116" y="89"/>
                      </a:lnTo>
                      <a:lnTo>
                        <a:pt x="116" y="89"/>
                      </a:lnTo>
                      <a:lnTo>
                        <a:pt x="116" y="88"/>
                      </a:lnTo>
                      <a:lnTo>
                        <a:pt x="116" y="88"/>
                      </a:lnTo>
                      <a:lnTo>
                        <a:pt x="117" y="88"/>
                      </a:lnTo>
                      <a:lnTo>
                        <a:pt x="117" y="89"/>
                      </a:lnTo>
                      <a:lnTo>
                        <a:pt x="118" y="89"/>
                      </a:lnTo>
                      <a:lnTo>
                        <a:pt x="118" y="89"/>
                      </a:lnTo>
                      <a:lnTo>
                        <a:pt x="119" y="89"/>
                      </a:lnTo>
                      <a:lnTo>
                        <a:pt x="120" y="89"/>
                      </a:lnTo>
                      <a:lnTo>
                        <a:pt x="120" y="88"/>
                      </a:lnTo>
                      <a:lnTo>
                        <a:pt x="120" y="87"/>
                      </a:lnTo>
                      <a:lnTo>
                        <a:pt x="121" y="87"/>
                      </a:lnTo>
                      <a:lnTo>
                        <a:pt x="121" y="88"/>
                      </a:lnTo>
                      <a:lnTo>
                        <a:pt x="122" y="87"/>
                      </a:lnTo>
                      <a:lnTo>
                        <a:pt x="123" y="87"/>
                      </a:lnTo>
                      <a:lnTo>
                        <a:pt x="123" y="88"/>
                      </a:lnTo>
                      <a:lnTo>
                        <a:pt x="124" y="89"/>
                      </a:lnTo>
                      <a:lnTo>
                        <a:pt x="125" y="89"/>
                      </a:lnTo>
                      <a:lnTo>
                        <a:pt x="125" y="89"/>
                      </a:lnTo>
                      <a:lnTo>
                        <a:pt x="125" y="90"/>
                      </a:lnTo>
                      <a:lnTo>
                        <a:pt x="125" y="90"/>
                      </a:lnTo>
                      <a:lnTo>
                        <a:pt x="125" y="91"/>
                      </a:lnTo>
                      <a:lnTo>
                        <a:pt x="126" y="91"/>
                      </a:lnTo>
                      <a:lnTo>
                        <a:pt x="127" y="92"/>
                      </a:lnTo>
                      <a:lnTo>
                        <a:pt x="127" y="92"/>
                      </a:lnTo>
                      <a:lnTo>
                        <a:pt x="128" y="92"/>
                      </a:lnTo>
                      <a:lnTo>
                        <a:pt x="129" y="92"/>
                      </a:lnTo>
                      <a:lnTo>
                        <a:pt x="129" y="92"/>
                      </a:lnTo>
                      <a:lnTo>
                        <a:pt x="130" y="92"/>
                      </a:lnTo>
                      <a:lnTo>
                        <a:pt x="131" y="91"/>
                      </a:lnTo>
                      <a:lnTo>
                        <a:pt x="131" y="91"/>
                      </a:lnTo>
                      <a:lnTo>
                        <a:pt x="131" y="90"/>
                      </a:lnTo>
                      <a:lnTo>
                        <a:pt x="131" y="89"/>
                      </a:lnTo>
                      <a:lnTo>
                        <a:pt x="132" y="89"/>
                      </a:lnTo>
                      <a:lnTo>
                        <a:pt x="133" y="89"/>
                      </a:lnTo>
                      <a:lnTo>
                        <a:pt x="133" y="89"/>
                      </a:lnTo>
                      <a:lnTo>
                        <a:pt x="133" y="89"/>
                      </a:lnTo>
                      <a:lnTo>
                        <a:pt x="133" y="88"/>
                      </a:lnTo>
                      <a:lnTo>
                        <a:pt x="134" y="88"/>
                      </a:lnTo>
                      <a:lnTo>
                        <a:pt x="135" y="88"/>
                      </a:lnTo>
                      <a:lnTo>
                        <a:pt x="135" y="87"/>
                      </a:lnTo>
                      <a:lnTo>
                        <a:pt x="135" y="88"/>
                      </a:lnTo>
                      <a:lnTo>
                        <a:pt x="136" y="88"/>
                      </a:lnTo>
                      <a:lnTo>
                        <a:pt x="137" y="88"/>
                      </a:lnTo>
                      <a:lnTo>
                        <a:pt x="137" y="88"/>
                      </a:lnTo>
                      <a:lnTo>
                        <a:pt x="138" y="87"/>
                      </a:lnTo>
                      <a:lnTo>
                        <a:pt x="139" y="87"/>
                      </a:lnTo>
                      <a:lnTo>
                        <a:pt x="139" y="88"/>
                      </a:lnTo>
                      <a:lnTo>
                        <a:pt x="140" y="88"/>
                      </a:lnTo>
                      <a:lnTo>
                        <a:pt x="140" y="89"/>
                      </a:lnTo>
                      <a:lnTo>
                        <a:pt x="140" y="89"/>
                      </a:lnTo>
                      <a:lnTo>
                        <a:pt x="140" y="88"/>
                      </a:lnTo>
                      <a:lnTo>
                        <a:pt x="140" y="87"/>
                      </a:lnTo>
                      <a:lnTo>
                        <a:pt x="140" y="87"/>
                      </a:lnTo>
                      <a:lnTo>
                        <a:pt x="140" y="86"/>
                      </a:lnTo>
                      <a:lnTo>
                        <a:pt x="140" y="86"/>
                      </a:lnTo>
                      <a:lnTo>
                        <a:pt x="140" y="85"/>
                      </a:lnTo>
                      <a:lnTo>
                        <a:pt x="140" y="85"/>
                      </a:lnTo>
                      <a:lnTo>
                        <a:pt x="141" y="85"/>
                      </a:lnTo>
                      <a:lnTo>
                        <a:pt x="142" y="85"/>
                      </a:lnTo>
                      <a:lnTo>
                        <a:pt x="142" y="84"/>
                      </a:lnTo>
                      <a:lnTo>
                        <a:pt x="141" y="84"/>
                      </a:lnTo>
                      <a:lnTo>
                        <a:pt x="141" y="83"/>
                      </a:lnTo>
                      <a:lnTo>
                        <a:pt x="140" y="83"/>
                      </a:lnTo>
                      <a:lnTo>
                        <a:pt x="141" y="82"/>
                      </a:lnTo>
                      <a:lnTo>
                        <a:pt x="142" y="82"/>
                      </a:lnTo>
                      <a:lnTo>
                        <a:pt x="142" y="82"/>
                      </a:lnTo>
                      <a:lnTo>
                        <a:pt x="143" y="81"/>
                      </a:lnTo>
                      <a:lnTo>
                        <a:pt x="144" y="81"/>
                      </a:lnTo>
                      <a:lnTo>
                        <a:pt x="144" y="80"/>
                      </a:lnTo>
                      <a:lnTo>
                        <a:pt x="144" y="79"/>
                      </a:lnTo>
                      <a:lnTo>
                        <a:pt x="144" y="79"/>
                      </a:lnTo>
                      <a:lnTo>
                        <a:pt x="144" y="78"/>
                      </a:lnTo>
                      <a:lnTo>
                        <a:pt x="144" y="77"/>
                      </a:lnTo>
                      <a:lnTo>
                        <a:pt x="144" y="77"/>
                      </a:lnTo>
                      <a:lnTo>
                        <a:pt x="145" y="77"/>
                      </a:lnTo>
                      <a:lnTo>
                        <a:pt x="145" y="76"/>
                      </a:lnTo>
                      <a:lnTo>
                        <a:pt x="145" y="75"/>
                      </a:lnTo>
                      <a:lnTo>
                        <a:pt x="146" y="75"/>
                      </a:lnTo>
                      <a:lnTo>
                        <a:pt x="145" y="75"/>
                      </a:lnTo>
                      <a:lnTo>
                        <a:pt x="145" y="74"/>
                      </a:lnTo>
                      <a:lnTo>
                        <a:pt x="145" y="73"/>
                      </a:lnTo>
                      <a:lnTo>
                        <a:pt x="144" y="73"/>
                      </a:lnTo>
                      <a:lnTo>
                        <a:pt x="144" y="73"/>
                      </a:lnTo>
                      <a:lnTo>
                        <a:pt x="144" y="72"/>
                      </a:lnTo>
                      <a:lnTo>
                        <a:pt x="145" y="72"/>
                      </a:lnTo>
                      <a:lnTo>
                        <a:pt x="145" y="71"/>
                      </a:lnTo>
                      <a:lnTo>
                        <a:pt x="144" y="71"/>
                      </a:lnTo>
                      <a:lnTo>
                        <a:pt x="144" y="70"/>
                      </a:lnTo>
                      <a:lnTo>
                        <a:pt x="144" y="70"/>
                      </a:lnTo>
                      <a:lnTo>
                        <a:pt x="144" y="69"/>
                      </a:lnTo>
                      <a:lnTo>
                        <a:pt x="145" y="69"/>
                      </a:lnTo>
                      <a:lnTo>
                        <a:pt x="145" y="68"/>
                      </a:lnTo>
                      <a:lnTo>
                        <a:pt x="144" y="68"/>
                      </a:lnTo>
                      <a:lnTo>
                        <a:pt x="144" y="68"/>
                      </a:lnTo>
                      <a:lnTo>
                        <a:pt x="144" y="67"/>
                      </a:lnTo>
                      <a:lnTo>
                        <a:pt x="144" y="67"/>
                      </a:lnTo>
                      <a:lnTo>
                        <a:pt x="144" y="66"/>
                      </a:lnTo>
                      <a:lnTo>
                        <a:pt x="144" y="66"/>
                      </a:lnTo>
                      <a:lnTo>
                        <a:pt x="143" y="66"/>
                      </a:lnTo>
                      <a:lnTo>
                        <a:pt x="143" y="65"/>
                      </a:lnTo>
                      <a:lnTo>
                        <a:pt x="144" y="65"/>
                      </a:lnTo>
                      <a:lnTo>
                        <a:pt x="144" y="64"/>
                      </a:lnTo>
                      <a:lnTo>
                        <a:pt x="143" y="64"/>
                      </a:lnTo>
                      <a:lnTo>
                        <a:pt x="143" y="64"/>
                      </a:lnTo>
                      <a:lnTo>
                        <a:pt x="142" y="64"/>
                      </a:lnTo>
                      <a:lnTo>
                        <a:pt x="142" y="63"/>
                      </a:lnTo>
                      <a:lnTo>
                        <a:pt x="143" y="63"/>
                      </a:lnTo>
                      <a:lnTo>
                        <a:pt x="143" y="62"/>
                      </a:lnTo>
                      <a:lnTo>
                        <a:pt x="144" y="62"/>
                      </a:lnTo>
                      <a:lnTo>
                        <a:pt x="144" y="62"/>
                      </a:lnTo>
                      <a:lnTo>
                        <a:pt x="144" y="61"/>
                      </a:lnTo>
                      <a:lnTo>
                        <a:pt x="144" y="60"/>
                      </a:lnTo>
                      <a:lnTo>
                        <a:pt x="144" y="60"/>
                      </a:lnTo>
                      <a:lnTo>
                        <a:pt x="144" y="60"/>
                      </a:lnTo>
                      <a:lnTo>
                        <a:pt x="144" y="60"/>
                      </a:lnTo>
                      <a:lnTo>
                        <a:pt x="143" y="60"/>
                      </a:lnTo>
                      <a:lnTo>
                        <a:pt x="143" y="60"/>
                      </a:lnTo>
                      <a:lnTo>
                        <a:pt x="142" y="60"/>
                      </a:lnTo>
                      <a:lnTo>
                        <a:pt x="142" y="59"/>
                      </a:lnTo>
                      <a:lnTo>
                        <a:pt x="142" y="58"/>
                      </a:lnTo>
                      <a:lnTo>
                        <a:pt x="142" y="58"/>
                      </a:lnTo>
                      <a:lnTo>
                        <a:pt x="142" y="58"/>
                      </a:lnTo>
                      <a:lnTo>
                        <a:pt x="142" y="57"/>
                      </a:lnTo>
                      <a:lnTo>
                        <a:pt x="142" y="56"/>
                      </a:lnTo>
                      <a:lnTo>
                        <a:pt x="142" y="56"/>
                      </a:lnTo>
                      <a:lnTo>
                        <a:pt x="142" y="56"/>
                      </a:lnTo>
                      <a:lnTo>
                        <a:pt x="141" y="55"/>
                      </a:lnTo>
                      <a:lnTo>
                        <a:pt x="140" y="55"/>
                      </a:lnTo>
                      <a:lnTo>
                        <a:pt x="140" y="54"/>
                      </a:lnTo>
                      <a:lnTo>
                        <a:pt x="139" y="54"/>
                      </a:lnTo>
                      <a:lnTo>
                        <a:pt x="138" y="54"/>
                      </a:lnTo>
                      <a:lnTo>
                        <a:pt x="138" y="55"/>
                      </a:lnTo>
                      <a:lnTo>
                        <a:pt x="137" y="55"/>
                      </a:lnTo>
                      <a:lnTo>
                        <a:pt x="137" y="55"/>
                      </a:lnTo>
                      <a:lnTo>
                        <a:pt x="137" y="54"/>
                      </a:lnTo>
                      <a:lnTo>
                        <a:pt x="137" y="54"/>
                      </a:lnTo>
                      <a:lnTo>
                        <a:pt x="137" y="54"/>
                      </a:lnTo>
                      <a:lnTo>
                        <a:pt x="137" y="54"/>
                      </a:lnTo>
                      <a:lnTo>
                        <a:pt x="137" y="53"/>
                      </a:lnTo>
                      <a:lnTo>
                        <a:pt x="136" y="53"/>
                      </a:lnTo>
                      <a:lnTo>
                        <a:pt x="136" y="54"/>
                      </a:lnTo>
                      <a:lnTo>
                        <a:pt x="135" y="54"/>
                      </a:lnTo>
                      <a:lnTo>
                        <a:pt x="135" y="53"/>
                      </a:lnTo>
                      <a:lnTo>
                        <a:pt x="135" y="53"/>
                      </a:lnTo>
                      <a:lnTo>
                        <a:pt x="134" y="53"/>
                      </a:lnTo>
                      <a:lnTo>
                        <a:pt x="134" y="52"/>
                      </a:lnTo>
                      <a:lnTo>
                        <a:pt x="134" y="51"/>
                      </a:lnTo>
                      <a:lnTo>
                        <a:pt x="135" y="51"/>
                      </a:lnTo>
                      <a:lnTo>
                        <a:pt x="135" y="51"/>
                      </a:lnTo>
                      <a:lnTo>
                        <a:pt x="134" y="51"/>
                      </a:lnTo>
                      <a:lnTo>
                        <a:pt x="133" y="51"/>
                      </a:lnTo>
                      <a:lnTo>
                        <a:pt x="133" y="51"/>
                      </a:lnTo>
                      <a:lnTo>
                        <a:pt x="132" y="50"/>
                      </a:lnTo>
                      <a:lnTo>
                        <a:pt x="132" y="49"/>
                      </a:lnTo>
                      <a:lnTo>
                        <a:pt x="132" y="49"/>
                      </a:lnTo>
                      <a:lnTo>
                        <a:pt x="132" y="48"/>
                      </a:lnTo>
                      <a:lnTo>
                        <a:pt x="133" y="48"/>
                      </a:lnTo>
                      <a:lnTo>
                        <a:pt x="133" y="47"/>
                      </a:lnTo>
                      <a:lnTo>
                        <a:pt x="133" y="47"/>
                      </a:lnTo>
                      <a:lnTo>
                        <a:pt x="133" y="46"/>
                      </a:lnTo>
                      <a:lnTo>
                        <a:pt x="132" y="45"/>
                      </a:lnTo>
                      <a:lnTo>
                        <a:pt x="131" y="45"/>
                      </a:lnTo>
                      <a:lnTo>
                        <a:pt x="131" y="45"/>
                      </a:lnTo>
                      <a:lnTo>
                        <a:pt x="130" y="45"/>
                      </a:lnTo>
                      <a:lnTo>
                        <a:pt x="129" y="45"/>
                      </a:lnTo>
                      <a:lnTo>
                        <a:pt x="129" y="45"/>
                      </a:lnTo>
                      <a:lnTo>
                        <a:pt x="128" y="45"/>
                      </a:lnTo>
                      <a:lnTo>
                        <a:pt x="127" y="44"/>
                      </a:lnTo>
                      <a:lnTo>
                        <a:pt x="127" y="44"/>
                      </a:lnTo>
                      <a:lnTo>
                        <a:pt x="126" y="44"/>
                      </a:lnTo>
                      <a:lnTo>
                        <a:pt x="125" y="45"/>
                      </a:lnTo>
                      <a:lnTo>
                        <a:pt x="125" y="45"/>
                      </a:lnTo>
                      <a:lnTo>
                        <a:pt x="125" y="46"/>
                      </a:lnTo>
                      <a:lnTo>
                        <a:pt x="126" y="46"/>
                      </a:lnTo>
                      <a:lnTo>
                        <a:pt x="126" y="47"/>
                      </a:lnTo>
                      <a:lnTo>
                        <a:pt x="127" y="47"/>
                      </a:lnTo>
                      <a:lnTo>
                        <a:pt x="127" y="47"/>
                      </a:lnTo>
                      <a:lnTo>
                        <a:pt x="128" y="48"/>
                      </a:lnTo>
                      <a:lnTo>
                        <a:pt x="128" y="49"/>
                      </a:lnTo>
                      <a:lnTo>
                        <a:pt x="128" y="49"/>
                      </a:lnTo>
                      <a:lnTo>
                        <a:pt x="127" y="49"/>
                      </a:lnTo>
                      <a:lnTo>
                        <a:pt x="127" y="49"/>
                      </a:lnTo>
                      <a:lnTo>
                        <a:pt x="127" y="49"/>
                      </a:lnTo>
                      <a:lnTo>
                        <a:pt x="126" y="49"/>
                      </a:lnTo>
                      <a:lnTo>
                        <a:pt x="125" y="48"/>
                      </a:lnTo>
                      <a:lnTo>
                        <a:pt x="125" y="47"/>
                      </a:lnTo>
                      <a:lnTo>
                        <a:pt x="125" y="47"/>
                      </a:lnTo>
                      <a:lnTo>
                        <a:pt x="125" y="46"/>
                      </a:lnTo>
                      <a:lnTo>
                        <a:pt x="124" y="45"/>
                      </a:lnTo>
                      <a:lnTo>
                        <a:pt x="123" y="45"/>
                      </a:lnTo>
                      <a:lnTo>
                        <a:pt x="123" y="45"/>
                      </a:lnTo>
                      <a:lnTo>
                        <a:pt x="122" y="45"/>
                      </a:lnTo>
                      <a:lnTo>
                        <a:pt x="121" y="45"/>
                      </a:lnTo>
                      <a:lnTo>
                        <a:pt x="121" y="45"/>
                      </a:lnTo>
                      <a:lnTo>
                        <a:pt x="120" y="45"/>
                      </a:lnTo>
                      <a:lnTo>
                        <a:pt x="119" y="46"/>
                      </a:lnTo>
                      <a:lnTo>
                        <a:pt x="118" y="46"/>
                      </a:lnTo>
                      <a:lnTo>
                        <a:pt x="118" y="45"/>
                      </a:lnTo>
                      <a:lnTo>
                        <a:pt x="118" y="45"/>
                      </a:lnTo>
                      <a:lnTo>
                        <a:pt x="118" y="44"/>
                      </a:lnTo>
                      <a:lnTo>
                        <a:pt x="118" y="43"/>
                      </a:lnTo>
                      <a:lnTo>
                        <a:pt x="118" y="43"/>
                      </a:lnTo>
                      <a:lnTo>
                        <a:pt x="118" y="41"/>
                      </a:lnTo>
                      <a:lnTo>
                        <a:pt x="119" y="41"/>
                      </a:lnTo>
                      <a:lnTo>
                        <a:pt x="119" y="40"/>
                      </a:lnTo>
                      <a:lnTo>
                        <a:pt x="120" y="40"/>
                      </a:lnTo>
                      <a:lnTo>
                        <a:pt x="121" y="40"/>
                      </a:lnTo>
                      <a:lnTo>
                        <a:pt x="121" y="41"/>
                      </a:lnTo>
                      <a:lnTo>
                        <a:pt x="121" y="41"/>
                      </a:lnTo>
                      <a:lnTo>
                        <a:pt x="122" y="41"/>
                      </a:lnTo>
                      <a:lnTo>
                        <a:pt x="123" y="41"/>
                      </a:lnTo>
                      <a:lnTo>
                        <a:pt x="123" y="40"/>
                      </a:lnTo>
                      <a:lnTo>
                        <a:pt x="123" y="39"/>
                      </a:lnTo>
                      <a:lnTo>
                        <a:pt x="123" y="39"/>
                      </a:lnTo>
                      <a:lnTo>
                        <a:pt x="122" y="38"/>
                      </a:lnTo>
                      <a:lnTo>
                        <a:pt x="121" y="38"/>
                      </a:lnTo>
                      <a:lnTo>
                        <a:pt x="121" y="38"/>
                      </a:lnTo>
                      <a:lnTo>
                        <a:pt x="120" y="38"/>
                      </a:lnTo>
                      <a:lnTo>
                        <a:pt x="119" y="38"/>
                      </a:lnTo>
                      <a:lnTo>
                        <a:pt x="119" y="37"/>
                      </a:lnTo>
                      <a:lnTo>
                        <a:pt x="119" y="37"/>
                      </a:lnTo>
                      <a:lnTo>
                        <a:pt x="119" y="36"/>
                      </a:lnTo>
                      <a:lnTo>
                        <a:pt x="119" y="35"/>
                      </a:lnTo>
                      <a:lnTo>
                        <a:pt x="119" y="35"/>
                      </a:lnTo>
                      <a:lnTo>
                        <a:pt x="120" y="34"/>
                      </a:lnTo>
                      <a:lnTo>
                        <a:pt x="120" y="33"/>
                      </a:lnTo>
                      <a:lnTo>
                        <a:pt x="120" y="33"/>
                      </a:lnTo>
                      <a:lnTo>
                        <a:pt x="120" y="32"/>
                      </a:lnTo>
                      <a:lnTo>
                        <a:pt x="119" y="31"/>
                      </a:lnTo>
                      <a:lnTo>
                        <a:pt x="118" y="31"/>
                      </a:lnTo>
                      <a:lnTo>
                        <a:pt x="118" y="31"/>
                      </a:lnTo>
                      <a:lnTo>
                        <a:pt x="117" y="31"/>
                      </a:lnTo>
                      <a:lnTo>
                        <a:pt x="116" y="32"/>
                      </a:lnTo>
                      <a:lnTo>
                        <a:pt x="116" y="32"/>
                      </a:lnTo>
                      <a:lnTo>
                        <a:pt x="115" y="32"/>
                      </a:lnTo>
                      <a:lnTo>
                        <a:pt x="115" y="33"/>
                      </a:lnTo>
                      <a:lnTo>
                        <a:pt x="114" y="33"/>
                      </a:lnTo>
                      <a:lnTo>
                        <a:pt x="114" y="34"/>
                      </a:lnTo>
                      <a:lnTo>
                        <a:pt x="114" y="35"/>
                      </a:lnTo>
                      <a:lnTo>
                        <a:pt x="114" y="35"/>
                      </a:lnTo>
                      <a:lnTo>
                        <a:pt x="115" y="36"/>
                      </a:lnTo>
                      <a:lnTo>
                        <a:pt x="115" y="37"/>
                      </a:lnTo>
                      <a:lnTo>
                        <a:pt x="114" y="37"/>
                      </a:lnTo>
                      <a:lnTo>
                        <a:pt x="114" y="37"/>
                      </a:lnTo>
                      <a:lnTo>
                        <a:pt x="113" y="37"/>
                      </a:lnTo>
                      <a:lnTo>
                        <a:pt x="112" y="37"/>
                      </a:lnTo>
                      <a:lnTo>
                        <a:pt x="112" y="37"/>
                      </a:lnTo>
                      <a:lnTo>
                        <a:pt x="111" y="37"/>
                      </a:lnTo>
                      <a:lnTo>
                        <a:pt x="110" y="37"/>
                      </a:lnTo>
                      <a:lnTo>
                        <a:pt x="110" y="37"/>
                      </a:lnTo>
                      <a:lnTo>
                        <a:pt x="110" y="36"/>
                      </a:lnTo>
                      <a:lnTo>
                        <a:pt x="110" y="35"/>
                      </a:lnTo>
                      <a:lnTo>
                        <a:pt x="111" y="35"/>
                      </a:lnTo>
                      <a:lnTo>
                        <a:pt x="111" y="34"/>
                      </a:lnTo>
                      <a:lnTo>
                        <a:pt x="112" y="33"/>
                      </a:lnTo>
                      <a:lnTo>
                        <a:pt x="111" y="33"/>
                      </a:lnTo>
                      <a:lnTo>
                        <a:pt x="111" y="32"/>
                      </a:lnTo>
                      <a:lnTo>
                        <a:pt x="111" y="31"/>
                      </a:lnTo>
                      <a:lnTo>
                        <a:pt x="110" y="30"/>
                      </a:lnTo>
                      <a:lnTo>
                        <a:pt x="110" y="30"/>
                      </a:lnTo>
                      <a:lnTo>
                        <a:pt x="109" y="29"/>
                      </a:lnTo>
                      <a:lnTo>
                        <a:pt x="110" y="28"/>
                      </a:lnTo>
                      <a:lnTo>
                        <a:pt x="110" y="28"/>
                      </a:lnTo>
                      <a:lnTo>
                        <a:pt x="110" y="28"/>
                      </a:lnTo>
                      <a:lnTo>
                        <a:pt x="111" y="28"/>
                      </a:lnTo>
                      <a:lnTo>
                        <a:pt x="112" y="28"/>
                      </a:lnTo>
                      <a:lnTo>
                        <a:pt x="112" y="28"/>
                      </a:lnTo>
                      <a:lnTo>
                        <a:pt x="113" y="28"/>
                      </a:lnTo>
                      <a:lnTo>
                        <a:pt x="114" y="28"/>
                      </a:lnTo>
                      <a:lnTo>
                        <a:pt x="114" y="27"/>
                      </a:lnTo>
                      <a:lnTo>
                        <a:pt x="114" y="26"/>
                      </a:lnTo>
                      <a:lnTo>
                        <a:pt x="114" y="26"/>
                      </a:lnTo>
                      <a:lnTo>
                        <a:pt x="113" y="25"/>
                      </a:lnTo>
                      <a:lnTo>
                        <a:pt x="112" y="24"/>
                      </a:lnTo>
                      <a:lnTo>
                        <a:pt x="112" y="24"/>
                      </a:lnTo>
                      <a:lnTo>
                        <a:pt x="111" y="25"/>
                      </a:lnTo>
                      <a:lnTo>
                        <a:pt x="110" y="26"/>
                      </a:lnTo>
                      <a:lnTo>
                        <a:pt x="110" y="26"/>
                      </a:lnTo>
                      <a:lnTo>
                        <a:pt x="109" y="26"/>
                      </a:lnTo>
                      <a:lnTo>
                        <a:pt x="109" y="26"/>
                      </a:lnTo>
                      <a:lnTo>
                        <a:pt x="108" y="26"/>
                      </a:lnTo>
                      <a:lnTo>
                        <a:pt x="108" y="25"/>
                      </a:lnTo>
                      <a:lnTo>
                        <a:pt x="108" y="24"/>
                      </a:lnTo>
                      <a:lnTo>
                        <a:pt x="108" y="23"/>
                      </a:lnTo>
                      <a:lnTo>
                        <a:pt x="107" y="22"/>
                      </a:lnTo>
                      <a:lnTo>
                        <a:pt x="106" y="22"/>
                      </a:lnTo>
                      <a:lnTo>
                        <a:pt x="106" y="22"/>
                      </a:lnTo>
                      <a:lnTo>
                        <a:pt x="105" y="22"/>
                      </a:lnTo>
                      <a:lnTo>
                        <a:pt x="104" y="23"/>
                      </a:lnTo>
                      <a:lnTo>
                        <a:pt x="104" y="23"/>
                      </a:lnTo>
                      <a:lnTo>
                        <a:pt x="103" y="23"/>
                      </a:lnTo>
                      <a:lnTo>
                        <a:pt x="103" y="22"/>
                      </a:lnTo>
                      <a:lnTo>
                        <a:pt x="103" y="22"/>
                      </a:lnTo>
                      <a:lnTo>
                        <a:pt x="103" y="21"/>
                      </a:lnTo>
                      <a:lnTo>
                        <a:pt x="104" y="20"/>
                      </a:lnTo>
                      <a:lnTo>
                        <a:pt x="104" y="20"/>
                      </a:lnTo>
                      <a:lnTo>
                        <a:pt x="105" y="20"/>
                      </a:lnTo>
                      <a:lnTo>
                        <a:pt x="106" y="20"/>
                      </a:lnTo>
                      <a:lnTo>
                        <a:pt x="106" y="20"/>
                      </a:lnTo>
                      <a:lnTo>
                        <a:pt x="106" y="19"/>
                      </a:lnTo>
                      <a:lnTo>
                        <a:pt x="106" y="18"/>
                      </a:lnTo>
                      <a:lnTo>
                        <a:pt x="106" y="17"/>
                      </a:lnTo>
                      <a:lnTo>
                        <a:pt x="105" y="17"/>
                      </a:lnTo>
                      <a:lnTo>
                        <a:pt x="105" y="16"/>
                      </a:lnTo>
                      <a:lnTo>
                        <a:pt x="104" y="17"/>
                      </a:lnTo>
                      <a:lnTo>
                        <a:pt x="104" y="17"/>
                      </a:lnTo>
                      <a:lnTo>
                        <a:pt x="103" y="18"/>
                      </a:lnTo>
                      <a:lnTo>
                        <a:pt x="103" y="18"/>
                      </a:lnTo>
                      <a:lnTo>
                        <a:pt x="102" y="19"/>
                      </a:lnTo>
                      <a:lnTo>
                        <a:pt x="102" y="19"/>
                      </a:lnTo>
                      <a:lnTo>
                        <a:pt x="101" y="19"/>
                      </a:lnTo>
                      <a:lnTo>
                        <a:pt x="100" y="18"/>
                      </a:lnTo>
                      <a:lnTo>
                        <a:pt x="100" y="18"/>
                      </a:lnTo>
                      <a:lnTo>
                        <a:pt x="100" y="17"/>
                      </a:lnTo>
                      <a:lnTo>
                        <a:pt x="101" y="16"/>
                      </a:lnTo>
                      <a:lnTo>
                        <a:pt x="102" y="16"/>
                      </a:lnTo>
                      <a:lnTo>
                        <a:pt x="102" y="16"/>
                      </a:lnTo>
                      <a:lnTo>
                        <a:pt x="103" y="16"/>
                      </a:lnTo>
                      <a:lnTo>
                        <a:pt x="104" y="16"/>
                      </a:lnTo>
                      <a:lnTo>
                        <a:pt x="104" y="16"/>
                      </a:lnTo>
                      <a:lnTo>
                        <a:pt x="105" y="16"/>
                      </a:lnTo>
                      <a:lnTo>
                        <a:pt x="105" y="15"/>
                      </a:lnTo>
                      <a:lnTo>
                        <a:pt x="105" y="14"/>
                      </a:lnTo>
                      <a:lnTo>
                        <a:pt x="105" y="14"/>
                      </a:lnTo>
                      <a:lnTo>
                        <a:pt x="104" y="14"/>
                      </a:lnTo>
                      <a:lnTo>
                        <a:pt x="104" y="13"/>
                      </a:lnTo>
                      <a:lnTo>
                        <a:pt x="103" y="13"/>
                      </a:lnTo>
                      <a:lnTo>
                        <a:pt x="102" y="13"/>
                      </a:lnTo>
                      <a:lnTo>
                        <a:pt x="102" y="14"/>
                      </a:lnTo>
                      <a:lnTo>
                        <a:pt x="102" y="14"/>
                      </a:lnTo>
                      <a:lnTo>
                        <a:pt x="102" y="15"/>
                      </a:lnTo>
                      <a:lnTo>
                        <a:pt x="101" y="16"/>
                      </a:lnTo>
                      <a:lnTo>
                        <a:pt x="100" y="16"/>
                      </a:lnTo>
                      <a:lnTo>
                        <a:pt x="100" y="16"/>
                      </a:lnTo>
                      <a:lnTo>
                        <a:pt x="99" y="16"/>
                      </a:lnTo>
                      <a:lnTo>
                        <a:pt x="99" y="16"/>
                      </a:lnTo>
                      <a:lnTo>
                        <a:pt x="99" y="16"/>
                      </a:lnTo>
                      <a:lnTo>
                        <a:pt x="99" y="14"/>
                      </a:lnTo>
                      <a:lnTo>
                        <a:pt x="98" y="14"/>
                      </a:lnTo>
                      <a:lnTo>
                        <a:pt x="97" y="14"/>
                      </a:lnTo>
                      <a:lnTo>
                        <a:pt x="97" y="13"/>
                      </a:lnTo>
                      <a:lnTo>
                        <a:pt x="97" y="14"/>
                      </a:lnTo>
                      <a:lnTo>
                        <a:pt x="96" y="14"/>
                      </a:lnTo>
                      <a:lnTo>
                        <a:pt x="96" y="15"/>
                      </a:lnTo>
                      <a:lnTo>
                        <a:pt x="96" y="16"/>
                      </a:lnTo>
                      <a:lnTo>
                        <a:pt x="97" y="16"/>
                      </a:lnTo>
                      <a:lnTo>
                        <a:pt x="96" y="17"/>
                      </a:lnTo>
                      <a:lnTo>
                        <a:pt x="96" y="18"/>
                      </a:lnTo>
                      <a:lnTo>
                        <a:pt x="95" y="18"/>
                      </a:lnTo>
                      <a:lnTo>
                        <a:pt x="95" y="18"/>
                      </a:lnTo>
                      <a:lnTo>
                        <a:pt x="94" y="18"/>
                      </a:lnTo>
                      <a:lnTo>
                        <a:pt x="94" y="17"/>
                      </a:lnTo>
                      <a:lnTo>
                        <a:pt x="93" y="16"/>
                      </a:lnTo>
                      <a:lnTo>
                        <a:pt x="94" y="15"/>
                      </a:lnTo>
                      <a:lnTo>
                        <a:pt x="94" y="14"/>
                      </a:lnTo>
                      <a:lnTo>
                        <a:pt x="95" y="14"/>
                      </a:lnTo>
                      <a:lnTo>
                        <a:pt x="95" y="12"/>
                      </a:lnTo>
                      <a:lnTo>
                        <a:pt x="95" y="11"/>
                      </a:lnTo>
                      <a:lnTo>
                        <a:pt x="94" y="11"/>
                      </a:lnTo>
                      <a:lnTo>
                        <a:pt x="93" y="10"/>
                      </a:lnTo>
                      <a:lnTo>
                        <a:pt x="93" y="11"/>
                      </a:lnTo>
                      <a:lnTo>
                        <a:pt x="93" y="11"/>
                      </a:lnTo>
                      <a:lnTo>
                        <a:pt x="92" y="11"/>
                      </a:lnTo>
                      <a:lnTo>
                        <a:pt x="91" y="12"/>
                      </a:lnTo>
                      <a:lnTo>
                        <a:pt x="91" y="13"/>
                      </a:lnTo>
                      <a:lnTo>
                        <a:pt x="91" y="14"/>
                      </a:lnTo>
                      <a:lnTo>
                        <a:pt x="90" y="14"/>
                      </a:lnTo>
                      <a:lnTo>
                        <a:pt x="89" y="14"/>
                      </a:lnTo>
                      <a:lnTo>
                        <a:pt x="89" y="14"/>
                      </a:lnTo>
                      <a:lnTo>
                        <a:pt x="88" y="14"/>
                      </a:lnTo>
                      <a:lnTo>
                        <a:pt x="88" y="13"/>
                      </a:lnTo>
                      <a:lnTo>
                        <a:pt x="87" y="12"/>
                      </a:lnTo>
                      <a:lnTo>
                        <a:pt x="87" y="11"/>
                      </a:lnTo>
                      <a:lnTo>
                        <a:pt x="87" y="11"/>
                      </a:lnTo>
                      <a:lnTo>
                        <a:pt x="85" y="11"/>
                      </a:lnTo>
                      <a:lnTo>
                        <a:pt x="85" y="12"/>
                      </a:lnTo>
                      <a:lnTo>
                        <a:pt x="84" y="12"/>
                      </a:lnTo>
                      <a:lnTo>
                        <a:pt x="83" y="13"/>
                      </a:lnTo>
                      <a:lnTo>
                        <a:pt x="83" y="13"/>
                      </a:lnTo>
                      <a:lnTo>
                        <a:pt x="82" y="12"/>
                      </a:lnTo>
                      <a:lnTo>
                        <a:pt x="81" y="12"/>
                      </a:lnTo>
                      <a:lnTo>
                        <a:pt x="80" y="12"/>
                      </a:lnTo>
                      <a:lnTo>
                        <a:pt x="80" y="11"/>
                      </a:lnTo>
                      <a:lnTo>
                        <a:pt x="80" y="11"/>
                      </a:lnTo>
                      <a:lnTo>
                        <a:pt x="80" y="10"/>
                      </a:lnTo>
                      <a:lnTo>
                        <a:pt x="80" y="9"/>
                      </a:lnTo>
                      <a:lnTo>
                        <a:pt x="81" y="9"/>
                      </a:lnTo>
                      <a:lnTo>
                        <a:pt x="82" y="9"/>
                      </a:lnTo>
                      <a:lnTo>
                        <a:pt x="83" y="9"/>
                      </a:lnTo>
                      <a:lnTo>
                        <a:pt x="83" y="8"/>
                      </a:lnTo>
                      <a:lnTo>
                        <a:pt x="83" y="7"/>
                      </a:lnTo>
                      <a:lnTo>
                        <a:pt x="83" y="7"/>
                      </a:lnTo>
                      <a:lnTo>
                        <a:pt x="82" y="6"/>
                      </a:lnTo>
                      <a:lnTo>
                        <a:pt x="81" y="6"/>
                      </a:lnTo>
                      <a:lnTo>
                        <a:pt x="80" y="5"/>
                      </a:lnTo>
                      <a:lnTo>
                        <a:pt x="80" y="5"/>
                      </a:lnTo>
                      <a:lnTo>
                        <a:pt x="78" y="4"/>
                      </a:lnTo>
                      <a:lnTo>
                        <a:pt x="78" y="3"/>
                      </a:lnTo>
                      <a:lnTo>
                        <a:pt x="78" y="3"/>
                      </a:lnTo>
                      <a:lnTo>
                        <a:pt x="78" y="2"/>
                      </a:lnTo>
                      <a:lnTo>
                        <a:pt x="78" y="1"/>
                      </a:lnTo>
                      <a:lnTo>
                        <a:pt x="77" y="1"/>
                      </a:lnTo>
                      <a:lnTo>
                        <a:pt x="77" y="0"/>
                      </a:lnTo>
                      <a:lnTo>
                        <a:pt x="76" y="0"/>
                      </a:lnTo>
                      <a:lnTo>
                        <a:pt x="76" y="0"/>
                      </a:lnTo>
                      <a:lnTo>
                        <a:pt x="75" y="0"/>
                      </a:lnTo>
                      <a:lnTo>
                        <a:pt x="74" y="1"/>
                      </a:lnTo>
                      <a:lnTo>
                        <a:pt x="74" y="1"/>
                      </a:lnTo>
                      <a:lnTo>
                        <a:pt x="73" y="2"/>
                      </a:lnTo>
                      <a:lnTo>
                        <a:pt x="72" y="3"/>
                      </a:lnTo>
                      <a:lnTo>
                        <a:pt x="72" y="2"/>
                      </a:lnTo>
                      <a:lnTo>
                        <a:pt x="71" y="2"/>
                      </a:lnTo>
                      <a:lnTo>
                        <a:pt x="70" y="1"/>
                      </a:lnTo>
                      <a:lnTo>
                        <a:pt x="70"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3" name="Freeform 78">
                  <a:extLst>
                    <a:ext uri="{FF2B5EF4-FFF2-40B4-BE49-F238E27FC236}">
                      <a16:creationId xmlns:a16="http://schemas.microsoft.com/office/drawing/2014/main" xmlns="" id="{0E797E31-6B02-3310-96C6-0F0861BC4DA8}"/>
                    </a:ext>
                  </a:extLst>
                </p:cNvPr>
                <p:cNvSpPr>
                  <a:spLocks/>
                </p:cNvSpPr>
                <p:nvPr/>
              </p:nvSpPr>
              <p:spPr bwMode="auto">
                <a:xfrm>
                  <a:off x="3196" y="2413"/>
                  <a:ext cx="84" cy="272"/>
                </a:xfrm>
                <a:custGeom>
                  <a:avLst/>
                  <a:gdLst>
                    <a:gd name="T0" fmla="*/ 80 w 84"/>
                    <a:gd name="T1" fmla="*/ 266 h 272"/>
                    <a:gd name="T2" fmla="*/ 76 w 84"/>
                    <a:gd name="T3" fmla="*/ 262 h 272"/>
                    <a:gd name="T4" fmla="*/ 68 w 84"/>
                    <a:gd name="T5" fmla="*/ 264 h 272"/>
                    <a:gd name="T6" fmla="*/ 68 w 84"/>
                    <a:gd name="T7" fmla="*/ 257 h 272"/>
                    <a:gd name="T8" fmla="*/ 60 w 84"/>
                    <a:gd name="T9" fmla="*/ 259 h 272"/>
                    <a:gd name="T10" fmla="*/ 64 w 84"/>
                    <a:gd name="T11" fmla="*/ 255 h 272"/>
                    <a:gd name="T12" fmla="*/ 58 w 84"/>
                    <a:gd name="T13" fmla="*/ 253 h 272"/>
                    <a:gd name="T14" fmla="*/ 53 w 84"/>
                    <a:gd name="T15" fmla="*/ 257 h 272"/>
                    <a:gd name="T16" fmla="*/ 52 w 84"/>
                    <a:gd name="T17" fmla="*/ 249 h 272"/>
                    <a:gd name="T18" fmla="*/ 44 w 84"/>
                    <a:gd name="T19" fmla="*/ 251 h 272"/>
                    <a:gd name="T20" fmla="*/ 41 w 84"/>
                    <a:gd name="T21" fmla="*/ 247 h 272"/>
                    <a:gd name="T22" fmla="*/ 38 w 84"/>
                    <a:gd name="T23" fmla="*/ 246 h 272"/>
                    <a:gd name="T24" fmla="*/ 39 w 84"/>
                    <a:gd name="T25" fmla="*/ 240 h 272"/>
                    <a:gd name="T26" fmla="*/ 39 w 84"/>
                    <a:gd name="T27" fmla="*/ 237 h 272"/>
                    <a:gd name="T28" fmla="*/ 32 w 84"/>
                    <a:gd name="T29" fmla="*/ 239 h 272"/>
                    <a:gd name="T30" fmla="*/ 30 w 84"/>
                    <a:gd name="T31" fmla="*/ 236 h 272"/>
                    <a:gd name="T32" fmla="*/ 27 w 84"/>
                    <a:gd name="T33" fmla="*/ 228 h 272"/>
                    <a:gd name="T34" fmla="*/ 27 w 84"/>
                    <a:gd name="T35" fmla="*/ 226 h 272"/>
                    <a:gd name="T36" fmla="*/ 30 w 84"/>
                    <a:gd name="T37" fmla="*/ 220 h 272"/>
                    <a:gd name="T38" fmla="*/ 22 w 84"/>
                    <a:gd name="T39" fmla="*/ 219 h 272"/>
                    <a:gd name="T40" fmla="*/ 23 w 84"/>
                    <a:gd name="T41" fmla="*/ 215 h 272"/>
                    <a:gd name="T42" fmla="*/ 26 w 84"/>
                    <a:gd name="T43" fmla="*/ 209 h 272"/>
                    <a:gd name="T44" fmla="*/ 17 w 84"/>
                    <a:gd name="T45" fmla="*/ 209 h 272"/>
                    <a:gd name="T46" fmla="*/ 16 w 84"/>
                    <a:gd name="T47" fmla="*/ 198 h 272"/>
                    <a:gd name="T48" fmla="*/ 9 w 84"/>
                    <a:gd name="T49" fmla="*/ 190 h 272"/>
                    <a:gd name="T50" fmla="*/ 13 w 84"/>
                    <a:gd name="T51" fmla="*/ 187 h 272"/>
                    <a:gd name="T52" fmla="*/ 2 w 84"/>
                    <a:gd name="T53" fmla="*/ 188 h 272"/>
                    <a:gd name="T54" fmla="*/ 3 w 84"/>
                    <a:gd name="T55" fmla="*/ 175 h 272"/>
                    <a:gd name="T56" fmla="*/ 15 w 84"/>
                    <a:gd name="T57" fmla="*/ 181 h 272"/>
                    <a:gd name="T58" fmla="*/ 8 w 84"/>
                    <a:gd name="T59" fmla="*/ 169 h 272"/>
                    <a:gd name="T60" fmla="*/ 16 w 84"/>
                    <a:gd name="T61" fmla="*/ 157 h 272"/>
                    <a:gd name="T62" fmla="*/ 20 w 84"/>
                    <a:gd name="T63" fmla="*/ 164 h 272"/>
                    <a:gd name="T64" fmla="*/ 18 w 84"/>
                    <a:gd name="T65" fmla="*/ 152 h 272"/>
                    <a:gd name="T66" fmla="*/ 19 w 84"/>
                    <a:gd name="T67" fmla="*/ 143 h 272"/>
                    <a:gd name="T68" fmla="*/ 20 w 84"/>
                    <a:gd name="T69" fmla="*/ 129 h 272"/>
                    <a:gd name="T70" fmla="*/ 23 w 84"/>
                    <a:gd name="T71" fmla="*/ 119 h 272"/>
                    <a:gd name="T72" fmla="*/ 29 w 84"/>
                    <a:gd name="T73" fmla="*/ 123 h 272"/>
                    <a:gd name="T74" fmla="*/ 34 w 84"/>
                    <a:gd name="T75" fmla="*/ 117 h 272"/>
                    <a:gd name="T76" fmla="*/ 37 w 84"/>
                    <a:gd name="T77" fmla="*/ 110 h 272"/>
                    <a:gd name="T78" fmla="*/ 37 w 84"/>
                    <a:gd name="T79" fmla="*/ 108 h 272"/>
                    <a:gd name="T80" fmla="*/ 39 w 84"/>
                    <a:gd name="T81" fmla="*/ 103 h 272"/>
                    <a:gd name="T82" fmla="*/ 37 w 84"/>
                    <a:gd name="T83" fmla="*/ 95 h 272"/>
                    <a:gd name="T84" fmla="*/ 44 w 84"/>
                    <a:gd name="T85" fmla="*/ 87 h 272"/>
                    <a:gd name="T86" fmla="*/ 39 w 84"/>
                    <a:gd name="T87" fmla="*/ 83 h 272"/>
                    <a:gd name="T88" fmla="*/ 34 w 84"/>
                    <a:gd name="T89" fmla="*/ 77 h 272"/>
                    <a:gd name="T90" fmla="*/ 41 w 84"/>
                    <a:gd name="T91" fmla="*/ 77 h 272"/>
                    <a:gd name="T92" fmla="*/ 44 w 84"/>
                    <a:gd name="T93" fmla="*/ 72 h 272"/>
                    <a:gd name="T94" fmla="*/ 47 w 84"/>
                    <a:gd name="T95" fmla="*/ 67 h 272"/>
                    <a:gd name="T96" fmla="*/ 48 w 84"/>
                    <a:gd name="T97" fmla="*/ 62 h 272"/>
                    <a:gd name="T98" fmla="*/ 40 w 84"/>
                    <a:gd name="T99" fmla="*/ 59 h 272"/>
                    <a:gd name="T100" fmla="*/ 41 w 84"/>
                    <a:gd name="T101" fmla="*/ 55 h 272"/>
                    <a:gd name="T102" fmla="*/ 43 w 84"/>
                    <a:gd name="T103" fmla="*/ 47 h 272"/>
                    <a:gd name="T104" fmla="*/ 38 w 84"/>
                    <a:gd name="T105" fmla="*/ 35 h 272"/>
                    <a:gd name="T106" fmla="*/ 38 w 84"/>
                    <a:gd name="T107" fmla="*/ 28 h 272"/>
                    <a:gd name="T108" fmla="*/ 41 w 84"/>
                    <a:gd name="T109" fmla="*/ 25 h 272"/>
                    <a:gd name="T110" fmla="*/ 41 w 84"/>
                    <a:gd name="T111" fmla="*/ 15 h 272"/>
                    <a:gd name="T112" fmla="*/ 41 w 84"/>
                    <a:gd name="T113" fmla="*/ 9 h 272"/>
                    <a:gd name="T114" fmla="*/ 37 w 84"/>
                    <a:gd name="T115" fmla="*/ 9 h 272"/>
                    <a:gd name="T116" fmla="*/ 28 w 84"/>
                    <a:gd name="T117" fmla="*/ 4 h 272"/>
                    <a:gd name="T118" fmla="*/ 37 w 84"/>
                    <a:gd name="T119" fmla="*/ 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272">
                      <a:moveTo>
                        <a:pt x="81" y="272"/>
                      </a:moveTo>
                      <a:lnTo>
                        <a:pt x="80" y="272"/>
                      </a:lnTo>
                      <a:lnTo>
                        <a:pt x="79" y="271"/>
                      </a:lnTo>
                      <a:lnTo>
                        <a:pt x="78" y="271"/>
                      </a:lnTo>
                      <a:lnTo>
                        <a:pt x="77" y="271"/>
                      </a:lnTo>
                      <a:lnTo>
                        <a:pt x="77" y="271"/>
                      </a:lnTo>
                      <a:lnTo>
                        <a:pt x="76" y="271"/>
                      </a:lnTo>
                      <a:lnTo>
                        <a:pt x="75" y="270"/>
                      </a:lnTo>
                      <a:lnTo>
                        <a:pt x="76" y="270"/>
                      </a:lnTo>
                      <a:lnTo>
                        <a:pt x="76" y="269"/>
                      </a:lnTo>
                      <a:lnTo>
                        <a:pt x="76" y="268"/>
                      </a:lnTo>
                      <a:lnTo>
                        <a:pt x="77" y="268"/>
                      </a:lnTo>
                      <a:lnTo>
                        <a:pt x="77" y="267"/>
                      </a:lnTo>
                      <a:lnTo>
                        <a:pt x="78" y="267"/>
                      </a:lnTo>
                      <a:lnTo>
                        <a:pt x="79" y="267"/>
                      </a:lnTo>
                      <a:lnTo>
                        <a:pt x="79" y="266"/>
                      </a:lnTo>
                      <a:lnTo>
                        <a:pt x="80" y="266"/>
                      </a:lnTo>
                      <a:lnTo>
                        <a:pt x="81" y="265"/>
                      </a:lnTo>
                      <a:lnTo>
                        <a:pt x="81" y="264"/>
                      </a:lnTo>
                      <a:lnTo>
                        <a:pt x="82" y="264"/>
                      </a:lnTo>
                      <a:lnTo>
                        <a:pt x="83" y="264"/>
                      </a:lnTo>
                      <a:lnTo>
                        <a:pt x="83" y="264"/>
                      </a:lnTo>
                      <a:lnTo>
                        <a:pt x="84" y="264"/>
                      </a:lnTo>
                      <a:lnTo>
                        <a:pt x="84" y="264"/>
                      </a:lnTo>
                      <a:lnTo>
                        <a:pt x="84" y="263"/>
                      </a:lnTo>
                      <a:lnTo>
                        <a:pt x="83" y="262"/>
                      </a:lnTo>
                      <a:lnTo>
                        <a:pt x="83" y="262"/>
                      </a:lnTo>
                      <a:lnTo>
                        <a:pt x="81" y="262"/>
                      </a:lnTo>
                      <a:lnTo>
                        <a:pt x="80" y="262"/>
                      </a:lnTo>
                      <a:lnTo>
                        <a:pt x="79" y="262"/>
                      </a:lnTo>
                      <a:lnTo>
                        <a:pt x="79" y="262"/>
                      </a:lnTo>
                      <a:lnTo>
                        <a:pt x="77" y="262"/>
                      </a:lnTo>
                      <a:lnTo>
                        <a:pt x="77" y="261"/>
                      </a:lnTo>
                      <a:lnTo>
                        <a:pt x="76" y="262"/>
                      </a:lnTo>
                      <a:lnTo>
                        <a:pt x="75" y="263"/>
                      </a:lnTo>
                      <a:lnTo>
                        <a:pt x="75" y="264"/>
                      </a:lnTo>
                      <a:lnTo>
                        <a:pt x="75" y="264"/>
                      </a:lnTo>
                      <a:lnTo>
                        <a:pt x="76" y="265"/>
                      </a:lnTo>
                      <a:lnTo>
                        <a:pt x="76" y="266"/>
                      </a:lnTo>
                      <a:lnTo>
                        <a:pt x="75" y="266"/>
                      </a:lnTo>
                      <a:lnTo>
                        <a:pt x="75" y="266"/>
                      </a:lnTo>
                      <a:lnTo>
                        <a:pt x="74" y="266"/>
                      </a:lnTo>
                      <a:lnTo>
                        <a:pt x="73" y="265"/>
                      </a:lnTo>
                      <a:lnTo>
                        <a:pt x="72" y="265"/>
                      </a:lnTo>
                      <a:lnTo>
                        <a:pt x="72" y="264"/>
                      </a:lnTo>
                      <a:lnTo>
                        <a:pt x="72" y="264"/>
                      </a:lnTo>
                      <a:lnTo>
                        <a:pt x="71" y="263"/>
                      </a:lnTo>
                      <a:lnTo>
                        <a:pt x="70" y="263"/>
                      </a:lnTo>
                      <a:lnTo>
                        <a:pt x="70" y="263"/>
                      </a:lnTo>
                      <a:lnTo>
                        <a:pt x="69" y="264"/>
                      </a:lnTo>
                      <a:lnTo>
                        <a:pt x="68" y="264"/>
                      </a:lnTo>
                      <a:lnTo>
                        <a:pt x="68" y="263"/>
                      </a:lnTo>
                      <a:lnTo>
                        <a:pt x="68" y="262"/>
                      </a:lnTo>
                      <a:lnTo>
                        <a:pt x="68" y="261"/>
                      </a:lnTo>
                      <a:lnTo>
                        <a:pt x="68" y="261"/>
                      </a:lnTo>
                      <a:lnTo>
                        <a:pt x="69" y="261"/>
                      </a:lnTo>
                      <a:lnTo>
                        <a:pt x="70" y="260"/>
                      </a:lnTo>
                      <a:lnTo>
                        <a:pt x="70" y="259"/>
                      </a:lnTo>
                      <a:lnTo>
                        <a:pt x="71" y="259"/>
                      </a:lnTo>
                      <a:lnTo>
                        <a:pt x="72" y="258"/>
                      </a:lnTo>
                      <a:lnTo>
                        <a:pt x="72" y="257"/>
                      </a:lnTo>
                      <a:lnTo>
                        <a:pt x="72" y="257"/>
                      </a:lnTo>
                      <a:lnTo>
                        <a:pt x="71" y="256"/>
                      </a:lnTo>
                      <a:lnTo>
                        <a:pt x="70" y="256"/>
                      </a:lnTo>
                      <a:lnTo>
                        <a:pt x="70" y="256"/>
                      </a:lnTo>
                      <a:lnTo>
                        <a:pt x="69" y="256"/>
                      </a:lnTo>
                      <a:lnTo>
                        <a:pt x="68" y="257"/>
                      </a:lnTo>
                      <a:lnTo>
                        <a:pt x="68" y="257"/>
                      </a:lnTo>
                      <a:lnTo>
                        <a:pt x="68" y="258"/>
                      </a:lnTo>
                      <a:lnTo>
                        <a:pt x="67" y="258"/>
                      </a:lnTo>
                      <a:lnTo>
                        <a:pt x="66" y="259"/>
                      </a:lnTo>
                      <a:lnTo>
                        <a:pt x="66" y="260"/>
                      </a:lnTo>
                      <a:lnTo>
                        <a:pt x="66" y="261"/>
                      </a:lnTo>
                      <a:lnTo>
                        <a:pt x="66" y="261"/>
                      </a:lnTo>
                      <a:lnTo>
                        <a:pt x="66" y="261"/>
                      </a:lnTo>
                      <a:lnTo>
                        <a:pt x="65" y="261"/>
                      </a:lnTo>
                      <a:lnTo>
                        <a:pt x="64" y="261"/>
                      </a:lnTo>
                      <a:lnTo>
                        <a:pt x="64" y="261"/>
                      </a:lnTo>
                      <a:lnTo>
                        <a:pt x="64" y="260"/>
                      </a:lnTo>
                      <a:lnTo>
                        <a:pt x="63" y="259"/>
                      </a:lnTo>
                      <a:lnTo>
                        <a:pt x="62" y="259"/>
                      </a:lnTo>
                      <a:lnTo>
                        <a:pt x="62" y="259"/>
                      </a:lnTo>
                      <a:lnTo>
                        <a:pt x="61" y="259"/>
                      </a:lnTo>
                      <a:lnTo>
                        <a:pt x="60" y="259"/>
                      </a:lnTo>
                      <a:lnTo>
                        <a:pt x="60" y="259"/>
                      </a:lnTo>
                      <a:lnTo>
                        <a:pt x="60" y="258"/>
                      </a:lnTo>
                      <a:lnTo>
                        <a:pt x="60" y="257"/>
                      </a:lnTo>
                      <a:lnTo>
                        <a:pt x="60" y="257"/>
                      </a:lnTo>
                      <a:lnTo>
                        <a:pt x="60" y="257"/>
                      </a:lnTo>
                      <a:lnTo>
                        <a:pt x="61" y="257"/>
                      </a:lnTo>
                      <a:lnTo>
                        <a:pt x="62" y="257"/>
                      </a:lnTo>
                      <a:lnTo>
                        <a:pt x="62" y="257"/>
                      </a:lnTo>
                      <a:lnTo>
                        <a:pt x="63" y="257"/>
                      </a:lnTo>
                      <a:lnTo>
                        <a:pt x="64" y="257"/>
                      </a:lnTo>
                      <a:lnTo>
                        <a:pt x="64" y="258"/>
                      </a:lnTo>
                      <a:lnTo>
                        <a:pt x="64" y="259"/>
                      </a:lnTo>
                      <a:lnTo>
                        <a:pt x="65" y="259"/>
                      </a:lnTo>
                      <a:lnTo>
                        <a:pt x="66" y="258"/>
                      </a:lnTo>
                      <a:lnTo>
                        <a:pt x="66" y="257"/>
                      </a:lnTo>
                      <a:lnTo>
                        <a:pt x="66" y="257"/>
                      </a:lnTo>
                      <a:lnTo>
                        <a:pt x="65" y="256"/>
                      </a:lnTo>
                      <a:lnTo>
                        <a:pt x="64" y="255"/>
                      </a:lnTo>
                      <a:lnTo>
                        <a:pt x="64" y="255"/>
                      </a:lnTo>
                      <a:lnTo>
                        <a:pt x="63" y="255"/>
                      </a:lnTo>
                      <a:lnTo>
                        <a:pt x="62" y="255"/>
                      </a:lnTo>
                      <a:lnTo>
                        <a:pt x="62" y="254"/>
                      </a:lnTo>
                      <a:lnTo>
                        <a:pt x="61" y="254"/>
                      </a:lnTo>
                      <a:lnTo>
                        <a:pt x="60" y="255"/>
                      </a:lnTo>
                      <a:lnTo>
                        <a:pt x="60" y="255"/>
                      </a:lnTo>
                      <a:lnTo>
                        <a:pt x="60" y="256"/>
                      </a:lnTo>
                      <a:lnTo>
                        <a:pt x="60" y="257"/>
                      </a:lnTo>
                      <a:lnTo>
                        <a:pt x="58" y="257"/>
                      </a:lnTo>
                      <a:lnTo>
                        <a:pt x="58" y="256"/>
                      </a:lnTo>
                      <a:lnTo>
                        <a:pt x="58" y="255"/>
                      </a:lnTo>
                      <a:lnTo>
                        <a:pt x="58" y="255"/>
                      </a:lnTo>
                      <a:lnTo>
                        <a:pt x="58" y="254"/>
                      </a:lnTo>
                      <a:lnTo>
                        <a:pt x="58" y="254"/>
                      </a:lnTo>
                      <a:lnTo>
                        <a:pt x="58" y="253"/>
                      </a:lnTo>
                      <a:lnTo>
                        <a:pt x="58" y="253"/>
                      </a:lnTo>
                      <a:lnTo>
                        <a:pt x="58" y="252"/>
                      </a:lnTo>
                      <a:lnTo>
                        <a:pt x="58" y="251"/>
                      </a:lnTo>
                      <a:lnTo>
                        <a:pt x="58" y="251"/>
                      </a:lnTo>
                      <a:lnTo>
                        <a:pt x="57" y="251"/>
                      </a:lnTo>
                      <a:lnTo>
                        <a:pt x="56" y="252"/>
                      </a:lnTo>
                      <a:lnTo>
                        <a:pt x="56" y="253"/>
                      </a:lnTo>
                      <a:lnTo>
                        <a:pt x="55" y="253"/>
                      </a:lnTo>
                      <a:lnTo>
                        <a:pt x="56" y="254"/>
                      </a:lnTo>
                      <a:lnTo>
                        <a:pt x="56" y="255"/>
                      </a:lnTo>
                      <a:lnTo>
                        <a:pt x="56" y="255"/>
                      </a:lnTo>
                      <a:lnTo>
                        <a:pt x="56" y="256"/>
                      </a:lnTo>
                      <a:lnTo>
                        <a:pt x="56" y="257"/>
                      </a:lnTo>
                      <a:lnTo>
                        <a:pt x="56" y="257"/>
                      </a:lnTo>
                      <a:lnTo>
                        <a:pt x="55" y="257"/>
                      </a:lnTo>
                      <a:lnTo>
                        <a:pt x="54" y="258"/>
                      </a:lnTo>
                      <a:lnTo>
                        <a:pt x="53" y="257"/>
                      </a:lnTo>
                      <a:lnTo>
                        <a:pt x="53" y="257"/>
                      </a:lnTo>
                      <a:lnTo>
                        <a:pt x="52" y="257"/>
                      </a:lnTo>
                      <a:lnTo>
                        <a:pt x="52" y="256"/>
                      </a:lnTo>
                      <a:lnTo>
                        <a:pt x="52" y="255"/>
                      </a:lnTo>
                      <a:lnTo>
                        <a:pt x="52" y="253"/>
                      </a:lnTo>
                      <a:lnTo>
                        <a:pt x="52" y="253"/>
                      </a:lnTo>
                      <a:lnTo>
                        <a:pt x="53" y="252"/>
                      </a:lnTo>
                      <a:lnTo>
                        <a:pt x="53" y="251"/>
                      </a:lnTo>
                      <a:lnTo>
                        <a:pt x="54" y="251"/>
                      </a:lnTo>
                      <a:lnTo>
                        <a:pt x="55" y="251"/>
                      </a:lnTo>
                      <a:lnTo>
                        <a:pt x="56" y="251"/>
                      </a:lnTo>
                      <a:lnTo>
                        <a:pt x="56" y="250"/>
                      </a:lnTo>
                      <a:lnTo>
                        <a:pt x="56" y="249"/>
                      </a:lnTo>
                      <a:lnTo>
                        <a:pt x="55" y="249"/>
                      </a:lnTo>
                      <a:lnTo>
                        <a:pt x="54" y="249"/>
                      </a:lnTo>
                      <a:lnTo>
                        <a:pt x="53" y="249"/>
                      </a:lnTo>
                      <a:lnTo>
                        <a:pt x="53" y="249"/>
                      </a:lnTo>
                      <a:lnTo>
                        <a:pt x="52" y="249"/>
                      </a:lnTo>
                      <a:lnTo>
                        <a:pt x="51" y="250"/>
                      </a:lnTo>
                      <a:lnTo>
                        <a:pt x="50" y="250"/>
                      </a:lnTo>
                      <a:lnTo>
                        <a:pt x="49" y="250"/>
                      </a:lnTo>
                      <a:lnTo>
                        <a:pt x="49" y="249"/>
                      </a:lnTo>
                      <a:lnTo>
                        <a:pt x="48" y="249"/>
                      </a:lnTo>
                      <a:lnTo>
                        <a:pt x="47" y="248"/>
                      </a:lnTo>
                      <a:lnTo>
                        <a:pt x="47" y="248"/>
                      </a:lnTo>
                      <a:lnTo>
                        <a:pt x="46" y="249"/>
                      </a:lnTo>
                      <a:lnTo>
                        <a:pt x="45" y="249"/>
                      </a:lnTo>
                      <a:lnTo>
                        <a:pt x="46" y="250"/>
                      </a:lnTo>
                      <a:lnTo>
                        <a:pt x="47" y="251"/>
                      </a:lnTo>
                      <a:lnTo>
                        <a:pt x="47" y="251"/>
                      </a:lnTo>
                      <a:lnTo>
                        <a:pt x="46" y="252"/>
                      </a:lnTo>
                      <a:lnTo>
                        <a:pt x="45" y="252"/>
                      </a:lnTo>
                      <a:lnTo>
                        <a:pt x="45" y="251"/>
                      </a:lnTo>
                      <a:lnTo>
                        <a:pt x="45" y="251"/>
                      </a:lnTo>
                      <a:lnTo>
                        <a:pt x="44" y="251"/>
                      </a:lnTo>
                      <a:lnTo>
                        <a:pt x="44" y="251"/>
                      </a:lnTo>
                      <a:lnTo>
                        <a:pt x="43" y="251"/>
                      </a:lnTo>
                      <a:lnTo>
                        <a:pt x="43" y="252"/>
                      </a:lnTo>
                      <a:lnTo>
                        <a:pt x="42" y="253"/>
                      </a:lnTo>
                      <a:lnTo>
                        <a:pt x="41" y="253"/>
                      </a:lnTo>
                      <a:lnTo>
                        <a:pt x="40" y="253"/>
                      </a:lnTo>
                      <a:lnTo>
                        <a:pt x="40" y="252"/>
                      </a:lnTo>
                      <a:lnTo>
                        <a:pt x="39" y="251"/>
                      </a:lnTo>
                      <a:lnTo>
                        <a:pt x="39" y="251"/>
                      </a:lnTo>
                      <a:lnTo>
                        <a:pt x="40" y="250"/>
                      </a:lnTo>
                      <a:lnTo>
                        <a:pt x="39" y="249"/>
                      </a:lnTo>
                      <a:lnTo>
                        <a:pt x="39" y="248"/>
                      </a:lnTo>
                      <a:lnTo>
                        <a:pt x="39" y="247"/>
                      </a:lnTo>
                      <a:lnTo>
                        <a:pt x="39" y="247"/>
                      </a:lnTo>
                      <a:lnTo>
                        <a:pt x="40" y="247"/>
                      </a:lnTo>
                      <a:lnTo>
                        <a:pt x="41" y="247"/>
                      </a:lnTo>
                      <a:lnTo>
                        <a:pt x="41" y="247"/>
                      </a:lnTo>
                      <a:lnTo>
                        <a:pt x="42" y="247"/>
                      </a:lnTo>
                      <a:lnTo>
                        <a:pt x="43" y="248"/>
                      </a:lnTo>
                      <a:lnTo>
                        <a:pt x="43" y="248"/>
                      </a:lnTo>
                      <a:lnTo>
                        <a:pt x="44" y="247"/>
                      </a:lnTo>
                      <a:lnTo>
                        <a:pt x="44" y="247"/>
                      </a:lnTo>
                      <a:lnTo>
                        <a:pt x="44" y="246"/>
                      </a:lnTo>
                      <a:lnTo>
                        <a:pt x="44" y="245"/>
                      </a:lnTo>
                      <a:lnTo>
                        <a:pt x="43" y="245"/>
                      </a:lnTo>
                      <a:lnTo>
                        <a:pt x="43" y="245"/>
                      </a:lnTo>
                      <a:lnTo>
                        <a:pt x="41" y="244"/>
                      </a:lnTo>
                      <a:lnTo>
                        <a:pt x="41" y="243"/>
                      </a:lnTo>
                      <a:lnTo>
                        <a:pt x="39" y="243"/>
                      </a:lnTo>
                      <a:lnTo>
                        <a:pt x="39" y="243"/>
                      </a:lnTo>
                      <a:lnTo>
                        <a:pt x="38" y="244"/>
                      </a:lnTo>
                      <a:lnTo>
                        <a:pt x="37" y="245"/>
                      </a:lnTo>
                      <a:lnTo>
                        <a:pt x="37" y="245"/>
                      </a:lnTo>
                      <a:lnTo>
                        <a:pt x="38" y="246"/>
                      </a:lnTo>
                      <a:lnTo>
                        <a:pt x="39" y="247"/>
                      </a:lnTo>
                      <a:lnTo>
                        <a:pt x="38" y="247"/>
                      </a:lnTo>
                      <a:lnTo>
                        <a:pt x="38" y="248"/>
                      </a:lnTo>
                      <a:lnTo>
                        <a:pt x="37" y="248"/>
                      </a:lnTo>
                      <a:lnTo>
                        <a:pt x="36" y="249"/>
                      </a:lnTo>
                      <a:lnTo>
                        <a:pt x="35" y="248"/>
                      </a:lnTo>
                      <a:lnTo>
                        <a:pt x="35" y="247"/>
                      </a:lnTo>
                      <a:lnTo>
                        <a:pt x="34" y="247"/>
                      </a:lnTo>
                      <a:lnTo>
                        <a:pt x="34" y="246"/>
                      </a:lnTo>
                      <a:lnTo>
                        <a:pt x="34" y="245"/>
                      </a:lnTo>
                      <a:lnTo>
                        <a:pt x="34" y="245"/>
                      </a:lnTo>
                      <a:lnTo>
                        <a:pt x="35" y="244"/>
                      </a:lnTo>
                      <a:lnTo>
                        <a:pt x="37" y="244"/>
                      </a:lnTo>
                      <a:lnTo>
                        <a:pt x="37" y="243"/>
                      </a:lnTo>
                      <a:lnTo>
                        <a:pt x="39" y="242"/>
                      </a:lnTo>
                      <a:lnTo>
                        <a:pt x="39" y="242"/>
                      </a:lnTo>
                      <a:lnTo>
                        <a:pt x="39" y="240"/>
                      </a:lnTo>
                      <a:lnTo>
                        <a:pt x="39" y="240"/>
                      </a:lnTo>
                      <a:lnTo>
                        <a:pt x="40" y="239"/>
                      </a:lnTo>
                      <a:lnTo>
                        <a:pt x="41" y="239"/>
                      </a:lnTo>
                      <a:lnTo>
                        <a:pt x="41" y="240"/>
                      </a:lnTo>
                      <a:lnTo>
                        <a:pt x="41" y="240"/>
                      </a:lnTo>
                      <a:lnTo>
                        <a:pt x="42" y="241"/>
                      </a:lnTo>
                      <a:lnTo>
                        <a:pt x="42" y="242"/>
                      </a:lnTo>
                      <a:lnTo>
                        <a:pt x="43" y="242"/>
                      </a:lnTo>
                      <a:lnTo>
                        <a:pt x="43" y="242"/>
                      </a:lnTo>
                      <a:lnTo>
                        <a:pt x="44" y="241"/>
                      </a:lnTo>
                      <a:lnTo>
                        <a:pt x="44" y="240"/>
                      </a:lnTo>
                      <a:lnTo>
                        <a:pt x="43" y="240"/>
                      </a:lnTo>
                      <a:lnTo>
                        <a:pt x="43" y="239"/>
                      </a:lnTo>
                      <a:lnTo>
                        <a:pt x="42" y="238"/>
                      </a:lnTo>
                      <a:lnTo>
                        <a:pt x="41" y="238"/>
                      </a:lnTo>
                      <a:lnTo>
                        <a:pt x="40" y="238"/>
                      </a:lnTo>
                      <a:lnTo>
                        <a:pt x="39" y="237"/>
                      </a:lnTo>
                      <a:lnTo>
                        <a:pt x="39" y="236"/>
                      </a:lnTo>
                      <a:lnTo>
                        <a:pt x="38" y="236"/>
                      </a:lnTo>
                      <a:lnTo>
                        <a:pt x="37" y="236"/>
                      </a:lnTo>
                      <a:lnTo>
                        <a:pt x="37" y="235"/>
                      </a:lnTo>
                      <a:lnTo>
                        <a:pt x="36" y="235"/>
                      </a:lnTo>
                      <a:lnTo>
                        <a:pt x="35" y="236"/>
                      </a:lnTo>
                      <a:lnTo>
                        <a:pt x="35" y="236"/>
                      </a:lnTo>
                      <a:lnTo>
                        <a:pt x="35" y="237"/>
                      </a:lnTo>
                      <a:lnTo>
                        <a:pt x="35" y="238"/>
                      </a:lnTo>
                      <a:lnTo>
                        <a:pt x="36" y="238"/>
                      </a:lnTo>
                      <a:lnTo>
                        <a:pt x="36" y="239"/>
                      </a:lnTo>
                      <a:lnTo>
                        <a:pt x="36" y="240"/>
                      </a:lnTo>
                      <a:lnTo>
                        <a:pt x="35" y="240"/>
                      </a:lnTo>
                      <a:lnTo>
                        <a:pt x="34" y="240"/>
                      </a:lnTo>
                      <a:lnTo>
                        <a:pt x="34" y="240"/>
                      </a:lnTo>
                      <a:lnTo>
                        <a:pt x="33" y="240"/>
                      </a:lnTo>
                      <a:lnTo>
                        <a:pt x="32" y="239"/>
                      </a:lnTo>
                      <a:lnTo>
                        <a:pt x="32" y="238"/>
                      </a:lnTo>
                      <a:lnTo>
                        <a:pt x="32" y="238"/>
                      </a:lnTo>
                      <a:lnTo>
                        <a:pt x="32" y="237"/>
                      </a:lnTo>
                      <a:lnTo>
                        <a:pt x="33" y="236"/>
                      </a:lnTo>
                      <a:lnTo>
                        <a:pt x="34" y="236"/>
                      </a:lnTo>
                      <a:lnTo>
                        <a:pt x="34" y="235"/>
                      </a:lnTo>
                      <a:lnTo>
                        <a:pt x="34" y="234"/>
                      </a:lnTo>
                      <a:lnTo>
                        <a:pt x="34" y="234"/>
                      </a:lnTo>
                      <a:lnTo>
                        <a:pt x="34" y="233"/>
                      </a:lnTo>
                      <a:lnTo>
                        <a:pt x="34" y="232"/>
                      </a:lnTo>
                      <a:lnTo>
                        <a:pt x="33" y="232"/>
                      </a:lnTo>
                      <a:lnTo>
                        <a:pt x="32" y="233"/>
                      </a:lnTo>
                      <a:lnTo>
                        <a:pt x="32" y="234"/>
                      </a:lnTo>
                      <a:lnTo>
                        <a:pt x="32" y="234"/>
                      </a:lnTo>
                      <a:lnTo>
                        <a:pt x="31" y="235"/>
                      </a:lnTo>
                      <a:lnTo>
                        <a:pt x="30" y="235"/>
                      </a:lnTo>
                      <a:lnTo>
                        <a:pt x="30" y="236"/>
                      </a:lnTo>
                      <a:lnTo>
                        <a:pt x="28" y="236"/>
                      </a:lnTo>
                      <a:lnTo>
                        <a:pt x="28" y="235"/>
                      </a:lnTo>
                      <a:lnTo>
                        <a:pt x="27" y="234"/>
                      </a:lnTo>
                      <a:lnTo>
                        <a:pt x="27" y="234"/>
                      </a:lnTo>
                      <a:lnTo>
                        <a:pt x="26" y="233"/>
                      </a:lnTo>
                      <a:lnTo>
                        <a:pt x="26" y="232"/>
                      </a:lnTo>
                      <a:lnTo>
                        <a:pt x="25" y="232"/>
                      </a:lnTo>
                      <a:lnTo>
                        <a:pt x="25" y="232"/>
                      </a:lnTo>
                      <a:lnTo>
                        <a:pt x="26" y="232"/>
                      </a:lnTo>
                      <a:lnTo>
                        <a:pt x="26" y="232"/>
                      </a:lnTo>
                      <a:lnTo>
                        <a:pt x="27" y="232"/>
                      </a:lnTo>
                      <a:lnTo>
                        <a:pt x="28" y="232"/>
                      </a:lnTo>
                      <a:lnTo>
                        <a:pt x="28" y="231"/>
                      </a:lnTo>
                      <a:lnTo>
                        <a:pt x="28" y="231"/>
                      </a:lnTo>
                      <a:lnTo>
                        <a:pt x="28" y="230"/>
                      </a:lnTo>
                      <a:lnTo>
                        <a:pt x="27" y="229"/>
                      </a:lnTo>
                      <a:lnTo>
                        <a:pt x="27" y="228"/>
                      </a:lnTo>
                      <a:lnTo>
                        <a:pt x="27" y="228"/>
                      </a:lnTo>
                      <a:lnTo>
                        <a:pt x="28" y="228"/>
                      </a:lnTo>
                      <a:lnTo>
                        <a:pt x="28" y="228"/>
                      </a:lnTo>
                      <a:lnTo>
                        <a:pt x="29" y="228"/>
                      </a:lnTo>
                      <a:lnTo>
                        <a:pt x="29" y="228"/>
                      </a:lnTo>
                      <a:lnTo>
                        <a:pt x="30" y="229"/>
                      </a:lnTo>
                      <a:lnTo>
                        <a:pt x="30" y="229"/>
                      </a:lnTo>
                      <a:lnTo>
                        <a:pt x="31" y="229"/>
                      </a:lnTo>
                      <a:lnTo>
                        <a:pt x="32" y="229"/>
                      </a:lnTo>
                      <a:lnTo>
                        <a:pt x="32" y="228"/>
                      </a:lnTo>
                      <a:lnTo>
                        <a:pt x="32" y="228"/>
                      </a:lnTo>
                      <a:lnTo>
                        <a:pt x="31" y="227"/>
                      </a:lnTo>
                      <a:lnTo>
                        <a:pt x="30" y="226"/>
                      </a:lnTo>
                      <a:lnTo>
                        <a:pt x="29" y="226"/>
                      </a:lnTo>
                      <a:lnTo>
                        <a:pt x="28" y="225"/>
                      </a:lnTo>
                      <a:lnTo>
                        <a:pt x="28" y="225"/>
                      </a:lnTo>
                      <a:lnTo>
                        <a:pt x="27" y="226"/>
                      </a:lnTo>
                      <a:lnTo>
                        <a:pt x="27" y="226"/>
                      </a:lnTo>
                      <a:lnTo>
                        <a:pt x="26" y="226"/>
                      </a:lnTo>
                      <a:lnTo>
                        <a:pt x="25" y="226"/>
                      </a:lnTo>
                      <a:lnTo>
                        <a:pt x="24" y="226"/>
                      </a:lnTo>
                      <a:lnTo>
                        <a:pt x="24" y="226"/>
                      </a:lnTo>
                      <a:lnTo>
                        <a:pt x="24" y="225"/>
                      </a:lnTo>
                      <a:lnTo>
                        <a:pt x="24" y="224"/>
                      </a:lnTo>
                      <a:lnTo>
                        <a:pt x="24" y="223"/>
                      </a:lnTo>
                      <a:lnTo>
                        <a:pt x="25" y="223"/>
                      </a:lnTo>
                      <a:lnTo>
                        <a:pt x="26" y="222"/>
                      </a:lnTo>
                      <a:lnTo>
                        <a:pt x="26" y="222"/>
                      </a:lnTo>
                      <a:lnTo>
                        <a:pt x="27" y="222"/>
                      </a:lnTo>
                      <a:lnTo>
                        <a:pt x="28" y="222"/>
                      </a:lnTo>
                      <a:lnTo>
                        <a:pt x="28" y="222"/>
                      </a:lnTo>
                      <a:lnTo>
                        <a:pt x="29" y="221"/>
                      </a:lnTo>
                      <a:lnTo>
                        <a:pt x="30" y="221"/>
                      </a:lnTo>
                      <a:lnTo>
                        <a:pt x="30" y="220"/>
                      </a:lnTo>
                      <a:lnTo>
                        <a:pt x="30" y="219"/>
                      </a:lnTo>
                      <a:lnTo>
                        <a:pt x="29" y="219"/>
                      </a:lnTo>
                      <a:lnTo>
                        <a:pt x="28" y="218"/>
                      </a:lnTo>
                      <a:lnTo>
                        <a:pt x="28" y="217"/>
                      </a:lnTo>
                      <a:lnTo>
                        <a:pt x="27" y="217"/>
                      </a:lnTo>
                      <a:lnTo>
                        <a:pt x="26" y="217"/>
                      </a:lnTo>
                      <a:lnTo>
                        <a:pt x="26" y="218"/>
                      </a:lnTo>
                      <a:lnTo>
                        <a:pt x="26" y="219"/>
                      </a:lnTo>
                      <a:lnTo>
                        <a:pt x="26" y="219"/>
                      </a:lnTo>
                      <a:lnTo>
                        <a:pt x="25" y="220"/>
                      </a:lnTo>
                      <a:lnTo>
                        <a:pt x="24" y="221"/>
                      </a:lnTo>
                      <a:lnTo>
                        <a:pt x="24" y="221"/>
                      </a:lnTo>
                      <a:lnTo>
                        <a:pt x="23" y="221"/>
                      </a:lnTo>
                      <a:lnTo>
                        <a:pt x="22" y="220"/>
                      </a:lnTo>
                      <a:lnTo>
                        <a:pt x="22" y="220"/>
                      </a:lnTo>
                      <a:lnTo>
                        <a:pt x="22" y="219"/>
                      </a:lnTo>
                      <a:lnTo>
                        <a:pt x="22" y="219"/>
                      </a:lnTo>
                      <a:lnTo>
                        <a:pt x="22" y="218"/>
                      </a:lnTo>
                      <a:lnTo>
                        <a:pt x="22" y="217"/>
                      </a:lnTo>
                      <a:lnTo>
                        <a:pt x="23" y="217"/>
                      </a:lnTo>
                      <a:lnTo>
                        <a:pt x="24" y="217"/>
                      </a:lnTo>
                      <a:lnTo>
                        <a:pt x="24" y="217"/>
                      </a:lnTo>
                      <a:lnTo>
                        <a:pt x="26" y="216"/>
                      </a:lnTo>
                      <a:lnTo>
                        <a:pt x="26" y="216"/>
                      </a:lnTo>
                      <a:lnTo>
                        <a:pt x="27" y="215"/>
                      </a:lnTo>
                      <a:lnTo>
                        <a:pt x="27" y="215"/>
                      </a:lnTo>
                      <a:lnTo>
                        <a:pt x="28" y="214"/>
                      </a:lnTo>
                      <a:lnTo>
                        <a:pt x="27" y="213"/>
                      </a:lnTo>
                      <a:lnTo>
                        <a:pt x="26" y="212"/>
                      </a:lnTo>
                      <a:lnTo>
                        <a:pt x="25" y="212"/>
                      </a:lnTo>
                      <a:lnTo>
                        <a:pt x="24" y="213"/>
                      </a:lnTo>
                      <a:lnTo>
                        <a:pt x="24" y="213"/>
                      </a:lnTo>
                      <a:lnTo>
                        <a:pt x="24" y="214"/>
                      </a:lnTo>
                      <a:lnTo>
                        <a:pt x="23" y="215"/>
                      </a:lnTo>
                      <a:lnTo>
                        <a:pt x="22" y="215"/>
                      </a:lnTo>
                      <a:lnTo>
                        <a:pt x="22" y="215"/>
                      </a:lnTo>
                      <a:lnTo>
                        <a:pt x="20" y="215"/>
                      </a:lnTo>
                      <a:lnTo>
                        <a:pt x="20" y="215"/>
                      </a:lnTo>
                      <a:lnTo>
                        <a:pt x="19" y="215"/>
                      </a:lnTo>
                      <a:lnTo>
                        <a:pt x="19" y="214"/>
                      </a:lnTo>
                      <a:lnTo>
                        <a:pt x="19" y="213"/>
                      </a:lnTo>
                      <a:lnTo>
                        <a:pt x="19" y="213"/>
                      </a:lnTo>
                      <a:lnTo>
                        <a:pt x="20" y="213"/>
                      </a:lnTo>
                      <a:lnTo>
                        <a:pt x="21" y="212"/>
                      </a:lnTo>
                      <a:lnTo>
                        <a:pt x="22" y="212"/>
                      </a:lnTo>
                      <a:lnTo>
                        <a:pt x="23" y="212"/>
                      </a:lnTo>
                      <a:lnTo>
                        <a:pt x="24" y="211"/>
                      </a:lnTo>
                      <a:lnTo>
                        <a:pt x="25" y="211"/>
                      </a:lnTo>
                      <a:lnTo>
                        <a:pt x="26" y="211"/>
                      </a:lnTo>
                      <a:lnTo>
                        <a:pt x="26" y="210"/>
                      </a:lnTo>
                      <a:lnTo>
                        <a:pt x="26" y="209"/>
                      </a:lnTo>
                      <a:lnTo>
                        <a:pt x="26" y="209"/>
                      </a:lnTo>
                      <a:lnTo>
                        <a:pt x="25" y="209"/>
                      </a:lnTo>
                      <a:lnTo>
                        <a:pt x="24" y="209"/>
                      </a:lnTo>
                      <a:lnTo>
                        <a:pt x="24" y="209"/>
                      </a:lnTo>
                      <a:lnTo>
                        <a:pt x="23" y="209"/>
                      </a:lnTo>
                      <a:lnTo>
                        <a:pt x="22" y="209"/>
                      </a:lnTo>
                      <a:lnTo>
                        <a:pt x="22" y="209"/>
                      </a:lnTo>
                      <a:lnTo>
                        <a:pt x="21" y="209"/>
                      </a:lnTo>
                      <a:lnTo>
                        <a:pt x="20" y="209"/>
                      </a:lnTo>
                      <a:lnTo>
                        <a:pt x="20" y="210"/>
                      </a:lnTo>
                      <a:lnTo>
                        <a:pt x="20" y="211"/>
                      </a:lnTo>
                      <a:lnTo>
                        <a:pt x="20" y="211"/>
                      </a:lnTo>
                      <a:lnTo>
                        <a:pt x="19" y="211"/>
                      </a:lnTo>
                      <a:lnTo>
                        <a:pt x="18" y="211"/>
                      </a:lnTo>
                      <a:lnTo>
                        <a:pt x="18" y="210"/>
                      </a:lnTo>
                      <a:lnTo>
                        <a:pt x="18" y="209"/>
                      </a:lnTo>
                      <a:lnTo>
                        <a:pt x="17" y="209"/>
                      </a:lnTo>
                      <a:lnTo>
                        <a:pt x="16" y="209"/>
                      </a:lnTo>
                      <a:lnTo>
                        <a:pt x="15" y="208"/>
                      </a:lnTo>
                      <a:lnTo>
                        <a:pt x="15" y="207"/>
                      </a:lnTo>
                      <a:lnTo>
                        <a:pt x="14" y="207"/>
                      </a:lnTo>
                      <a:lnTo>
                        <a:pt x="13" y="206"/>
                      </a:lnTo>
                      <a:lnTo>
                        <a:pt x="13" y="205"/>
                      </a:lnTo>
                      <a:lnTo>
                        <a:pt x="13" y="204"/>
                      </a:lnTo>
                      <a:lnTo>
                        <a:pt x="13" y="203"/>
                      </a:lnTo>
                      <a:lnTo>
                        <a:pt x="13" y="202"/>
                      </a:lnTo>
                      <a:lnTo>
                        <a:pt x="13" y="201"/>
                      </a:lnTo>
                      <a:lnTo>
                        <a:pt x="13" y="200"/>
                      </a:lnTo>
                      <a:lnTo>
                        <a:pt x="13" y="200"/>
                      </a:lnTo>
                      <a:lnTo>
                        <a:pt x="14" y="199"/>
                      </a:lnTo>
                      <a:lnTo>
                        <a:pt x="15" y="199"/>
                      </a:lnTo>
                      <a:lnTo>
                        <a:pt x="15" y="198"/>
                      </a:lnTo>
                      <a:lnTo>
                        <a:pt x="16" y="198"/>
                      </a:lnTo>
                      <a:lnTo>
                        <a:pt x="16" y="198"/>
                      </a:lnTo>
                      <a:lnTo>
                        <a:pt x="16" y="197"/>
                      </a:lnTo>
                      <a:lnTo>
                        <a:pt x="16" y="196"/>
                      </a:lnTo>
                      <a:lnTo>
                        <a:pt x="16" y="196"/>
                      </a:lnTo>
                      <a:lnTo>
                        <a:pt x="15" y="195"/>
                      </a:lnTo>
                      <a:lnTo>
                        <a:pt x="15" y="194"/>
                      </a:lnTo>
                      <a:lnTo>
                        <a:pt x="15" y="194"/>
                      </a:lnTo>
                      <a:lnTo>
                        <a:pt x="14" y="194"/>
                      </a:lnTo>
                      <a:lnTo>
                        <a:pt x="13" y="194"/>
                      </a:lnTo>
                      <a:lnTo>
                        <a:pt x="13" y="194"/>
                      </a:lnTo>
                      <a:lnTo>
                        <a:pt x="12" y="194"/>
                      </a:lnTo>
                      <a:lnTo>
                        <a:pt x="11" y="194"/>
                      </a:lnTo>
                      <a:lnTo>
                        <a:pt x="11" y="194"/>
                      </a:lnTo>
                      <a:lnTo>
                        <a:pt x="10" y="194"/>
                      </a:lnTo>
                      <a:lnTo>
                        <a:pt x="10" y="193"/>
                      </a:lnTo>
                      <a:lnTo>
                        <a:pt x="10" y="192"/>
                      </a:lnTo>
                      <a:lnTo>
                        <a:pt x="10" y="191"/>
                      </a:lnTo>
                      <a:lnTo>
                        <a:pt x="9" y="190"/>
                      </a:lnTo>
                      <a:lnTo>
                        <a:pt x="9" y="190"/>
                      </a:lnTo>
                      <a:lnTo>
                        <a:pt x="8" y="190"/>
                      </a:lnTo>
                      <a:lnTo>
                        <a:pt x="7" y="189"/>
                      </a:lnTo>
                      <a:lnTo>
                        <a:pt x="7" y="188"/>
                      </a:lnTo>
                      <a:lnTo>
                        <a:pt x="7" y="188"/>
                      </a:lnTo>
                      <a:lnTo>
                        <a:pt x="7" y="188"/>
                      </a:lnTo>
                      <a:lnTo>
                        <a:pt x="7" y="187"/>
                      </a:lnTo>
                      <a:lnTo>
                        <a:pt x="7" y="186"/>
                      </a:lnTo>
                      <a:lnTo>
                        <a:pt x="8" y="186"/>
                      </a:lnTo>
                      <a:lnTo>
                        <a:pt x="9" y="186"/>
                      </a:lnTo>
                      <a:lnTo>
                        <a:pt x="9" y="187"/>
                      </a:lnTo>
                      <a:lnTo>
                        <a:pt x="10" y="188"/>
                      </a:lnTo>
                      <a:lnTo>
                        <a:pt x="11" y="188"/>
                      </a:lnTo>
                      <a:lnTo>
                        <a:pt x="11" y="188"/>
                      </a:lnTo>
                      <a:lnTo>
                        <a:pt x="12" y="188"/>
                      </a:lnTo>
                      <a:lnTo>
                        <a:pt x="12" y="188"/>
                      </a:lnTo>
                      <a:lnTo>
                        <a:pt x="13" y="187"/>
                      </a:lnTo>
                      <a:lnTo>
                        <a:pt x="13" y="186"/>
                      </a:lnTo>
                      <a:lnTo>
                        <a:pt x="12" y="186"/>
                      </a:lnTo>
                      <a:lnTo>
                        <a:pt x="12" y="186"/>
                      </a:lnTo>
                      <a:lnTo>
                        <a:pt x="11" y="185"/>
                      </a:lnTo>
                      <a:lnTo>
                        <a:pt x="11" y="185"/>
                      </a:lnTo>
                      <a:lnTo>
                        <a:pt x="10" y="185"/>
                      </a:lnTo>
                      <a:lnTo>
                        <a:pt x="9" y="185"/>
                      </a:lnTo>
                      <a:lnTo>
                        <a:pt x="8" y="186"/>
                      </a:lnTo>
                      <a:lnTo>
                        <a:pt x="7" y="186"/>
                      </a:lnTo>
                      <a:lnTo>
                        <a:pt x="6" y="186"/>
                      </a:lnTo>
                      <a:lnTo>
                        <a:pt x="5" y="187"/>
                      </a:lnTo>
                      <a:lnTo>
                        <a:pt x="5" y="187"/>
                      </a:lnTo>
                      <a:lnTo>
                        <a:pt x="5" y="188"/>
                      </a:lnTo>
                      <a:lnTo>
                        <a:pt x="4" y="188"/>
                      </a:lnTo>
                      <a:lnTo>
                        <a:pt x="3" y="188"/>
                      </a:lnTo>
                      <a:lnTo>
                        <a:pt x="3" y="188"/>
                      </a:lnTo>
                      <a:lnTo>
                        <a:pt x="2" y="188"/>
                      </a:lnTo>
                      <a:lnTo>
                        <a:pt x="3" y="187"/>
                      </a:lnTo>
                      <a:lnTo>
                        <a:pt x="3" y="186"/>
                      </a:lnTo>
                      <a:lnTo>
                        <a:pt x="3" y="185"/>
                      </a:lnTo>
                      <a:lnTo>
                        <a:pt x="3" y="183"/>
                      </a:lnTo>
                      <a:lnTo>
                        <a:pt x="3" y="183"/>
                      </a:lnTo>
                      <a:lnTo>
                        <a:pt x="3" y="182"/>
                      </a:lnTo>
                      <a:lnTo>
                        <a:pt x="2" y="181"/>
                      </a:lnTo>
                      <a:lnTo>
                        <a:pt x="1" y="181"/>
                      </a:lnTo>
                      <a:lnTo>
                        <a:pt x="1" y="181"/>
                      </a:lnTo>
                      <a:lnTo>
                        <a:pt x="0" y="180"/>
                      </a:lnTo>
                      <a:lnTo>
                        <a:pt x="0" y="179"/>
                      </a:lnTo>
                      <a:lnTo>
                        <a:pt x="0" y="178"/>
                      </a:lnTo>
                      <a:lnTo>
                        <a:pt x="1" y="177"/>
                      </a:lnTo>
                      <a:lnTo>
                        <a:pt x="1" y="177"/>
                      </a:lnTo>
                      <a:lnTo>
                        <a:pt x="2" y="176"/>
                      </a:lnTo>
                      <a:lnTo>
                        <a:pt x="2" y="175"/>
                      </a:lnTo>
                      <a:lnTo>
                        <a:pt x="3" y="175"/>
                      </a:lnTo>
                      <a:lnTo>
                        <a:pt x="4" y="175"/>
                      </a:lnTo>
                      <a:lnTo>
                        <a:pt x="5" y="175"/>
                      </a:lnTo>
                      <a:lnTo>
                        <a:pt x="5" y="175"/>
                      </a:lnTo>
                      <a:lnTo>
                        <a:pt x="6" y="176"/>
                      </a:lnTo>
                      <a:lnTo>
                        <a:pt x="7" y="177"/>
                      </a:lnTo>
                      <a:lnTo>
                        <a:pt x="9" y="177"/>
                      </a:lnTo>
                      <a:lnTo>
                        <a:pt x="10" y="178"/>
                      </a:lnTo>
                      <a:lnTo>
                        <a:pt x="11" y="178"/>
                      </a:lnTo>
                      <a:lnTo>
                        <a:pt x="11" y="179"/>
                      </a:lnTo>
                      <a:lnTo>
                        <a:pt x="11" y="179"/>
                      </a:lnTo>
                      <a:lnTo>
                        <a:pt x="11" y="180"/>
                      </a:lnTo>
                      <a:lnTo>
                        <a:pt x="11" y="181"/>
                      </a:lnTo>
                      <a:lnTo>
                        <a:pt x="12" y="181"/>
                      </a:lnTo>
                      <a:lnTo>
                        <a:pt x="13" y="181"/>
                      </a:lnTo>
                      <a:lnTo>
                        <a:pt x="13" y="181"/>
                      </a:lnTo>
                      <a:lnTo>
                        <a:pt x="14" y="181"/>
                      </a:lnTo>
                      <a:lnTo>
                        <a:pt x="15" y="181"/>
                      </a:lnTo>
                      <a:lnTo>
                        <a:pt x="15" y="180"/>
                      </a:lnTo>
                      <a:lnTo>
                        <a:pt x="15" y="179"/>
                      </a:lnTo>
                      <a:lnTo>
                        <a:pt x="15" y="179"/>
                      </a:lnTo>
                      <a:lnTo>
                        <a:pt x="16" y="177"/>
                      </a:lnTo>
                      <a:lnTo>
                        <a:pt x="16" y="176"/>
                      </a:lnTo>
                      <a:lnTo>
                        <a:pt x="15" y="175"/>
                      </a:lnTo>
                      <a:lnTo>
                        <a:pt x="15" y="174"/>
                      </a:lnTo>
                      <a:lnTo>
                        <a:pt x="15" y="173"/>
                      </a:lnTo>
                      <a:lnTo>
                        <a:pt x="14" y="173"/>
                      </a:lnTo>
                      <a:lnTo>
                        <a:pt x="13" y="173"/>
                      </a:lnTo>
                      <a:lnTo>
                        <a:pt x="13" y="173"/>
                      </a:lnTo>
                      <a:lnTo>
                        <a:pt x="11" y="173"/>
                      </a:lnTo>
                      <a:lnTo>
                        <a:pt x="11" y="173"/>
                      </a:lnTo>
                      <a:lnTo>
                        <a:pt x="10" y="172"/>
                      </a:lnTo>
                      <a:lnTo>
                        <a:pt x="9" y="171"/>
                      </a:lnTo>
                      <a:lnTo>
                        <a:pt x="9" y="171"/>
                      </a:lnTo>
                      <a:lnTo>
                        <a:pt x="8" y="169"/>
                      </a:lnTo>
                      <a:lnTo>
                        <a:pt x="8" y="169"/>
                      </a:lnTo>
                      <a:lnTo>
                        <a:pt x="9" y="168"/>
                      </a:lnTo>
                      <a:lnTo>
                        <a:pt x="9" y="167"/>
                      </a:lnTo>
                      <a:lnTo>
                        <a:pt x="10" y="167"/>
                      </a:lnTo>
                      <a:lnTo>
                        <a:pt x="11" y="167"/>
                      </a:lnTo>
                      <a:lnTo>
                        <a:pt x="12" y="167"/>
                      </a:lnTo>
                      <a:lnTo>
                        <a:pt x="13" y="166"/>
                      </a:lnTo>
                      <a:lnTo>
                        <a:pt x="13" y="165"/>
                      </a:lnTo>
                      <a:lnTo>
                        <a:pt x="14" y="164"/>
                      </a:lnTo>
                      <a:lnTo>
                        <a:pt x="14" y="164"/>
                      </a:lnTo>
                      <a:lnTo>
                        <a:pt x="15" y="162"/>
                      </a:lnTo>
                      <a:lnTo>
                        <a:pt x="15" y="162"/>
                      </a:lnTo>
                      <a:lnTo>
                        <a:pt x="15" y="160"/>
                      </a:lnTo>
                      <a:lnTo>
                        <a:pt x="15" y="159"/>
                      </a:lnTo>
                      <a:lnTo>
                        <a:pt x="15" y="158"/>
                      </a:lnTo>
                      <a:lnTo>
                        <a:pt x="15" y="158"/>
                      </a:lnTo>
                      <a:lnTo>
                        <a:pt x="16" y="157"/>
                      </a:lnTo>
                      <a:lnTo>
                        <a:pt x="16" y="156"/>
                      </a:lnTo>
                      <a:lnTo>
                        <a:pt x="17" y="156"/>
                      </a:lnTo>
                      <a:lnTo>
                        <a:pt x="18" y="156"/>
                      </a:lnTo>
                      <a:lnTo>
                        <a:pt x="18" y="156"/>
                      </a:lnTo>
                      <a:lnTo>
                        <a:pt x="19" y="157"/>
                      </a:lnTo>
                      <a:lnTo>
                        <a:pt x="19" y="158"/>
                      </a:lnTo>
                      <a:lnTo>
                        <a:pt x="19" y="159"/>
                      </a:lnTo>
                      <a:lnTo>
                        <a:pt x="19" y="160"/>
                      </a:lnTo>
                      <a:lnTo>
                        <a:pt x="19" y="160"/>
                      </a:lnTo>
                      <a:lnTo>
                        <a:pt x="18" y="161"/>
                      </a:lnTo>
                      <a:lnTo>
                        <a:pt x="18" y="162"/>
                      </a:lnTo>
                      <a:lnTo>
                        <a:pt x="18" y="163"/>
                      </a:lnTo>
                      <a:lnTo>
                        <a:pt x="18" y="164"/>
                      </a:lnTo>
                      <a:lnTo>
                        <a:pt x="18" y="164"/>
                      </a:lnTo>
                      <a:lnTo>
                        <a:pt x="18" y="164"/>
                      </a:lnTo>
                      <a:lnTo>
                        <a:pt x="19" y="165"/>
                      </a:lnTo>
                      <a:lnTo>
                        <a:pt x="20" y="164"/>
                      </a:lnTo>
                      <a:lnTo>
                        <a:pt x="20" y="164"/>
                      </a:lnTo>
                      <a:lnTo>
                        <a:pt x="21" y="164"/>
                      </a:lnTo>
                      <a:lnTo>
                        <a:pt x="21" y="164"/>
                      </a:lnTo>
                      <a:lnTo>
                        <a:pt x="22" y="162"/>
                      </a:lnTo>
                      <a:lnTo>
                        <a:pt x="22" y="161"/>
                      </a:lnTo>
                      <a:lnTo>
                        <a:pt x="22" y="160"/>
                      </a:lnTo>
                      <a:lnTo>
                        <a:pt x="22" y="159"/>
                      </a:lnTo>
                      <a:lnTo>
                        <a:pt x="22" y="158"/>
                      </a:lnTo>
                      <a:lnTo>
                        <a:pt x="22" y="158"/>
                      </a:lnTo>
                      <a:lnTo>
                        <a:pt x="22" y="157"/>
                      </a:lnTo>
                      <a:lnTo>
                        <a:pt x="22" y="156"/>
                      </a:lnTo>
                      <a:lnTo>
                        <a:pt x="22" y="156"/>
                      </a:lnTo>
                      <a:lnTo>
                        <a:pt x="21" y="155"/>
                      </a:lnTo>
                      <a:lnTo>
                        <a:pt x="20" y="154"/>
                      </a:lnTo>
                      <a:lnTo>
                        <a:pt x="19" y="153"/>
                      </a:lnTo>
                      <a:lnTo>
                        <a:pt x="18" y="152"/>
                      </a:lnTo>
                      <a:lnTo>
                        <a:pt x="18" y="152"/>
                      </a:lnTo>
                      <a:lnTo>
                        <a:pt x="17" y="152"/>
                      </a:lnTo>
                      <a:lnTo>
                        <a:pt x="16" y="152"/>
                      </a:lnTo>
                      <a:lnTo>
                        <a:pt x="15" y="152"/>
                      </a:lnTo>
                      <a:lnTo>
                        <a:pt x="15" y="152"/>
                      </a:lnTo>
                      <a:lnTo>
                        <a:pt x="14" y="152"/>
                      </a:lnTo>
                      <a:lnTo>
                        <a:pt x="13" y="151"/>
                      </a:lnTo>
                      <a:lnTo>
                        <a:pt x="13" y="150"/>
                      </a:lnTo>
                      <a:lnTo>
                        <a:pt x="13" y="150"/>
                      </a:lnTo>
                      <a:lnTo>
                        <a:pt x="13" y="149"/>
                      </a:lnTo>
                      <a:lnTo>
                        <a:pt x="14" y="148"/>
                      </a:lnTo>
                      <a:lnTo>
                        <a:pt x="15" y="147"/>
                      </a:lnTo>
                      <a:lnTo>
                        <a:pt x="15" y="146"/>
                      </a:lnTo>
                      <a:lnTo>
                        <a:pt x="15" y="146"/>
                      </a:lnTo>
                      <a:lnTo>
                        <a:pt x="16" y="145"/>
                      </a:lnTo>
                      <a:lnTo>
                        <a:pt x="17" y="144"/>
                      </a:lnTo>
                      <a:lnTo>
                        <a:pt x="18" y="144"/>
                      </a:lnTo>
                      <a:lnTo>
                        <a:pt x="19" y="143"/>
                      </a:lnTo>
                      <a:lnTo>
                        <a:pt x="20" y="143"/>
                      </a:lnTo>
                      <a:lnTo>
                        <a:pt x="21" y="142"/>
                      </a:lnTo>
                      <a:lnTo>
                        <a:pt x="22" y="141"/>
                      </a:lnTo>
                      <a:lnTo>
                        <a:pt x="23" y="140"/>
                      </a:lnTo>
                      <a:lnTo>
                        <a:pt x="24" y="139"/>
                      </a:lnTo>
                      <a:lnTo>
                        <a:pt x="24" y="139"/>
                      </a:lnTo>
                      <a:lnTo>
                        <a:pt x="24" y="137"/>
                      </a:lnTo>
                      <a:lnTo>
                        <a:pt x="24" y="137"/>
                      </a:lnTo>
                      <a:lnTo>
                        <a:pt x="24" y="135"/>
                      </a:lnTo>
                      <a:lnTo>
                        <a:pt x="24" y="133"/>
                      </a:lnTo>
                      <a:lnTo>
                        <a:pt x="24" y="133"/>
                      </a:lnTo>
                      <a:lnTo>
                        <a:pt x="23" y="131"/>
                      </a:lnTo>
                      <a:lnTo>
                        <a:pt x="23" y="130"/>
                      </a:lnTo>
                      <a:lnTo>
                        <a:pt x="22" y="130"/>
                      </a:lnTo>
                      <a:lnTo>
                        <a:pt x="22" y="130"/>
                      </a:lnTo>
                      <a:lnTo>
                        <a:pt x="21" y="130"/>
                      </a:lnTo>
                      <a:lnTo>
                        <a:pt x="20" y="129"/>
                      </a:lnTo>
                      <a:lnTo>
                        <a:pt x="20" y="129"/>
                      </a:lnTo>
                      <a:lnTo>
                        <a:pt x="21" y="128"/>
                      </a:lnTo>
                      <a:lnTo>
                        <a:pt x="22" y="127"/>
                      </a:lnTo>
                      <a:lnTo>
                        <a:pt x="22" y="127"/>
                      </a:lnTo>
                      <a:lnTo>
                        <a:pt x="23" y="127"/>
                      </a:lnTo>
                      <a:lnTo>
                        <a:pt x="24" y="126"/>
                      </a:lnTo>
                      <a:lnTo>
                        <a:pt x="24" y="126"/>
                      </a:lnTo>
                      <a:lnTo>
                        <a:pt x="25" y="126"/>
                      </a:lnTo>
                      <a:lnTo>
                        <a:pt x="26" y="125"/>
                      </a:lnTo>
                      <a:lnTo>
                        <a:pt x="26" y="124"/>
                      </a:lnTo>
                      <a:lnTo>
                        <a:pt x="26" y="124"/>
                      </a:lnTo>
                      <a:lnTo>
                        <a:pt x="26" y="122"/>
                      </a:lnTo>
                      <a:lnTo>
                        <a:pt x="25" y="122"/>
                      </a:lnTo>
                      <a:lnTo>
                        <a:pt x="24" y="121"/>
                      </a:lnTo>
                      <a:lnTo>
                        <a:pt x="24" y="120"/>
                      </a:lnTo>
                      <a:lnTo>
                        <a:pt x="23" y="120"/>
                      </a:lnTo>
                      <a:lnTo>
                        <a:pt x="23" y="119"/>
                      </a:lnTo>
                      <a:lnTo>
                        <a:pt x="24" y="118"/>
                      </a:lnTo>
                      <a:lnTo>
                        <a:pt x="24" y="118"/>
                      </a:lnTo>
                      <a:lnTo>
                        <a:pt x="24" y="117"/>
                      </a:lnTo>
                      <a:lnTo>
                        <a:pt x="25" y="117"/>
                      </a:lnTo>
                      <a:lnTo>
                        <a:pt x="26" y="117"/>
                      </a:lnTo>
                      <a:lnTo>
                        <a:pt x="26" y="117"/>
                      </a:lnTo>
                      <a:lnTo>
                        <a:pt x="28" y="117"/>
                      </a:lnTo>
                      <a:lnTo>
                        <a:pt x="29" y="117"/>
                      </a:lnTo>
                      <a:lnTo>
                        <a:pt x="30" y="118"/>
                      </a:lnTo>
                      <a:lnTo>
                        <a:pt x="31" y="118"/>
                      </a:lnTo>
                      <a:lnTo>
                        <a:pt x="31" y="118"/>
                      </a:lnTo>
                      <a:lnTo>
                        <a:pt x="31" y="119"/>
                      </a:lnTo>
                      <a:lnTo>
                        <a:pt x="31" y="120"/>
                      </a:lnTo>
                      <a:lnTo>
                        <a:pt x="30" y="120"/>
                      </a:lnTo>
                      <a:lnTo>
                        <a:pt x="30" y="121"/>
                      </a:lnTo>
                      <a:lnTo>
                        <a:pt x="29" y="122"/>
                      </a:lnTo>
                      <a:lnTo>
                        <a:pt x="29" y="123"/>
                      </a:lnTo>
                      <a:lnTo>
                        <a:pt x="30" y="124"/>
                      </a:lnTo>
                      <a:lnTo>
                        <a:pt x="30" y="124"/>
                      </a:lnTo>
                      <a:lnTo>
                        <a:pt x="30" y="124"/>
                      </a:lnTo>
                      <a:lnTo>
                        <a:pt x="32" y="125"/>
                      </a:lnTo>
                      <a:lnTo>
                        <a:pt x="32" y="125"/>
                      </a:lnTo>
                      <a:lnTo>
                        <a:pt x="33" y="125"/>
                      </a:lnTo>
                      <a:lnTo>
                        <a:pt x="34" y="124"/>
                      </a:lnTo>
                      <a:lnTo>
                        <a:pt x="34" y="124"/>
                      </a:lnTo>
                      <a:lnTo>
                        <a:pt x="34" y="122"/>
                      </a:lnTo>
                      <a:lnTo>
                        <a:pt x="34" y="122"/>
                      </a:lnTo>
                      <a:lnTo>
                        <a:pt x="35" y="121"/>
                      </a:lnTo>
                      <a:lnTo>
                        <a:pt x="35" y="120"/>
                      </a:lnTo>
                      <a:lnTo>
                        <a:pt x="36" y="120"/>
                      </a:lnTo>
                      <a:lnTo>
                        <a:pt x="35" y="118"/>
                      </a:lnTo>
                      <a:lnTo>
                        <a:pt x="35" y="118"/>
                      </a:lnTo>
                      <a:lnTo>
                        <a:pt x="34" y="117"/>
                      </a:lnTo>
                      <a:lnTo>
                        <a:pt x="34" y="117"/>
                      </a:lnTo>
                      <a:lnTo>
                        <a:pt x="33" y="116"/>
                      </a:lnTo>
                      <a:lnTo>
                        <a:pt x="32" y="116"/>
                      </a:lnTo>
                      <a:lnTo>
                        <a:pt x="33" y="115"/>
                      </a:lnTo>
                      <a:lnTo>
                        <a:pt x="33" y="114"/>
                      </a:lnTo>
                      <a:lnTo>
                        <a:pt x="33" y="114"/>
                      </a:lnTo>
                      <a:lnTo>
                        <a:pt x="34" y="114"/>
                      </a:lnTo>
                      <a:lnTo>
                        <a:pt x="34" y="114"/>
                      </a:lnTo>
                      <a:lnTo>
                        <a:pt x="36" y="113"/>
                      </a:lnTo>
                      <a:lnTo>
                        <a:pt x="37" y="113"/>
                      </a:lnTo>
                      <a:lnTo>
                        <a:pt x="38" y="113"/>
                      </a:lnTo>
                      <a:lnTo>
                        <a:pt x="39" y="112"/>
                      </a:lnTo>
                      <a:lnTo>
                        <a:pt x="39" y="112"/>
                      </a:lnTo>
                      <a:lnTo>
                        <a:pt x="39" y="112"/>
                      </a:lnTo>
                      <a:lnTo>
                        <a:pt x="39" y="111"/>
                      </a:lnTo>
                      <a:lnTo>
                        <a:pt x="39" y="110"/>
                      </a:lnTo>
                      <a:lnTo>
                        <a:pt x="38" y="110"/>
                      </a:lnTo>
                      <a:lnTo>
                        <a:pt x="37" y="110"/>
                      </a:lnTo>
                      <a:lnTo>
                        <a:pt x="37" y="110"/>
                      </a:lnTo>
                      <a:lnTo>
                        <a:pt x="36" y="111"/>
                      </a:lnTo>
                      <a:lnTo>
                        <a:pt x="35" y="111"/>
                      </a:lnTo>
                      <a:lnTo>
                        <a:pt x="34" y="112"/>
                      </a:lnTo>
                      <a:lnTo>
                        <a:pt x="34" y="112"/>
                      </a:lnTo>
                      <a:lnTo>
                        <a:pt x="33" y="112"/>
                      </a:lnTo>
                      <a:lnTo>
                        <a:pt x="33" y="111"/>
                      </a:lnTo>
                      <a:lnTo>
                        <a:pt x="32" y="111"/>
                      </a:lnTo>
                      <a:lnTo>
                        <a:pt x="32" y="110"/>
                      </a:lnTo>
                      <a:lnTo>
                        <a:pt x="32" y="110"/>
                      </a:lnTo>
                      <a:lnTo>
                        <a:pt x="33" y="109"/>
                      </a:lnTo>
                      <a:lnTo>
                        <a:pt x="34" y="108"/>
                      </a:lnTo>
                      <a:lnTo>
                        <a:pt x="34" y="108"/>
                      </a:lnTo>
                      <a:lnTo>
                        <a:pt x="35" y="107"/>
                      </a:lnTo>
                      <a:lnTo>
                        <a:pt x="36" y="107"/>
                      </a:lnTo>
                      <a:lnTo>
                        <a:pt x="37" y="107"/>
                      </a:lnTo>
                      <a:lnTo>
                        <a:pt x="37" y="108"/>
                      </a:lnTo>
                      <a:lnTo>
                        <a:pt x="38" y="108"/>
                      </a:lnTo>
                      <a:lnTo>
                        <a:pt x="39" y="108"/>
                      </a:lnTo>
                      <a:lnTo>
                        <a:pt x="39" y="109"/>
                      </a:lnTo>
                      <a:lnTo>
                        <a:pt x="40" y="110"/>
                      </a:lnTo>
                      <a:lnTo>
                        <a:pt x="41" y="110"/>
                      </a:lnTo>
                      <a:lnTo>
                        <a:pt x="41" y="110"/>
                      </a:lnTo>
                      <a:lnTo>
                        <a:pt x="42" y="110"/>
                      </a:lnTo>
                      <a:lnTo>
                        <a:pt x="43" y="109"/>
                      </a:lnTo>
                      <a:lnTo>
                        <a:pt x="43" y="108"/>
                      </a:lnTo>
                      <a:lnTo>
                        <a:pt x="43" y="108"/>
                      </a:lnTo>
                      <a:lnTo>
                        <a:pt x="43" y="107"/>
                      </a:lnTo>
                      <a:lnTo>
                        <a:pt x="42" y="106"/>
                      </a:lnTo>
                      <a:lnTo>
                        <a:pt x="42" y="106"/>
                      </a:lnTo>
                      <a:lnTo>
                        <a:pt x="41" y="105"/>
                      </a:lnTo>
                      <a:lnTo>
                        <a:pt x="41" y="104"/>
                      </a:lnTo>
                      <a:lnTo>
                        <a:pt x="40" y="103"/>
                      </a:lnTo>
                      <a:lnTo>
                        <a:pt x="39" y="103"/>
                      </a:lnTo>
                      <a:lnTo>
                        <a:pt x="39" y="102"/>
                      </a:lnTo>
                      <a:lnTo>
                        <a:pt x="39" y="101"/>
                      </a:lnTo>
                      <a:lnTo>
                        <a:pt x="39" y="101"/>
                      </a:lnTo>
                      <a:lnTo>
                        <a:pt x="39" y="100"/>
                      </a:lnTo>
                      <a:lnTo>
                        <a:pt x="39" y="99"/>
                      </a:lnTo>
                      <a:lnTo>
                        <a:pt x="40" y="99"/>
                      </a:lnTo>
                      <a:lnTo>
                        <a:pt x="41" y="99"/>
                      </a:lnTo>
                      <a:lnTo>
                        <a:pt x="41" y="98"/>
                      </a:lnTo>
                      <a:lnTo>
                        <a:pt x="42" y="98"/>
                      </a:lnTo>
                      <a:lnTo>
                        <a:pt x="42" y="97"/>
                      </a:lnTo>
                      <a:lnTo>
                        <a:pt x="41" y="97"/>
                      </a:lnTo>
                      <a:lnTo>
                        <a:pt x="41" y="96"/>
                      </a:lnTo>
                      <a:lnTo>
                        <a:pt x="41" y="96"/>
                      </a:lnTo>
                      <a:lnTo>
                        <a:pt x="39" y="96"/>
                      </a:lnTo>
                      <a:lnTo>
                        <a:pt x="39" y="96"/>
                      </a:lnTo>
                      <a:lnTo>
                        <a:pt x="38" y="95"/>
                      </a:lnTo>
                      <a:lnTo>
                        <a:pt x="37" y="95"/>
                      </a:lnTo>
                      <a:lnTo>
                        <a:pt x="37" y="95"/>
                      </a:lnTo>
                      <a:lnTo>
                        <a:pt x="36" y="95"/>
                      </a:lnTo>
                      <a:lnTo>
                        <a:pt x="36" y="94"/>
                      </a:lnTo>
                      <a:lnTo>
                        <a:pt x="36" y="93"/>
                      </a:lnTo>
                      <a:lnTo>
                        <a:pt x="37" y="93"/>
                      </a:lnTo>
                      <a:lnTo>
                        <a:pt x="37" y="93"/>
                      </a:lnTo>
                      <a:lnTo>
                        <a:pt x="37" y="92"/>
                      </a:lnTo>
                      <a:lnTo>
                        <a:pt x="39" y="92"/>
                      </a:lnTo>
                      <a:lnTo>
                        <a:pt x="39" y="92"/>
                      </a:lnTo>
                      <a:lnTo>
                        <a:pt x="40" y="92"/>
                      </a:lnTo>
                      <a:lnTo>
                        <a:pt x="41" y="91"/>
                      </a:lnTo>
                      <a:lnTo>
                        <a:pt x="41" y="91"/>
                      </a:lnTo>
                      <a:lnTo>
                        <a:pt x="42" y="90"/>
                      </a:lnTo>
                      <a:lnTo>
                        <a:pt x="42" y="89"/>
                      </a:lnTo>
                      <a:lnTo>
                        <a:pt x="43" y="89"/>
                      </a:lnTo>
                      <a:lnTo>
                        <a:pt x="43" y="88"/>
                      </a:lnTo>
                      <a:lnTo>
                        <a:pt x="44" y="87"/>
                      </a:lnTo>
                      <a:lnTo>
                        <a:pt x="45" y="86"/>
                      </a:lnTo>
                      <a:lnTo>
                        <a:pt x="45" y="85"/>
                      </a:lnTo>
                      <a:lnTo>
                        <a:pt x="46" y="84"/>
                      </a:lnTo>
                      <a:lnTo>
                        <a:pt x="46" y="84"/>
                      </a:lnTo>
                      <a:lnTo>
                        <a:pt x="47" y="83"/>
                      </a:lnTo>
                      <a:lnTo>
                        <a:pt x="47" y="82"/>
                      </a:lnTo>
                      <a:lnTo>
                        <a:pt x="47" y="82"/>
                      </a:lnTo>
                      <a:lnTo>
                        <a:pt x="46" y="81"/>
                      </a:lnTo>
                      <a:lnTo>
                        <a:pt x="45" y="81"/>
                      </a:lnTo>
                      <a:lnTo>
                        <a:pt x="45" y="81"/>
                      </a:lnTo>
                      <a:lnTo>
                        <a:pt x="44" y="81"/>
                      </a:lnTo>
                      <a:lnTo>
                        <a:pt x="43" y="82"/>
                      </a:lnTo>
                      <a:lnTo>
                        <a:pt x="43" y="82"/>
                      </a:lnTo>
                      <a:lnTo>
                        <a:pt x="42" y="82"/>
                      </a:lnTo>
                      <a:lnTo>
                        <a:pt x="41" y="82"/>
                      </a:lnTo>
                      <a:lnTo>
                        <a:pt x="41" y="82"/>
                      </a:lnTo>
                      <a:lnTo>
                        <a:pt x="39" y="83"/>
                      </a:lnTo>
                      <a:lnTo>
                        <a:pt x="39" y="83"/>
                      </a:lnTo>
                      <a:lnTo>
                        <a:pt x="37" y="83"/>
                      </a:lnTo>
                      <a:lnTo>
                        <a:pt x="37" y="82"/>
                      </a:lnTo>
                      <a:lnTo>
                        <a:pt x="37" y="82"/>
                      </a:lnTo>
                      <a:lnTo>
                        <a:pt x="37" y="81"/>
                      </a:lnTo>
                      <a:lnTo>
                        <a:pt x="37" y="80"/>
                      </a:lnTo>
                      <a:lnTo>
                        <a:pt x="38" y="80"/>
                      </a:lnTo>
                      <a:lnTo>
                        <a:pt x="39" y="80"/>
                      </a:lnTo>
                      <a:lnTo>
                        <a:pt x="39" y="79"/>
                      </a:lnTo>
                      <a:lnTo>
                        <a:pt x="39" y="78"/>
                      </a:lnTo>
                      <a:lnTo>
                        <a:pt x="39" y="78"/>
                      </a:lnTo>
                      <a:lnTo>
                        <a:pt x="38" y="78"/>
                      </a:lnTo>
                      <a:lnTo>
                        <a:pt x="38" y="77"/>
                      </a:lnTo>
                      <a:lnTo>
                        <a:pt x="37" y="77"/>
                      </a:lnTo>
                      <a:lnTo>
                        <a:pt x="36" y="78"/>
                      </a:lnTo>
                      <a:lnTo>
                        <a:pt x="35" y="78"/>
                      </a:lnTo>
                      <a:lnTo>
                        <a:pt x="34" y="77"/>
                      </a:lnTo>
                      <a:lnTo>
                        <a:pt x="34" y="77"/>
                      </a:lnTo>
                      <a:lnTo>
                        <a:pt x="34" y="76"/>
                      </a:lnTo>
                      <a:lnTo>
                        <a:pt x="33" y="76"/>
                      </a:lnTo>
                      <a:lnTo>
                        <a:pt x="33" y="75"/>
                      </a:lnTo>
                      <a:lnTo>
                        <a:pt x="34" y="74"/>
                      </a:lnTo>
                      <a:lnTo>
                        <a:pt x="34" y="74"/>
                      </a:lnTo>
                      <a:lnTo>
                        <a:pt x="34" y="74"/>
                      </a:lnTo>
                      <a:lnTo>
                        <a:pt x="35" y="74"/>
                      </a:lnTo>
                      <a:lnTo>
                        <a:pt x="36" y="74"/>
                      </a:lnTo>
                      <a:lnTo>
                        <a:pt x="36" y="74"/>
                      </a:lnTo>
                      <a:lnTo>
                        <a:pt x="37" y="74"/>
                      </a:lnTo>
                      <a:lnTo>
                        <a:pt x="37" y="74"/>
                      </a:lnTo>
                      <a:lnTo>
                        <a:pt x="39" y="75"/>
                      </a:lnTo>
                      <a:lnTo>
                        <a:pt x="39" y="76"/>
                      </a:lnTo>
                      <a:lnTo>
                        <a:pt x="41" y="76"/>
                      </a:lnTo>
                      <a:lnTo>
                        <a:pt x="41" y="76"/>
                      </a:lnTo>
                      <a:lnTo>
                        <a:pt x="41" y="77"/>
                      </a:lnTo>
                      <a:lnTo>
                        <a:pt x="41" y="78"/>
                      </a:lnTo>
                      <a:lnTo>
                        <a:pt x="41" y="78"/>
                      </a:lnTo>
                      <a:lnTo>
                        <a:pt x="41" y="79"/>
                      </a:lnTo>
                      <a:lnTo>
                        <a:pt x="42" y="79"/>
                      </a:lnTo>
                      <a:lnTo>
                        <a:pt x="42" y="80"/>
                      </a:lnTo>
                      <a:lnTo>
                        <a:pt x="43" y="80"/>
                      </a:lnTo>
                      <a:lnTo>
                        <a:pt x="43" y="79"/>
                      </a:lnTo>
                      <a:lnTo>
                        <a:pt x="43" y="79"/>
                      </a:lnTo>
                      <a:lnTo>
                        <a:pt x="43" y="78"/>
                      </a:lnTo>
                      <a:lnTo>
                        <a:pt x="44" y="78"/>
                      </a:lnTo>
                      <a:lnTo>
                        <a:pt x="45" y="78"/>
                      </a:lnTo>
                      <a:lnTo>
                        <a:pt x="45" y="77"/>
                      </a:lnTo>
                      <a:lnTo>
                        <a:pt x="45" y="76"/>
                      </a:lnTo>
                      <a:lnTo>
                        <a:pt x="44" y="76"/>
                      </a:lnTo>
                      <a:lnTo>
                        <a:pt x="44" y="74"/>
                      </a:lnTo>
                      <a:lnTo>
                        <a:pt x="44" y="74"/>
                      </a:lnTo>
                      <a:lnTo>
                        <a:pt x="44" y="72"/>
                      </a:lnTo>
                      <a:lnTo>
                        <a:pt x="45" y="72"/>
                      </a:lnTo>
                      <a:lnTo>
                        <a:pt x="45" y="72"/>
                      </a:lnTo>
                      <a:lnTo>
                        <a:pt x="45" y="71"/>
                      </a:lnTo>
                      <a:lnTo>
                        <a:pt x="46" y="70"/>
                      </a:lnTo>
                      <a:lnTo>
                        <a:pt x="47" y="70"/>
                      </a:lnTo>
                      <a:lnTo>
                        <a:pt x="47" y="70"/>
                      </a:lnTo>
                      <a:lnTo>
                        <a:pt x="48" y="70"/>
                      </a:lnTo>
                      <a:lnTo>
                        <a:pt x="49" y="70"/>
                      </a:lnTo>
                      <a:lnTo>
                        <a:pt x="49" y="70"/>
                      </a:lnTo>
                      <a:lnTo>
                        <a:pt x="49" y="69"/>
                      </a:lnTo>
                      <a:lnTo>
                        <a:pt x="49" y="68"/>
                      </a:lnTo>
                      <a:lnTo>
                        <a:pt x="50" y="68"/>
                      </a:lnTo>
                      <a:lnTo>
                        <a:pt x="49" y="67"/>
                      </a:lnTo>
                      <a:lnTo>
                        <a:pt x="49" y="66"/>
                      </a:lnTo>
                      <a:lnTo>
                        <a:pt x="48" y="66"/>
                      </a:lnTo>
                      <a:lnTo>
                        <a:pt x="47" y="66"/>
                      </a:lnTo>
                      <a:lnTo>
                        <a:pt x="47" y="67"/>
                      </a:lnTo>
                      <a:lnTo>
                        <a:pt x="46" y="67"/>
                      </a:lnTo>
                      <a:lnTo>
                        <a:pt x="44" y="68"/>
                      </a:lnTo>
                      <a:lnTo>
                        <a:pt x="43" y="68"/>
                      </a:lnTo>
                      <a:lnTo>
                        <a:pt x="43" y="69"/>
                      </a:lnTo>
                      <a:lnTo>
                        <a:pt x="42" y="69"/>
                      </a:lnTo>
                      <a:lnTo>
                        <a:pt x="41" y="69"/>
                      </a:lnTo>
                      <a:lnTo>
                        <a:pt x="41" y="68"/>
                      </a:lnTo>
                      <a:lnTo>
                        <a:pt x="41" y="68"/>
                      </a:lnTo>
                      <a:lnTo>
                        <a:pt x="41" y="67"/>
                      </a:lnTo>
                      <a:lnTo>
                        <a:pt x="41" y="66"/>
                      </a:lnTo>
                      <a:lnTo>
                        <a:pt x="41" y="65"/>
                      </a:lnTo>
                      <a:lnTo>
                        <a:pt x="42" y="65"/>
                      </a:lnTo>
                      <a:lnTo>
                        <a:pt x="43" y="64"/>
                      </a:lnTo>
                      <a:lnTo>
                        <a:pt x="45" y="63"/>
                      </a:lnTo>
                      <a:lnTo>
                        <a:pt x="46" y="63"/>
                      </a:lnTo>
                      <a:lnTo>
                        <a:pt x="47" y="63"/>
                      </a:lnTo>
                      <a:lnTo>
                        <a:pt x="48" y="62"/>
                      </a:lnTo>
                      <a:lnTo>
                        <a:pt x="49" y="62"/>
                      </a:lnTo>
                      <a:lnTo>
                        <a:pt x="49" y="61"/>
                      </a:lnTo>
                      <a:lnTo>
                        <a:pt x="49" y="61"/>
                      </a:lnTo>
                      <a:lnTo>
                        <a:pt x="49" y="61"/>
                      </a:lnTo>
                      <a:lnTo>
                        <a:pt x="49" y="60"/>
                      </a:lnTo>
                      <a:lnTo>
                        <a:pt x="48" y="60"/>
                      </a:lnTo>
                      <a:lnTo>
                        <a:pt x="47" y="59"/>
                      </a:lnTo>
                      <a:lnTo>
                        <a:pt x="47" y="59"/>
                      </a:lnTo>
                      <a:lnTo>
                        <a:pt x="46" y="59"/>
                      </a:lnTo>
                      <a:lnTo>
                        <a:pt x="45" y="59"/>
                      </a:lnTo>
                      <a:lnTo>
                        <a:pt x="45" y="59"/>
                      </a:lnTo>
                      <a:lnTo>
                        <a:pt x="44" y="59"/>
                      </a:lnTo>
                      <a:lnTo>
                        <a:pt x="43" y="59"/>
                      </a:lnTo>
                      <a:lnTo>
                        <a:pt x="42" y="59"/>
                      </a:lnTo>
                      <a:lnTo>
                        <a:pt x="41" y="59"/>
                      </a:lnTo>
                      <a:lnTo>
                        <a:pt x="41" y="59"/>
                      </a:lnTo>
                      <a:lnTo>
                        <a:pt x="40" y="59"/>
                      </a:lnTo>
                      <a:lnTo>
                        <a:pt x="39" y="60"/>
                      </a:lnTo>
                      <a:lnTo>
                        <a:pt x="39" y="61"/>
                      </a:lnTo>
                      <a:lnTo>
                        <a:pt x="39" y="61"/>
                      </a:lnTo>
                      <a:lnTo>
                        <a:pt x="38" y="61"/>
                      </a:lnTo>
                      <a:lnTo>
                        <a:pt x="38" y="61"/>
                      </a:lnTo>
                      <a:lnTo>
                        <a:pt x="37" y="61"/>
                      </a:lnTo>
                      <a:lnTo>
                        <a:pt x="37" y="60"/>
                      </a:lnTo>
                      <a:lnTo>
                        <a:pt x="37" y="59"/>
                      </a:lnTo>
                      <a:lnTo>
                        <a:pt x="37" y="59"/>
                      </a:lnTo>
                      <a:lnTo>
                        <a:pt x="37" y="58"/>
                      </a:lnTo>
                      <a:lnTo>
                        <a:pt x="38" y="57"/>
                      </a:lnTo>
                      <a:lnTo>
                        <a:pt x="39" y="57"/>
                      </a:lnTo>
                      <a:lnTo>
                        <a:pt x="39" y="56"/>
                      </a:lnTo>
                      <a:lnTo>
                        <a:pt x="39" y="56"/>
                      </a:lnTo>
                      <a:lnTo>
                        <a:pt x="39" y="55"/>
                      </a:lnTo>
                      <a:lnTo>
                        <a:pt x="40" y="55"/>
                      </a:lnTo>
                      <a:lnTo>
                        <a:pt x="41" y="55"/>
                      </a:lnTo>
                      <a:lnTo>
                        <a:pt x="41" y="54"/>
                      </a:lnTo>
                      <a:lnTo>
                        <a:pt x="41" y="53"/>
                      </a:lnTo>
                      <a:lnTo>
                        <a:pt x="41" y="53"/>
                      </a:lnTo>
                      <a:lnTo>
                        <a:pt x="42" y="53"/>
                      </a:lnTo>
                      <a:lnTo>
                        <a:pt x="42" y="52"/>
                      </a:lnTo>
                      <a:lnTo>
                        <a:pt x="43" y="52"/>
                      </a:lnTo>
                      <a:lnTo>
                        <a:pt x="43" y="52"/>
                      </a:lnTo>
                      <a:lnTo>
                        <a:pt x="44" y="51"/>
                      </a:lnTo>
                      <a:lnTo>
                        <a:pt x="45" y="51"/>
                      </a:lnTo>
                      <a:lnTo>
                        <a:pt x="44" y="50"/>
                      </a:lnTo>
                      <a:lnTo>
                        <a:pt x="44" y="49"/>
                      </a:lnTo>
                      <a:lnTo>
                        <a:pt x="44" y="49"/>
                      </a:lnTo>
                      <a:lnTo>
                        <a:pt x="44" y="48"/>
                      </a:lnTo>
                      <a:lnTo>
                        <a:pt x="44" y="47"/>
                      </a:lnTo>
                      <a:lnTo>
                        <a:pt x="44" y="47"/>
                      </a:lnTo>
                      <a:lnTo>
                        <a:pt x="43" y="47"/>
                      </a:lnTo>
                      <a:lnTo>
                        <a:pt x="43" y="47"/>
                      </a:lnTo>
                      <a:lnTo>
                        <a:pt x="42" y="47"/>
                      </a:lnTo>
                      <a:lnTo>
                        <a:pt x="41" y="47"/>
                      </a:lnTo>
                      <a:lnTo>
                        <a:pt x="41" y="46"/>
                      </a:lnTo>
                      <a:lnTo>
                        <a:pt x="41" y="45"/>
                      </a:lnTo>
                      <a:lnTo>
                        <a:pt x="41" y="44"/>
                      </a:lnTo>
                      <a:lnTo>
                        <a:pt x="42" y="43"/>
                      </a:lnTo>
                      <a:lnTo>
                        <a:pt x="43" y="42"/>
                      </a:lnTo>
                      <a:lnTo>
                        <a:pt x="43" y="41"/>
                      </a:lnTo>
                      <a:lnTo>
                        <a:pt x="43" y="39"/>
                      </a:lnTo>
                      <a:lnTo>
                        <a:pt x="43" y="38"/>
                      </a:lnTo>
                      <a:lnTo>
                        <a:pt x="43" y="38"/>
                      </a:lnTo>
                      <a:lnTo>
                        <a:pt x="43" y="37"/>
                      </a:lnTo>
                      <a:lnTo>
                        <a:pt x="42" y="37"/>
                      </a:lnTo>
                      <a:lnTo>
                        <a:pt x="41" y="36"/>
                      </a:lnTo>
                      <a:lnTo>
                        <a:pt x="39" y="36"/>
                      </a:lnTo>
                      <a:lnTo>
                        <a:pt x="39" y="36"/>
                      </a:lnTo>
                      <a:lnTo>
                        <a:pt x="38" y="35"/>
                      </a:lnTo>
                      <a:lnTo>
                        <a:pt x="37" y="35"/>
                      </a:lnTo>
                      <a:lnTo>
                        <a:pt x="36" y="34"/>
                      </a:lnTo>
                      <a:lnTo>
                        <a:pt x="34" y="34"/>
                      </a:lnTo>
                      <a:lnTo>
                        <a:pt x="34" y="33"/>
                      </a:lnTo>
                      <a:lnTo>
                        <a:pt x="33" y="33"/>
                      </a:lnTo>
                      <a:lnTo>
                        <a:pt x="33" y="32"/>
                      </a:lnTo>
                      <a:lnTo>
                        <a:pt x="33" y="32"/>
                      </a:lnTo>
                      <a:lnTo>
                        <a:pt x="34" y="31"/>
                      </a:lnTo>
                      <a:lnTo>
                        <a:pt x="34" y="30"/>
                      </a:lnTo>
                      <a:lnTo>
                        <a:pt x="35" y="30"/>
                      </a:lnTo>
                      <a:lnTo>
                        <a:pt x="35" y="30"/>
                      </a:lnTo>
                      <a:lnTo>
                        <a:pt x="36" y="29"/>
                      </a:lnTo>
                      <a:lnTo>
                        <a:pt x="36" y="28"/>
                      </a:lnTo>
                      <a:lnTo>
                        <a:pt x="37" y="28"/>
                      </a:lnTo>
                      <a:lnTo>
                        <a:pt x="37" y="28"/>
                      </a:lnTo>
                      <a:lnTo>
                        <a:pt x="37" y="28"/>
                      </a:lnTo>
                      <a:lnTo>
                        <a:pt x="38" y="28"/>
                      </a:lnTo>
                      <a:lnTo>
                        <a:pt x="37" y="29"/>
                      </a:lnTo>
                      <a:lnTo>
                        <a:pt x="37" y="30"/>
                      </a:lnTo>
                      <a:lnTo>
                        <a:pt x="37" y="30"/>
                      </a:lnTo>
                      <a:lnTo>
                        <a:pt x="37" y="31"/>
                      </a:lnTo>
                      <a:lnTo>
                        <a:pt x="37" y="32"/>
                      </a:lnTo>
                      <a:lnTo>
                        <a:pt x="38" y="32"/>
                      </a:lnTo>
                      <a:lnTo>
                        <a:pt x="39" y="32"/>
                      </a:lnTo>
                      <a:lnTo>
                        <a:pt x="39" y="32"/>
                      </a:lnTo>
                      <a:lnTo>
                        <a:pt x="40" y="31"/>
                      </a:lnTo>
                      <a:lnTo>
                        <a:pt x="40" y="30"/>
                      </a:lnTo>
                      <a:lnTo>
                        <a:pt x="40" y="30"/>
                      </a:lnTo>
                      <a:lnTo>
                        <a:pt x="40" y="29"/>
                      </a:lnTo>
                      <a:lnTo>
                        <a:pt x="40" y="28"/>
                      </a:lnTo>
                      <a:lnTo>
                        <a:pt x="40" y="28"/>
                      </a:lnTo>
                      <a:lnTo>
                        <a:pt x="41" y="27"/>
                      </a:lnTo>
                      <a:lnTo>
                        <a:pt x="41" y="26"/>
                      </a:lnTo>
                      <a:lnTo>
                        <a:pt x="41" y="25"/>
                      </a:lnTo>
                      <a:lnTo>
                        <a:pt x="42" y="23"/>
                      </a:lnTo>
                      <a:lnTo>
                        <a:pt x="42" y="22"/>
                      </a:lnTo>
                      <a:lnTo>
                        <a:pt x="42" y="21"/>
                      </a:lnTo>
                      <a:lnTo>
                        <a:pt x="42" y="21"/>
                      </a:lnTo>
                      <a:lnTo>
                        <a:pt x="42" y="20"/>
                      </a:lnTo>
                      <a:lnTo>
                        <a:pt x="42" y="19"/>
                      </a:lnTo>
                      <a:lnTo>
                        <a:pt x="41" y="19"/>
                      </a:lnTo>
                      <a:lnTo>
                        <a:pt x="41" y="18"/>
                      </a:lnTo>
                      <a:lnTo>
                        <a:pt x="41" y="18"/>
                      </a:lnTo>
                      <a:lnTo>
                        <a:pt x="40" y="17"/>
                      </a:lnTo>
                      <a:lnTo>
                        <a:pt x="39" y="17"/>
                      </a:lnTo>
                      <a:lnTo>
                        <a:pt x="39" y="17"/>
                      </a:lnTo>
                      <a:lnTo>
                        <a:pt x="39" y="16"/>
                      </a:lnTo>
                      <a:lnTo>
                        <a:pt x="39" y="15"/>
                      </a:lnTo>
                      <a:lnTo>
                        <a:pt x="40" y="15"/>
                      </a:lnTo>
                      <a:lnTo>
                        <a:pt x="41" y="15"/>
                      </a:lnTo>
                      <a:lnTo>
                        <a:pt x="41" y="15"/>
                      </a:lnTo>
                      <a:lnTo>
                        <a:pt x="42" y="14"/>
                      </a:lnTo>
                      <a:lnTo>
                        <a:pt x="42" y="13"/>
                      </a:lnTo>
                      <a:lnTo>
                        <a:pt x="43" y="13"/>
                      </a:lnTo>
                      <a:lnTo>
                        <a:pt x="43" y="12"/>
                      </a:lnTo>
                      <a:lnTo>
                        <a:pt x="43" y="11"/>
                      </a:lnTo>
                      <a:lnTo>
                        <a:pt x="43" y="11"/>
                      </a:lnTo>
                      <a:lnTo>
                        <a:pt x="43" y="10"/>
                      </a:lnTo>
                      <a:lnTo>
                        <a:pt x="44" y="10"/>
                      </a:lnTo>
                      <a:lnTo>
                        <a:pt x="44" y="9"/>
                      </a:lnTo>
                      <a:lnTo>
                        <a:pt x="45" y="9"/>
                      </a:lnTo>
                      <a:lnTo>
                        <a:pt x="44" y="9"/>
                      </a:lnTo>
                      <a:lnTo>
                        <a:pt x="44" y="8"/>
                      </a:lnTo>
                      <a:lnTo>
                        <a:pt x="43" y="8"/>
                      </a:lnTo>
                      <a:lnTo>
                        <a:pt x="43" y="8"/>
                      </a:lnTo>
                      <a:lnTo>
                        <a:pt x="42" y="9"/>
                      </a:lnTo>
                      <a:lnTo>
                        <a:pt x="41" y="9"/>
                      </a:lnTo>
                      <a:lnTo>
                        <a:pt x="41" y="9"/>
                      </a:lnTo>
                      <a:lnTo>
                        <a:pt x="40" y="10"/>
                      </a:lnTo>
                      <a:lnTo>
                        <a:pt x="39" y="11"/>
                      </a:lnTo>
                      <a:lnTo>
                        <a:pt x="39" y="11"/>
                      </a:lnTo>
                      <a:lnTo>
                        <a:pt x="39" y="12"/>
                      </a:lnTo>
                      <a:lnTo>
                        <a:pt x="39" y="13"/>
                      </a:lnTo>
                      <a:lnTo>
                        <a:pt x="39" y="13"/>
                      </a:lnTo>
                      <a:lnTo>
                        <a:pt x="39" y="14"/>
                      </a:lnTo>
                      <a:lnTo>
                        <a:pt x="38" y="14"/>
                      </a:lnTo>
                      <a:lnTo>
                        <a:pt x="37" y="13"/>
                      </a:lnTo>
                      <a:lnTo>
                        <a:pt x="37" y="13"/>
                      </a:lnTo>
                      <a:lnTo>
                        <a:pt x="36" y="13"/>
                      </a:lnTo>
                      <a:lnTo>
                        <a:pt x="35" y="12"/>
                      </a:lnTo>
                      <a:lnTo>
                        <a:pt x="35" y="11"/>
                      </a:lnTo>
                      <a:lnTo>
                        <a:pt x="35" y="11"/>
                      </a:lnTo>
                      <a:lnTo>
                        <a:pt x="36" y="10"/>
                      </a:lnTo>
                      <a:lnTo>
                        <a:pt x="37" y="10"/>
                      </a:lnTo>
                      <a:lnTo>
                        <a:pt x="37" y="9"/>
                      </a:lnTo>
                      <a:lnTo>
                        <a:pt x="38" y="9"/>
                      </a:lnTo>
                      <a:lnTo>
                        <a:pt x="38" y="9"/>
                      </a:lnTo>
                      <a:lnTo>
                        <a:pt x="38" y="8"/>
                      </a:lnTo>
                      <a:lnTo>
                        <a:pt x="38" y="7"/>
                      </a:lnTo>
                      <a:lnTo>
                        <a:pt x="37" y="7"/>
                      </a:lnTo>
                      <a:lnTo>
                        <a:pt x="37" y="6"/>
                      </a:lnTo>
                      <a:lnTo>
                        <a:pt x="35" y="6"/>
                      </a:lnTo>
                      <a:lnTo>
                        <a:pt x="34" y="6"/>
                      </a:lnTo>
                      <a:lnTo>
                        <a:pt x="34" y="6"/>
                      </a:lnTo>
                      <a:lnTo>
                        <a:pt x="33" y="6"/>
                      </a:lnTo>
                      <a:lnTo>
                        <a:pt x="32" y="6"/>
                      </a:lnTo>
                      <a:lnTo>
                        <a:pt x="32" y="6"/>
                      </a:lnTo>
                      <a:lnTo>
                        <a:pt x="31" y="5"/>
                      </a:lnTo>
                      <a:lnTo>
                        <a:pt x="30" y="4"/>
                      </a:lnTo>
                      <a:lnTo>
                        <a:pt x="30" y="4"/>
                      </a:lnTo>
                      <a:lnTo>
                        <a:pt x="29" y="4"/>
                      </a:lnTo>
                      <a:lnTo>
                        <a:pt x="28" y="4"/>
                      </a:lnTo>
                      <a:lnTo>
                        <a:pt x="28" y="4"/>
                      </a:lnTo>
                      <a:lnTo>
                        <a:pt x="28" y="4"/>
                      </a:lnTo>
                      <a:lnTo>
                        <a:pt x="28" y="3"/>
                      </a:lnTo>
                      <a:lnTo>
                        <a:pt x="29" y="2"/>
                      </a:lnTo>
                      <a:lnTo>
                        <a:pt x="30" y="1"/>
                      </a:lnTo>
                      <a:lnTo>
                        <a:pt x="31" y="0"/>
                      </a:lnTo>
                      <a:lnTo>
                        <a:pt x="32" y="0"/>
                      </a:lnTo>
                      <a:lnTo>
                        <a:pt x="33" y="0"/>
                      </a:lnTo>
                      <a:lnTo>
                        <a:pt x="34" y="1"/>
                      </a:lnTo>
                      <a:lnTo>
                        <a:pt x="34" y="2"/>
                      </a:lnTo>
                      <a:lnTo>
                        <a:pt x="34" y="2"/>
                      </a:lnTo>
                      <a:lnTo>
                        <a:pt x="34" y="3"/>
                      </a:lnTo>
                      <a:lnTo>
                        <a:pt x="34" y="4"/>
                      </a:lnTo>
                      <a:lnTo>
                        <a:pt x="34" y="5"/>
                      </a:lnTo>
                      <a:lnTo>
                        <a:pt x="35" y="6"/>
                      </a:lnTo>
                      <a:lnTo>
                        <a:pt x="36" y="6"/>
                      </a:lnTo>
                      <a:lnTo>
                        <a:pt x="37" y="6"/>
                      </a:lnTo>
                      <a:lnTo>
                        <a:pt x="37" y="5"/>
                      </a:lnTo>
                      <a:lnTo>
                        <a:pt x="37" y="5"/>
                      </a:lnTo>
                      <a:lnTo>
                        <a:pt x="37" y="4"/>
                      </a:lnTo>
                      <a:lnTo>
                        <a:pt x="38" y="4"/>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4" name="Freeform 79">
                  <a:extLst>
                    <a:ext uri="{FF2B5EF4-FFF2-40B4-BE49-F238E27FC236}">
                      <a16:creationId xmlns:a16="http://schemas.microsoft.com/office/drawing/2014/main" xmlns="" id="{53EF85CD-FCE2-AD21-28C7-A4BC83B29CE0}"/>
                    </a:ext>
                  </a:extLst>
                </p:cNvPr>
                <p:cNvSpPr>
                  <a:spLocks/>
                </p:cNvSpPr>
                <p:nvPr/>
              </p:nvSpPr>
              <p:spPr bwMode="auto">
                <a:xfrm>
                  <a:off x="3216" y="2182"/>
                  <a:ext cx="352" cy="235"/>
                </a:xfrm>
                <a:custGeom>
                  <a:avLst/>
                  <a:gdLst>
                    <a:gd name="T0" fmla="*/ 12 w 352"/>
                    <a:gd name="T1" fmla="*/ 231 h 235"/>
                    <a:gd name="T2" fmla="*/ 11 w 352"/>
                    <a:gd name="T3" fmla="*/ 221 h 235"/>
                    <a:gd name="T4" fmla="*/ 6 w 352"/>
                    <a:gd name="T5" fmla="*/ 223 h 235"/>
                    <a:gd name="T6" fmla="*/ 12 w 352"/>
                    <a:gd name="T7" fmla="*/ 214 h 235"/>
                    <a:gd name="T8" fmla="*/ 12 w 352"/>
                    <a:gd name="T9" fmla="*/ 206 h 235"/>
                    <a:gd name="T10" fmla="*/ 5 w 352"/>
                    <a:gd name="T11" fmla="*/ 208 h 235"/>
                    <a:gd name="T12" fmla="*/ 1 w 352"/>
                    <a:gd name="T13" fmla="*/ 202 h 235"/>
                    <a:gd name="T14" fmla="*/ 7 w 352"/>
                    <a:gd name="T15" fmla="*/ 193 h 235"/>
                    <a:gd name="T16" fmla="*/ 8 w 352"/>
                    <a:gd name="T17" fmla="*/ 189 h 235"/>
                    <a:gd name="T18" fmla="*/ 2 w 352"/>
                    <a:gd name="T19" fmla="*/ 177 h 235"/>
                    <a:gd name="T20" fmla="*/ 7 w 352"/>
                    <a:gd name="T21" fmla="*/ 162 h 235"/>
                    <a:gd name="T22" fmla="*/ 350 w 352"/>
                    <a:gd name="T23" fmla="*/ 176 h 235"/>
                    <a:gd name="T24" fmla="*/ 345 w 352"/>
                    <a:gd name="T25" fmla="*/ 174 h 235"/>
                    <a:gd name="T26" fmla="*/ 344 w 352"/>
                    <a:gd name="T27" fmla="*/ 171 h 235"/>
                    <a:gd name="T28" fmla="*/ 342 w 352"/>
                    <a:gd name="T29" fmla="*/ 169 h 235"/>
                    <a:gd name="T30" fmla="*/ 336 w 352"/>
                    <a:gd name="T31" fmla="*/ 165 h 235"/>
                    <a:gd name="T32" fmla="*/ 340 w 352"/>
                    <a:gd name="T33" fmla="*/ 161 h 235"/>
                    <a:gd name="T34" fmla="*/ 340 w 352"/>
                    <a:gd name="T35" fmla="*/ 156 h 235"/>
                    <a:gd name="T36" fmla="*/ 339 w 352"/>
                    <a:gd name="T37" fmla="*/ 153 h 235"/>
                    <a:gd name="T38" fmla="*/ 337 w 352"/>
                    <a:gd name="T39" fmla="*/ 150 h 235"/>
                    <a:gd name="T40" fmla="*/ 338 w 352"/>
                    <a:gd name="T41" fmla="*/ 145 h 235"/>
                    <a:gd name="T42" fmla="*/ 333 w 352"/>
                    <a:gd name="T43" fmla="*/ 143 h 235"/>
                    <a:gd name="T44" fmla="*/ 329 w 352"/>
                    <a:gd name="T45" fmla="*/ 140 h 235"/>
                    <a:gd name="T46" fmla="*/ 329 w 352"/>
                    <a:gd name="T47" fmla="*/ 136 h 235"/>
                    <a:gd name="T48" fmla="*/ 325 w 352"/>
                    <a:gd name="T49" fmla="*/ 133 h 235"/>
                    <a:gd name="T50" fmla="*/ 319 w 352"/>
                    <a:gd name="T51" fmla="*/ 128 h 235"/>
                    <a:gd name="T52" fmla="*/ 315 w 352"/>
                    <a:gd name="T53" fmla="*/ 121 h 235"/>
                    <a:gd name="T54" fmla="*/ 311 w 352"/>
                    <a:gd name="T55" fmla="*/ 122 h 235"/>
                    <a:gd name="T56" fmla="*/ 304 w 352"/>
                    <a:gd name="T57" fmla="*/ 124 h 235"/>
                    <a:gd name="T58" fmla="*/ 301 w 352"/>
                    <a:gd name="T59" fmla="*/ 120 h 235"/>
                    <a:gd name="T60" fmla="*/ 297 w 352"/>
                    <a:gd name="T61" fmla="*/ 114 h 235"/>
                    <a:gd name="T62" fmla="*/ 291 w 352"/>
                    <a:gd name="T63" fmla="*/ 115 h 235"/>
                    <a:gd name="T64" fmla="*/ 285 w 352"/>
                    <a:gd name="T65" fmla="*/ 113 h 235"/>
                    <a:gd name="T66" fmla="*/ 284 w 352"/>
                    <a:gd name="T67" fmla="*/ 108 h 235"/>
                    <a:gd name="T68" fmla="*/ 283 w 352"/>
                    <a:gd name="T69" fmla="*/ 103 h 235"/>
                    <a:gd name="T70" fmla="*/ 277 w 352"/>
                    <a:gd name="T71" fmla="*/ 101 h 235"/>
                    <a:gd name="T72" fmla="*/ 272 w 352"/>
                    <a:gd name="T73" fmla="*/ 101 h 235"/>
                    <a:gd name="T74" fmla="*/ 273 w 352"/>
                    <a:gd name="T75" fmla="*/ 93 h 235"/>
                    <a:gd name="T76" fmla="*/ 274 w 352"/>
                    <a:gd name="T77" fmla="*/ 88 h 235"/>
                    <a:gd name="T78" fmla="*/ 274 w 352"/>
                    <a:gd name="T79" fmla="*/ 82 h 235"/>
                    <a:gd name="T80" fmla="*/ 271 w 352"/>
                    <a:gd name="T81" fmla="*/ 76 h 235"/>
                    <a:gd name="T82" fmla="*/ 266 w 352"/>
                    <a:gd name="T83" fmla="*/ 73 h 235"/>
                    <a:gd name="T84" fmla="*/ 262 w 352"/>
                    <a:gd name="T85" fmla="*/ 69 h 235"/>
                    <a:gd name="T86" fmla="*/ 259 w 352"/>
                    <a:gd name="T87" fmla="*/ 71 h 235"/>
                    <a:gd name="T88" fmla="*/ 257 w 352"/>
                    <a:gd name="T89" fmla="*/ 73 h 235"/>
                    <a:gd name="T90" fmla="*/ 253 w 352"/>
                    <a:gd name="T91" fmla="*/ 66 h 235"/>
                    <a:gd name="T92" fmla="*/ 249 w 352"/>
                    <a:gd name="T93" fmla="*/ 64 h 235"/>
                    <a:gd name="T94" fmla="*/ 247 w 352"/>
                    <a:gd name="T95" fmla="*/ 58 h 235"/>
                    <a:gd name="T96" fmla="*/ 250 w 352"/>
                    <a:gd name="T97" fmla="*/ 54 h 235"/>
                    <a:gd name="T98" fmla="*/ 249 w 352"/>
                    <a:gd name="T99" fmla="*/ 50 h 235"/>
                    <a:gd name="T100" fmla="*/ 243 w 352"/>
                    <a:gd name="T101" fmla="*/ 46 h 235"/>
                    <a:gd name="T102" fmla="*/ 238 w 352"/>
                    <a:gd name="T103" fmla="*/ 42 h 235"/>
                    <a:gd name="T104" fmla="*/ 236 w 352"/>
                    <a:gd name="T105" fmla="*/ 35 h 235"/>
                    <a:gd name="T106" fmla="*/ 232 w 352"/>
                    <a:gd name="T107" fmla="*/ 31 h 235"/>
                    <a:gd name="T108" fmla="*/ 231 w 352"/>
                    <a:gd name="T109" fmla="*/ 23 h 235"/>
                    <a:gd name="T110" fmla="*/ 229 w 352"/>
                    <a:gd name="T111" fmla="*/ 18 h 235"/>
                    <a:gd name="T112" fmla="*/ 228 w 352"/>
                    <a:gd name="T113" fmla="*/ 15 h 235"/>
                    <a:gd name="T114" fmla="*/ 229 w 352"/>
                    <a:gd name="T115" fmla="*/ 9 h 235"/>
                    <a:gd name="T116" fmla="*/ 223 w 352"/>
                    <a:gd name="T117" fmla="*/ 5 h 235"/>
                    <a:gd name="T118" fmla="*/ 221 w 352"/>
                    <a:gd name="T119" fmla="*/ 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2" h="235">
                      <a:moveTo>
                        <a:pt x="18" y="235"/>
                      </a:moveTo>
                      <a:lnTo>
                        <a:pt x="17" y="234"/>
                      </a:lnTo>
                      <a:lnTo>
                        <a:pt x="17" y="233"/>
                      </a:lnTo>
                      <a:lnTo>
                        <a:pt x="17" y="233"/>
                      </a:lnTo>
                      <a:lnTo>
                        <a:pt x="17" y="232"/>
                      </a:lnTo>
                      <a:lnTo>
                        <a:pt x="16" y="231"/>
                      </a:lnTo>
                      <a:lnTo>
                        <a:pt x="17" y="231"/>
                      </a:lnTo>
                      <a:lnTo>
                        <a:pt x="17" y="229"/>
                      </a:lnTo>
                      <a:lnTo>
                        <a:pt x="17" y="229"/>
                      </a:lnTo>
                      <a:lnTo>
                        <a:pt x="17" y="228"/>
                      </a:lnTo>
                      <a:lnTo>
                        <a:pt x="16" y="228"/>
                      </a:lnTo>
                      <a:lnTo>
                        <a:pt x="15" y="228"/>
                      </a:lnTo>
                      <a:lnTo>
                        <a:pt x="14" y="229"/>
                      </a:lnTo>
                      <a:lnTo>
                        <a:pt x="14" y="229"/>
                      </a:lnTo>
                      <a:lnTo>
                        <a:pt x="14" y="230"/>
                      </a:lnTo>
                      <a:lnTo>
                        <a:pt x="13" y="231"/>
                      </a:lnTo>
                      <a:lnTo>
                        <a:pt x="12" y="231"/>
                      </a:lnTo>
                      <a:lnTo>
                        <a:pt x="12" y="231"/>
                      </a:lnTo>
                      <a:lnTo>
                        <a:pt x="11" y="230"/>
                      </a:lnTo>
                      <a:lnTo>
                        <a:pt x="11" y="229"/>
                      </a:lnTo>
                      <a:lnTo>
                        <a:pt x="11" y="229"/>
                      </a:lnTo>
                      <a:lnTo>
                        <a:pt x="12" y="228"/>
                      </a:lnTo>
                      <a:lnTo>
                        <a:pt x="12" y="227"/>
                      </a:lnTo>
                      <a:lnTo>
                        <a:pt x="12" y="226"/>
                      </a:lnTo>
                      <a:lnTo>
                        <a:pt x="14" y="225"/>
                      </a:lnTo>
                      <a:lnTo>
                        <a:pt x="14" y="224"/>
                      </a:lnTo>
                      <a:lnTo>
                        <a:pt x="14" y="223"/>
                      </a:lnTo>
                      <a:lnTo>
                        <a:pt x="14" y="223"/>
                      </a:lnTo>
                      <a:lnTo>
                        <a:pt x="14" y="222"/>
                      </a:lnTo>
                      <a:lnTo>
                        <a:pt x="14" y="221"/>
                      </a:lnTo>
                      <a:lnTo>
                        <a:pt x="13" y="221"/>
                      </a:lnTo>
                      <a:lnTo>
                        <a:pt x="12" y="221"/>
                      </a:lnTo>
                      <a:lnTo>
                        <a:pt x="12" y="221"/>
                      </a:lnTo>
                      <a:lnTo>
                        <a:pt x="11" y="221"/>
                      </a:lnTo>
                      <a:lnTo>
                        <a:pt x="10" y="220"/>
                      </a:lnTo>
                      <a:lnTo>
                        <a:pt x="10" y="219"/>
                      </a:lnTo>
                      <a:lnTo>
                        <a:pt x="10" y="219"/>
                      </a:lnTo>
                      <a:lnTo>
                        <a:pt x="9" y="219"/>
                      </a:lnTo>
                      <a:lnTo>
                        <a:pt x="8" y="219"/>
                      </a:lnTo>
                      <a:lnTo>
                        <a:pt x="8" y="220"/>
                      </a:lnTo>
                      <a:lnTo>
                        <a:pt x="8" y="221"/>
                      </a:lnTo>
                      <a:lnTo>
                        <a:pt x="9" y="221"/>
                      </a:lnTo>
                      <a:lnTo>
                        <a:pt x="10" y="222"/>
                      </a:lnTo>
                      <a:lnTo>
                        <a:pt x="10" y="223"/>
                      </a:lnTo>
                      <a:lnTo>
                        <a:pt x="10" y="223"/>
                      </a:lnTo>
                      <a:lnTo>
                        <a:pt x="10" y="224"/>
                      </a:lnTo>
                      <a:lnTo>
                        <a:pt x="9" y="225"/>
                      </a:lnTo>
                      <a:lnTo>
                        <a:pt x="8" y="225"/>
                      </a:lnTo>
                      <a:lnTo>
                        <a:pt x="7" y="224"/>
                      </a:lnTo>
                      <a:lnTo>
                        <a:pt x="6" y="223"/>
                      </a:lnTo>
                      <a:lnTo>
                        <a:pt x="6" y="223"/>
                      </a:lnTo>
                      <a:lnTo>
                        <a:pt x="6" y="221"/>
                      </a:lnTo>
                      <a:lnTo>
                        <a:pt x="7" y="219"/>
                      </a:lnTo>
                      <a:lnTo>
                        <a:pt x="8" y="218"/>
                      </a:lnTo>
                      <a:lnTo>
                        <a:pt x="8" y="217"/>
                      </a:lnTo>
                      <a:lnTo>
                        <a:pt x="9" y="216"/>
                      </a:lnTo>
                      <a:lnTo>
                        <a:pt x="10" y="216"/>
                      </a:lnTo>
                      <a:lnTo>
                        <a:pt x="10" y="216"/>
                      </a:lnTo>
                      <a:lnTo>
                        <a:pt x="12" y="216"/>
                      </a:lnTo>
                      <a:lnTo>
                        <a:pt x="12" y="217"/>
                      </a:lnTo>
                      <a:lnTo>
                        <a:pt x="13" y="217"/>
                      </a:lnTo>
                      <a:lnTo>
                        <a:pt x="14" y="217"/>
                      </a:lnTo>
                      <a:lnTo>
                        <a:pt x="14" y="217"/>
                      </a:lnTo>
                      <a:lnTo>
                        <a:pt x="14" y="216"/>
                      </a:lnTo>
                      <a:lnTo>
                        <a:pt x="14" y="216"/>
                      </a:lnTo>
                      <a:lnTo>
                        <a:pt x="14" y="215"/>
                      </a:lnTo>
                      <a:lnTo>
                        <a:pt x="14" y="214"/>
                      </a:lnTo>
                      <a:lnTo>
                        <a:pt x="12" y="214"/>
                      </a:lnTo>
                      <a:lnTo>
                        <a:pt x="11" y="214"/>
                      </a:lnTo>
                      <a:lnTo>
                        <a:pt x="10" y="214"/>
                      </a:lnTo>
                      <a:lnTo>
                        <a:pt x="9" y="215"/>
                      </a:lnTo>
                      <a:lnTo>
                        <a:pt x="8" y="216"/>
                      </a:lnTo>
                      <a:lnTo>
                        <a:pt x="7" y="216"/>
                      </a:lnTo>
                      <a:lnTo>
                        <a:pt x="6" y="215"/>
                      </a:lnTo>
                      <a:lnTo>
                        <a:pt x="6" y="214"/>
                      </a:lnTo>
                      <a:lnTo>
                        <a:pt x="6" y="213"/>
                      </a:lnTo>
                      <a:lnTo>
                        <a:pt x="6" y="212"/>
                      </a:lnTo>
                      <a:lnTo>
                        <a:pt x="8" y="211"/>
                      </a:lnTo>
                      <a:lnTo>
                        <a:pt x="9" y="210"/>
                      </a:lnTo>
                      <a:lnTo>
                        <a:pt x="10" y="210"/>
                      </a:lnTo>
                      <a:lnTo>
                        <a:pt x="11" y="209"/>
                      </a:lnTo>
                      <a:lnTo>
                        <a:pt x="12" y="208"/>
                      </a:lnTo>
                      <a:lnTo>
                        <a:pt x="12" y="207"/>
                      </a:lnTo>
                      <a:lnTo>
                        <a:pt x="12" y="206"/>
                      </a:lnTo>
                      <a:lnTo>
                        <a:pt x="12" y="206"/>
                      </a:lnTo>
                      <a:lnTo>
                        <a:pt x="12" y="205"/>
                      </a:lnTo>
                      <a:lnTo>
                        <a:pt x="11" y="204"/>
                      </a:lnTo>
                      <a:lnTo>
                        <a:pt x="10" y="204"/>
                      </a:lnTo>
                      <a:lnTo>
                        <a:pt x="10" y="204"/>
                      </a:lnTo>
                      <a:lnTo>
                        <a:pt x="9" y="205"/>
                      </a:lnTo>
                      <a:lnTo>
                        <a:pt x="8" y="206"/>
                      </a:lnTo>
                      <a:lnTo>
                        <a:pt x="8" y="207"/>
                      </a:lnTo>
                      <a:lnTo>
                        <a:pt x="8" y="208"/>
                      </a:lnTo>
                      <a:lnTo>
                        <a:pt x="8" y="208"/>
                      </a:lnTo>
                      <a:lnTo>
                        <a:pt x="8" y="209"/>
                      </a:lnTo>
                      <a:lnTo>
                        <a:pt x="8" y="209"/>
                      </a:lnTo>
                      <a:lnTo>
                        <a:pt x="7" y="209"/>
                      </a:lnTo>
                      <a:lnTo>
                        <a:pt x="6" y="209"/>
                      </a:lnTo>
                      <a:lnTo>
                        <a:pt x="5" y="210"/>
                      </a:lnTo>
                      <a:lnTo>
                        <a:pt x="4" y="209"/>
                      </a:lnTo>
                      <a:lnTo>
                        <a:pt x="4" y="208"/>
                      </a:lnTo>
                      <a:lnTo>
                        <a:pt x="5" y="208"/>
                      </a:lnTo>
                      <a:lnTo>
                        <a:pt x="5" y="208"/>
                      </a:lnTo>
                      <a:lnTo>
                        <a:pt x="6" y="207"/>
                      </a:lnTo>
                      <a:lnTo>
                        <a:pt x="6" y="206"/>
                      </a:lnTo>
                      <a:lnTo>
                        <a:pt x="7" y="204"/>
                      </a:lnTo>
                      <a:lnTo>
                        <a:pt x="8" y="203"/>
                      </a:lnTo>
                      <a:lnTo>
                        <a:pt x="8" y="202"/>
                      </a:lnTo>
                      <a:lnTo>
                        <a:pt x="8" y="202"/>
                      </a:lnTo>
                      <a:lnTo>
                        <a:pt x="8" y="201"/>
                      </a:lnTo>
                      <a:lnTo>
                        <a:pt x="7" y="201"/>
                      </a:lnTo>
                      <a:lnTo>
                        <a:pt x="6" y="201"/>
                      </a:lnTo>
                      <a:lnTo>
                        <a:pt x="6" y="201"/>
                      </a:lnTo>
                      <a:lnTo>
                        <a:pt x="4" y="201"/>
                      </a:lnTo>
                      <a:lnTo>
                        <a:pt x="4" y="201"/>
                      </a:lnTo>
                      <a:lnTo>
                        <a:pt x="3" y="201"/>
                      </a:lnTo>
                      <a:lnTo>
                        <a:pt x="2" y="202"/>
                      </a:lnTo>
                      <a:lnTo>
                        <a:pt x="2" y="202"/>
                      </a:lnTo>
                      <a:lnTo>
                        <a:pt x="1" y="202"/>
                      </a:lnTo>
                      <a:lnTo>
                        <a:pt x="0" y="202"/>
                      </a:lnTo>
                      <a:lnTo>
                        <a:pt x="0" y="201"/>
                      </a:lnTo>
                      <a:lnTo>
                        <a:pt x="0" y="200"/>
                      </a:lnTo>
                      <a:lnTo>
                        <a:pt x="0" y="200"/>
                      </a:lnTo>
                      <a:lnTo>
                        <a:pt x="0" y="199"/>
                      </a:lnTo>
                      <a:lnTo>
                        <a:pt x="1" y="199"/>
                      </a:lnTo>
                      <a:lnTo>
                        <a:pt x="1" y="197"/>
                      </a:lnTo>
                      <a:lnTo>
                        <a:pt x="1" y="197"/>
                      </a:lnTo>
                      <a:lnTo>
                        <a:pt x="1" y="195"/>
                      </a:lnTo>
                      <a:lnTo>
                        <a:pt x="2" y="195"/>
                      </a:lnTo>
                      <a:lnTo>
                        <a:pt x="2" y="194"/>
                      </a:lnTo>
                      <a:lnTo>
                        <a:pt x="3" y="193"/>
                      </a:lnTo>
                      <a:lnTo>
                        <a:pt x="4" y="193"/>
                      </a:lnTo>
                      <a:lnTo>
                        <a:pt x="5" y="193"/>
                      </a:lnTo>
                      <a:lnTo>
                        <a:pt x="6" y="193"/>
                      </a:lnTo>
                      <a:lnTo>
                        <a:pt x="6" y="193"/>
                      </a:lnTo>
                      <a:lnTo>
                        <a:pt x="7" y="193"/>
                      </a:lnTo>
                      <a:lnTo>
                        <a:pt x="7" y="192"/>
                      </a:lnTo>
                      <a:lnTo>
                        <a:pt x="7" y="191"/>
                      </a:lnTo>
                      <a:lnTo>
                        <a:pt x="7" y="191"/>
                      </a:lnTo>
                      <a:lnTo>
                        <a:pt x="6" y="190"/>
                      </a:lnTo>
                      <a:lnTo>
                        <a:pt x="6" y="189"/>
                      </a:lnTo>
                      <a:lnTo>
                        <a:pt x="4" y="189"/>
                      </a:lnTo>
                      <a:lnTo>
                        <a:pt x="4" y="188"/>
                      </a:lnTo>
                      <a:lnTo>
                        <a:pt x="3" y="187"/>
                      </a:lnTo>
                      <a:lnTo>
                        <a:pt x="2" y="186"/>
                      </a:lnTo>
                      <a:lnTo>
                        <a:pt x="3" y="185"/>
                      </a:lnTo>
                      <a:lnTo>
                        <a:pt x="4" y="185"/>
                      </a:lnTo>
                      <a:lnTo>
                        <a:pt x="4" y="185"/>
                      </a:lnTo>
                      <a:lnTo>
                        <a:pt x="5" y="186"/>
                      </a:lnTo>
                      <a:lnTo>
                        <a:pt x="6" y="187"/>
                      </a:lnTo>
                      <a:lnTo>
                        <a:pt x="6" y="188"/>
                      </a:lnTo>
                      <a:lnTo>
                        <a:pt x="7" y="189"/>
                      </a:lnTo>
                      <a:lnTo>
                        <a:pt x="8" y="189"/>
                      </a:lnTo>
                      <a:lnTo>
                        <a:pt x="8" y="188"/>
                      </a:lnTo>
                      <a:lnTo>
                        <a:pt x="8" y="187"/>
                      </a:lnTo>
                      <a:lnTo>
                        <a:pt x="8" y="187"/>
                      </a:lnTo>
                      <a:lnTo>
                        <a:pt x="8" y="186"/>
                      </a:lnTo>
                      <a:lnTo>
                        <a:pt x="8" y="185"/>
                      </a:lnTo>
                      <a:lnTo>
                        <a:pt x="8" y="185"/>
                      </a:lnTo>
                      <a:lnTo>
                        <a:pt x="7" y="183"/>
                      </a:lnTo>
                      <a:lnTo>
                        <a:pt x="7" y="182"/>
                      </a:lnTo>
                      <a:lnTo>
                        <a:pt x="6" y="181"/>
                      </a:lnTo>
                      <a:lnTo>
                        <a:pt x="5" y="181"/>
                      </a:lnTo>
                      <a:lnTo>
                        <a:pt x="4" y="181"/>
                      </a:lnTo>
                      <a:lnTo>
                        <a:pt x="4" y="181"/>
                      </a:lnTo>
                      <a:lnTo>
                        <a:pt x="3" y="181"/>
                      </a:lnTo>
                      <a:lnTo>
                        <a:pt x="2" y="180"/>
                      </a:lnTo>
                      <a:lnTo>
                        <a:pt x="2" y="179"/>
                      </a:lnTo>
                      <a:lnTo>
                        <a:pt x="2" y="178"/>
                      </a:lnTo>
                      <a:lnTo>
                        <a:pt x="2" y="177"/>
                      </a:lnTo>
                      <a:lnTo>
                        <a:pt x="2" y="176"/>
                      </a:lnTo>
                      <a:lnTo>
                        <a:pt x="2" y="176"/>
                      </a:lnTo>
                      <a:lnTo>
                        <a:pt x="3" y="175"/>
                      </a:lnTo>
                      <a:lnTo>
                        <a:pt x="3" y="174"/>
                      </a:lnTo>
                      <a:lnTo>
                        <a:pt x="3" y="173"/>
                      </a:lnTo>
                      <a:lnTo>
                        <a:pt x="3" y="172"/>
                      </a:lnTo>
                      <a:lnTo>
                        <a:pt x="4" y="171"/>
                      </a:lnTo>
                      <a:lnTo>
                        <a:pt x="4" y="170"/>
                      </a:lnTo>
                      <a:lnTo>
                        <a:pt x="4" y="170"/>
                      </a:lnTo>
                      <a:lnTo>
                        <a:pt x="5" y="169"/>
                      </a:lnTo>
                      <a:lnTo>
                        <a:pt x="6" y="168"/>
                      </a:lnTo>
                      <a:lnTo>
                        <a:pt x="6" y="166"/>
                      </a:lnTo>
                      <a:lnTo>
                        <a:pt x="7" y="165"/>
                      </a:lnTo>
                      <a:lnTo>
                        <a:pt x="7" y="164"/>
                      </a:lnTo>
                      <a:lnTo>
                        <a:pt x="7" y="163"/>
                      </a:lnTo>
                      <a:lnTo>
                        <a:pt x="7" y="162"/>
                      </a:lnTo>
                      <a:lnTo>
                        <a:pt x="7" y="162"/>
                      </a:lnTo>
                      <a:lnTo>
                        <a:pt x="8" y="162"/>
                      </a:lnTo>
                      <a:lnTo>
                        <a:pt x="69" y="168"/>
                      </a:lnTo>
                      <a:lnTo>
                        <a:pt x="352" y="182"/>
                      </a:lnTo>
                      <a:lnTo>
                        <a:pt x="352" y="181"/>
                      </a:lnTo>
                      <a:lnTo>
                        <a:pt x="352" y="181"/>
                      </a:lnTo>
                      <a:lnTo>
                        <a:pt x="352" y="181"/>
                      </a:lnTo>
                      <a:lnTo>
                        <a:pt x="351" y="180"/>
                      </a:lnTo>
                      <a:lnTo>
                        <a:pt x="350" y="180"/>
                      </a:lnTo>
                      <a:lnTo>
                        <a:pt x="350" y="179"/>
                      </a:lnTo>
                      <a:lnTo>
                        <a:pt x="350" y="179"/>
                      </a:lnTo>
                      <a:lnTo>
                        <a:pt x="350" y="178"/>
                      </a:lnTo>
                      <a:lnTo>
                        <a:pt x="351" y="178"/>
                      </a:lnTo>
                      <a:lnTo>
                        <a:pt x="351" y="177"/>
                      </a:lnTo>
                      <a:lnTo>
                        <a:pt x="352" y="177"/>
                      </a:lnTo>
                      <a:lnTo>
                        <a:pt x="352" y="176"/>
                      </a:lnTo>
                      <a:lnTo>
                        <a:pt x="351" y="176"/>
                      </a:lnTo>
                      <a:lnTo>
                        <a:pt x="350" y="176"/>
                      </a:lnTo>
                      <a:lnTo>
                        <a:pt x="350" y="176"/>
                      </a:lnTo>
                      <a:lnTo>
                        <a:pt x="351" y="176"/>
                      </a:lnTo>
                      <a:lnTo>
                        <a:pt x="351" y="175"/>
                      </a:lnTo>
                      <a:lnTo>
                        <a:pt x="351" y="174"/>
                      </a:lnTo>
                      <a:lnTo>
                        <a:pt x="350" y="174"/>
                      </a:lnTo>
                      <a:lnTo>
                        <a:pt x="350" y="175"/>
                      </a:lnTo>
                      <a:lnTo>
                        <a:pt x="350" y="174"/>
                      </a:lnTo>
                      <a:lnTo>
                        <a:pt x="350" y="174"/>
                      </a:lnTo>
                      <a:lnTo>
                        <a:pt x="350" y="174"/>
                      </a:lnTo>
                      <a:lnTo>
                        <a:pt x="349" y="174"/>
                      </a:lnTo>
                      <a:lnTo>
                        <a:pt x="348" y="174"/>
                      </a:lnTo>
                      <a:lnTo>
                        <a:pt x="348" y="174"/>
                      </a:lnTo>
                      <a:lnTo>
                        <a:pt x="347" y="174"/>
                      </a:lnTo>
                      <a:lnTo>
                        <a:pt x="346" y="174"/>
                      </a:lnTo>
                      <a:lnTo>
                        <a:pt x="346" y="174"/>
                      </a:lnTo>
                      <a:lnTo>
                        <a:pt x="345" y="175"/>
                      </a:lnTo>
                      <a:lnTo>
                        <a:pt x="345" y="174"/>
                      </a:lnTo>
                      <a:lnTo>
                        <a:pt x="345" y="174"/>
                      </a:lnTo>
                      <a:lnTo>
                        <a:pt x="345" y="173"/>
                      </a:lnTo>
                      <a:lnTo>
                        <a:pt x="346" y="173"/>
                      </a:lnTo>
                      <a:lnTo>
                        <a:pt x="346" y="172"/>
                      </a:lnTo>
                      <a:lnTo>
                        <a:pt x="346" y="172"/>
                      </a:lnTo>
                      <a:lnTo>
                        <a:pt x="347" y="172"/>
                      </a:lnTo>
                      <a:lnTo>
                        <a:pt x="348" y="173"/>
                      </a:lnTo>
                      <a:lnTo>
                        <a:pt x="348" y="172"/>
                      </a:lnTo>
                      <a:lnTo>
                        <a:pt x="348" y="172"/>
                      </a:lnTo>
                      <a:lnTo>
                        <a:pt x="347" y="172"/>
                      </a:lnTo>
                      <a:lnTo>
                        <a:pt x="347" y="171"/>
                      </a:lnTo>
                      <a:lnTo>
                        <a:pt x="346" y="171"/>
                      </a:lnTo>
                      <a:lnTo>
                        <a:pt x="346" y="171"/>
                      </a:lnTo>
                      <a:lnTo>
                        <a:pt x="346" y="170"/>
                      </a:lnTo>
                      <a:lnTo>
                        <a:pt x="345" y="170"/>
                      </a:lnTo>
                      <a:lnTo>
                        <a:pt x="345" y="171"/>
                      </a:lnTo>
                      <a:lnTo>
                        <a:pt x="344" y="171"/>
                      </a:lnTo>
                      <a:lnTo>
                        <a:pt x="344" y="172"/>
                      </a:lnTo>
                      <a:lnTo>
                        <a:pt x="344" y="172"/>
                      </a:lnTo>
                      <a:lnTo>
                        <a:pt x="344" y="172"/>
                      </a:lnTo>
                      <a:lnTo>
                        <a:pt x="344" y="173"/>
                      </a:lnTo>
                      <a:lnTo>
                        <a:pt x="344" y="174"/>
                      </a:lnTo>
                      <a:lnTo>
                        <a:pt x="343" y="173"/>
                      </a:lnTo>
                      <a:lnTo>
                        <a:pt x="342" y="172"/>
                      </a:lnTo>
                      <a:lnTo>
                        <a:pt x="342" y="172"/>
                      </a:lnTo>
                      <a:lnTo>
                        <a:pt x="341" y="172"/>
                      </a:lnTo>
                      <a:lnTo>
                        <a:pt x="340" y="172"/>
                      </a:lnTo>
                      <a:lnTo>
                        <a:pt x="340" y="171"/>
                      </a:lnTo>
                      <a:lnTo>
                        <a:pt x="340" y="170"/>
                      </a:lnTo>
                      <a:lnTo>
                        <a:pt x="341" y="170"/>
                      </a:lnTo>
                      <a:lnTo>
                        <a:pt x="341" y="170"/>
                      </a:lnTo>
                      <a:lnTo>
                        <a:pt x="342" y="170"/>
                      </a:lnTo>
                      <a:lnTo>
                        <a:pt x="342" y="170"/>
                      </a:lnTo>
                      <a:lnTo>
                        <a:pt x="342" y="169"/>
                      </a:lnTo>
                      <a:lnTo>
                        <a:pt x="341" y="169"/>
                      </a:lnTo>
                      <a:lnTo>
                        <a:pt x="341" y="168"/>
                      </a:lnTo>
                      <a:lnTo>
                        <a:pt x="340" y="168"/>
                      </a:lnTo>
                      <a:lnTo>
                        <a:pt x="340" y="168"/>
                      </a:lnTo>
                      <a:lnTo>
                        <a:pt x="340" y="168"/>
                      </a:lnTo>
                      <a:lnTo>
                        <a:pt x="340" y="167"/>
                      </a:lnTo>
                      <a:lnTo>
                        <a:pt x="340" y="166"/>
                      </a:lnTo>
                      <a:lnTo>
                        <a:pt x="340" y="166"/>
                      </a:lnTo>
                      <a:lnTo>
                        <a:pt x="339" y="166"/>
                      </a:lnTo>
                      <a:lnTo>
                        <a:pt x="338" y="166"/>
                      </a:lnTo>
                      <a:lnTo>
                        <a:pt x="338" y="167"/>
                      </a:lnTo>
                      <a:lnTo>
                        <a:pt x="338" y="167"/>
                      </a:lnTo>
                      <a:lnTo>
                        <a:pt x="337" y="167"/>
                      </a:lnTo>
                      <a:lnTo>
                        <a:pt x="337" y="166"/>
                      </a:lnTo>
                      <a:lnTo>
                        <a:pt x="336" y="166"/>
                      </a:lnTo>
                      <a:lnTo>
                        <a:pt x="336" y="166"/>
                      </a:lnTo>
                      <a:lnTo>
                        <a:pt x="336" y="165"/>
                      </a:lnTo>
                      <a:lnTo>
                        <a:pt x="337" y="165"/>
                      </a:lnTo>
                      <a:lnTo>
                        <a:pt x="338" y="165"/>
                      </a:lnTo>
                      <a:lnTo>
                        <a:pt x="338" y="165"/>
                      </a:lnTo>
                      <a:lnTo>
                        <a:pt x="339" y="165"/>
                      </a:lnTo>
                      <a:lnTo>
                        <a:pt x="339" y="164"/>
                      </a:lnTo>
                      <a:lnTo>
                        <a:pt x="338" y="164"/>
                      </a:lnTo>
                      <a:lnTo>
                        <a:pt x="338" y="164"/>
                      </a:lnTo>
                      <a:lnTo>
                        <a:pt x="338" y="164"/>
                      </a:lnTo>
                      <a:lnTo>
                        <a:pt x="338" y="164"/>
                      </a:lnTo>
                      <a:lnTo>
                        <a:pt x="337" y="163"/>
                      </a:lnTo>
                      <a:lnTo>
                        <a:pt x="337" y="162"/>
                      </a:lnTo>
                      <a:lnTo>
                        <a:pt x="337" y="162"/>
                      </a:lnTo>
                      <a:lnTo>
                        <a:pt x="338" y="162"/>
                      </a:lnTo>
                      <a:lnTo>
                        <a:pt x="338" y="162"/>
                      </a:lnTo>
                      <a:lnTo>
                        <a:pt x="339" y="162"/>
                      </a:lnTo>
                      <a:lnTo>
                        <a:pt x="340" y="162"/>
                      </a:lnTo>
                      <a:lnTo>
                        <a:pt x="340" y="161"/>
                      </a:lnTo>
                      <a:lnTo>
                        <a:pt x="339" y="161"/>
                      </a:lnTo>
                      <a:lnTo>
                        <a:pt x="338" y="161"/>
                      </a:lnTo>
                      <a:lnTo>
                        <a:pt x="338" y="160"/>
                      </a:lnTo>
                      <a:lnTo>
                        <a:pt x="338" y="160"/>
                      </a:lnTo>
                      <a:lnTo>
                        <a:pt x="338" y="160"/>
                      </a:lnTo>
                      <a:lnTo>
                        <a:pt x="338" y="159"/>
                      </a:lnTo>
                      <a:lnTo>
                        <a:pt x="338" y="158"/>
                      </a:lnTo>
                      <a:lnTo>
                        <a:pt x="338" y="157"/>
                      </a:lnTo>
                      <a:lnTo>
                        <a:pt x="338" y="157"/>
                      </a:lnTo>
                      <a:lnTo>
                        <a:pt x="338" y="156"/>
                      </a:lnTo>
                      <a:lnTo>
                        <a:pt x="338" y="156"/>
                      </a:lnTo>
                      <a:lnTo>
                        <a:pt x="338" y="157"/>
                      </a:lnTo>
                      <a:lnTo>
                        <a:pt x="339" y="157"/>
                      </a:lnTo>
                      <a:lnTo>
                        <a:pt x="340" y="157"/>
                      </a:lnTo>
                      <a:lnTo>
                        <a:pt x="340" y="157"/>
                      </a:lnTo>
                      <a:lnTo>
                        <a:pt x="340" y="157"/>
                      </a:lnTo>
                      <a:lnTo>
                        <a:pt x="340" y="156"/>
                      </a:lnTo>
                      <a:lnTo>
                        <a:pt x="339" y="156"/>
                      </a:lnTo>
                      <a:lnTo>
                        <a:pt x="339" y="155"/>
                      </a:lnTo>
                      <a:lnTo>
                        <a:pt x="338" y="155"/>
                      </a:lnTo>
                      <a:lnTo>
                        <a:pt x="338" y="155"/>
                      </a:lnTo>
                      <a:lnTo>
                        <a:pt x="338" y="155"/>
                      </a:lnTo>
                      <a:lnTo>
                        <a:pt x="338" y="154"/>
                      </a:lnTo>
                      <a:lnTo>
                        <a:pt x="338" y="155"/>
                      </a:lnTo>
                      <a:lnTo>
                        <a:pt x="337" y="155"/>
                      </a:lnTo>
                      <a:lnTo>
                        <a:pt x="337" y="154"/>
                      </a:lnTo>
                      <a:lnTo>
                        <a:pt x="336" y="154"/>
                      </a:lnTo>
                      <a:lnTo>
                        <a:pt x="336" y="153"/>
                      </a:lnTo>
                      <a:lnTo>
                        <a:pt x="337" y="153"/>
                      </a:lnTo>
                      <a:lnTo>
                        <a:pt x="338" y="153"/>
                      </a:lnTo>
                      <a:lnTo>
                        <a:pt x="338" y="154"/>
                      </a:lnTo>
                      <a:lnTo>
                        <a:pt x="338" y="153"/>
                      </a:lnTo>
                      <a:lnTo>
                        <a:pt x="339" y="153"/>
                      </a:lnTo>
                      <a:lnTo>
                        <a:pt x="339" y="153"/>
                      </a:lnTo>
                      <a:lnTo>
                        <a:pt x="338" y="153"/>
                      </a:lnTo>
                      <a:lnTo>
                        <a:pt x="338" y="152"/>
                      </a:lnTo>
                      <a:lnTo>
                        <a:pt x="338" y="152"/>
                      </a:lnTo>
                      <a:lnTo>
                        <a:pt x="338" y="151"/>
                      </a:lnTo>
                      <a:lnTo>
                        <a:pt x="338" y="151"/>
                      </a:lnTo>
                      <a:lnTo>
                        <a:pt x="338" y="150"/>
                      </a:lnTo>
                      <a:lnTo>
                        <a:pt x="339" y="150"/>
                      </a:lnTo>
                      <a:lnTo>
                        <a:pt x="340" y="150"/>
                      </a:lnTo>
                      <a:lnTo>
                        <a:pt x="340" y="149"/>
                      </a:lnTo>
                      <a:lnTo>
                        <a:pt x="340" y="149"/>
                      </a:lnTo>
                      <a:lnTo>
                        <a:pt x="340" y="149"/>
                      </a:lnTo>
                      <a:lnTo>
                        <a:pt x="339" y="149"/>
                      </a:lnTo>
                      <a:lnTo>
                        <a:pt x="339" y="149"/>
                      </a:lnTo>
                      <a:lnTo>
                        <a:pt x="338" y="149"/>
                      </a:lnTo>
                      <a:lnTo>
                        <a:pt x="338" y="149"/>
                      </a:lnTo>
                      <a:lnTo>
                        <a:pt x="338" y="150"/>
                      </a:lnTo>
                      <a:lnTo>
                        <a:pt x="337" y="150"/>
                      </a:lnTo>
                      <a:lnTo>
                        <a:pt x="337" y="149"/>
                      </a:lnTo>
                      <a:lnTo>
                        <a:pt x="337" y="149"/>
                      </a:lnTo>
                      <a:lnTo>
                        <a:pt x="338" y="148"/>
                      </a:lnTo>
                      <a:lnTo>
                        <a:pt x="338" y="148"/>
                      </a:lnTo>
                      <a:lnTo>
                        <a:pt x="339" y="148"/>
                      </a:lnTo>
                      <a:lnTo>
                        <a:pt x="339" y="147"/>
                      </a:lnTo>
                      <a:lnTo>
                        <a:pt x="340" y="147"/>
                      </a:lnTo>
                      <a:lnTo>
                        <a:pt x="340" y="147"/>
                      </a:lnTo>
                      <a:lnTo>
                        <a:pt x="340" y="147"/>
                      </a:lnTo>
                      <a:lnTo>
                        <a:pt x="340" y="146"/>
                      </a:lnTo>
                      <a:lnTo>
                        <a:pt x="340" y="146"/>
                      </a:lnTo>
                      <a:lnTo>
                        <a:pt x="339" y="146"/>
                      </a:lnTo>
                      <a:lnTo>
                        <a:pt x="338" y="146"/>
                      </a:lnTo>
                      <a:lnTo>
                        <a:pt x="338" y="146"/>
                      </a:lnTo>
                      <a:lnTo>
                        <a:pt x="337" y="146"/>
                      </a:lnTo>
                      <a:lnTo>
                        <a:pt x="338" y="145"/>
                      </a:lnTo>
                      <a:lnTo>
                        <a:pt x="338" y="145"/>
                      </a:lnTo>
                      <a:lnTo>
                        <a:pt x="338" y="145"/>
                      </a:lnTo>
                      <a:lnTo>
                        <a:pt x="339" y="145"/>
                      </a:lnTo>
                      <a:lnTo>
                        <a:pt x="338" y="144"/>
                      </a:lnTo>
                      <a:lnTo>
                        <a:pt x="338" y="144"/>
                      </a:lnTo>
                      <a:lnTo>
                        <a:pt x="338" y="143"/>
                      </a:lnTo>
                      <a:lnTo>
                        <a:pt x="337" y="143"/>
                      </a:lnTo>
                      <a:lnTo>
                        <a:pt x="337" y="143"/>
                      </a:lnTo>
                      <a:lnTo>
                        <a:pt x="336" y="143"/>
                      </a:lnTo>
                      <a:lnTo>
                        <a:pt x="336" y="143"/>
                      </a:lnTo>
                      <a:lnTo>
                        <a:pt x="336" y="144"/>
                      </a:lnTo>
                      <a:lnTo>
                        <a:pt x="335" y="144"/>
                      </a:lnTo>
                      <a:lnTo>
                        <a:pt x="335" y="144"/>
                      </a:lnTo>
                      <a:lnTo>
                        <a:pt x="334" y="144"/>
                      </a:lnTo>
                      <a:lnTo>
                        <a:pt x="333" y="144"/>
                      </a:lnTo>
                      <a:lnTo>
                        <a:pt x="333" y="144"/>
                      </a:lnTo>
                      <a:lnTo>
                        <a:pt x="333" y="143"/>
                      </a:lnTo>
                      <a:lnTo>
                        <a:pt x="333" y="143"/>
                      </a:lnTo>
                      <a:lnTo>
                        <a:pt x="333" y="142"/>
                      </a:lnTo>
                      <a:lnTo>
                        <a:pt x="333" y="142"/>
                      </a:lnTo>
                      <a:lnTo>
                        <a:pt x="332" y="142"/>
                      </a:lnTo>
                      <a:lnTo>
                        <a:pt x="332" y="141"/>
                      </a:lnTo>
                      <a:lnTo>
                        <a:pt x="331" y="141"/>
                      </a:lnTo>
                      <a:lnTo>
                        <a:pt x="331" y="141"/>
                      </a:lnTo>
                      <a:lnTo>
                        <a:pt x="331" y="141"/>
                      </a:lnTo>
                      <a:lnTo>
                        <a:pt x="331" y="141"/>
                      </a:lnTo>
                      <a:lnTo>
                        <a:pt x="330" y="141"/>
                      </a:lnTo>
                      <a:lnTo>
                        <a:pt x="330" y="142"/>
                      </a:lnTo>
                      <a:lnTo>
                        <a:pt x="330" y="143"/>
                      </a:lnTo>
                      <a:lnTo>
                        <a:pt x="329" y="143"/>
                      </a:lnTo>
                      <a:lnTo>
                        <a:pt x="329" y="142"/>
                      </a:lnTo>
                      <a:lnTo>
                        <a:pt x="329" y="141"/>
                      </a:lnTo>
                      <a:lnTo>
                        <a:pt x="329" y="141"/>
                      </a:lnTo>
                      <a:lnTo>
                        <a:pt x="329" y="140"/>
                      </a:lnTo>
                      <a:lnTo>
                        <a:pt x="329" y="140"/>
                      </a:lnTo>
                      <a:lnTo>
                        <a:pt x="329" y="140"/>
                      </a:lnTo>
                      <a:lnTo>
                        <a:pt x="329" y="139"/>
                      </a:lnTo>
                      <a:lnTo>
                        <a:pt x="329" y="139"/>
                      </a:lnTo>
                      <a:lnTo>
                        <a:pt x="329" y="138"/>
                      </a:lnTo>
                      <a:lnTo>
                        <a:pt x="329" y="138"/>
                      </a:lnTo>
                      <a:lnTo>
                        <a:pt x="328" y="138"/>
                      </a:lnTo>
                      <a:lnTo>
                        <a:pt x="328" y="137"/>
                      </a:lnTo>
                      <a:lnTo>
                        <a:pt x="328" y="138"/>
                      </a:lnTo>
                      <a:lnTo>
                        <a:pt x="327" y="138"/>
                      </a:lnTo>
                      <a:lnTo>
                        <a:pt x="327" y="138"/>
                      </a:lnTo>
                      <a:lnTo>
                        <a:pt x="327" y="138"/>
                      </a:lnTo>
                      <a:lnTo>
                        <a:pt x="326" y="138"/>
                      </a:lnTo>
                      <a:lnTo>
                        <a:pt x="327" y="137"/>
                      </a:lnTo>
                      <a:lnTo>
                        <a:pt x="327" y="137"/>
                      </a:lnTo>
                      <a:lnTo>
                        <a:pt x="328" y="136"/>
                      </a:lnTo>
                      <a:lnTo>
                        <a:pt x="329" y="136"/>
                      </a:lnTo>
                      <a:lnTo>
                        <a:pt x="329" y="136"/>
                      </a:lnTo>
                      <a:lnTo>
                        <a:pt x="329" y="135"/>
                      </a:lnTo>
                      <a:lnTo>
                        <a:pt x="328" y="135"/>
                      </a:lnTo>
                      <a:lnTo>
                        <a:pt x="328" y="134"/>
                      </a:lnTo>
                      <a:lnTo>
                        <a:pt x="327" y="134"/>
                      </a:lnTo>
                      <a:lnTo>
                        <a:pt x="327" y="134"/>
                      </a:lnTo>
                      <a:lnTo>
                        <a:pt x="327" y="134"/>
                      </a:lnTo>
                      <a:lnTo>
                        <a:pt x="327" y="133"/>
                      </a:lnTo>
                      <a:lnTo>
                        <a:pt x="327" y="134"/>
                      </a:lnTo>
                      <a:lnTo>
                        <a:pt x="326" y="134"/>
                      </a:lnTo>
                      <a:lnTo>
                        <a:pt x="326" y="134"/>
                      </a:lnTo>
                      <a:lnTo>
                        <a:pt x="325" y="134"/>
                      </a:lnTo>
                      <a:lnTo>
                        <a:pt x="325" y="135"/>
                      </a:lnTo>
                      <a:lnTo>
                        <a:pt x="324" y="135"/>
                      </a:lnTo>
                      <a:lnTo>
                        <a:pt x="324" y="134"/>
                      </a:lnTo>
                      <a:lnTo>
                        <a:pt x="324" y="134"/>
                      </a:lnTo>
                      <a:lnTo>
                        <a:pt x="324" y="133"/>
                      </a:lnTo>
                      <a:lnTo>
                        <a:pt x="325" y="133"/>
                      </a:lnTo>
                      <a:lnTo>
                        <a:pt x="325" y="132"/>
                      </a:lnTo>
                      <a:lnTo>
                        <a:pt x="324" y="132"/>
                      </a:lnTo>
                      <a:lnTo>
                        <a:pt x="323" y="132"/>
                      </a:lnTo>
                      <a:lnTo>
                        <a:pt x="323" y="132"/>
                      </a:lnTo>
                      <a:lnTo>
                        <a:pt x="323" y="131"/>
                      </a:lnTo>
                      <a:lnTo>
                        <a:pt x="323" y="130"/>
                      </a:lnTo>
                      <a:lnTo>
                        <a:pt x="324" y="130"/>
                      </a:lnTo>
                      <a:lnTo>
                        <a:pt x="324" y="130"/>
                      </a:lnTo>
                      <a:lnTo>
                        <a:pt x="323" y="130"/>
                      </a:lnTo>
                      <a:lnTo>
                        <a:pt x="323" y="130"/>
                      </a:lnTo>
                      <a:lnTo>
                        <a:pt x="322" y="130"/>
                      </a:lnTo>
                      <a:lnTo>
                        <a:pt x="322" y="129"/>
                      </a:lnTo>
                      <a:lnTo>
                        <a:pt x="321" y="129"/>
                      </a:lnTo>
                      <a:lnTo>
                        <a:pt x="321" y="128"/>
                      </a:lnTo>
                      <a:lnTo>
                        <a:pt x="321" y="128"/>
                      </a:lnTo>
                      <a:lnTo>
                        <a:pt x="320" y="128"/>
                      </a:lnTo>
                      <a:lnTo>
                        <a:pt x="319" y="128"/>
                      </a:lnTo>
                      <a:lnTo>
                        <a:pt x="319" y="127"/>
                      </a:lnTo>
                      <a:lnTo>
                        <a:pt x="319" y="126"/>
                      </a:lnTo>
                      <a:lnTo>
                        <a:pt x="319" y="126"/>
                      </a:lnTo>
                      <a:lnTo>
                        <a:pt x="319" y="125"/>
                      </a:lnTo>
                      <a:lnTo>
                        <a:pt x="319" y="124"/>
                      </a:lnTo>
                      <a:lnTo>
                        <a:pt x="319" y="124"/>
                      </a:lnTo>
                      <a:lnTo>
                        <a:pt x="318" y="124"/>
                      </a:lnTo>
                      <a:lnTo>
                        <a:pt x="318" y="123"/>
                      </a:lnTo>
                      <a:lnTo>
                        <a:pt x="317" y="124"/>
                      </a:lnTo>
                      <a:lnTo>
                        <a:pt x="316" y="124"/>
                      </a:lnTo>
                      <a:lnTo>
                        <a:pt x="316" y="123"/>
                      </a:lnTo>
                      <a:lnTo>
                        <a:pt x="316" y="123"/>
                      </a:lnTo>
                      <a:lnTo>
                        <a:pt x="316" y="124"/>
                      </a:lnTo>
                      <a:lnTo>
                        <a:pt x="316" y="123"/>
                      </a:lnTo>
                      <a:lnTo>
                        <a:pt x="316" y="122"/>
                      </a:lnTo>
                      <a:lnTo>
                        <a:pt x="316" y="122"/>
                      </a:lnTo>
                      <a:lnTo>
                        <a:pt x="315" y="121"/>
                      </a:lnTo>
                      <a:lnTo>
                        <a:pt x="315" y="122"/>
                      </a:lnTo>
                      <a:lnTo>
                        <a:pt x="315" y="122"/>
                      </a:lnTo>
                      <a:lnTo>
                        <a:pt x="314" y="122"/>
                      </a:lnTo>
                      <a:lnTo>
                        <a:pt x="314" y="122"/>
                      </a:lnTo>
                      <a:lnTo>
                        <a:pt x="314" y="123"/>
                      </a:lnTo>
                      <a:lnTo>
                        <a:pt x="313" y="123"/>
                      </a:lnTo>
                      <a:lnTo>
                        <a:pt x="313" y="124"/>
                      </a:lnTo>
                      <a:lnTo>
                        <a:pt x="312" y="124"/>
                      </a:lnTo>
                      <a:lnTo>
                        <a:pt x="312" y="124"/>
                      </a:lnTo>
                      <a:lnTo>
                        <a:pt x="312" y="124"/>
                      </a:lnTo>
                      <a:lnTo>
                        <a:pt x="312" y="124"/>
                      </a:lnTo>
                      <a:lnTo>
                        <a:pt x="312" y="124"/>
                      </a:lnTo>
                      <a:lnTo>
                        <a:pt x="312" y="124"/>
                      </a:lnTo>
                      <a:lnTo>
                        <a:pt x="312" y="123"/>
                      </a:lnTo>
                      <a:lnTo>
                        <a:pt x="312" y="122"/>
                      </a:lnTo>
                      <a:lnTo>
                        <a:pt x="312" y="122"/>
                      </a:lnTo>
                      <a:lnTo>
                        <a:pt x="311" y="122"/>
                      </a:lnTo>
                      <a:lnTo>
                        <a:pt x="311" y="121"/>
                      </a:lnTo>
                      <a:lnTo>
                        <a:pt x="310" y="120"/>
                      </a:lnTo>
                      <a:lnTo>
                        <a:pt x="310" y="121"/>
                      </a:lnTo>
                      <a:lnTo>
                        <a:pt x="310" y="121"/>
                      </a:lnTo>
                      <a:lnTo>
                        <a:pt x="310" y="120"/>
                      </a:lnTo>
                      <a:lnTo>
                        <a:pt x="309" y="120"/>
                      </a:lnTo>
                      <a:lnTo>
                        <a:pt x="308" y="121"/>
                      </a:lnTo>
                      <a:lnTo>
                        <a:pt x="308" y="122"/>
                      </a:lnTo>
                      <a:lnTo>
                        <a:pt x="308" y="122"/>
                      </a:lnTo>
                      <a:lnTo>
                        <a:pt x="308" y="122"/>
                      </a:lnTo>
                      <a:lnTo>
                        <a:pt x="307" y="122"/>
                      </a:lnTo>
                      <a:lnTo>
                        <a:pt x="306" y="122"/>
                      </a:lnTo>
                      <a:lnTo>
                        <a:pt x="306" y="122"/>
                      </a:lnTo>
                      <a:lnTo>
                        <a:pt x="305" y="122"/>
                      </a:lnTo>
                      <a:lnTo>
                        <a:pt x="305" y="123"/>
                      </a:lnTo>
                      <a:lnTo>
                        <a:pt x="304" y="123"/>
                      </a:lnTo>
                      <a:lnTo>
                        <a:pt x="304" y="124"/>
                      </a:lnTo>
                      <a:lnTo>
                        <a:pt x="305" y="124"/>
                      </a:lnTo>
                      <a:lnTo>
                        <a:pt x="305" y="124"/>
                      </a:lnTo>
                      <a:lnTo>
                        <a:pt x="304" y="124"/>
                      </a:lnTo>
                      <a:lnTo>
                        <a:pt x="304" y="124"/>
                      </a:lnTo>
                      <a:lnTo>
                        <a:pt x="303" y="124"/>
                      </a:lnTo>
                      <a:lnTo>
                        <a:pt x="303" y="124"/>
                      </a:lnTo>
                      <a:lnTo>
                        <a:pt x="302" y="124"/>
                      </a:lnTo>
                      <a:lnTo>
                        <a:pt x="302" y="123"/>
                      </a:lnTo>
                      <a:lnTo>
                        <a:pt x="302" y="122"/>
                      </a:lnTo>
                      <a:lnTo>
                        <a:pt x="302" y="122"/>
                      </a:lnTo>
                      <a:lnTo>
                        <a:pt x="303" y="122"/>
                      </a:lnTo>
                      <a:lnTo>
                        <a:pt x="303" y="121"/>
                      </a:lnTo>
                      <a:lnTo>
                        <a:pt x="303" y="120"/>
                      </a:lnTo>
                      <a:lnTo>
                        <a:pt x="302" y="120"/>
                      </a:lnTo>
                      <a:lnTo>
                        <a:pt x="302" y="120"/>
                      </a:lnTo>
                      <a:lnTo>
                        <a:pt x="302" y="120"/>
                      </a:lnTo>
                      <a:lnTo>
                        <a:pt x="301" y="120"/>
                      </a:lnTo>
                      <a:lnTo>
                        <a:pt x="300" y="120"/>
                      </a:lnTo>
                      <a:lnTo>
                        <a:pt x="300" y="119"/>
                      </a:lnTo>
                      <a:lnTo>
                        <a:pt x="300" y="118"/>
                      </a:lnTo>
                      <a:lnTo>
                        <a:pt x="300" y="117"/>
                      </a:lnTo>
                      <a:lnTo>
                        <a:pt x="300" y="117"/>
                      </a:lnTo>
                      <a:lnTo>
                        <a:pt x="300" y="117"/>
                      </a:lnTo>
                      <a:lnTo>
                        <a:pt x="300" y="116"/>
                      </a:lnTo>
                      <a:lnTo>
                        <a:pt x="300" y="116"/>
                      </a:lnTo>
                      <a:lnTo>
                        <a:pt x="301" y="116"/>
                      </a:lnTo>
                      <a:lnTo>
                        <a:pt x="301" y="115"/>
                      </a:lnTo>
                      <a:lnTo>
                        <a:pt x="300" y="115"/>
                      </a:lnTo>
                      <a:lnTo>
                        <a:pt x="300" y="115"/>
                      </a:lnTo>
                      <a:lnTo>
                        <a:pt x="299" y="115"/>
                      </a:lnTo>
                      <a:lnTo>
                        <a:pt x="298" y="115"/>
                      </a:lnTo>
                      <a:lnTo>
                        <a:pt x="297" y="115"/>
                      </a:lnTo>
                      <a:lnTo>
                        <a:pt x="297" y="115"/>
                      </a:lnTo>
                      <a:lnTo>
                        <a:pt x="297" y="114"/>
                      </a:lnTo>
                      <a:lnTo>
                        <a:pt x="296" y="114"/>
                      </a:lnTo>
                      <a:lnTo>
                        <a:pt x="296" y="115"/>
                      </a:lnTo>
                      <a:lnTo>
                        <a:pt x="296" y="115"/>
                      </a:lnTo>
                      <a:lnTo>
                        <a:pt x="297" y="115"/>
                      </a:lnTo>
                      <a:lnTo>
                        <a:pt x="297" y="116"/>
                      </a:lnTo>
                      <a:lnTo>
                        <a:pt x="297" y="117"/>
                      </a:lnTo>
                      <a:lnTo>
                        <a:pt x="296" y="117"/>
                      </a:lnTo>
                      <a:lnTo>
                        <a:pt x="295" y="116"/>
                      </a:lnTo>
                      <a:lnTo>
                        <a:pt x="295" y="116"/>
                      </a:lnTo>
                      <a:lnTo>
                        <a:pt x="294" y="116"/>
                      </a:lnTo>
                      <a:lnTo>
                        <a:pt x="293" y="116"/>
                      </a:lnTo>
                      <a:lnTo>
                        <a:pt x="293" y="115"/>
                      </a:lnTo>
                      <a:lnTo>
                        <a:pt x="293" y="115"/>
                      </a:lnTo>
                      <a:lnTo>
                        <a:pt x="292" y="115"/>
                      </a:lnTo>
                      <a:lnTo>
                        <a:pt x="291" y="115"/>
                      </a:lnTo>
                      <a:lnTo>
                        <a:pt x="291" y="115"/>
                      </a:lnTo>
                      <a:lnTo>
                        <a:pt x="291" y="115"/>
                      </a:lnTo>
                      <a:lnTo>
                        <a:pt x="291" y="116"/>
                      </a:lnTo>
                      <a:lnTo>
                        <a:pt x="291" y="117"/>
                      </a:lnTo>
                      <a:lnTo>
                        <a:pt x="290" y="117"/>
                      </a:lnTo>
                      <a:lnTo>
                        <a:pt x="289" y="116"/>
                      </a:lnTo>
                      <a:lnTo>
                        <a:pt x="289" y="116"/>
                      </a:lnTo>
                      <a:lnTo>
                        <a:pt x="289" y="115"/>
                      </a:lnTo>
                      <a:lnTo>
                        <a:pt x="288" y="115"/>
                      </a:lnTo>
                      <a:lnTo>
                        <a:pt x="288" y="115"/>
                      </a:lnTo>
                      <a:lnTo>
                        <a:pt x="288" y="114"/>
                      </a:lnTo>
                      <a:lnTo>
                        <a:pt x="288" y="113"/>
                      </a:lnTo>
                      <a:lnTo>
                        <a:pt x="287" y="113"/>
                      </a:lnTo>
                      <a:lnTo>
                        <a:pt x="287" y="113"/>
                      </a:lnTo>
                      <a:lnTo>
                        <a:pt x="286" y="113"/>
                      </a:lnTo>
                      <a:lnTo>
                        <a:pt x="286" y="114"/>
                      </a:lnTo>
                      <a:lnTo>
                        <a:pt x="286" y="113"/>
                      </a:lnTo>
                      <a:lnTo>
                        <a:pt x="285" y="113"/>
                      </a:lnTo>
                      <a:lnTo>
                        <a:pt x="285" y="113"/>
                      </a:lnTo>
                      <a:lnTo>
                        <a:pt x="286" y="112"/>
                      </a:lnTo>
                      <a:lnTo>
                        <a:pt x="287" y="112"/>
                      </a:lnTo>
                      <a:lnTo>
                        <a:pt x="287" y="112"/>
                      </a:lnTo>
                      <a:lnTo>
                        <a:pt x="288" y="112"/>
                      </a:lnTo>
                      <a:lnTo>
                        <a:pt x="288" y="111"/>
                      </a:lnTo>
                      <a:lnTo>
                        <a:pt x="287" y="111"/>
                      </a:lnTo>
                      <a:lnTo>
                        <a:pt x="287" y="111"/>
                      </a:lnTo>
                      <a:lnTo>
                        <a:pt x="287" y="110"/>
                      </a:lnTo>
                      <a:lnTo>
                        <a:pt x="287" y="109"/>
                      </a:lnTo>
                      <a:lnTo>
                        <a:pt x="287" y="109"/>
                      </a:lnTo>
                      <a:lnTo>
                        <a:pt x="286" y="109"/>
                      </a:lnTo>
                      <a:lnTo>
                        <a:pt x="286" y="109"/>
                      </a:lnTo>
                      <a:lnTo>
                        <a:pt x="285" y="109"/>
                      </a:lnTo>
                      <a:lnTo>
                        <a:pt x="285" y="109"/>
                      </a:lnTo>
                      <a:lnTo>
                        <a:pt x="284" y="109"/>
                      </a:lnTo>
                      <a:lnTo>
                        <a:pt x="284" y="109"/>
                      </a:lnTo>
                      <a:lnTo>
                        <a:pt x="284" y="108"/>
                      </a:lnTo>
                      <a:lnTo>
                        <a:pt x="285" y="108"/>
                      </a:lnTo>
                      <a:lnTo>
                        <a:pt x="285" y="107"/>
                      </a:lnTo>
                      <a:lnTo>
                        <a:pt x="285" y="107"/>
                      </a:lnTo>
                      <a:lnTo>
                        <a:pt x="284" y="107"/>
                      </a:lnTo>
                      <a:lnTo>
                        <a:pt x="284" y="106"/>
                      </a:lnTo>
                      <a:lnTo>
                        <a:pt x="285" y="106"/>
                      </a:lnTo>
                      <a:lnTo>
                        <a:pt x="285" y="105"/>
                      </a:lnTo>
                      <a:lnTo>
                        <a:pt x="285" y="105"/>
                      </a:lnTo>
                      <a:lnTo>
                        <a:pt x="285" y="105"/>
                      </a:lnTo>
                      <a:lnTo>
                        <a:pt x="284" y="105"/>
                      </a:lnTo>
                      <a:lnTo>
                        <a:pt x="283" y="104"/>
                      </a:lnTo>
                      <a:lnTo>
                        <a:pt x="283" y="104"/>
                      </a:lnTo>
                      <a:lnTo>
                        <a:pt x="283" y="103"/>
                      </a:lnTo>
                      <a:lnTo>
                        <a:pt x="282" y="103"/>
                      </a:lnTo>
                      <a:lnTo>
                        <a:pt x="281" y="103"/>
                      </a:lnTo>
                      <a:lnTo>
                        <a:pt x="282" y="103"/>
                      </a:lnTo>
                      <a:lnTo>
                        <a:pt x="283" y="103"/>
                      </a:lnTo>
                      <a:lnTo>
                        <a:pt x="283" y="102"/>
                      </a:lnTo>
                      <a:lnTo>
                        <a:pt x="282" y="101"/>
                      </a:lnTo>
                      <a:lnTo>
                        <a:pt x="281" y="101"/>
                      </a:lnTo>
                      <a:lnTo>
                        <a:pt x="281" y="101"/>
                      </a:lnTo>
                      <a:lnTo>
                        <a:pt x="281" y="101"/>
                      </a:lnTo>
                      <a:lnTo>
                        <a:pt x="281" y="101"/>
                      </a:lnTo>
                      <a:lnTo>
                        <a:pt x="280" y="101"/>
                      </a:lnTo>
                      <a:lnTo>
                        <a:pt x="280" y="102"/>
                      </a:lnTo>
                      <a:lnTo>
                        <a:pt x="279" y="102"/>
                      </a:lnTo>
                      <a:lnTo>
                        <a:pt x="278" y="102"/>
                      </a:lnTo>
                      <a:lnTo>
                        <a:pt x="278" y="101"/>
                      </a:lnTo>
                      <a:lnTo>
                        <a:pt x="278" y="101"/>
                      </a:lnTo>
                      <a:lnTo>
                        <a:pt x="278" y="100"/>
                      </a:lnTo>
                      <a:lnTo>
                        <a:pt x="278" y="99"/>
                      </a:lnTo>
                      <a:lnTo>
                        <a:pt x="277" y="99"/>
                      </a:lnTo>
                      <a:lnTo>
                        <a:pt x="277" y="100"/>
                      </a:lnTo>
                      <a:lnTo>
                        <a:pt x="277" y="101"/>
                      </a:lnTo>
                      <a:lnTo>
                        <a:pt x="276" y="101"/>
                      </a:lnTo>
                      <a:lnTo>
                        <a:pt x="276" y="101"/>
                      </a:lnTo>
                      <a:lnTo>
                        <a:pt x="276" y="102"/>
                      </a:lnTo>
                      <a:lnTo>
                        <a:pt x="276" y="102"/>
                      </a:lnTo>
                      <a:lnTo>
                        <a:pt x="276" y="101"/>
                      </a:lnTo>
                      <a:lnTo>
                        <a:pt x="276" y="101"/>
                      </a:lnTo>
                      <a:lnTo>
                        <a:pt x="275" y="101"/>
                      </a:lnTo>
                      <a:lnTo>
                        <a:pt x="275" y="100"/>
                      </a:lnTo>
                      <a:lnTo>
                        <a:pt x="274" y="100"/>
                      </a:lnTo>
                      <a:lnTo>
                        <a:pt x="274" y="100"/>
                      </a:lnTo>
                      <a:lnTo>
                        <a:pt x="273" y="100"/>
                      </a:lnTo>
                      <a:lnTo>
                        <a:pt x="273" y="101"/>
                      </a:lnTo>
                      <a:lnTo>
                        <a:pt x="273" y="101"/>
                      </a:lnTo>
                      <a:lnTo>
                        <a:pt x="273" y="102"/>
                      </a:lnTo>
                      <a:lnTo>
                        <a:pt x="272" y="102"/>
                      </a:lnTo>
                      <a:lnTo>
                        <a:pt x="272" y="101"/>
                      </a:lnTo>
                      <a:lnTo>
                        <a:pt x="272" y="101"/>
                      </a:lnTo>
                      <a:lnTo>
                        <a:pt x="272" y="100"/>
                      </a:lnTo>
                      <a:lnTo>
                        <a:pt x="272" y="99"/>
                      </a:lnTo>
                      <a:lnTo>
                        <a:pt x="273" y="98"/>
                      </a:lnTo>
                      <a:lnTo>
                        <a:pt x="273" y="98"/>
                      </a:lnTo>
                      <a:lnTo>
                        <a:pt x="274" y="98"/>
                      </a:lnTo>
                      <a:lnTo>
                        <a:pt x="274" y="98"/>
                      </a:lnTo>
                      <a:lnTo>
                        <a:pt x="274" y="97"/>
                      </a:lnTo>
                      <a:lnTo>
                        <a:pt x="274" y="97"/>
                      </a:lnTo>
                      <a:lnTo>
                        <a:pt x="274" y="96"/>
                      </a:lnTo>
                      <a:lnTo>
                        <a:pt x="273" y="96"/>
                      </a:lnTo>
                      <a:lnTo>
                        <a:pt x="273" y="96"/>
                      </a:lnTo>
                      <a:lnTo>
                        <a:pt x="273" y="95"/>
                      </a:lnTo>
                      <a:lnTo>
                        <a:pt x="272" y="95"/>
                      </a:lnTo>
                      <a:lnTo>
                        <a:pt x="272" y="94"/>
                      </a:lnTo>
                      <a:lnTo>
                        <a:pt x="272" y="94"/>
                      </a:lnTo>
                      <a:lnTo>
                        <a:pt x="272" y="93"/>
                      </a:lnTo>
                      <a:lnTo>
                        <a:pt x="273" y="93"/>
                      </a:lnTo>
                      <a:lnTo>
                        <a:pt x="273" y="92"/>
                      </a:lnTo>
                      <a:lnTo>
                        <a:pt x="273" y="92"/>
                      </a:lnTo>
                      <a:lnTo>
                        <a:pt x="273" y="91"/>
                      </a:lnTo>
                      <a:lnTo>
                        <a:pt x="273" y="90"/>
                      </a:lnTo>
                      <a:lnTo>
                        <a:pt x="273" y="90"/>
                      </a:lnTo>
                      <a:lnTo>
                        <a:pt x="273" y="89"/>
                      </a:lnTo>
                      <a:lnTo>
                        <a:pt x="274" y="89"/>
                      </a:lnTo>
                      <a:lnTo>
                        <a:pt x="274" y="89"/>
                      </a:lnTo>
                      <a:lnTo>
                        <a:pt x="274" y="90"/>
                      </a:lnTo>
                      <a:lnTo>
                        <a:pt x="275" y="90"/>
                      </a:lnTo>
                      <a:lnTo>
                        <a:pt x="275" y="90"/>
                      </a:lnTo>
                      <a:lnTo>
                        <a:pt x="275" y="90"/>
                      </a:lnTo>
                      <a:lnTo>
                        <a:pt x="275" y="89"/>
                      </a:lnTo>
                      <a:lnTo>
                        <a:pt x="275" y="88"/>
                      </a:lnTo>
                      <a:lnTo>
                        <a:pt x="274" y="88"/>
                      </a:lnTo>
                      <a:lnTo>
                        <a:pt x="274" y="88"/>
                      </a:lnTo>
                      <a:lnTo>
                        <a:pt x="274" y="88"/>
                      </a:lnTo>
                      <a:lnTo>
                        <a:pt x="274" y="87"/>
                      </a:lnTo>
                      <a:lnTo>
                        <a:pt x="273" y="87"/>
                      </a:lnTo>
                      <a:lnTo>
                        <a:pt x="273" y="86"/>
                      </a:lnTo>
                      <a:lnTo>
                        <a:pt x="273" y="86"/>
                      </a:lnTo>
                      <a:lnTo>
                        <a:pt x="274" y="86"/>
                      </a:lnTo>
                      <a:lnTo>
                        <a:pt x="274" y="86"/>
                      </a:lnTo>
                      <a:lnTo>
                        <a:pt x="275" y="85"/>
                      </a:lnTo>
                      <a:lnTo>
                        <a:pt x="276" y="85"/>
                      </a:lnTo>
                      <a:lnTo>
                        <a:pt x="276" y="84"/>
                      </a:lnTo>
                      <a:lnTo>
                        <a:pt x="275" y="84"/>
                      </a:lnTo>
                      <a:lnTo>
                        <a:pt x="275" y="84"/>
                      </a:lnTo>
                      <a:lnTo>
                        <a:pt x="274" y="84"/>
                      </a:lnTo>
                      <a:lnTo>
                        <a:pt x="274" y="84"/>
                      </a:lnTo>
                      <a:lnTo>
                        <a:pt x="273" y="83"/>
                      </a:lnTo>
                      <a:lnTo>
                        <a:pt x="273" y="82"/>
                      </a:lnTo>
                      <a:lnTo>
                        <a:pt x="274" y="82"/>
                      </a:lnTo>
                      <a:lnTo>
                        <a:pt x="274" y="82"/>
                      </a:lnTo>
                      <a:lnTo>
                        <a:pt x="274" y="81"/>
                      </a:lnTo>
                      <a:lnTo>
                        <a:pt x="275" y="81"/>
                      </a:lnTo>
                      <a:lnTo>
                        <a:pt x="276" y="80"/>
                      </a:lnTo>
                      <a:lnTo>
                        <a:pt x="275" y="79"/>
                      </a:lnTo>
                      <a:lnTo>
                        <a:pt x="274" y="79"/>
                      </a:lnTo>
                      <a:lnTo>
                        <a:pt x="274" y="78"/>
                      </a:lnTo>
                      <a:lnTo>
                        <a:pt x="273" y="78"/>
                      </a:lnTo>
                      <a:lnTo>
                        <a:pt x="272" y="77"/>
                      </a:lnTo>
                      <a:lnTo>
                        <a:pt x="272" y="77"/>
                      </a:lnTo>
                      <a:lnTo>
                        <a:pt x="272" y="78"/>
                      </a:lnTo>
                      <a:lnTo>
                        <a:pt x="272" y="79"/>
                      </a:lnTo>
                      <a:lnTo>
                        <a:pt x="272" y="79"/>
                      </a:lnTo>
                      <a:lnTo>
                        <a:pt x="271" y="79"/>
                      </a:lnTo>
                      <a:lnTo>
                        <a:pt x="271" y="78"/>
                      </a:lnTo>
                      <a:lnTo>
                        <a:pt x="271" y="77"/>
                      </a:lnTo>
                      <a:lnTo>
                        <a:pt x="271" y="77"/>
                      </a:lnTo>
                      <a:lnTo>
                        <a:pt x="271" y="76"/>
                      </a:lnTo>
                      <a:lnTo>
                        <a:pt x="270" y="76"/>
                      </a:lnTo>
                      <a:lnTo>
                        <a:pt x="270" y="76"/>
                      </a:lnTo>
                      <a:lnTo>
                        <a:pt x="270" y="77"/>
                      </a:lnTo>
                      <a:lnTo>
                        <a:pt x="269" y="77"/>
                      </a:lnTo>
                      <a:lnTo>
                        <a:pt x="269" y="77"/>
                      </a:lnTo>
                      <a:lnTo>
                        <a:pt x="268" y="77"/>
                      </a:lnTo>
                      <a:lnTo>
                        <a:pt x="268" y="77"/>
                      </a:lnTo>
                      <a:lnTo>
                        <a:pt x="267" y="77"/>
                      </a:lnTo>
                      <a:lnTo>
                        <a:pt x="267" y="77"/>
                      </a:lnTo>
                      <a:lnTo>
                        <a:pt x="267" y="76"/>
                      </a:lnTo>
                      <a:lnTo>
                        <a:pt x="267" y="75"/>
                      </a:lnTo>
                      <a:lnTo>
                        <a:pt x="267" y="75"/>
                      </a:lnTo>
                      <a:lnTo>
                        <a:pt x="266" y="75"/>
                      </a:lnTo>
                      <a:lnTo>
                        <a:pt x="266" y="74"/>
                      </a:lnTo>
                      <a:lnTo>
                        <a:pt x="266" y="74"/>
                      </a:lnTo>
                      <a:lnTo>
                        <a:pt x="266" y="73"/>
                      </a:lnTo>
                      <a:lnTo>
                        <a:pt x="266" y="73"/>
                      </a:lnTo>
                      <a:lnTo>
                        <a:pt x="266" y="72"/>
                      </a:lnTo>
                      <a:lnTo>
                        <a:pt x="265" y="72"/>
                      </a:lnTo>
                      <a:lnTo>
                        <a:pt x="265" y="71"/>
                      </a:lnTo>
                      <a:lnTo>
                        <a:pt x="264" y="71"/>
                      </a:lnTo>
                      <a:lnTo>
                        <a:pt x="264" y="71"/>
                      </a:lnTo>
                      <a:lnTo>
                        <a:pt x="264" y="71"/>
                      </a:lnTo>
                      <a:lnTo>
                        <a:pt x="264" y="71"/>
                      </a:lnTo>
                      <a:lnTo>
                        <a:pt x="265" y="71"/>
                      </a:lnTo>
                      <a:lnTo>
                        <a:pt x="265" y="70"/>
                      </a:lnTo>
                      <a:lnTo>
                        <a:pt x="264" y="70"/>
                      </a:lnTo>
                      <a:lnTo>
                        <a:pt x="264" y="70"/>
                      </a:lnTo>
                      <a:lnTo>
                        <a:pt x="264" y="69"/>
                      </a:lnTo>
                      <a:lnTo>
                        <a:pt x="263" y="69"/>
                      </a:lnTo>
                      <a:lnTo>
                        <a:pt x="263" y="69"/>
                      </a:lnTo>
                      <a:lnTo>
                        <a:pt x="263" y="68"/>
                      </a:lnTo>
                      <a:lnTo>
                        <a:pt x="262" y="68"/>
                      </a:lnTo>
                      <a:lnTo>
                        <a:pt x="262" y="69"/>
                      </a:lnTo>
                      <a:lnTo>
                        <a:pt x="262" y="69"/>
                      </a:lnTo>
                      <a:lnTo>
                        <a:pt x="261" y="69"/>
                      </a:lnTo>
                      <a:lnTo>
                        <a:pt x="261" y="69"/>
                      </a:lnTo>
                      <a:lnTo>
                        <a:pt x="262" y="69"/>
                      </a:lnTo>
                      <a:lnTo>
                        <a:pt x="262" y="70"/>
                      </a:lnTo>
                      <a:lnTo>
                        <a:pt x="262" y="71"/>
                      </a:lnTo>
                      <a:lnTo>
                        <a:pt x="261" y="71"/>
                      </a:lnTo>
                      <a:lnTo>
                        <a:pt x="262" y="71"/>
                      </a:lnTo>
                      <a:lnTo>
                        <a:pt x="262" y="71"/>
                      </a:lnTo>
                      <a:lnTo>
                        <a:pt x="262" y="72"/>
                      </a:lnTo>
                      <a:lnTo>
                        <a:pt x="262" y="72"/>
                      </a:lnTo>
                      <a:lnTo>
                        <a:pt x="262" y="72"/>
                      </a:lnTo>
                      <a:lnTo>
                        <a:pt x="261" y="72"/>
                      </a:lnTo>
                      <a:lnTo>
                        <a:pt x="260" y="72"/>
                      </a:lnTo>
                      <a:lnTo>
                        <a:pt x="260" y="71"/>
                      </a:lnTo>
                      <a:lnTo>
                        <a:pt x="259" y="71"/>
                      </a:lnTo>
                      <a:lnTo>
                        <a:pt x="259" y="71"/>
                      </a:lnTo>
                      <a:lnTo>
                        <a:pt x="259" y="71"/>
                      </a:lnTo>
                      <a:lnTo>
                        <a:pt x="259" y="70"/>
                      </a:lnTo>
                      <a:lnTo>
                        <a:pt x="259" y="70"/>
                      </a:lnTo>
                      <a:lnTo>
                        <a:pt x="259" y="69"/>
                      </a:lnTo>
                      <a:lnTo>
                        <a:pt x="259" y="69"/>
                      </a:lnTo>
                      <a:lnTo>
                        <a:pt x="259" y="69"/>
                      </a:lnTo>
                      <a:lnTo>
                        <a:pt x="259" y="69"/>
                      </a:lnTo>
                      <a:lnTo>
                        <a:pt x="258" y="69"/>
                      </a:lnTo>
                      <a:lnTo>
                        <a:pt x="258" y="70"/>
                      </a:lnTo>
                      <a:lnTo>
                        <a:pt x="258" y="71"/>
                      </a:lnTo>
                      <a:lnTo>
                        <a:pt x="258" y="71"/>
                      </a:lnTo>
                      <a:lnTo>
                        <a:pt x="257" y="71"/>
                      </a:lnTo>
                      <a:lnTo>
                        <a:pt x="258" y="72"/>
                      </a:lnTo>
                      <a:lnTo>
                        <a:pt x="258" y="73"/>
                      </a:lnTo>
                      <a:lnTo>
                        <a:pt x="257" y="73"/>
                      </a:lnTo>
                      <a:lnTo>
                        <a:pt x="257" y="73"/>
                      </a:lnTo>
                      <a:lnTo>
                        <a:pt x="257" y="73"/>
                      </a:lnTo>
                      <a:lnTo>
                        <a:pt x="257" y="73"/>
                      </a:lnTo>
                      <a:lnTo>
                        <a:pt x="257" y="72"/>
                      </a:lnTo>
                      <a:lnTo>
                        <a:pt x="257" y="71"/>
                      </a:lnTo>
                      <a:lnTo>
                        <a:pt x="257" y="71"/>
                      </a:lnTo>
                      <a:lnTo>
                        <a:pt x="257" y="70"/>
                      </a:lnTo>
                      <a:lnTo>
                        <a:pt x="257" y="69"/>
                      </a:lnTo>
                      <a:lnTo>
                        <a:pt x="256" y="69"/>
                      </a:lnTo>
                      <a:lnTo>
                        <a:pt x="256" y="69"/>
                      </a:lnTo>
                      <a:lnTo>
                        <a:pt x="255" y="68"/>
                      </a:lnTo>
                      <a:lnTo>
                        <a:pt x="255" y="68"/>
                      </a:lnTo>
                      <a:lnTo>
                        <a:pt x="255" y="67"/>
                      </a:lnTo>
                      <a:lnTo>
                        <a:pt x="254" y="67"/>
                      </a:lnTo>
                      <a:lnTo>
                        <a:pt x="254" y="68"/>
                      </a:lnTo>
                      <a:lnTo>
                        <a:pt x="253" y="68"/>
                      </a:lnTo>
                      <a:lnTo>
                        <a:pt x="253" y="67"/>
                      </a:lnTo>
                      <a:lnTo>
                        <a:pt x="253" y="67"/>
                      </a:lnTo>
                      <a:lnTo>
                        <a:pt x="253" y="66"/>
                      </a:lnTo>
                      <a:lnTo>
                        <a:pt x="254" y="66"/>
                      </a:lnTo>
                      <a:lnTo>
                        <a:pt x="254" y="65"/>
                      </a:lnTo>
                      <a:lnTo>
                        <a:pt x="254" y="65"/>
                      </a:lnTo>
                      <a:lnTo>
                        <a:pt x="253" y="64"/>
                      </a:lnTo>
                      <a:lnTo>
                        <a:pt x="253" y="64"/>
                      </a:lnTo>
                      <a:lnTo>
                        <a:pt x="253" y="65"/>
                      </a:lnTo>
                      <a:lnTo>
                        <a:pt x="252" y="65"/>
                      </a:lnTo>
                      <a:lnTo>
                        <a:pt x="252" y="64"/>
                      </a:lnTo>
                      <a:lnTo>
                        <a:pt x="251" y="64"/>
                      </a:lnTo>
                      <a:lnTo>
                        <a:pt x="251" y="64"/>
                      </a:lnTo>
                      <a:lnTo>
                        <a:pt x="250" y="64"/>
                      </a:lnTo>
                      <a:lnTo>
                        <a:pt x="249" y="64"/>
                      </a:lnTo>
                      <a:lnTo>
                        <a:pt x="249" y="64"/>
                      </a:lnTo>
                      <a:lnTo>
                        <a:pt x="249" y="64"/>
                      </a:lnTo>
                      <a:lnTo>
                        <a:pt x="249" y="65"/>
                      </a:lnTo>
                      <a:lnTo>
                        <a:pt x="249" y="65"/>
                      </a:lnTo>
                      <a:lnTo>
                        <a:pt x="249" y="64"/>
                      </a:lnTo>
                      <a:lnTo>
                        <a:pt x="248" y="64"/>
                      </a:lnTo>
                      <a:lnTo>
                        <a:pt x="248" y="63"/>
                      </a:lnTo>
                      <a:lnTo>
                        <a:pt x="247" y="63"/>
                      </a:lnTo>
                      <a:lnTo>
                        <a:pt x="247" y="63"/>
                      </a:lnTo>
                      <a:lnTo>
                        <a:pt x="247" y="62"/>
                      </a:lnTo>
                      <a:lnTo>
                        <a:pt x="247" y="62"/>
                      </a:lnTo>
                      <a:lnTo>
                        <a:pt x="247" y="61"/>
                      </a:lnTo>
                      <a:lnTo>
                        <a:pt x="246" y="61"/>
                      </a:lnTo>
                      <a:lnTo>
                        <a:pt x="246" y="61"/>
                      </a:lnTo>
                      <a:lnTo>
                        <a:pt x="246" y="60"/>
                      </a:lnTo>
                      <a:lnTo>
                        <a:pt x="245" y="60"/>
                      </a:lnTo>
                      <a:lnTo>
                        <a:pt x="245" y="59"/>
                      </a:lnTo>
                      <a:lnTo>
                        <a:pt x="246" y="59"/>
                      </a:lnTo>
                      <a:lnTo>
                        <a:pt x="247" y="59"/>
                      </a:lnTo>
                      <a:lnTo>
                        <a:pt x="247" y="58"/>
                      </a:lnTo>
                      <a:lnTo>
                        <a:pt x="247" y="58"/>
                      </a:lnTo>
                      <a:lnTo>
                        <a:pt x="247" y="58"/>
                      </a:lnTo>
                      <a:lnTo>
                        <a:pt x="247" y="57"/>
                      </a:lnTo>
                      <a:lnTo>
                        <a:pt x="248" y="57"/>
                      </a:lnTo>
                      <a:lnTo>
                        <a:pt x="249" y="56"/>
                      </a:lnTo>
                      <a:lnTo>
                        <a:pt x="249" y="56"/>
                      </a:lnTo>
                      <a:lnTo>
                        <a:pt x="249" y="56"/>
                      </a:lnTo>
                      <a:lnTo>
                        <a:pt x="250" y="56"/>
                      </a:lnTo>
                      <a:lnTo>
                        <a:pt x="250" y="55"/>
                      </a:lnTo>
                      <a:lnTo>
                        <a:pt x="249" y="55"/>
                      </a:lnTo>
                      <a:lnTo>
                        <a:pt x="249" y="55"/>
                      </a:lnTo>
                      <a:lnTo>
                        <a:pt x="248" y="55"/>
                      </a:lnTo>
                      <a:lnTo>
                        <a:pt x="248" y="56"/>
                      </a:lnTo>
                      <a:lnTo>
                        <a:pt x="247" y="56"/>
                      </a:lnTo>
                      <a:lnTo>
                        <a:pt x="247" y="55"/>
                      </a:lnTo>
                      <a:lnTo>
                        <a:pt x="248" y="54"/>
                      </a:lnTo>
                      <a:lnTo>
                        <a:pt x="249" y="54"/>
                      </a:lnTo>
                      <a:lnTo>
                        <a:pt x="249" y="54"/>
                      </a:lnTo>
                      <a:lnTo>
                        <a:pt x="250" y="54"/>
                      </a:lnTo>
                      <a:lnTo>
                        <a:pt x="251" y="54"/>
                      </a:lnTo>
                      <a:lnTo>
                        <a:pt x="251" y="55"/>
                      </a:lnTo>
                      <a:lnTo>
                        <a:pt x="251" y="55"/>
                      </a:lnTo>
                      <a:lnTo>
                        <a:pt x="251" y="54"/>
                      </a:lnTo>
                      <a:lnTo>
                        <a:pt x="251" y="54"/>
                      </a:lnTo>
                      <a:lnTo>
                        <a:pt x="251" y="54"/>
                      </a:lnTo>
                      <a:lnTo>
                        <a:pt x="251" y="54"/>
                      </a:lnTo>
                      <a:lnTo>
                        <a:pt x="251" y="54"/>
                      </a:lnTo>
                      <a:lnTo>
                        <a:pt x="251" y="53"/>
                      </a:lnTo>
                      <a:lnTo>
                        <a:pt x="251" y="52"/>
                      </a:lnTo>
                      <a:lnTo>
                        <a:pt x="251" y="52"/>
                      </a:lnTo>
                      <a:lnTo>
                        <a:pt x="250" y="52"/>
                      </a:lnTo>
                      <a:lnTo>
                        <a:pt x="250" y="51"/>
                      </a:lnTo>
                      <a:lnTo>
                        <a:pt x="249" y="51"/>
                      </a:lnTo>
                      <a:lnTo>
                        <a:pt x="249" y="52"/>
                      </a:lnTo>
                      <a:lnTo>
                        <a:pt x="249" y="51"/>
                      </a:lnTo>
                      <a:lnTo>
                        <a:pt x="249" y="50"/>
                      </a:lnTo>
                      <a:lnTo>
                        <a:pt x="248" y="50"/>
                      </a:lnTo>
                      <a:lnTo>
                        <a:pt x="247" y="50"/>
                      </a:lnTo>
                      <a:lnTo>
                        <a:pt x="247" y="50"/>
                      </a:lnTo>
                      <a:lnTo>
                        <a:pt x="247" y="50"/>
                      </a:lnTo>
                      <a:lnTo>
                        <a:pt x="247" y="50"/>
                      </a:lnTo>
                      <a:lnTo>
                        <a:pt x="247" y="49"/>
                      </a:lnTo>
                      <a:lnTo>
                        <a:pt x="247" y="49"/>
                      </a:lnTo>
                      <a:lnTo>
                        <a:pt x="246" y="48"/>
                      </a:lnTo>
                      <a:lnTo>
                        <a:pt x="245" y="48"/>
                      </a:lnTo>
                      <a:lnTo>
                        <a:pt x="245" y="48"/>
                      </a:lnTo>
                      <a:lnTo>
                        <a:pt x="245" y="48"/>
                      </a:lnTo>
                      <a:lnTo>
                        <a:pt x="245" y="47"/>
                      </a:lnTo>
                      <a:lnTo>
                        <a:pt x="245" y="46"/>
                      </a:lnTo>
                      <a:lnTo>
                        <a:pt x="245" y="46"/>
                      </a:lnTo>
                      <a:lnTo>
                        <a:pt x="245" y="46"/>
                      </a:lnTo>
                      <a:lnTo>
                        <a:pt x="244" y="46"/>
                      </a:lnTo>
                      <a:lnTo>
                        <a:pt x="243" y="46"/>
                      </a:lnTo>
                      <a:lnTo>
                        <a:pt x="243" y="46"/>
                      </a:lnTo>
                      <a:lnTo>
                        <a:pt x="243" y="45"/>
                      </a:lnTo>
                      <a:lnTo>
                        <a:pt x="242" y="45"/>
                      </a:lnTo>
                      <a:lnTo>
                        <a:pt x="241" y="45"/>
                      </a:lnTo>
                      <a:lnTo>
                        <a:pt x="240" y="45"/>
                      </a:lnTo>
                      <a:lnTo>
                        <a:pt x="240" y="44"/>
                      </a:lnTo>
                      <a:lnTo>
                        <a:pt x="240" y="44"/>
                      </a:lnTo>
                      <a:lnTo>
                        <a:pt x="239" y="44"/>
                      </a:lnTo>
                      <a:lnTo>
                        <a:pt x="238" y="44"/>
                      </a:lnTo>
                      <a:lnTo>
                        <a:pt x="238" y="43"/>
                      </a:lnTo>
                      <a:lnTo>
                        <a:pt x="239" y="43"/>
                      </a:lnTo>
                      <a:lnTo>
                        <a:pt x="240" y="42"/>
                      </a:lnTo>
                      <a:lnTo>
                        <a:pt x="240" y="42"/>
                      </a:lnTo>
                      <a:lnTo>
                        <a:pt x="240" y="42"/>
                      </a:lnTo>
                      <a:lnTo>
                        <a:pt x="240" y="42"/>
                      </a:lnTo>
                      <a:lnTo>
                        <a:pt x="239" y="42"/>
                      </a:lnTo>
                      <a:lnTo>
                        <a:pt x="238" y="42"/>
                      </a:lnTo>
                      <a:lnTo>
                        <a:pt x="238" y="42"/>
                      </a:lnTo>
                      <a:lnTo>
                        <a:pt x="237" y="42"/>
                      </a:lnTo>
                      <a:lnTo>
                        <a:pt x="236" y="42"/>
                      </a:lnTo>
                      <a:lnTo>
                        <a:pt x="236" y="41"/>
                      </a:lnTo>
                      <a:lnTo>
                        <a:pt x="236" y="40"/>
                      </a:lnTo>
                      <a:lnTo>
                        <a:pt x="236" y="39"/>
                      </a:lnTo>
                      <a:lnTo>
                        <a:pt x="235" y="39"/>
                      </a:lnTo>
                      <a:lnTo>
                        <a:pt x="235" y="38"/>
                      </a:lnTo>
                      <a:lnTo>
                        <a:pt x="236" y="38"/>
                      </a:lnTo>
                      <a:lnTo>
                        <a:pt x="236" y="38"/>
                      </a:lnTo>
                      <a:lnTo>
                        <a:pt x="236" y="37"/>
                      </a:lnTo>
                      <a:lnTo>
                        <a:pt x="236" y="37"/>
                      </a:lnTo>
                      <a:lnTo>
                        <a:pt x="236" y="37"/>
                      </a:lnTo>
                      <a:lnTo>
                        <a:pt x="235" y="37"/>
                      </a:lnTo>
                      <a:lnTo>
                        <a:pt x="235" y="36"/>
                      </a:lnTo>
                      <a:lnTo>
                        <a:pt x="235" y="35"/>
                      </a:lnTo>
                      <a:lnTo>
                        <a:pt x="236" y="35"/>
                      </a:lnTo>
                      <a:lnTo>
                        <a:pt x="236" y="35"/>
                      </a:lnTo>
                      <a:lnTo>
                        <a:pt x="236" y="35"/>
                      </a:lnTo>
                      <a:lnTo>
                        <a:pt x="236" y="34"/>
                      </a:lnTo>
                      <a:lnTo>
                        <a:pt x="236" y="34"/>
                      </a:lnTo>
                      <a:lnTo>
                        <a:pt x="235" y="34"/>
                      </a:lnTo>
                      <a:lnTo>
                        <a:pt x="234" y="34"/>
                      </a:lnTo>
                      <a:lnTo>
                        <a:pt x="234" y="35"/>
                      </a:lnTo>
                      <a:lnTo>
                        <a:pt x="234" y="35"/>
                      </a:lnTo>
                      <a:lnTo>
                        <a:pt x="234" y="34"/>
                      </a:lnTo>
                      <a:lnTo>
                        <a:pt x="234" y="33"/>
                      </a:lnTo>
                      <a:lnTo>
                        <a:pt x="234" y="33"/>
                      </a:lnTo>
                      <a:lnTo>
                        <a:pt x="234" y="32"/>
                      </a:lnTo>
                      <a:lnTo>
                        <a:pt x="233" y="32"/>
                      </a:lnTo>
                      <a:lnTo>
                        <a:pt x="233" y="31"/>
                      </a:lnTo>
                      <a:lnTo>
                        <a:pt x="232" y="31"/>
                      </a:lnTo>
                      <a:lnTo>
                        <a:pt x="232" y="31"/>
                      </a:lnTo>
                      <a:lnTo>
                        <a:pt x="232" y="31"/>
                      </a:lnTo>
                      <a:lnTo>
                        <a:pt x="232" y="30"/>
                      </a:lnTo>
                      <a:lnTo>
                        <a:pt x="231" y="30"/>
                      </a:lnTo>
                      <a:lnTo>
                        <a:pt x="231" y="29"/>
                      </a:lnTo>
                      <a:lnTo>
                        <a:pt x="230" y="29"/>
                      </a:lnTo>
                      <a:lnTo>
                        <a:pt x="230" y="29"/>
                      </a:lnTo>
                      <a:lnTo>
                        <a:pt x="230" y="28"/>
                      </a:lnTo>
                      <a:lnTo>
                        <a:pt x="230" y="27"/>
                      </a:lnTo>
                      <a:lnTo>
                        <a:pt x="231" y="27"/>
                      </a:lnTo>
                      <a:lnTo>
                        <a:pt x="231" y="27"/>
                      </a:lnTo>
                      <a:lnTo>
                        <a:pt x="231" y="26"/>
                      </a:lnTo>
                      <a:lnTo>
                        <a:pt x="231" y="25"/>
                      </a:lnTo>
                      <a:lnTo>
                        <a:pt x="231" y="25"/>
                      </a:lnTo>
                      <a:lnTo>
                        <a:pt x="230" y="25"/>
                      </a:lnTo>
                      <a:lnTo>
                        <a:pt x="230" y="24"/>
                      </a:lnTo>
                      <a:lnTo>
                        <a:pt x="230" y="23"/>
                      </a:lnTo>
                      <a:lnTo>
                        <a:pt x="231" y="23"/>
                      </a:lnTo>
                      <a:lnTo>
                        <a:pt x="231" y="23"/>
                      </a:lnTo>
                      <a:lnTo>
                        <a:pt x="231" y="22"/>
                      </a:lnTo>
                      <a:lnTo>
                        <a:pt x="230" y="22"/>
                      </a:lnTo>
                      <a:lnTo>
                        <a:pt x="230" y="21"/>
                      </a:lnTo>
                      <a:lnTo>
                        <a:pt x="230" y="21"/>
                      </a:lnTo>
                      <a:lnTo>
                        <a:pt x="231" y="20"/>
                      </a:lnTo>
                      <a:lnTo>
                        <a:pt x="231" y="19"/>
                      </a:lnTo>
                      <a:lnTo>
                        <a:pt x="230" y="19"/>
                      </a:lnTo>
                      <a:lnTo>
                        <a:pt x="230" y="19"/>
                      </a:lnTo>
                      <a:lnTo>
                        <a:pt x="230" y="20"/>
                      </a:lnTo>
                      <a:lnTo>
                        <a:pt x="229" y="20"/>
                      </a:lnTo>
                      <a:lnTo>
                        <a:pt x="229" y="21"/>
                      </a:lnTo>
                      <a:lnTo>
                        <a:pt x="228" y="21"/>
                      </a:lnTo>
                      <a:lnTo>
                        <a:pt x="228" y="20"/>
                      </a:lnTo>
                      <a:lnTo>
                        <a:pt x="228" y="19"/>
                      </a:lnTo>
                      <a:lnTo>
                        <a:pt x="229" y="19"/>
                      </a:lnTo>
                      <a:lnTo>
                        <a:pt x="229" y="18"/>
                      </a:lnTo>
                      <a:lnTo>
                        <a:pt x="229" y="18"/>
                      </a:lnTo>
                      <a:lnTo>
                        <a:pt x="228" y="18"/>
                      </a:lnTo>
                      <a:lnTo>
                        <a:pt x="228" y="17"/>
                      </a:lnTo>
                      <a:lnTo>
                        <a:pt x="228" y="18"/>
                      </a:lnTo>
                      <a:lnTo>
                        <a:pt x="227" y="18"/>
                      </a:lnTo>
                      <a:lnTo>
                        <a:pt x="227" y="18"/>
                      </a:lnTo>
                      <a:lnTo>
                        <a:pt x="226" y="18"/>
                      </a:lnTo>
                      <a:lnTo>
                        <a:pt x="226" y="18"/>
                      </a:lnTo>
                      <a:lnTo>
                        <a:pt x="226" y="17"/>
                      </a:lnTo>
                      <a:lnTo>
                        <a:pt x="227" y="17"/>
                      </a:lnTo>
                      <a:lnTo>
                        <a:pt x="226" y="16"/>
                      </a:lnTo>
                      <a:lnTo>
                        <a:pt x="227" y="16"/>
                      </a:lnTo>
                      <a:lnTo>
                        <a:pt x="227" y="16"/>
                      </a:lnTo>
                      <a:lnTo>
                        <a:pt x="228" y="16"/>
                      </a:lnTo>
                      <a:lnTo>
                        <a:pt x="228" y="16"/>
                      </a:lnTo>
                      <a:lnTo>
                        <a:pt x="228" y="16"/>
                      </a:lnTo>
                      <a:lnTo>
                        <a:pt x="228" y="16"/>
                      </a:lnTo>
                      <a:lnTo>
                        <a:pt x="228" y="15"/>
                      </a:lnTo>
                      <a:lnTo>
                        <a:pt x="228" y="15"/>
                      </a:lnTo>
                      <a:lnTo>
                        <a:pt x="228" y="14"/>
                      </a:lnTo>
                      <a:lnTo>
                        <a:pt x="228" y="14"/>
                      </a:lnTo>
                      <a:lnTo>
                        <a:pt x="228" y="14"/>
                      </a:lnTo>
                      <a:lnTo>
                        <a:pt x="228" y="13"/>
                      </a:lnTo>
                      <a:lnTo>
                        <a:pt x="229" y="13"/>
                      </a:lnTo>
                      <a:lnTo>
                        <a:pt x="229" y="12"/>
                      </a:lnTo>
                      <a:lnTo>
                        <a:pt x="229" y="12"/>
                      </a:lnTo>
                      <a:lnTo>
                        <a:pt x="228" y="12"/>
                      </a:lnTo>
                      <a:lnTo>
                        <a:pt x="228" y="11"/>
                      </a:lnTo>
                      <a:lnTo>
                        <a:pt x="228" y="10"/>
                      </a:lnTo>
                      <a:lnTo>
                        <a:pt x="227" y="10"/>
                      </a:lnTo>
                      <a:lnTo>
                        <a:pt x="228" y="10"/>
                      </a:lnTo>
                      <a:lnTo>
                        <a:pt x="228" y="10"/>
                      </a:lnTo>
                      <a:lnTo>
                        <a:pt x="228" y="10"/>
                      </a:lnTo>
                      <a:lnTo>
                        <a:pt x="228" y="9"/>
                      </a:lnTo>
                      <a:lnTo>
                        <a:pt x="229" y="9"/>
                      </a:lnTo>
                      <a:lnTo>
                        <a:pt x="229" y="8"/>
                      </a:lnTo>
                      <a:lnTo>
                        <a:pt x="230" y="8"/>
                      </a:lnTo>
                      <a:lnTo>
                        <a:pt x="229" y="8"/>
                      </a:lnTo>
                      <a:lnTo>
                        <a:pt x="229" y="8"/>
                      </a:lnTo>
                      <a:lnTo>
                        <a:pt x="228" y="8"/>
                      </a:lnTo>
                      <a:lnTo>
                        <a:pt x="228" y="8"/>
                      </a:lnTo>
                      <a:lnTo>
                        <a:pt x="227" y="8"/>
                      </a:lnTo>
                      <a:lnTo>
                        <a:pt x="227" y="7"/>
                      </a:lnTo>
                      <a:lnTo>
                        <a:pt x="226" y="7"/>
                      </a:lnTo>
                      <a:lnTo>
                        <a:pt x="226" y="7"/>
                      </a:lnTo>
                      <a:lnTo>
                        <a:pt x="226" y="6"/>
                      </a:lnTo>
                      <a:lnTo>
                        <a:pt x="225" y="6"/>
                      </a:lnTo>
                      <a:lnTo>
                        <a:pt x="224" y="6"/>
                      </a:lnTo>
                      <a:lnTo>
                        <a:pt x="224" y="6"/>
                      </a:lnTo>
                      <a:lnTo>
                        <a:pt x="223" y="6"/>
                      </a:lnTo>
                      <a:lnTo>
                        <a:pt x="223" y="6"/>
                      </a:lnTo>
                      <a:lnTo>
                        <a:pt x="223" y="5"/>
                      </a:lnTo>
                      <a:lnTo>
                        <a:pt x="223" y="4"/>
                      </a:lnTo>
                      <a:lnTo>
                        <a:pt x="222" y="4"/>
                      </a:lnTo>
                      <a:lnTo>
                        <a:pt x="222" y="4"/>
                      </a:lnTo>
                      <a:lnTo>
                        <a:pt x="222" y="3"/>
                      </a:lnTo>
                      <a:lnTo>
                        <a:pt x="221" y="3"/>
                      </a:lnTo>
                      <a:lnTo>
                        <a:pt x="221" y="3"/>
                      </a:lnTo>
                      <a:lnTo>
                        <a:pt x="221" y="4"/>
                      </a:lnTo>
                      <a:lnTo>
                        <a:pt x="221" y="4"/>
                      </a:lnTo>
                      <a:lnTo>
                        <a:pt x="220" y="4"/>
                      </a:lnTo>
                      <a:lnTo>
                        <a:pt x="220" y="4"/>
                      </a:lnTo>
                      <a:lnTo>
                        <a:pt x="219" y="4"/>
                      </a:lnTo>
                      <a:lnTo>
                        <a:pt x="220" y="4"/>
                      </a:lnTo>
                      <a:lnTo>
                        <a:pt x="220" y="3"/>
                      </a:lnTo>
                      <a:lnTo>
                        <a:pt x="220" y="2"/>
                      </a:lnTo>
                      <a:lnTo>
                        <a:pt x="221" y="2"/>
                      </a:lnTo>
                      <a:lnTo>
                        <a:pt x="221" y="2"/>
                      </a:lnTo>
                      <a:lnTo>
                        <a:pt x="221" y="1"/>
                      </a:lnTo>
                      <a:lnTo>
                        <a:pt x="221" y="0"/>
                      </a:lnTo>
                      <a:lnTo>
                        <a:pt x="221" y="0"/>
                      </a:lnTo>
                      <a:lnTo>
                        <a:pt x="222" y="1"/>
                      </a:lnTo>
                      <a:lnTo>
                        <a:pt x="223" y="1"/>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5" name="Freeform 80">
                  <a:extLst>
                    <a:ext uri="{FF2B5EF4-FFF2-40B4-BE49-F238E27FC236}">
                      <a16:creationId xmlns:a16="http://schemas.microsoft.com/office/drawing/2014/main" xmlns="" id="{D47D17E9-E4A5-4366-31EB-E76CC59D12A0}"/>
                    </a:ext>
                  </a:extLst>
                </p:cNvPr>
                <p:cNvSpPr>
                  <a:spLocks/>
                </p:cNvSpPr>
                <p:nvPr/>
              </p:nvSpPr>
              <p:spPr bwMode="auto">
                <a:xfrm>
                  <a:off x="3414" y="1729"/>
                  <a:ext cx="773" cy="454"/>
                </a:xfrm>
                <a:custGeom>
                  <a:avLst/>
                  <a:gdLst>
                    <a:gd name="T0" fmla="*/ 23 w 773"/>
                    <a:gd name="T1" fmla="*/ 450 h 454"/>
                    <a:gd name="T2" fmla="*/ 21 w 773"/>
                    <a:gd name="T3" fmla="*/ 446 h 454"/>
                    <a:gd name="T4" fmla="*/ 17 w 773"/>
                    <a:gd name="T5" fmla="*/ 446 h 454"/>
                    <a:gd name="T6" fmla="*/ 13 w 773"/>
                    <a:gd name="T7" fmla="*/ 445 h 454"/>
                    <a:gd name="T8" fmla="*/ 10 w 773"/>
                    <a:gd name="T9" fmla="*/ 444 h 454"/>
                    <a:gd name="T10" fmla="*/ 10 w 773"/>
                    <a:gd name="T11" fmla="*/ 439 h 454"/>
                    <a:gd name="T12" fmla="*/ 9 w 773"/>
                    <a:gd name="T13" fmla="*/ 432 h 454"/>
                    <a:gd name="T14" fmla="*/ 8 w 773"/>
                    <a:gd name="T15" fmla="*/ 429 h 454"/>
                    <a:gd name="T16" fmla="*/ 7 w 773"/>
                    <a:gd name="T17" fmla="*/ 424 h 454"/>
                    <a:gd name="T18" fmla="*/ 6 w 773"/>
                    <a:gd name="T19" fmla="*/ 420 h 454"/>
                    <a:gd name="T20" fmla="*/ 7 w 773"/>
                    <a:gd name="T21" fmla="*/ 417 h 454"/>
                    <a:gd name="T22" fmla="*/ 13 w 773"/>
                    <a:gd name="T23" fmla="*/ 412 h 454"/>
                    <a:gd name="T24" fmla="*/ 14 w 773"/>
                    <a:gd name="T25" fmla="*/ 408 h 454"/>
                    <a:gd name="T26" fmla="*/ 11 w 773"/>
                    <a:gd name="T27" fmla="*/ 405 h 454"/>
                    <a:gd name="T28" fmla="*/ 15 w 773"/>
                    <a:gd name="T29" fmla="*/ 402 h 454"/>
                    <a:gd name="T30" fmla="*/ 14 w 773"/>
                    <a:gd name="T31" fmla="*/ 396 h 454"/>
                    <a:gd name="T32" fmla="*/ 13 w 773"/>
                    <a:gd name="T33" fmla="*/ 390 h 454"/>
                    <a:gd name="T34" fmla="*/ 12 w 773"/>
                    <a:gd name="T35" fmla="*/ 386 h 454"/>
                    <a:gd name="T36" fmla="*/ 9 w 773"/>
                    <a:gd name="T37" fmla="*/ 383 h 454"/>
                    <a:gd name="T38" fmla="*/ 9 w 773"/>
                    <a:gd name="T39" fmla="*/ 379 h 454"/>
                    <a:gd name="T40" fmla="*/ 10 w 773"/>
                    <a:gd name="T41" fmla="*/ 374 h 454"/>
                    <a:gd name="T42" fmla="*/ 9 w 773"/>
                    <a:gd name="T43" fmla="*/ 369 h 454"/>
                    <a:gd name="T44" fmla="*/ 9 w 773"/>
                    <a:gd name="T45" fmla="*/ 365 h 454"/>
                    <a:gd name="T46" fmla="*/ 10 w 773"/>
                    <a:gd name="T47" fmla="*/ 359 h 454"/>
                    <a:gd name="T48" fmla="*/ 12 w 773"/>
                    <a:gd name="T49" fmla="*/ 353 h 454"/>
                    <a:gd name="T50" fmla="*/ 12 w 773"/>
                    <a:gd name="T51" fmla="*/ 347 h 454"/>
                    <a:gd name="T52" fmla="*/ 13 w 773"/>
                    <a:gd name="T53" fmla="*/ 341 h 454"/>
                    <a:gd name="T54" fmla="*/ 9 w 773"/>
                    <a:gd name="T55" fmla="*/ 337 h 454"/>
                    <a:gd name="T56" fmla="*/ 3 w 773"/>
                    <a:gd name="T57" fmla="*/ 335 h 454"/>
                    <a:gd name="T58" fmla="*/ 0 w 773"/>
                    <a:gd name="T59" fmla="*/ 332 h 454"/>
                    <a:gd name="T60" fmla="*/ 229 w 773"/>
                    <a:gd name="T61" fmla="*/ 168 h 454"/>
                    <a:gd name="T62" fmla="*/ 637 w 773"/>
                    <a:gd name="T63" fmla="*/ 16 h 454"/>
                    <a:gd name="T64" fmla="*/ 643 w 773"/>
                    <a:gd name="T65" fmla="*/ 18 h 454"/>
                    <a:gd name="T66" fmla="*/ 649 w 773"/>
                    <a:gd name="T67" fmla="*/ 20 h 454"/>
                    <a:gd name="T68" fmla="*/ 657 w 773"/>
                    <a:gd name="T69" fmla="*/ 18 h 454"/>
                    <a:gd name="T70" fmla="*/ 663 w 773"/>
                    <a:gd name="T71" fmla="*/ 16 h 454"/>
                    <a:gd name="T72" fmla="*/ 666 w 773"/>
                    <a:gd name="T73" fmla="*/ 12 h 454"/>
                    <a:gd name="T74" fmla="*/ 672 w 773"/>
                    <a:gd name="T75" fmla="*/ 11 h 454"/>
                    <a:gd name="T76" fmla="*/ 680 w 773"/>
                    <a:gd name="T77" fmla="*/ 11 h 454"/>
                    <a:gd name="T78" fmla="*/ 683 w 773"/>
                    <a:gd name="T79" fmla="*/ 7 h 454"/>
                    <a:gd name="T80" fmla="*/ 690 w 773"/>
                    <a:gd name="T81" fmla="*/ 7 h 454"/>
                    <a:gd name="T82" fmla="*/ 695 w 773"/>
                    <a:gd name="T83" fmla="*/ 5 h 454"/>
                    <a:gd name="T84" fmla="*/ 699 w 773"/>
                    <a:gd name="T85" fmla="*/ 6 h 454"/>
                    <a:gd name="T86" fmla="*/ 706 w 773"/>
                    <a:gd name="T87" fmla="*/ 5 h 454"/>
                    <a:gd name="T88" fmla="*/ 708 w 773"/>
                    <a:gd name="T89" fmla="*/ 10 h 454"/>
                    <a:gd name="T90" fmla="*/ 712 w 773"/>
                    <a:gd name="T91" fmla="*/ 14 h 454"/>
                    <a:gd name="T92" fmla="*/ 718 w 773"/>
                    <a:gd name="T93" fmla="*/ 14 h 454"/>
                    <a:gd name="T94" fmla="*/ 722 w 773"/>
                    <a:gd name="T95" fmla="*/ 13 h 454"/>
                    <a:gd name="T96" fmla="*/ 722 w 773"/>
                    <a:gd name="T97" fmla="*/ 9 h 454"/>
                    <a:gd name="T98" fmla="*/ 724 w 773"/>
                    <a:gd name="T99" fmla="*/ 10 h 454"/>
                    <a:gd name="T100" fmla="*/ 730 w 773"/>
                    <a:gd name="T101" fmla="*/ 11 h 454"/>
                    <a:gd name="T102" fmla="*/ 732 w 773"/>
                    <a:gd name="T103" fmla="*/ 13 h 454"/>
                    <a:gd name="T104" fmla="*/ 733 w 773"/>
                    <a:gd name="T105" fmla="*/ 10 h 454"/>
                    <a:gd name="T106" fmla="*/ 737 w 773"/>
                    <a:gd name="T107" fmla="*/ 11 h 454"/>
                    <a:gd name="T108" fmla="*/ 741 w 773"/>
                    <a:gd name="T109" fmla="*/ 14 h 454"/>
                    <a:gd name="T110" fmla="*/ 744 w 773"/>
                    <a:gd name="T111" fmla="*/ 9 h 454"/>
                    <a:gd name="T112" fmla="*/ 747 w 773"/>
                    <a:gd name="T113" fmla="*/ 4 h 454"/>
                    <a:gd name="T114" fmla="*/ 752 w 773"/>
                    <a:gd name="T115" fmla="*/ 6 h 454"/>
                    <a:gd name="T116" fmla="*/ 756 w 773"/>
                    <a:gd name="T117" fmla="*/ 9 h 454"/>
                    <a:gd name="T118" fmla="*/ 758 w 773"/>
                    <a:gd name="T119" fmla="*/ 5 h 454"/>
                    <a:gd name="T120" fmla="*/ 757 w 773"/>
                    <a:gd name="T121" fmla="*/ 0 h 454"/>
                    <a:gd name="T122" fmla="*/ 765 w 773"/>
                    <a:gd name="T123" fmla="*/ 1 h 454"/>
                    <a:gd name="T124" fmla="*/ 771 w 773"/>
                    <a:gd name="T125" fmla="*/ 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3" h="454">
                      <a:moveTo>
                        <a:pt x="25" y="454"/>
                      </a:moveTo>
                      <a:lnTo>
                        <a:pt x="25" y="453"/>
                      </a:lnTo>
                      <a:lnTo>
                        <a:pt x="25" y="452"/>
                      </a:lnTo>
                      <a:lnTo>
                        <a:pt x="25" y="452"/>
                      </a:lnTo>
                      <a:lnTo>
                        <a:pt x="24" y="452"/>
                      </a:lnTo>
                      <a:lnTo>
                        <a:pt x="23" y="452"/>
                      </a:lnTo>
                      <a:lnTo>
                        <a:pt x="23" y="451"/>
                      </a:lnTo>
                      <a:lnTo>
                        <a:pt x="24" y="451"/>
                      </a:lnTo>
                      <a:lnTo>
                        <a:pt x="24" y="450"/>
                      </a:lnTo>
                      <a:lnTo>
                        <a:pt x="24" y="450"/>
                      </a:lnTo>
                      <a:lnTo>
                        <a:pt x="23" y="450"/>
                      </a:lnTo>
                      <a:lnTo>
                        <a:pt x="23" y="449"/>
                      </a:lnTo>
                      <a:lnTo>
                        <a:pt x="23" y="449"/>
                      </a:lnTo>
                      <a:lnTo>
                        <a:pt x="23" y="448"/>
                      </a:lnTo>
                      <a:lnTo>
                        <a:pt x="23" y="448"/>
                      </a:lnTo>
                      <a:lnTo>
                        <a:pt x="22" y="447"/>
                      </a:lnTo>
                      <a:lnTo>
                        <a:pt x="22" y="448"/>
                      </a:lnTo>
                      <a:lnTo>
                        <a:pt x="21" y="448"/>
                      </a:lnTo>
                      <a:lnTo>
                        <a:pt x="21" y="448"/>
                      </a:lnTo>
                      <a:lnTo>
                        <a:pt x="21" y="447"/>
                      </a:lnTo>
                      <a:lnTo>
                        <a:pt x="20" y="446"/>
                      </a:lnTo>
                      <a:lnTo>
                        <a:pt x="21" y="446"/>
                      </a:lnTo>
                      <a:lnTo>
                        <a:pt x="20" y="446"/>
                      </a:lnTo>
                      <a:lnTo>
                        <a:pt x="20" y="445"/>
                      </a:lnTo>
                      <a:lnTo>
                        <a:pt x="20" y="446"/>
                      </a:lnTo>
                      <a:lnTo>
                        <a:pt x="19" y="446"/>
                      </a:lnTo>
                      <a:lnTo>
                        <a:pt x="19" y="446"/>
                      </a:lnTo>
                      <a:lnTo>
                        <a:pt x="19" y="445"/>
                      </a:lnTo>
                      <a:lnTo>
                        <a:pt x="19" y="444"/>
                      </a:lnTo>
                      <a:lnTo>
                        <a:pt x="18" y="444"/>
                      </a:lnTo>
                      <a:lnTo>
                        <a:pt x="18" y="445"/>
                      </a:lnTo>
                      <a:lnTo>
                        <a:pt x="17" y="445"/>
                      </a:lnTo>
                      <a:lnTo>
                        <a:pt x="17" y="446"/>
                      </a:lnTo>
                      <a:lnTo>
                        <a:pt x="17" y="446"/>
                      </a:lnTo>
                      <a:lnTo>
                        <a:pt x="17" y="445"/>
                      </a:lnTo>
                      <a:lnTo>
                        <a:pt x="17" y="444"/>
                      </a:lnTo>
                      <a:lnTo>
                        <a:pt x="16" y="444"/>
                      </a:lnTo>
                      <a:lnTo>
                        <a:pt x="16" y="444"/>
                      </a:lnTo>
                      <a:lnTo>
                        <a:pt x="15" y="444"/>
                      </a:lnTo>
                      <a:lnTo>
                        <a:pt x="15" y="444"/>
                      </a:lnTo>
                      <a:lnTo>
                        <a:pt x="15" y="444"/>
                      </a:lnTo>
                      <a:lnTo>
                        <a:pt x="14" y="444"/>
                      </a:lnTo>
                      <a:lnTo>
                        <a:pt x="14" y="445"/>
                      </a:lnTo>
                      <a:lnTo>
                        <a:pt x="13" y="445"/>
                      </a:lnTo>
                      <a:lnTo>
                        <a:pt x="13" y="445"/>
                      </a:lnTo>
                      <a:lnTo>
                        <a:pt x="13" y="446"/>
                      </a:lnTo>
                      <a:lnTo>
                        <a:pt x="12" y="446"/>
                      </a:lnTo>
                      <a:lnTo>
                        <a:pt x="12" y="446"/>
                      </a:lnTo>
                      <a:lnTo>
                        <a:pt x="12" y="446"/>
                      </a:lnTo>
                      <a:lnTo>
                        <a:pt x="11" y="446"/>
                      </a:lnTo>
                      <a:lnTo>
                        <a:pt x="11" y="445"/>
                      </a:lnTo>
                      <a:lnTo>
                        <a:pt x="11" y="444"/>
                      </a:lnTo>
                      <a:lnTo>
                        <a:pt x="11" y="444"/>
                      </a:lnTo>
                      <a:lnTo>
                        <a:pt x="11" y="444"/>
                      </a:lnTo>
                      <a:lnTo>
                        <a:pt x="10" y="444"/>
                      </a:lnTo>
                      <a:lnTo>
                        <a:pt x="9" y="444"/>
                      </a:lnTo>
                      <a:lnTo>
                        <a:pt x="9" y="443"/>
                      </a:lnTo>
                      <a:lnTo>
                        <a:pt x="10" y="443"/>
                      </a:lnTo>
                      <a:lnTo>
                        <a:pt x="11" y="442"/>
                      </a:lnTo>
                      <a:lnTo>
                        <a:pt x="11" y="442"/>
                      </a:lnTo>
                      <a:lnTo>
                        <a:pt x="11" y="441"/>
                      </a:lnTo>
                      <a:lnTo>
                        <a:pt x="11" y="441"/>
                      </a:lnTo>
                      <a:lnTo>
                        <a:pt x="11" y="440"/>
                      </a:lnTo>
                      <a:lnTo>
                        <a:pt x="11" y="440"/>
                      </a:lnTo>
                      <a:lnTo>
                        <a:pt x="11" y="439"/>
                      </a:lnTo>
                      <a:lnTo>
                        <a:pt x="10" y="439"/>
                      </a:lnTo>
                      <a:lnTo>
                        <a:pt x="10" y="438"/>
                      </a:lnTo>
                      <a:lnTo>
                        <a:pt x="11" y="438"/>
                      </a:lnTo>
                      <a:lnTo>
                        <a:pt x="10" y="437"/>
                      </a:lnTo>
                      <a:lnTo>
                        <a:pt x="9" y="436"/>
                      </a:lnTo>
                      <a:lnTo>
                        <a:pt x="10" y="436"/>
                      </a:lnTo>
                      <a:lnTo>
                        <a:pt x="11" y="435"/>
                      </a:lnTo>
                      <a:lnTo>
                        <a:pt x="11" y="434"/>
                      </a:lnTo>
                      <a:lnTo>
                        <a:pt x="10" y="433"/>
                      </a:lnTo>
                      <a:lnTo>
                        <a:pt x="10" y="433"/>
                      </a:lnTo>
                      <a:lnTo>
                        <a:pt x="9" y="433"/>
                      </a:lnTo>
                      <a:lnTo>
                        <a:pt x="9" y="432"/>
                      </a:lnTo>
                      <a:lnTo>
                        <a:pt x="9" y="431"/>
                      </a:lnTo>
                      <a:lnTo>
                        <a:pt x="10" y="431"/>
                      </a:lnTo>
                      <a:lnTo>
                        <a:pt x="10" y="431"/>
                      </a:lnTo>
                      <a:lnTo>
                        <a:pt x="10" y="430"/>
                      </a:lnTo>
                      <a:lnTo>
                        <a:pt x="9" y="430"/>
                      </a:lnTo>
                      <a:lnTo>
                        <a:pt x="9" y="429"/>
                      </a:lnTo>
                      <a:lnTo>
                        <a:pt x="9" y="429"/>
                      </a:lnTo>
                      <a:lnTo>
                        <a:pt x="9" y="428"/>
                      </a:lnTo>
                      <a:lnTo>
                        <a:pt x="9" y="428"/>
                      </a:lnTo>
                      <a:lnTo>
                        <a:pt x="9" y="429"/>
                      </a:lnTo>
                      <a:lnTo>
                        <a:pt x="8" y="429"/>
                      </a:lnTo>
                      <a:lnTo>
                        <a:pt x="8" y="428"/>
                      </a:lnTo>
                      <a:lnTo>
                        <a:pt x="7" y="428"/>
                      </a:lnTo>
                      <a:lnTo>
                        <a:pt x="8" y="427"/>
                      </a:lnTo>
                      <a:lnTo>
                        <a:pt x="8" y="427"/>
                      </a:lnTo>
                      <a:lnTo>
                        <a:pt x="9" y="426"/>
                      </a:lnTo>
                      <a:lnTo>
                        <a:pt x="9" y="425"/>
                      </a:lnTo>
                      <a:lnTo>
                        <a:pt x="8" y="425"/>
                      </a:lnTo>
                      <a:lnTo>
                        <a:pt x="8" y="425"/>
                      </a:lnTo>
                      <a:lnTo>
                        <a:pt x="7" y="425"/>
                      </a:lnTo>
                      <a:lnTo>
                        <a:pt x="7" y="424"/>
                      </a:lnTo>
                      <a:lnTo>
                        <a:pt x="7" y="424"/>
                      </a:lnTo>
                      <a:lnTo>
                        <a:pt x="7" y="423"/>
                      </a:lnTo>
                      <a:lnTo>
                        <a:pt x="6" y="424"/>
                      </a:lnTo>
                      <a:lnTo>
                        <a:pt x="6" y="423"/>
                      </a:lnTo>
                      <a:lnTo>
                        <a:pt x="6" y="423"/>
                      </a:lnTo>
                      <a:lnTo>
                        <a:pt x="7" y="423"/>
                      </a:lnTo>
                      <a:lnTo>
                        <a:pt x="7" y="423"/>
                      </a:lnTo>
                      <a:lnTo>
                        <a:pt x="7" y="422"/>
                      </a:lnTo>
                      <a:lnTo>
                        <a:pt x="7" y="421"/>
                      </a:lnTo>
                      <a:lnTo>
                        <a:pt x="7" y="421"/>
                      </a:lnTo>
                      <a:lnTo>
                        <a:pt x="6" y="421"/>
                      </a:lnTo>
                      <a:lnTo>
                        <a:pt x="6" y="420"/>
                      </a:lnTo>
                      <a:lnTo>
                        <a:pt x="6" y="419"/>
                      </a:lnTo>
                      <a:lnTo>
                        <a:pt x="5" y="419"/>
                      </a:lnTo>
                      <a:lnTo>
                        <a:pt x="5" y="420"/>
                      </a:lnTo>
                      <a:lnTo>
                        <a:pt x="4" y="420"/>
                      </a:lnTo>
                      <a:lnTo>
                        <a:pt x="4" y="419"/>
                      </a:lnTo>
                      <a:lnTo>
                        <a:pt x="4" y="419"/>
                      </a:lnTo>
                      <a:lnTo>
                        <a:pt x="4" y="418"/>
                      </a:lnTo>
                      <a:lnTo>
                        <a:pt x="5" y="418"/>
                      </a:lnTo>
                      <a:lnTo>
                        <a:pt x="5" y="417"/>
                      </a:lnTo>
                      <a:lnTo>
                        <a:pt x="6" y="417"/>
                      </a:lnTo>
                      <a:lnTo>
                        <a:pt x="7" y="417"/>
                      </a:lnTo>
                      <a:lnTo>
                        <a:pt x="7" y="417"/>
                      </a:lnTo>
                      <a:lnTo>
                        <a:pt x="7" y="417"/>
                      </a:lnTo>
                      <a:lnTo>
                        <a:pt x="8" y="417"/>
                      </a:lnTo>
                      <a:lnTo>
                        <a:pt x="9" y="416"/>
                      </a:lnTo>
                      <a:lnTo>
                        <a:pt x="10" y="415"/>
                      </a:lnTo>
                      <a:lnTo>
                        <a:pt x="11" y="415"/>
                      </a:lnTo>
                      <a:lnTo>
                        <a:pt x="11" y="414"/>
                      </a:lnTo>
                      <a:lnTo>
                        <a:pt x="11" y="414"/>
                      </a:lnTo>
                      <a:lnTo>
                        <a:pt x="12" y="413"/>
                      </a:lnTo>
                      <a:lnTo>
                        <a:pt x="12" y="412"/>
                      </a:lnTo>
                      <a:lnTo>
                        <a:pt x="13" y="412"/>
                      </a:lnTo>
                      <a:lnTo>
                        <a:pt x="13" y="412"/>
                      </a:lnTo>
                      <a:lnTo>
                        <a:pt x="14" y="411"/>
                      </a:lnTo>
                      <a:lnTo>
                        <a:pt x="15" y="411"/>
                      </a:lnTo>
                      <a:lnTo>
                        <a:pt x="15" y="410"/>
                      </a:lnTo>
                      <a:lnTo>
                        <a:pt x="16" y="410"/>
                      </a:lnTo>
                      <a:lnTo>
                        <a:pt x="16" y="410"/>
                      </a:lnTo>
                      <a:lnTo>
                        <a:pt x="15" y="410"/>
                      </a:lnTo>
                      <a:lnTo>
                        <a:pt x="15" y="409"/>
                      </a:lnTo>
                      <a:lnTo>
                        <a:pt x="15" y="409"/>
                      </a:lnTo>
                      <a:lnTo>
                        <a:pt x="15" y="408"/>
                      </a:lnTo>
                      <a:lnTo>
                        <a:pt x="14" y="408"/>
                      </a:lnTo>
                      <a:lnTo>
                        <a:pt x="13" y="408"/>
                      </a:lnTo>
                      <a:lnTo>
                        <a:pt x="13" y="408"/>
                      </a:lnTo>
                      <a:lnTo>
                        <a:pt x="13" y="408"/>
                      </a:lnTo>
                      <a:lnTo>
                        <a:pt x="12" y="408"/>
                      </a:lnTo>
                      <a:lnTo>
                        <a:pt x="12" y="407"/>
                      </a:lnTo>
                      <a:lnTo>
                        <a:pt x="11" y="407"/>
                      </a:lnTo>
                      <a:lnTo>
                        <a:pt x="11" y="406"/>
                      </a:lnTo>
                      <a:lnTo>
                        <a:pt x="11" y="406"/>
                      </a:lnTo>
                      <a:lnTo>
                        <a:pt x="10" y="406"/>
                      </a:lnTo>
                      <a:lnTo>
                        <a:pt x="10" y="405"/>
                      </a:lnTo>
                      <a:lnTo>
                        <a:pt x="11" y="405"/>
                      </a:lnTo>
                      <a:lnTo>
                        <a:pt x="11" y="404"/>
                      </a:lnTo>
                      <a:lnTo>
                        <a:pt x="11" y="404"/>
                      </a:lnTo>
                      <a:lnTo>
                        <a:pt x="12" y="404"/>
                      </a:lnTo>
                      <a:lnTo>
                        <a:pt x="13" y="404"/>
                      </a:lnTo>
                      <a:lnTo>
                        <a:pt x="13" y="404"/>
                      </a:lnTo>
                      <a:lnTo>
                        <a:pt x="13" y="403"/>
                      </a:lnTo>
                      <a:lnTo>
                        <a:pt x="13" y="402"/>
                      </a:lnTo>
                      <a:lnTo>
                        <a:pt x="13" y="402"/>
                      </a:lnTo>
                      <a:lnTo>
                        <a:pt x="14" y="402"/>
                      </a:lnTo>
                      <a:lnTo>
                        <a:pt x="14" y="402"/>
                      </a:lnTo>
                      <a:lnTo>
                        <a:pt x="15" y="402"/>
                      </a:lnTo>
                      <a:lnTo>
                        <a:pt x="15" y="401"/>
                      </a:lnTo>
                      <a:lnTo>
                        <a:pt x="15" y="400"/>
                      </a:lnTo>
                      <a:lnTo>
                        <a:pt x="15" y="400"/>
                      </a:lnTo>
                      <a:lnTo>
                        <a:pt x="15" y="399"/>
                      </a:lnTo>
                      <a:lnTo>
                        <a:pt x="15" y="398"/>
                      </a:lnTo>
                      <a:lnTo>
                        <a:pt x="15" y="398"/>
                      </a:lnTo>
                      <a:lnTo>
                        <a:pt x="15" y="398"/>
                      </a:lnTo>
                      <a:lnTo>
                        <a:pt x="15" y="398"/>
                      </a:lnTo>
                      <a:lnTo>
                        <a:pt x="14" y="398"/>
                      </a:lnTo>
                      <a:lnTo>
                        <a:pt x="14" y="397"/>
                      </a:lnTo>
                      <a:lnTo>
                        <a:pt x="14" y="396"/>
                      </a:lnTo>
                      <a:lnTo>
                        <a:pt x="14" y="396"/>
                      </a:lnTo>
                      <a:lnTo>
                        <a:pt x="14" y="395"/>
                      </a:lnTo>
                      <a:lnTo>
                        <a:pt x="15" y="394"/>
                      </a:lnTo>
                      <a:lnTo>
                        <a:pt x="15" y="393"/>
                      </a:lnTo>
                      <a:lnTo>
                        <a:pt x="15" y="393"/>
                      </a:lnTo>
                      <a:lnTo>
                        <a:pt x="14" y="392"/>
                      </a:lnTo>
                      <a:lnTo>
                        <a:pt x="14" y="391"/>
                      </a:lnTo>
                      <a:lnTo>
                        <a:pt x="13" y="391"/>
                      </a:lnTo>
                      <a:lnTo>
                        <a:pt x="13" y="391"/>
                      </a:lnTo>
                      <a:lnTo>
                        <a:pt x="13" y="390"/>
                      </a:lnTo>
                      <a:lnTo>
                        <a:pt x="13" y="390"/>
                      </a:lnTo>
                      <a:lnTo>
                        <a:pt x="12" y="390"/>
                      </a:lnTo>
                      <a:lnTo>
                        <a:pt x="12" y="389"/>
                      </a:lnTo>
                      <a:lnTo>
                        <a:pt x="12" y="389"/>
                      </a:lnTo>
                      <a:lnTo>
                        <a:pt x="13" y="389"/>
                      </a:lnTo>
                      <a:lnTo>
                        <a:pt x="13" y="389"/>
                      </a:lnTo>
                      <a:lnTo>
                        <a:pt x="13" y="388"/>
                      </a:lnTo>
                      <a:lnTo>
                        <a:pt x="13" y="388"/>
                      </a:lnTo>
                      <a:lnTo>
                        <a:pt x="13" y="387"/>
                      </a:lnTo>
                      <a:lnTo>
                        <a:pt x="12" y="387"/>
                      </a:lnTo>
                      <a:lnTo>
                        <a:pt x="12" y="387"/>
                      </a:lnTo>
                      <a:lnTo>
                        <a:pt x="12" y="386"/>
                      </a:lnTo>
                      <a:lnTo>
                        <a:pt x="12" y="385"/>
                      </a:lnTo>
                      <a:lnTo>
                        <a:pt x="11" y="385"/>
                      </a:lnTo>
                      <a:lnTo>
                        <a:pt x="12" y="385"/>
                      </a:lnTo>
                      <a:lnTo>
                        <a:pt x="12" y="384"/>
                      </a:lnTo>
                      <a:lnTo>
                        <a:pt x="11" y="384"/>
                      </a:lnTo>
                      <a:lnTo>
                        <a:pt x="11" y="383"/>
                      </a:lnTo>
                      <a:lnTo>
                        <a:pt x="11" y="384"/>
                      </a:lnTo>
                      <a:lnTo>
                        <a:pt x="11" y="384"/>
                      </a:lnTo>
                      <a:lnTo>
                        <a:pt x="10" y="383"/>
                      </a:lnTo>
                      <a:lnTo>
                        <a:pt x="10" y="383"/>
                      </a:lnTo>
                      <a:lnTo>
                        <a:pt x="9" y="383"/>
                      </a:lnTo>
                      <a:lnTo>
                        <a:pt x="9" y="382"/>
                      </a:lnTo>
                      <a:lnTo>
                        <a:pt x="10" y="382"/>
                      </a:lnTo>
                      <a:lnTo>
                        <a:pt x="10" y="381"/>
                      </a:lnTo>
                      <a:lnTo>
                        <a:pt x="10" y="381"/>
                      </a:lnTo>
                      <a:lnTo>
                        <a:pt x="11" y="381"/>
                      </a:lnTo>
                      <a:lnTo>
                        <a:pt x="11" y="380"/>
                      </a:lnTo>
                      <a:lnTo>
                        <a:pt x="11" y="379"/>
                      </a:lnTo>
                      <a:lnTo>
                        <a:pt x="11" y="379"/>
                      </a:lnTo>
                      <a:lnTo>
                        <a:pt x="10" y="379"/>
                      </a:lnTo>
                      <a:lnTo>
                        <a:pt x="10" y="379"/>
                      </a:lnTo>
                      <a:lnTo>
                        <a:pt x="9" y="379"/>
                      </a:lnTo>
                      <a:lnTo>
                        <a:pt x="9" y="379"/>
                      </a:lnTo>
                      <a:lnTo>
                        <a:pt x="10" y="379"/>
                      </a:lnTo>
                      <a:lnTo>
                        <a:pt x="10" y="378"/>
                      </a:lnTo>
                      <a:lnTo>
                        <a:pt x="10" y="377"/>
                      </a:lnTo>
                      <a:lnTo>
                        <a:pt x="9" y="377"/>
                      </a:lnTo>
                      <a:lnTo>
                        <a:pt x="9" y="377"/>
                      </a:lnTo>
                      <a:lnTo>
                        <a:pt x="9" y="376"/>
                      </a:lnTo>
                      <a:lnTo>
                        <a:pt x="9" y="376"/>
                      </a:lnTo>
                      <a:lnTo>
                        <a:pt x="9" y="375"/>
                      </a:lnTo>
                      <a:lnTo>
                        <a:pt x="9" y="374"/>
                      </a:lnTo>
                      <a:lnTo>
                        <a:pt x="10" y="374"/>
                      </a:lnTo>
                      <a:lnTo>
                        <a:pt x="10" y="374"/>
                      </a:lnTo>
                      <a:lnTo>
                        <a:pt x="11" y="374"/>
                      </a:lnTo>
                      <a:lnTo>
                        <a:pt x="10" y="374"/>
                      </a:lnTo>
                      <a:lnTo>
                        <a:pt x="10" y="373"/>
                      </a:lnTo>
                      <a:lnTo>
                        <a:pt x="10" y="372"/>
                      </a:lnTo>
                      <a:lnTo>
                        <a:pt x="10" y="372"/>
                      </a:lnTo>
                      <a:lnTo>
                        <a:pt x="9" y="371"/>
                      </a:lnTo>
                      <a:lnTo>
                        <a:pt x="9" y="370"/>
                      </a:lnTo>
                      <a:lnTo>
                        <a:pt x="9" y="370"/>
                      </a:lnTo>
                      <a:lnTo>
                        <a:pt x="9" y="370"/>
                      </a:lnTo>
                      <a:lnTo>
                        <a:pt x="9" y="369"/>
                      </a:lnTo>
                      <a:lnTo>
                        <a:pt x="9" y="368"/>
                      </a:lnTo>
                      <a:lnTo>
                        <a:pt x="9" y="368"/>
                      </a:lnTo>
                      <a:lnTo>
                        <a:pt x="9" y="368"/>
                      </a:lnTo>
                      <a:lnTo>
                        <a:pt x="9" y="368"/>
                      </a:lnTo>
                      <a:lnTo>
                        <a:pt x="9" y="367"/>
                      </a:lnTo>
                      <a:lnTo>
                        <a:pt x="9" y="367"/>
                      </a:lnTo>
                      <a:lnTo>
                        <a:pt x="9" y="366"/>
                      </a:lnTo>
                      <a:lnTo>
                        <a:pt x="9" y="366"/>
                      </a:lnTo>
                      <a:lnTo>
                        <a:pt x="9" y="366"/>
                      </a:lnTo>
                      <a:lnTo>
                        <a:pt x="9" y="366"/>
                      </a:lnTo>
                      <a:lnTo>
                        <a:pt x="9" y="365"/>
                      </a:lnTo>
                      <a:lnTo>
                        <a:pt x="9" y="364"/>
                      </a:lnTo>
                      <a:lnTo>
                        <a:pt x="9" y="364"/>
                      </a:lnTo>
                      <a:lnTo>
                        <a:pt x="9" y="363"/>
                      </a:lnTo>
                      <a:lnTo>
                        <a:pt x="9" y="362"/>
                      </a:lnTo>
                      <a:lnTo>
                        <a:pt x="10" y="362"/>
                      </a:lnTo>
                      <a:lnTo>
                        <a:pt x="10" y="362"/>
                      </a:lnTo>
                      <a:lnTo>
                        <a:pt x="11" y="361"/>
                      </a:lnTo>
                      <a:lnTo>
                        <a:pt x="11" y="360"/>
                      </a:lnTo>
                      <a:lnTo>
                        <a:pt x="11" y="360"/>
                      </a:lnTo>
                      <a:lnTo>
                        <a:pt x="11" y="359"/>
                      </a:lnTo>
                      <a:lnTo>
                        <a:pt x="10" y="359"/>
                      </a:lnTo>
                      <a:lnTo>
                        <a:pt x="10" y="358"/>
                      </a:lnTo>
                      <a:lnTo>
                        <a:pt x="11" y="358"/>
                      </a:lnTo>
                      <a:lnTo>
                        <a:pt x="11" y="357"/>
                      </a:lnTo>
                      <a:lnTo>
                        <a:pt x="11" y="356"/>
                      </a:lnTo>
                      <a:lnTo>
                        <a:pt x="11" y="356"/>
                      </a:lnTo>
                      <a:lnTo>
                        <a:pt x="11" y="356"/>
                      </a:lnTo>
                      <a:lnTo>
                        <a:pt x="11" y="355"/>
                      </a:lnTo>
                      <a:lnTo>
                        <a:pt x="12" y="355"/>
                      </a:lnTo>
                      <a:lnTo>
                        <a:pt x="12" y="354"/>
                      </a:lnTo>
                      <a:lnTo>
                        <a:pt x="12" y="353"/>
                      </a:lnTo>
                      <a:lnTo>
                        <a:pt x="12" y="353"/>
                      </a:lnTo>
                      <a:lnTo>
                        <a:pt x="13" y="352"/>
                      </a:lnTo>
                      <a:lnTo>
                        <a:pt x="13" y="351"/>
                      </a:lnTo>
                      <a:lnTo>
                        <a:pt x="13" y="351"/>
                      </a:lnTo>
                      <a:lnTo>
                        <a:pt x="13" y="350"/>
                      </a:lnTo>
                      <a:lnTo>
                        <a:pt x="13" y="349"/>
                      </a:lnTo>
                      <a:lnTo>
                        <a:pt x="13" y="349"/>
                      </a:lnTo>
                      <a:lnTo>
                        <a:pt x="13" y="349"/>
                      </a:lnTo>
                      <a:lnTo>
                        <a:pt x="13" y="349"/>
                      </a:lnTo>
                      <a:lnTo>
                        <a:pt x="13" y="348"/>
                      </a:lnTo>
                      <a:lnTo>
                        <a:pt x="12" y="348"/>
                      </a:lnTo>
                      <a:lnTo>
                        <a:pt x="12" y="347"/>
                      </a:lnTo>
                      <a:lnTo>
                        <a:pt x="12" y="347"/>
                      </a:lnTo>
                      <a:lnTo>
                        <a:pt x="13" y="346"/>
                      </a:lnTo>
                      <a:lnTo>
                        <a:pt x="13" y="345"/>
                      </a:lnTo>
                      <a:lnTo>
                        <a:pt x="13" y="345"/>
                      </a:lnTo>
                      <a:lnTo>
                        <a:pt x="13" y="344"/>
                      </a:lnTo>
                      <a:lnTo>
                        <a:pt x="13" y="343"/>
                      </a:lnTo>
                      <a:lnTo>
                        <a:pt x="13" y="343"/>
                      </a:lnTo>
                      <a:lnTo>
                        <a:pt x="13" y="342"/>
                      </a:lnTo>
                      <a:lnTo>
                        <a:pt x="13" y="341"/>
                      </a:lnTo>
                      <a:lnTo>
                        <a:pt x="13" y="341"/>
                      </a:lnTo>
                      <a:lnTo>
                        <a:pt x="13" y="341"/>
                      </a:lnTo>
                      <a:lnTo>
                        <a:pt x="13" y="340"/>
                      </a:lnTo>
                      <a:lnTo>
                        <a:pt x="12" y="340"/>
                      </a:lnTo>
                      <a:lnTo>
                        <a:pt x="12" y="339"/>
                      </a:lnTo>
                      <a:lnTo>
                        <a:pt x="11" y="339"/>
                      </a:lnTo>
                      <a:lnTo>
                        <a:pt x="11" y="339"/>
                      </a:lnTo>
                      <a:lnTo>
                        <a:pt x="10" y="339"/>
                      </a:lnTo>
                      <a:lnTo>
                        <a:pt x="10" y="339"/>
                      </a:lnTo>
                      <a:lnTo>
                        <a:pt x="9" y="339"/>
                      </a:lnTo>
                      <a:lnTo>
                        <a:pt x="9" y="338"/>
                      </a:lnTo>
                      <a:lnTo>
                        <a:pt x="9" y="337"/>
                      </a:lnTo>
                      <a:lnTo>
                        <a:pt x="9" y="337"/>
                      </a:lnTo>
                      <a:lnTo>
                        <a:pt x="8" y="337"/>
                      </a:lnTo>
                      <a:lnTo>
                        <a:pt x="7" y="337"/>
                      </a:lnTo>
                      <a:lnTo>
                        <a:pt x="7" y="337"/>
                      </a:lnTo>
                      <a:lnTo>
                        <a:pt x="6" y="337"/>
                      </a:lnTo>
                      <a:lnTo>
                        <a:pt x="5" y="337"/>
                      </a:lnTo>
                      <a:lnTo>
                        <a:pt x="4" y="337"/>
                      </a:lnTo>
                      <a:lnTo>
                        <a:pt x="4" y="337"/>
                      </a:lnTo>
                      <a:lnTo>
                        <a:pt x="4" y="336"/>
                      </a:lnTo>
                      <a:lnTo>
                        <a:pt x="4" y="336"/>
                      </a:lnTo>
                      <a:lnTo>
                        <a:pt x="4" y="335"/>
                      </a:lnTo>
                      <a:lnTo>
                        <a:pt x="3" y="335"/>
                      </a:lnTo>
                      <a:lnTo>
                        <a:pt x="3" y="334"/>
                      </a:lnTo>
                      <a:lnTo>
                        <a:pt x="2" y="334"/>
                      </a:lnTo>
                      <a:lnTo>
                        <a:pt x="2" y="334"/>
                      </a:lnTo>
                      <a:lnTo>
                        <a:pt x="2" y="333"/>
                      </a:lnTo>
                      <a:lnTo>
                        <a:pt x="3" y="333"/>
                      </a:lnTo>
                      <a:lnTo>
                        <a:pt x="2" y="333"/>
                      </a:lnTo>
                      <a:lnTo>
                        <a:pt x="2" y="332"/>
                      </a:lnTo>
                      <a:lnTo>
                        <a:pt x="2" y="332"/>
                      </a:lnTo>
                      <a:lnTo>
                        <a:pt x="1" y="332"/>
                      </a:lnTo>
                      <a:lnTo>
                        <a:pt x="0" y="332"/>
                      </a:lnTo>
                      <a:lnTo>
                        <a:pt x="0" y="332"/>
                      </a:lnTo>
                      <a:lnTo>
                        <a:pt x="0" y="332"/>
                      </a:lnTo>
                      <a:lnTo>
                        <a:pt x="0" y="332"/>
                      </a:lnTo>
                      <a:lnTo>
                        <a:pt x="0" y="331"/>
                      </a:lnTo>
                      <a:lnTo>
                        <a:pt x="1" y="331"/>
                      </a:lnTo>
                      <a:lnTo>
                        <a:pt x="1" y="330"/>
                      </a:lnTo>
                      <a:lnTo>
                        <a:pt x="1" y="330"/>
                      </a:lnTo>
                      <a:lnTo>
                        <a:pt x="42" y="285"/>
                      </a:lnTo>
                      <a:lnTo>
                        <a:pt x="107" y="215"/>
                      </a:lnTo>
                      <a:lnTo>
                        <a:pt x="110" y="214"/>
                      </a:lnTo>
                      <a:lnTo>
                        <a:pt x="228" y="168"/>
                      </a:lnTo>
                      <a:lnTo>
                        <a:pt x="229" y="168"/>
                      </a:lnTo>
                      <a:lnTo>
                        <a:pt x="230" y="168"/>
                      </a:lnTo>
                      <a:lnTo>
                        <a:pt x="328" y="130"/>
                      </a:lnTo>
                      <a:lnTo>
                        <a:pt x="475" y="74"/>
                      </a:lnTo>
                      <a:lnTo>
                        <a:pt x="633" y="13"/>
                      </a:lnTo>
                      <a:lnTo>
                        <a:pt x="634" y="13"/>
                      </a:lnTo>
                      <a:lnTo>
                        <a:pt x="635" y="14"/>
                      </a:lnTo>
                      <a:lnTo>
                        <a:pt x="636" y="14"/>
                      </a:lnTo>
                      <a:lnTo>
                        <a:pt x="636" y="15"/>
                      </a:lnTo>
                      <a:lnTo>
                        <a:pt x="636" y="16"/>
                      </a:lnTo>
                      <a:lnTo>
                        <a:pt x="636" y="16"/>
                      </a:lnTo>
                      <a:lnTo>
                        <a:pt x="637" y="16"/>
                      </a:lnTo>
                      <a:lnTo>
                        <a:pt x="637" y="17"/>
                      </a:lnTo>
                      <a:lnTo>
                        <a:pt x="638" y="18"/>
                      </a:lnTo>
                      <a:lnTo>
                        <a:pt x="638" y="18"/>
                      </a:lnTo>
                      <a:lnTo>
                        <a:pt x="639" y="18"/>
                      </a:lnTo>
                      <a:lnTo>
                        <a:pt x="640" y="18"/>
                      </a:lnTo>
                      <a:lnTo>
                        <a:pt x="640" y="18"/>
                      </a:lnTo>
                      <a:lnTo>
                        <a:pt x="640" y="18"/>
                      </a:lnTo>
                      <a:lnTo>
                        <a:pt x="641" y="18"/>
                      </a:lnTo>
                      <a:lnTo>
                        <a:pt x="642" y="18"/>
                      </a:lnTo>
                      <a:lnTo>
                        <a:pt x="642" y="18"/>
                      </a:lnTo>
                      <a:lnTo>
                        <a:pt x="643" y="18"/>
                      </a:lnTo>
                      <a:lnTo>
                        <a:pt x="643" y="18"/>
                      </a:lnTo>
                      <a:lnTo>
                        <a:pt x="644" y="18"/>
                      </a:lnTo>
                      <a:lnTo>
                        <a:pt x="644" y="18"/>
                      </a:lnTo>
                      <a:lnTo>
                        <a:pt x="644" y="19"/>
                      </a:lnTo>
                      <a:lnTo>
                        <a:pt x="645" y="19"/>
                      </a:lnTo>
                      <a:lnTo>
                        <a:pt x="646" y="19"/>
                      </a:lnTo>
                      <a:lnTo>
                        <a:pt x="646" y="20"/>
                      </a:lnTo>
                      <a:lnTo>
                        <a:pt x="646" y="20"/>
                      </a:lnTo>
                      <a:lnTo>
                        <a:pt x="647" y="20"/>
                      </a:lnTo>
                      <a:lnTo>
                        <a:pt x="649" y="20"/>
                      </a:lnTo>
                      <a:lnTo>
                        <a:pt x="649" y="20"/>
                      </a:lnTo>
                      <a:lnTo>
                        <a:pt x="649" y="19"/>
                      </a:lnTo>
                      <a:lnTo>
                        <a:pt x="650" y="19"/>
                      </a:lnTo>
                      <a:lnTo>
                        <a:pt x="651" y="19"/>
                      </a:lnTo>
                      <a:lnTo>
                        <a:pt x="651" y="18"/>
                      </a:lnTo>
                      <a:lnTo>
                        <a:pt x="652" y="18"/>
                      </a:lnTo>
                      <a:lnTo>
                        <a:pt x="653" y="18"/>
                      </a:lnTo>
                      <a:lnTo>
                        <a:pt x="653" y="18"/>
                      </a:lnTo>
                      <a:lnTo>
                        <a:pt x="654" y="18"/>
                      </a:lnTo>
                      <a:lnTo>
                        <a:pt x="655" y="18"/>
                      </a:lnTo>
                      <a:lnTo>
                        <a:pt x="656" y="18"/>
                      </a:lnTo>
                      <a:lnTo>
                        <a:pt x="657" y="18"/>
                      </a:lnTo>
                      <a:lnTo>
                        <a:pt x="657" y="18"/>
                      </a:lnTo>
                      <a:lnTo>
                        <a:pt x="657" y="17"/>
                      </a:lnTo>
                      <a:lnTo>
                        <a:pt x="658" y="17"/>
                      </a:lnTo>
                      <a:lnTo>
                        <a:pt x="659" y="17"/>
                      </a:lnTo>
                      <a:lnTo>
                        <a:pt x="659" y="16"/>
                      </a:lnTo>
                      <a:lnTo>
                        <a:pt x="660" y="16"/>
                      </a:lnTo>
                      <a:lnTo>
                        <a:pt x="661" y="16"/>
                      </a:lnTo>
                      <a:lnTo>
                        <a:pt x="661" y="16"/>
                      </a:lnTo>
                      <a:lnTo>
                        <a:pt x="661" y="16"/>
                      </a:lnTo>
                      <a:lnTo>
                        <a:pt x="662" y="16"/>
                      </a:lnTo>
                      <a:lnTo>
                        <a:pt x="663" y="16"/>
                      </a:lnTo>
                      <a:lnTo>
                        <a:pt x="663" y="16"/>
                      </a:lnTo>
                      <a:lnTo>
                        <a:pt x="664" y="16"/>
                      </a:lnTo>
                      <a:lnTo>
                        <a:pt x="665" y="16"/>
                      </a:lnTo>
                      <a:lnTo>
                        <a:pt x="665" y="16"/>
                      </a:lnTo>
                      <a:lnTo>
                        <a:pt x="665" y="15"/>
                      </a:lnTo>
                      <a:lnTo>
                        <a:pt x="665" y="14"/>
                      </a:lnTo>
                      <a:lnTo>
                        <a:pt x="665" y="14"/>
                      </a:lnTo>
                      <a:lnTo>
                        <a:pt x="665" y="14"/>
                      </a:lnTo>
                      <a:lnTo>
                        <a:pt x="665" y="13"/>
                      </a:lnTo>
                      <a:lnTo>
                        <a:pt x="665" y="12"/>
                      </a:lnTo>
                      <a:lnTo>
                        <a:pt x="666" y="12"/>
                      </a:lnTo>
                      <a:lnTo>
                        <a:pt x="667" y="12"/>
                      </a:lnTo>
                      <a:lnTo>
                        <a:pt x="667" y="11"/>
                      </a:lnTo>
                      <a:lnTo>
                        <a:pt x="668" y="11"/>
                      </a:lnTo>
                      <a:lnTo>
                        <a:pt x="668" y="11"/>
                      </a:lnTo>
                      <a:lnTo>
                        <a:pt x="669" y="11"/>
                      </a:lnTo>
                      <a:lnTo>
                        <a:pt x="670" y="11"/>
                      </a:lnTo>
                      <a:lnTo>
                        <a:pt x="670" y="11"/>
                      </a:lnTo>
                      <a:lnTo>
                        <a:pt x="670" y="10"/>
                      </a:lnTo>
                      <a:lnTo>
                        <a:pt x="671" y="10"/>
                      </a:lnTo>
                      <a:lnTo>
                        <a:pt x="672" y="11"/>
                      </a:lnTo>
                      <a:lnTo>
                        <a:pt x="672" y="11"/>
                      </a:lnTo>
                      <a:lnTo>
                        <a:pt x="673" y="11"/>
                      </a:lnTo>
                      <a:lnTo>
                        <a:pt x="674" y="11"/>
                      </a:lnTo>
                      <a:lnTo>
                        <a:pt x="674" y="11"/>
                      </a:lnTo>
                      <a:lnTo>
                        <a:pt x="675" y="11"/>
                      </a:lnTo>
                      <a:lnTo>
                        <a:pt x="676" y="11"/>
                      </a:lnTo>
                      <a:lnTo>
                        <a:pt x="676" y="11"/>
                      </a:lnTo>
                      <a:lnTo>
                        <a:pt x="677" y="11"/>
                      </a:lnTo>
                      <a:lnTo>
                        <a:pt x="678" y="11"/>
                      </a:lnTo>
                      <a:lnTo>
                        <a:pt x="678" y="11"/>
                      </a:lnTo>
                      <a:lnTo>
                        <a:pt x="679" y="11"/>
                      </a:lnTo>
                      <a:lnTo>
                        <a:pt x="680" y="11"/>
                      </a:lnTo>
                      <a:lnTo>
                        <a:pt x="680" y="11"/>
                      </a:lnTo>
                      <a:lnTo>
                        <a:pt x="680" y="10"/>
                      </a:lnTo>
                      <a:lnTo>
                        <a:pt x="681" y="10"/>
                      </a:lnTo>
                      <a:lnTo>
                        <a:pt x="682" y="10"/>
                      </a:lnTo>
                      <a:lnTo>
                        <a:pt x="682" y="10"/>
                      </a:lnTo>
                      <a:lnTo>
                        <a:pt x="682" y="9"/>
                      </a:lnTo>
                      <a:lnTo>
                        <a:pt x="682" y="8"/>
                      </a:lnTo>
                      <a:lnTo>
                        <a:pt x="682" y="8"/>
                      </a:lnTo>
                      <a:lnTo>
                        <a:pt x="682" y="8"/>
                      </a:lnTo>
                      <a:lnTo>
                        <a:pt x="682" y="7"/>
                      </a:lnTo>
                      <a:lnTo>
                        <a:pt x="683" y="7"/>
                      </a:lnTo>
                      <a:lnTo>
                        <a:pt x="684" y="7"/>
                      </a:lnTo>
                      <a:lnTo>
                        <a:pt x="684" y="6"/>
                      </a:lnTo>
                      <a:lnTo>
                        <a:pt x="685" y="6"/>
                      </a:lnTo>
                      <a:lnTo>
                        <a:pt x="686" y="6"/>
                      </a:lnTo>
                      <a:lnTo>
                        <a:pt x="687" y="6"/>
                      </a:lnTo>
                      <a:lnTo>
                        <a:pt x="687" y="6"/>
                      </a:lnTo>
                      <a:lnTo>
                        <a:pt x="688" y="6"/>
                      </a:lnTo>
                      <a:lnTo>
                        <a:pt x="689" y="6"/>
                      </a:lnTo>
                      <a:lnTo>
                        <a:pt x="689" y="6"/>
                      </a:lnTo>
                      <a:lnTo>
                        <a:pt x="690" y="6"/>
                      </a:lnTo>
                      <a:lnTo>
                        <a:pt x="690" y="7"/>
                      </a:lnTo>
                      <a:lnTo>
                        <a:pt x="691" y="7"/>
                      </a:lnTo>
                      <a:lnTo>
                        <a:pt x="691" y="8"/>
                      </a:lnTo>
                      <a:lnTo>
                        <a:pt x="691" y="8"/>
                      </a:lnTo>
                      <a:lnTo>
                        <a:pt x="692" y="8"/>
                      </a:lnTo>
                      <a:lnTo>
                        <a:pt x="692" y="7"/>
                      </a:lnTo>
                      <a:lnTo>
                        <a:pt x="693" y="6"/>
                      </a:lnTo>
                      <a:lnTo>
                        <a:pt x="692" y="6"/>
                      </a:lnTo>
                      <a:lnTo>
                        <a:pt x="693" y="6"/>
                      </a:lnTo>
                      <a:lnTo>
                        <a:pt x="693" y="5"/>
                      </a:lnTo>
                      <a:lnTo>
                        <a:pt x="694" y="5"/>
                      </a:lnTo>
                      <a:lnTo>
                        <a:pt x="695" y="5"/>
                      </a:lnTo>
                      <a:lnTo>
                        <a:pt x="695" y="5"/>
                      </a:lnTo>
                      <a:lnTo>
                        <a:pt x="695" y="6"/>
                      </a:lnTo>
                      <a:lnTo>
                        <a:pt x="696" y="6"/>
                      </a:lnTo>
                      <a:lnTo>
                        <a:pt x="696" y="6"/>
                      </a:lnTo>
                      <a:lnTo>
                        <a:pt x="697" y="6"/>
                      </a:lnTo>
                      <a:lnTo>
                        <a:pt x="697" y="7"/>
                      </a:lnTo>
                      <a:lnTo>
                        <a:pt x="697" y="7"/>
                      </a:lnTo>
                      <a:lnTo>
                        <a:pt x="698" y="7"/>
                      </a:lnTo>
                      <a:lnTo>
                        <a:pt x="699" y="7"/>
                      </a:lnTo>
                      <a:lnTo>
                        <a:pt x="699" y="7"/>
                      </a:lnTo>
                      <a:lnTo>
                        <a:pt x="699" y="6"/>
                      </a:lnTo>
                      <a:lnTo>
                        <a:pt x="699" y="6"/>
                      </a:lnTo>
                      <a:lnTo>
                        <a:pt x="700" y="6"/>
                      </a:lnTo>
                      <a:lnTo>
                        <a:pt x="701" y="5"/>
                      </a:lnTo>
                      <a:lnTo>
                        <a:pt x="701" y="5"/>
                      </a:lnTo>
                      <a:lnTo>
                        <a:pt x="701" y="4"/>
                      </a:lnTo>
                      <a:lnTo>
                        <a:pt x="702" y="4"/>
                      </a:lnTo>
                      <a:lnTo>
                        <a:pt x="703" y="4"/>
                      </a:lnTo>
                      <a:lnTo>
                        <a:pt x="703" y="4"/>
                      </a:lnTo>
                      <a:lnTo>
                        <a:pt x="704" y="5"/>
                      </a:lnTo>
                      <a:lnTo>
                        <a:pt x="705" y="5"/>
                      </a:lnTo>
                      <a:lnTo>
                        <a:pt x="706" y="5"/>
                      </a:lnTo>
                      <a:lnTo>
                        <a:pt x="706" y="6"/>
                      </a:lnTo>
                      <a:lnTo>
                        <a:pt x="707" y="6"/>
                      </a:lnTo>
                      <a:lnTo>
                        <a:pt x="707" y="6"/>
                      </a:lnTo>
                      <a:lnTo>
                        <a:pt x="708" y="7"/>
                      </a:lnTo>
                      <a:lnTo>
                        <a:pt x="707" y="7"/>
                      </a:lnTo>
                      <a:lnTo>
                        <a:pt x="707" y="8"/>
                      </a:lnTo>
                      <a:lnTo>
                        <a:pt x="707" y="8"/>
                      </a:lnTo>
                      <a:lnTo>
                        <a:pt x="706" y="9"/>
                      </a:lnTo>
                      <a:lnTo>
                        <a:pt x="706" y="10"/>
                      </a:lnTo>
                      <a:lnTo>
                        <a:pt x="707" y="10"/>
                      </a:lnTo>
                      <a:lnTo>
                        <a:pt x="708" y="10"/>
                      </a:lnTo>
                      <a:lnTo>
                        <a:pt x="708" y="10"/>
                      </a:lnTo>
                      <a:lnTo>
                        <a:pt x="708" y="11"/>
                      </a:lnTo>
                      <a:lnTo>
                        <a:pt x="708" y="12"/>
                      </a:lnTo>
                      <a:lnTo>
                        <a:pt x="709" y="12"/>
                      </a:lnTo>
                      <a:lnTo>
                        <a:pt x="709" y="12"/>
                      </a:lnTo>
                      <a:lnTo>
                        <a:pt x="709" y="13"/>
                      </a:lnTo>
                      <a:lnTo>
                        <a:pt x="710" y="13"/>
                      </a:lnTo>
                      <a:lnTo>
                        <a:pt x="710" y="13"/>
                      </a:lnTo>
                      <a:lnTo>
                        <a:pt x="710" y="14"/>
                      </a:lnTo>
                      <a:lnTo>
                        <a:pt x="711" y="14"/>
                      </a:lnTo>
                      <a:lnTo>
                        <a:pt x="712" y="14"/>
                      </a:lnTo>
                      <a:lnTo>
                        <a:pt x="712" y="14"/>
                      </a:lnTo>
                      <a:lnTo>
                        <a:pt x="713" y="14"/>
                      </a:lnTo>
                      <a:lnTo>
                        <a:pt x="714" y="14"/>
                      </a:lnTo>
                      <a:lnTo>
                        <a:pt x="714" y="13"/>
                      </a:lnTo>
                      <a:lnTo>
                        <a:pt x="714" y="13"/>
                      </a:lnTo>
                      <a:lnTo>
                        <a:pt x="715" y="12"/>
                      </a:lnTo>
                      <a:lnTo>
                        <a:pt x="716" y="12"/>
                      </a:lnTo>
                      <a:lnTo>
                        <a:pt x="716" y="12"/>
                      </a:lnTo>
                      <a:lnTo>
                        <a:pt x="716" y="13"/>
                      </a:lnTo>
                      <a:lnTo>
                        <a:pt x="717" y="13"/>
                      </a:lnTo>
                      <a:lnTo>
                        <a:pt x="718" y="14"/>
                      </a:lnTo>
                      <a:lnTo>
                        <a:pt x="718" y="14"/>
                      </a:lnTo>
                      <a:lnTo>
                        <a:pt x="718" y="15"/>
                      </a:lnTo>
                      <a:lnTo>
                        <a:pt x="719" y="15"/>
                      </a:lnTo>
                      <a:lnTo>
                        <a:pt x="720" y="15"/>
                      </a:lnTo>
                      <a:lnTo>
                        <a:pt x="720" y="15"/>
                      </a:lnTo>
                      <a:lnTo>
                        <a:pt x="720" y="14"/>
                      </a:lnTo>
                      <a:lnTo>
                        <a:pt x="721" y="14"/>
                      </a:lnTo>
                      <a:lnTo>
                        <a:pt x="721" y="14"/>
                      </a:lnTo>
                      <a:lnTo>
                        <a:pt x="722" y="14"/>
                      </a:lnTo>
                      <a:lnTo>
                        <a:pt x="722" y="13"/>
                      </a:lnTo>
                      <a:lnTo>
                        <a:pt x="722" y="13"/>
                      </a:lnTo>
                      <a:lnTo>
                        <a:pt x="722" y="12"/>
                      </a:lnTo>
                      <a:lnTo>
                        <a:pt x="722" y="12"/>
                      </a:lnTo>
                      <a:lnTo>
                        <a:pt x="722" y="12"/>
                      </a:lnTo>
                      <a:lnTo>
                        <a:pt x="721" y="12"/>
                      </a:lnTo>
                      <a:lnTo>
                        <a:pt x="721" y="11"/>
                      </a:lnTo>
                      <a:lnTo>
                        <a:pt x="720" y="11"/>
                      </a:lnTo>
                      <a:lnTo>
                        <a:pt x="720" y="10"/>
                      </a:lnTo>
                      <a:lnTo>
                        <a:pt x="720" y="10"/>
                      </a:lnTo>
                      <a:lnTo>
                        <a:pt x="721" y="10"/>
                      </a:lnTo>
                      <a:lnTo>
                        <a:pt x="721" y="9"/>
                      </a:lnTo>
                      <a:lnTo>
                        <a:pt x="722" y="9"/>
                      </a:lnTo>
                      <a:lnTo>
                        <a:pt x="722" y="8"/>
                      </a:lnTo>
                      <a:lnTo>
                        <a:pt x="722" y="8"/>
                      </a:lnTo>
                      <a:lnTo>
                        <a:pt x="722" y="8"/>
                      </a:lnTo>
                      <a:lnTo>
                        <a:pt x="723" y="8"/>
                      </a:lnTo>
                      <a:lnTo>
                        <a:pt x="723" y="8"/>
                      </a:lnTo>
                      <a:lnTo>
                        <a:pt x="722" y="8"/>
                      </a:lnTo>
                      <a:lnTo>
                        <a:pt x="722" y="9"/>
                      </a:lnTo>
                      <a:lnTo>
                        <a:pt x="722" y="10"/>
                      </a:lnTo>
                      <a:lnTo>
                        <a:pt x="723" y="10"/>
                      </a:lnTo>
                      <a:lnTo>
                        <a:pt x="723" y="10"/>
                      </a:lnTo>
                      <a:lnTo>
                        <a:pt x="724" y="10"/>
                      </a:lnTo>
                      <a:lnTo>
                        <a:pt x="725" y="9"/>
                      </a:lnTo>
                      <a:lnTo>
                        <a:pt x="725" y="9"/>
                      </a:lnTo>
                      <a:lnTo>
                        <a:pt x="726" y="9"/>
                      </a:lnTo>
                      <a:lnTo>
                        <a:pt x="727" y="9"/>
                      </a:lnTo>
                      <a:lnTo>
                        <a:pt x="727" y="10"/>
                      </a:lnTo>
                      <a:lnTo>
                        <a:pt x="727" y="10"/>
                      </a:lnTo>
                      <a:lnTo>
                        <a:pt x="728" y="10"/>
                      </a:lnTo>
                      <a:lnTo>
                        <a:pt x="729" y="10"/>
                      </a:lnTo>
                      <a:lnTo>
                        <a:pt x="729" y="10"/>
                      </a:lnTo>
                      <a:lnTo>
                        <a:pt x="729" y="11"/>
                      </a:lnTo>
                      <a:lnTo>
                        <a:pt x="730" y="11"/>
                      </a:lnTo>
                      <a:lnTo>
                        <a:pt x="730" y="12"/>
                      </a:lnTo>
                      <a:lnTo>
                        <a:pt x="730" y="12"/>
                      </a:lnTo>
                      <a:lnTo>
                        <a:pt x="730" y="13"/>
                      </a:lnTo>
                      <a:lnTo>
                        <a:pt x="731" y="13"/>
                      </a:lnTo>
                      <a:lnTo>
                        <a:pt x="731" y="14"/>
                      </a:lnTo>
                      <a:lnTo>
                        <a:pt x="731" y="14"/>
                      </a:lnTo>
                      <a:lnTo>
                        <a:pt x="732" y="14"/>
                      </a:lnTo>
                      <a:lnTo>
                        <a:pt x="732" y="14"/>
                      </a:lnTo>
                      <a:lnTo>
                        <a:pt x="733" y="14"/>
                      </a:lnTo>
                      <a:lnTo>
                        <a:pt x="733" y="13"/>
                      </a:lnTo>
                      <a:lnTo>
                        <a:pt x="732" y="13"/>
                      </a:lnTo>
                      <a:lnTo>
                        <a:pt x="732" y="12"/>
                      </a:lnTo>
                      <a:lnTo>
                        <a:pt x="732" y="12"/>
                      </a:lnTo>
                      <a:lnTo>
                        <a:pt x="732" y="11"/>
                      </a:lnTo>
                      <a:lnTo>
                        <a:pt x="732" y="10"/>
                      </a:lnTo>
                      <a:lnTo>
                        <a:pt x="732" y="10"/>
                      </a:lnTo>
                      <a:lnTo>
                        <a:pt x="733" y="10"/>
                      </a:lnTo>
                      <a:lnTo>
                        <a:pt x="733" y="9"/>
                      </a:lnTo>
                      <a:lnTo>
                        <a:pt x="733" y="9"/>
                      </a:lnTo>
                      <a:lnTo>
                        <a:pt x="734" y="10"/>
                      </a:lnTo>
                      <a:lnTo>
                        <a:pt x="734" y="10"/>
                      </a:lnTo>
                      <a:lnTo>
                        <a:pt x="733" y="10"/>
                      </a:lnTo>
                      <a:lnTo>
                        <a:pt x="733" y="11"/>
                      </a:lnTo>
                      <a:lnTo>
                        <a:pt x="733" y="12"/>
                      </a:lnTo>
                      <a:lnTo>
                        <a:pt x="733" y="12"/>
                      </a:lnTo>
                      <a:lnTo>
                        <a:pt x="733" y="13"/>
                      </a:lnTo>
                      <a:lnTo>
                        <a:pt x="734" y="14"/>
                      </a:lnTo>
                      <a:lnTo>
                        <a:pt x="735" y="14"/>
                      </a:lnTo>
                      <a:lnTo>
                        <a:pt x="735" y="13"/>
                      </a:lnTo>
                      <a:lnTo>
                        <a:pt x="735" y="12"/>
                      </a:lnTo>
                      <a:lnTo>
                        <a:pt x="736" y="12"/>
                      </a:lnTo>
                      <a:lnTo>
                        <a:pt x="737" y="12"/>
                      </a:lnTo>
                      <a:lnTo>
                        <a:pt x="737" y="11"/>
                      </a:lnTo>
                      <a:lnTo>
                        <a:pt x="738" y="11"/>
                      </a:lnTo>
                      <a:lnTo>
                        <a:pt x="738" y="12"/>
                      </a:lnTo>
                      <a:lnTo>
                        <a:pt x="739" y="12"/>
                      </a:lnTo>
                      <a:lnTo>
                        <a:pt x="739" y="12"/>
                      </a:lnTo>
                      <a:lnTo>
                        <a:pt x="739" y="12"/>
                      </a:lnTo>
                      <a:lnTo>
                        <a:pt x="739" y="13"/>
                      </a:lnTo>
                      <a:lnTo>
                        <a:pt x="740" y="13"/>
                      </a:lnTo>
                      <a:lnTo>
                        <a:pt x="740" y="14"/>
                      </a:lnTo>
                      <a:lnTo>
                        <a:pt x="741" y="14"/>
                      </a:lnTo>
                      <a:lnTo>
                        <a:pt x="741" y="14"/>
                      </a:lnTo>
                      <a:lnTo>
                        <a:pt x="741" y="14"/>
                      </a:lnTo>
                      <a:lnTo>
                        <a:pt x="742" y="14"/>
                      </a:lnTo>
                      <a:lnTo>
                        <a:pt x="743" y="14"/>
                      </a:lnTo>
                      <a:lnTo>
                        <a:pt x="744" y="12"/>
                      </a:lnTo>
                      <a:lnTo>
                        <a:pt x="743" y="12"/>
                      </a:lnTo>
                      <a:lnTo>
                        <a:pt x="743" y="12"/>
                      </a:lnTo>
                      <a:lnTo>
                        <a:pt x="742" y="11"/>
                      </a:lnTo>
                      <a:lnTo>
                        <a:pt x="742" y="10"/>
                      </a:lnTo>
                      <a:lnTo>
                        <a:pt x="743" y="10"/>
                      </a:lnTo>
                      <a:lnTo>
                        <a:pt x="743" y="10"/>
                      </a:lnTo>
                      <a:lnTo>
                        <a:pt x="744" y="10"/>
                      </a:lnTo>
                      <a:lnTo>
                        <a:pt x="744" y="9"/>
                      </a:lnTo>
                      <a:lnTo>
                        <a:pt x="744" y="9"/>
                      </a:lnTo>
                      <a:lnTo>
                        <a:pt x="744" y="8"/>
                      </a:lnTo>
                      <a:lnTo>
                        <a:pt x="745" y="8"/>
                      </a:lnTo>
                      <a:lnTo>
                        <a:pt x="745" y="8"/>
                      </a:lnTo>
                      <a:lnTo>
                        <a:pt x="745" y="7"/>
                      </a:lnTo>
                      <a:lnTo>
                        <a:pt x="746" y="7"/>
                      </a:lnTo>
                      <a:lnTo>
                        <a:pt x="746" y="6"/>
                      </a:lnTo>
                      <a:lnTo>
                        <a:pt x="746" y="6"/>
                      </a:lnTo>
                      <a:lnTo>
                        <a:pt x="746" y="5"/>
                      </a:lnTo>
                      <a:lnTo>
                        <a:pt x="746" y="4"/>
                      </a:lnTo>
                      <a:lnTo>
                        <a:pt x="747" y="4"/>
                      </a:lnTo>
                      <a:lnTo>
                        <a:pt x="747" y="5"/>
                      </a:lnTo>
                      <a:lnTo>
                        <a:pt x="747" y="6"/>
                      </a:lnTo>
                      <a:lnTo>
                        <a:pt x="747" y="6"/>
                      </a:lnTo>
                      <a:lnTo>
                        <a:pt x="748" y="6"/>
                      </a:lnTo>
                      <a:lnTo>
                        <a:pt x="748" y="6"/>
                      </a:lnTo>
                      <a:lnTo>
                        <a:pt x="748" y="6"/>
                      </a:lnTo>
                      <a:lnTo>
                        <a:pt x="749" y="6"/>
                      </a:lnTo>
                      <a:lnTo>
                        <a:pt x="750" y="6"/>
                      </a:lnTo>
                      <a:lnTo>
                        <a:pt x="751" y="6"/>
                      </a:lnTo>
                      <a:lnTo>
                        <a:pt x="752" y="6"/>
                      </a:lnTo>
                      <a:lnTo>
                        <a:pt x="752" y="6"/>
                      </a:lnTo>
                      <a:lnTo>
                        <a:pt x="753" y="6"/>
                      </a:lnTo>
                      <a:lnTo>
                        <a:pt x="754" y="6"/>
                      </a:lnTo>
                      <a:lnTo>
                        <a:pt x="754" y="7"/>
                      </a:lnTo>
                      <a:lnTo>
                        <a:pt x="754" y="8"/>
                      </a:lnTo>
                      <a:lnTo>
                        <a:pt x="754" y="8"/>
                      </a:lnTo>
                      <a:lnTo>
                        <a:pt x="754" y="8"/>
                      </a:lnTo>
                      <a:lnTo>
                        <a:pt x="754" y="9"/>
                      </a:lnTo>
                      <a:lnTo>
                        <a:pt x="755" y="9"/>
                      </a:lnTo>
                      <a:lnTo>
                        <a:pt x="755" y="10"/>
                      </a:lnTo>
                      <a:lnTo>
                        <a:pt x="756" y="10"/>
                      </a:lnTo>
                      <a:lnTo>
                        <a:pt x="756" y="9"/>
                      </a:lnTo>
                      <a:lnTo>
                        <a:pt x="757" y="9"/>
                      </a:lnTo>
                      <a:lnTo>
                        <a:pt x="758" y="9"/>
                      </a:lnTo>
                      <a:lnTo>
                        <a:pt x="758" y="8"/>
                      </a:lnTo>
                      <a:lnTo>
                        <a:pt x="758" y="8"/>
                      </a:lnTo>
                      <a:lnTo>
                        <a:pt x="759" y="8"/>
                      </a:lnTo>
                      <a:lnTo>
                        <a:pt x="759" y="8"/>
                      </a:lnTo>
                      <a:lnTo>
                        <a:pt x="760" y="8"/>
                      </a:lnTo>
                      <a:lnTo>
                        <a:pt x="760" y="7"/>
                      </a:lnTo>
                      <a:lnTo>
                        <a:pt x="760" y="6"/>
                      </a:lnTo>
                      <a:lnTo>
                        <a:pt x="759" y="6"/>
                      </a:lnTo>
                      <a:lnTo>
                        <a:pt x="758" y="5"/>
                      </a:lnTo>
                      <a:lnTo>
                        <a:pt x="757" y="4"/>
                      </a:lnTo>
                      <a:lnTo>
                        <a:pt x="756" y="4"/>
                      </a:lnTo>
                      <a:lnTo>
                        <a:pt x="756" y="4"/>
                      </a:lnTo>
                      <a:lnTo>
                        <a:pt x="756" y="4"/>
                      </a:lnTo>
                      <a:lnTo>
                        <a:pt x="756" y="3"/>
                      </a:lnTo>
                      <a:lnTo>
                        <a:pt x="756" y="2"/>
                      </a:lnTo>
                      <a:lnTo>
                        <a:pt x="756" y="2"/>
                      </a:lnTo>
                      <a:lnTo>
                        <a:pt x="756" y="2"/>
                      </a:lnTo>
                      <a:lnTo>
                        <a:pt x="756" y="1"/>
                      </a:lnTo>
                      <a:lnTo>
                        <a:pt x="757" y="1"/>
                      </a:lnTo>
                      <a:lnTo>
                        <a:pt x="757" y="0"/>
                      </a:lnTo>
                      <a:lnTo>
                        <a:pt x="758" y="0"/>
                      </a:lnTo>
                      <a:lnTo>
                        <a:pt x="758" y="0"/>
                      </a:lnTo>
                      <a:lnTo>
                        <a:pt x="759" y="0"/>
                      </a:lnTo>
                      <a:lnTo>
                        <a:pt x="760" y="0"/>
                      </a:lnTo>
                      <a:lnTo>
                        <a:pt x="760" y="0"/>
                      </a:lnTo>
                      <a:lnTo>
                        <a:pt x="761" y="0"/>
                      </a:lnTo>
                      <a:lnTo>
                        <a:pt x="762" y="0"/>
                      </a:lnTo>
                      <a:lnTo>
                        <a:pt x="763" y="1"/>
                      </a:lnTo>
                      <a:lnTo>
                        <a:pt x="763" y="1"/>
                      </a:lnTo>
                      <a:lnTo>
                        <a:pt x="764" y="1"/>
                      </a:lnTo>
                      <a:lnTo>
                        <a:pt x="765" y="1"/>
                      </a:lnTo>
                      <a:lnTo>
                        <a:pt x="765" y="2"/>
                      </a:lnTo>
                      <a:lnTo>
                        <a:pt x="766" y="2"/>
                      </a:lnTo>
                      <a:lnTo>
                        <a:pt x="767" y="2"/>
                      </a:lnTo>
                      <a:lnTo>
                        <a:pt x="767" y="2"/>
                      </a:lnTo>
                      <a:lnTo>
                        <a:pt x="768" y="2"/>
                      </a:lnTo>
                      <a:lnTo>
                        <a:pt x="769" y="3"/>
                      </a:lnTo>
                      <a:lnTo>
                        <a:pt x="769" y="3"/>
                      </a:lnTo>
                      <a:lnTo>
                        <a:pt x="770" y="3"/>
                      </a:lnTo>
                      <a:lnTo>
                        <a:pt x="771" y="3"/>
                      </a:lnTo>
                      <a:lnTo>
                        <a:pt x="771" y="4"/>
                      </a:lnTo>
                      <a:lnTo>
                        <a:pt x="771" y="4"/>
                      </a:lnTo>
                      <a:lnTo>
                        <a:pt x="772" y="4"/>
                      </a:lnTo>
                      <a:lnTo>
                        <a:pt x="773" y="4"/>
                      </a:lnTo>
                      <a:lnTo>
                        <a:pt x="773" y="5"/>
                      </a:lnTo>
                      <a:lnTo>
                        <a:pt x="773" y="6"/>
                      </a:lnTo>
                      <a:lnTo>
                        <a:pt x="773" y="6"/>
                      </a:lnTo>
                      <a:lnTo>
                        <a:pt x="773" y="7"/>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7" name="Freeform 81">
                  <a:extLst>
                    <a:ext uri="{FF2B5EF4-FFF2-40B4-BE49-F238E27FC236}">
                      <a16:creationId xmlns:a16="http://schemas.microsoft.com/office/drawing/2014/main" xmlns="" id="{38E07AFF-E7C9-BD58-7521-9CC98429D553}"/>
                    </a:ext>
                  </a:extLst>
                </p:cNvPr>
                <p:cNvSpPr>
                  <a:spLocks/>
                </p:cNvSpPr>
                <p:nvPr/>
              </p:nvSpPr>
              <p:spPr bwMode="auto">
                <a:xfrm>
                  <a:off x="3302" y="3688"/>
                  <a:ext cx="548" cy="528"/>
                </a:xfrm>
                <a:custGeom>
                  <a:avLst/>
                  <a:gdLst>
                    <a:gd name="T0" fmla="*/ 77 w 548"/>
                    <a:gd name="T1" fmla="*/ 6 h 528"/>
                    <a:gd name="T2" fmla="*/ 85 w 548"/>
                    <a:gd name="T3" fmla="*/ 8 h 528"/>
                    <a:gd name="T4" fmla="*/ 95 w 548"/>
                    <a:gd name="T5" fmla="*/ 9 h 528"/>
                    <a:gd name="T6" fmla="*/ 99 w 548"/>
                    <a:gd name="T7" fmla="*/ 17 h 528"/>
                    <a:gd name="T8" fmla="*/ 109 w 548"/>
                    <a:gd name="T9" fmla="*/ 20 h 528"/>
                    <a:gd name="T10" fmla="*/ 114 w 548"/>
                    <a:gd name="T11" fmla="*/ 19 h 528"/>
                    <a:gd name="T12" fmla="*/ 113 w 548"/>
                    <a:gd name="T13" fmla="*/ 29 h 528"/>
                    <a:gd name="T14" fmla="*/ 211 w 548"/>
                    <a:gd name="T15" fmla="*/ 30 h 528"/>
                    <a:gd name="T16" fmla="*/ 458 w 548"/>
                    <a:gd name="T17" fmla="*/ 339 h 528"/>
                    <a:gd name="T18" fmla="*/ 452 w 548"/>
                    <a:gd name="T19" fmla="*/ 357 h 528"/>
                    <a:gd name="T20" fmla="*/ 440 w 548"/>
                    <a:gd name="T21" fmla="*/ 344 h 528"/>
                    <a:gd name="T22" fmla="*/ 425 w 548"/>
                    <a:gd name="T23" fmla="*/ 335 h 528"/>
                    <a:gd name="T24" fmla="*/ 414 w 548"/>
                    <a:gd name="T25" fmla="*/ 333 h 528"/>
                    <a:gd name="T26" fmla="*/ 414 w 548"/>
                    <a:gd name="T27" fmla="*/ 312 h 528"/>
                    <a:gd name="T28" fmla="*/ 413 w 548"/>
                    <a:gd name="T29" fmla="*/ 297 h 528"/>
                    <a:gd name="T30" fmla="*/ 322 w 548"/>
                    <a:gd name="T31" fmla="*/ 295 h 528"/>
                    <a:gd name="T32" fmla="*/ 199 w 548"/>
                    <a:gd name="T33" fmla="*/ 295 h 528"/>
                    <a:gd name="T34" fmla="*/ 197 w 548"/>
                    <a:gd name="T35" fmla="*/ 303 h 528"/>
                    <a:gd name="T36" fmla="*/ 195 w 548"/>
                    <a:gd name="T37" fmla="*/ 307 h 528"/>
                    <a:gd name="T38" fmla="*/ 195 w 548"/>
                    <a:gd name="T39" fmla="*/ 301 h 528"/>
                    <a:gd name="T40" fmla="*/ 192 w 548"/>
                    <a:gd name="T41" fmla="*/ 297 h 528"/>
                    <a:gd name="T42" fmla="*/ 164 w 548"/>
                    <a:gd name="T43" fmla="*/ 294 h 528"/>
                    <a:gd name="T44" fmla="*/ 131 w 548"/>
                    <a:gd name="T45" fmla="*/ 297 h 528"/>
                    <a:gd name="T46" fmla="*/ 131 w 548"/>
                    <a:gd name="T47" fmla="*/ 304 h 528"/>
                    <a:gd name="T48" fmla="*/ 129 w 548"/>
                    <a:gd name="T49" fmla="*/ 309 h 528"/>
                    <a:gd name="T50" fmla="*/ 127 w 548"/>
                    <a:gd name="T51" fmla="*/ 315 h 528"/>
                    <a:gd name="T52" fmla="*/ 123 w 548"/>
                    <a:gd name="T53" fmla="*/ 318 h 528"/>
                    <a:gd name="T54" fmla="*/ 121 w 548"/>
                    <a:gd name="T55" fmla="*/ 319 h 528"/>
                    <a:gd name="T56" fmla="*/ 117 w 548"/>
                    <a:gd name="T57" fmla="*/ 322 h 528"/>
                    <a:gd name="T58" fmla="*/ 119 w 548"/>
                    <a:gd name="T59" fmla="*/ 328 h 528"/>
                    <a:gd name="T60" fmla="*/ 116 w 548"/>
                    <a:gd name="T61" fmla="*/ 335 h 528"/>
                    <a:gd name="T62" fmla="*/ 112 w 548"/>
                    <a:gd name="T63" fmla="*/ 342 h 528"/>
                    <a:gd name="T64" fmla="*/ 110 w 548"/>
                    <a:gd name="T65" fmla="*/ 349 h 528"/>
                    <a:gd name="T66" fmla="*/ 110 w 548"/>
                    <a:gd name="T67" fmla="*/ 356 h 528"/>
                    <a:gd name="T68" fmla="*/ 108 w 548"/>
                    <a:gd name="T69" fmla="*/ 360 h 528"/>
                    <a:gd name="T70" fmla="*/ 101 w 548"/>
                    <a:gd name="T71" fmla="*/ 360 h 528"/>
                    <a:gd name="T72" fmla="*/ 98 w 548"/>
                    <a:gd name="T73" fmla="*/ 369 h 528"/>
                    <a:gd name="T74" fmla="*/ 97 w 548"/>
                    <a:gd name="T75" fmla="*/ 375 h 528"/>
                    <a:gd name="T76" fmla="*/ 94 w 548"/>
                    <a:gd name="T77" fmla="*/ 381 h 528"/>
                    <a:gd name="T78" fmla="*/ 89 w 548"/>
                    <a:gd name="T79" fmla="*/ 391 h 528"/>
                    <a:gd name="T80" fmla="*/ 83 w 548"/>
                    <a:gd name="T81" fmla="*/ 404 h 528"/>
                    <a:gd name="T82" fmla="*/ 75 w 548"/>
                    <a:gd name="T83" fmla="*/ 418 h 528"/>
                    <a:gd name="T84" fmla="*/ 58 w 548"/>
                    <a:gd name="T85" fmla="*/ 446 h 528"/>
                    <a:gd name="T86" fmla="*/ 53 w 548"/>
                    <a:gd name="T87" fmla="*/ 478 h 528"/>
                    <a:gd name="T88" fmla="*/ 51 w 548"/>
                    <a:gd name="T89" fmla="*/ 492 h 528"/>
                    <a:gd name="T90" fmla="*/ 46 w 548"/>
                    <a:gd name="T91" fmla="*/ 516 h 528"/>
                    <a:gd name="T92" fmla="*/ 41 w 548"/>
                    <a:gd name="T93" fmla="*/ 527 h 528"/>
                    <a:gd name="T94" fmla="*/ 38 w 548"/>
                    <a:gd name="T95" fmla="*/ 523 h 528"/>
                    <a:gd name="T96" fmla="*/ 35 w 548"/>
                    <a:gd name="T97" fmla="*/ 501 h 528"/>
                    <a:gd name="T98" fmla="*/ 28 w 548"/>
                    <a:gd name="T99" fmla="*/ 487 h 528"/>
                    <a:gd name="T100" fmla="*/ 21 w 548"/>
                    <a:gd name="T101" fmla="*/ 485 h 528"/>
                    <a:gd name="T102" fmla="*/ 20 w 548"/>
                    <a:gd name="T103" fmla="*/ 481 h 528"/>
                    <a:gd name="T104" fmla="*/ 15 w 548"/>
                    <a:gd name="T105" fmla="*/ 472 h 528"/>
                    <a:gd name="T106" fmla="*/ 9 w 548"/>
                    <a:gd name="T107" fmla="*/ 464 h 528"/>
                    <a:gd name="T108" fmla="*/ 12 w 548"/>
                    <a:gd name="T109" fmla="*/ 461 h 528"/>
                    <a:gd name="T110" fmla="*/ 13 w 548"/>
                    <a:gd name="T111" fmla="*/ 453 h 528"/>
                    <a:gd name="T112" fmla="*/ 17 w 548"/>
                    <a:gd name="T113" fmla="*/ 444 h 528"/>
                    <a:gd name="T114" fmla="*/ 13 w 548"/>
                    <a:gd name="T115" fmla="*/ 436 h 528"/>
                    <a:gd name="T116" fmla="*/ 9 w 548"/>
                    <a:gd name="T117" fmla="*/ 430 h 528"/>
                    <a:gd name="T118" fmla="*/ 2 w 548"/>
                    <a:gd name="T119" fmla="*/ 42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8" h="528">
                      <a:moveTo>
                        <a:pt x="73" y="0"/>
                      </a:moveTo>
                      <a:lnTo>
                        <a:pt x="74" y="0"/>
                      </a:lnTo>
                      <a:lnTo>
                        <a:pt x="74" y="0"/>
                      </a:lnTo>
                      <a:lnTo>
                        <a:pt x="75" y="0"/>
                      </a:lnTo>
                      <a:lnTo>
                        <a:pt x="76" y="0"/>
                      </a:lnTo>
                      <a:lnTo>
                        <a:pt x="76" y="1"/>
                      </a:lnTo>
                      <a:lnTo>
                        <a:pt x="76" y="2"/>
                      </a:lnTo>
                      <a:lnTo>
                        <a:pt x="76" y="2"/>
                      </a:lnTo>
                      <a:lnTo>
                        <a:pt x="76" y="3"/>
                      </a:lnTo>
                      <a:lnTo>
                        <a:pt x="76" y="4"/>
                      </a:lnTo>
                      <a:lnTo>
                        <a:pt x="75" y="4"/>
                      </a:lnTo>
                      <a:lnTo>
                        <a:pt x="75" y="4"/>
                      </a:lnTo>
                      <a:lnTo>
                        <a:pt x="76" y="4"/>
                      </a:lnTo>
                      <a:lnTo>
                        <a:pt x="76" y="5"/>
                      </a:lnTo>
                      <a:lnTo>
                        <a:pt x="76" y="5"/>
                      </a:lnTo>
                      <a:lnTo>
                        <a:pt x="77" y="6"/>
                      </a:lnTo>
                      <a:lnTo>
                        <a:pt x="77" y="6"/>
                      </a:lnTo>
                      <a:lnTo>
                        <a:pt x="78" y="7"/>
                      </a:lnTo>
                      <a:lnTo>
                        <a:pt x="78" y="8"/>
                      </a:lnTo>
                      <a:lnTo>
                        <a:pt x="78" y="8"/>
                      </a:lnTo>
                      <a:lnTo>
                        <a:pt x="78" y="9"/>
                      </a:lnTo>
                      <a:lnTo>
                        <a:pt x="79" y="10"/>
                      </a:lnTo>
                      <a:lnTo>
                        <a:pt x="80" y="9"/>
                      </a:lnTo>
                      <a:lnTo>
                        <a:pt x="80" y="8"/>
                      </a:lnTo>
                      <a:lnTo>
                        <a:pt x="81" y="8"/>
                      </a:lnTo>
                      <a:lnTo>
                        <a:pt x="82" y="9"/>
                      </a:lnTo>
                      <a:lnTo>
                        <a:pt x="83" y="9"/>
                      </a:lnTo>
                      <a:lnTo>
                        <a:pt x="83" y="10"/>
                      </a:lnTo>
                      <a:lnTo>
                        <a:pt x="83" y="10"/>
                      </a:lnTo>
                      <a:lnTo>
                        <a:pt x="84" y="10"/>
                      </a:lnTo>
                      <a:lnTo>
                        <a:pt x="85" y="10"/>
                      </a:lnTo>
                      <a:lnTo>
                        <a:pt x="85" y="10"/>
                      </a:lnTo>
                      <a:lnTo>
                        <a:pt x="85" y="9"/>
                      </a:lnTo>
                      <a:lnTo>
                        <a:pt x="85" y="8"/>
                      </a:lnTo>
                      <a:lnTo>
                        <a:pt x="85" y="8"/>
                      </a:lnTo>
                      <a:lnTo>
                        <a:pt x="85" y="8"/>
                      </a:lnTo>
                      <a:lnTo>
                        <a:pt x="85" y="7"/>
                      </a:lnTo>
                      <a:lnTo>
                        <a:pt x="86" y="7"/>
                      </a:lnTo>
                      <a:lnTo>
                        <a:pt x="87" y="6"/>
                      </a:lnTo>
                      <a:lnTo>
                        <a:pt x="87" y="6"/>
                      </a:lnTo>
                      <a:lnTo>
                        <a:pt x="88" y="7"/>
                      </a:lnTo>
                      <a:lnTo>
                        <a:pt x="89" y="8"/>
                      </a:lnTo>
                      <a:lnTo>
                        <a:pt x="89" y="8"/>
                      </a:lnTo>
                      <a:lnTo>
                        <a:pt x="89" y="8"/>
                      </a:lnTo>
                      <a:lnTo>
                        <a:pt x="90" y="8"/>
                      </a:lnTo>
                      <a:lnTo>
                        <a:pt x="91" y="8"/>
                      </a:lnTo>
                      <a:lnTo>
                        <a:pt x="91" y="8"/>
                      </a:lnTo>
                      <a:lnTo>
                        <a:pt x="92" y="8"/>
                      </a:lnTo>
                      <a:lnTo>
                        <a:pt x="93" y="8"/>
                      </a:lnTo>
                      <a:lnTo>
                        <a:pt x="94" y="8"/>
                      </a:lnTo>
                      <a:lnTo>
                        <a:pt x="95" y="9"/>
                      </a:lnTo>
                      <a:lnTo>
                        <a:pt x="95" y="9"/>
                      </a:lnTo>
                      <a:lnTo>
                        <a:pt x="96" y="10"/>
                      </a:lnTo>
                      <a:lnTo>
                        <a:pt x="96" y="10"/>
                      </a:lnTo>
                      <a:lnTo>
                        <a:pt x="97" y="10"/>
                      </a:lnTo>
                      <a:lnTo>
                        <a:pt x="97" y="11"/>
                      </a:lnTo>
                      <a:lnTo>
                        <a:pt x="97" y="12"/>
                      </a:lnTo>
                      <a:lnTo>
                        <a:pt x="97" y="12"/>
                      </a:lnTo>
                      <a:lnTo>
                        <a:pt x="98" y="12"/>
                      </a:lnTo>
                      <a:lnTo>
                        <a:pt x="99" y="12"/>
                      </a:lnTo>
                      <a:lnTo>
                        <a:pt x="99" y="12"/>
                      </a:lnTo>
                      <a:lnTo>
                        <a:pt x="99" y="13"/>
                      </a:lnTo>
                      <a:lnTo>
                        <a:pt x="99" y="14"/>
                      </a:lnTo>
                      <a:lnTo>
                        <a:pt x="99" y="14"/>
                      </a:lnTo>
                      <a:lnTo>
                        <a:pt x="99" y="14"/>
                      </a:lnTo>
                      <a:lnTo>
                        <a:pt x="99" y="15"/>
                      </a:lnTo>
                      <a:lnTo>
                        <a:pt x="99" y="16"/>
                      </a:lnTo>
                      <a:lnTo>
                        <a:pt x="99" y="17"/>
                      </a:lnTo>
                      <a:lnTo>
                        <a:pt x="99" y="17"/>
                      </a:lnTo>
                      <a:lnTo>
                        <a:pt x="100" y="17"/>
                      </a:lnTo>
                      <a:lnTo>
                        <a:pt x="100" y="18"/>
                      </a:lnTo>
                      <a:lnTo>
                        <a:pt x="101" y="18"/>
                      </a:lnTo>
                      <a:lnTo>
                        <a:pt x="102" y="18"/>
                      </a:lnTo>
                      <a:lnTo>
                        <a:pt x="102" y="17"/>
                      </a:lnTo>
                      <a:lnTo>
                        <a:pt x="102" y="18"/>
                      </a:lnTo>
                      <a:lnTo>
                        <a:pt x="102" y="18"/>
                      </a:lnTo>
                      <a:lnTo>
                        <a:pt x="103" y="18"/>
                      </a:lnTo>
                      <a:lnTo>
                        <a:pt x="104" y="18"/>
                      </a:lnTo>
                      <a:lnTo>
                        <a:pt x="104" y="19"/>
                      </a:lnTo>
                      <a:lnTo>
                        <a:pt x="104" y="19"/>
                      </a:lnTo>
                      <a:lnTo>
                        <a:pt x="105" y="19"/>
                      </a:lnTo>
                      <a:lnTo>
                        <a:pt x="106" y="19"/>
                      </a:lnTo>
                      <a:lnTo>
                        <a:pt x="106" y="19"/>
                      </a:lnTo>
                      <a:lnTo>
                        <a:pt x="108" y="19"/>
                      </a:lnTo>
                      <a:lnTo>
                        <a:pt x="109" y="20"/>
                      </a:lnTo>
                      <a:lnTo>
                        <a:pt x="110" y="20"/>
                      </a:lnTo>
                      <a:lnTo>
                        <a:pt x="110" y="19"/>
                      </a:lnTo>
                      <a:lnTo>
                        <a:pt x="110" y="19"/>
                      </a:lnTo>
                      <a:lnTo>
                        <a:pt x="110" y="18"/>
                      </a:lnTo>
                      <a:lnTo>
                        <a:pt x="111" y="18"/>
                      </a:lnTo>
                      <a:lnTo>
                        <a:pt x="112" y="18"/>
                      </a:lnTo>
                      <a:lnTo>
                        <a:pt x="112" y="18"/>
                      </a:lnTo>
                      <a:lnTo>
                        <a:pt x="112" y="17"/>
                      </a:lnTo>
                      <a:lnTo>
                        <a:pt x="112" y="17"/>
                      </a:lnTo>
                      <a:lnTo>
                        <a:pt x="112" y="16"/>
                      </a:lnTo>
                      <a:lnTo>
                        <a:pt x="112" y="15"/>
                      </a:lnTo>
                      <a:lnTo>
                        <a:pt x="113" y="15"/>
                      </a:lnTo>
                      <a:lnTo>
                        <a:pt x="114" y="16"/>
                      </a:lnTo>
                      <a:lnTo>
                        <a:pt x="114" y="17"/>
                      </a:lnTo>
                      <a:lnTo>
                        <a:pt x="114" y="17"/>
                      </a:lnTo>
                      <a:lnTo>
                        <a:pt x="113" y="18"/>
                      </a:lnTo>
                      <a:lnTo>
                        <a:pt x="114" y="19"/>
                      </a:lnTo>
                      <a:lnTo>
                        <a:pt x="113" y="19"/>
                      </a:lnTo>
                      <a:lnTo>
                        <a:pt x="113" y="19"/>
                      </a:lnTo>
                      <a:lnTo>
                        <a:pt x="113" y="20"/>
                      </a:lnTo>
                      <a:lnTo>
                        <a:pt x="112" y="20"/>
                      </a:lnTo>
                      <a:lnTo>
                        <a:pt x="112" y="21"/>
                      </a:lnTo>
                      <a:lnTo>
                        <a:pt x="112" y="21"/>
                      </a:lnTo>
                      <a:lnTo>
                        <a:pt x="113" y="22"/>
                      </a:lnTo>
                      <a:lnTo>
                        <a:pt x="113" y="23"/>
                      </a:lnTo>
                      <a:lnTo>
                        <a:pt x="114" y="23"/>
                      </a:lnTo>
                      <a:lnTo>
                        <a:pt x="114" y="24"/>
                      </a:lnTo>
                      <a:lnTo>
                        <a:pt x="114" y="25"/>
                      </a:lnTo>
                      <a:lnTo>
                        <a:pt x="114" y="25"/>
                      </a:lnTo>
                      <a:lnTo>
                        <a:pt x="114" y="26"/>
                      </a:lnTo>
                      <a:lnTo>
                        <a:pt x="114" y="27"/>
                      </a:lnTo>
                      <a:lnTo>
                        <a:pt x="113" y="27"/>
                      </a:lnTo>
                      <a:lnTo>
                        <a:pt x="113" y="28"/>
                      </a:lnTo>
                      <a:lnTo>
                        <a:pt x="113" y="29"/>
                      </a:lnTo>
                      <a:lnTo>
                        <a:pt x="113" y="29"/>
                      </a:lnTo>
                      <a:lnTo>
                        <a:pt x="114" y="29"/>
                      </a:lnTo>
                      <a:lnTo>
                        <a:pt x="114" y="30"/>
                      </a:lnTo>
                      <a:lnTo>
                        <a:pt x="114" y="31"/>
                      </a:lnTo>
                      <a:lnTo>
                        <a:pt x="115" y="31"/>
                      </a:lnTo>
                      <a:lnTo>
                        <a:pt x="116" y="31"/>
                      </a:lnTo>
                      <a:lnTo>
                        <a:pt x="116" y="31"/>
                      </a:lnTo>
                      <a:lnTo>
                        <a:pt x="116" y="31"/>
                      </a:lnTo>
                      <a:lnTo>
                        <a:pt x="117" y="31"/>
                      </a:lnTo>
                      <a:lnTo>
                        <a:pt x="118" y="31"/>
                      </a:lnTo>
                      <a:lnTo>
                        <a:pt x="119" y="31"/>
                      </a:lnTo>
                      <a:lnTo>
                        <a:pt x="148" y="31"/>
                      </a:lnTo>
                      <a:lnTo>
                        <a:pt x="176" y="30"/>
                      </a:lnTo>
                      <a:lnTo>
                        <a:pt x="177" y="30"/>
                      </a:lnTo>
                      <a:lnTo>
                        <a:pt x="184" y="30"/>
                      </a:lnTo>
                      <a:lnTo>
                        <a:pt x="186" y="30"/>
                      </a:lnTo>
                      <a:lnTo>
                        <a:pt x="211" y="30"/>
                      </a:lnTo>
                      <a:lnTo>
                        <a:pt x="216" y="30"/>
                      </a:lnTo>
                      <a:lnTo>
                        <a:pt x="232" y="30"/>
                      </a:lnTo>
                      <a:lnTo>
                        <a:pt x="238" y="30"/>
                      </a:lnTo>
                      <a:lnTo>
                        <a:pt x="239" y="30"/>
                      </a:lnTo>
                      <a:lnTo>
                        <a:pt x="300" y="30"/>
                      </a:lnTo>
                      <a:lnTo>
                        <a:pt x="302" y="30"/>
                      </a:lnTo>
                      <a:lnTo>
                        <a:pt x="364" y="30"/>
                      </a:lnTo>
                      <a:lnTo>
                        <a:pt x="547" y="27"/>
                      </a:lnTo>
                      <a:lnTo>
                        <a:pt x="547" y="30"/>
                      </a:lnTo>
                      <a:lnTo>
                        <a:pt x="548" y="45"/>
                      </a:lnTo>
                      <a:lnTo>
                        <a:pt x="539" y="74"/>
                      </a:lnTo>
                      <a:lnTo>
                        <a:pt x="525" y="119"/>
                      </a:lnTo>
                      <a:lnTo>
                        <a:pt x="512" y="162"/>
                      </a:lnTo>
                      <a:lnTo>
                        <a:pt x="499" y="206"/>
                      </a:lnTo>
                      <a:lnTo>
                        <a:pt x="485" y="250"/>
                      </a:lnTo>
                      <a:lnTo>
                        <a:pt x="471" y="295"/>
                      </a:lnTo>
                      <a:lnTo>
                        <a:pt x="458" y="339"/>
                      </a:lnTo>
                      <a:lnTo>
                        <a:pt x="458" y="339"/>
                      </a:lnTo>
                      <a:lnTo>
                        <a:pt x="457" y="340"/>
                      </a:lnTo>
                      <a:lnTo>
                        <a:pt x="457" y="341"/>
                      </a:lnTo>
                      <a:lnTo>
                        <a:pt x="457" y="342"/>
                      </a:lnTo>
                      <a:lnTo>
                        <a:pt x="456" y="343"/>
                      </a:lnTo>
                      <a:lnTo>
                        <a:pt x="456" y="344"/>
                      </a:lnTo>
                      <a:lnTo>
                        <a:pt x="456" y="345"/>
                      </a:lnTo>
                      <a:lnTo>
                        <a:pt x="456" y="346"/>
                      </a:lnTo>
                      <a:lnTo>
                        <a:pt x="455" y="347"/>
                      </a:lnTo>
                      <a:lnTo>
                        <a:pt x="455" y="348"/>
                      </a:lnTo>
                      <a:lnTo>
                        <a:pt x="454" y="349"/>
                      </a:lnTo>
                      <a:lnTo>
                        <a:pt x="454" y="351"/>
                      </a:lnTo>
                      <a:lnTo>
                        <a:pt x="454" y="352"/>
                      </a:lnTo>
                      <a:lnTo>
                        <a:pt x="454" y="354"/>
                      </a:lnTo>
                      <a:lnTo>
                        <a:pt x="453" y="354"/>
                      </a:lnTo>
                      <a:lnTo>
                        <a:pt x="453" y="356"/>
                      </a:lnTo>
                      <a:lnTo>
                        <a:pt x="452" y="357"/>
                      </a:lnTo>
                      <a:lnTo>
                        <a:pt x="452" y="359"/>
                      </a:lnTo>
                      <a:lnTo>
                        <a:pt x="451" y="360"/>
                      </a:lnTo>
                      <a:lnTo>
                        <a:pt x="450" y="360"/>
                      </a:lnTo>
                      <a:lnTo>
                        <a:pt x="450" y="360"/>
                      </a:lnTo>
                      <a:lnTo>
                        <a:pt x="448" y="360"/>
                      </a:lnTo>
                      <a:lnTo>
                        <a:pt x="446" y="358"/>
                      </a:lnTo>
                      <a:lnTo>
                        <a:pt x="446" y="357"/>
                      </a:lnTo>
                      <a:lnTo>
                        <a:pt x="445" y="356"/>
                      </a:lnTo>
                      <a:lnTo>
                        <a:pt x="444" y="355"/>
                      </a:lnTo>
                      <a:lnTo>
                        <a:pt x="443" y="354"/>
                      </a:lnTo>
                      <a:lnTo>
                        <a:pt x="443" y="352"/>
                      </a:lnTo>
                      <a:lnTo>
                        <a:pt x="442" y="351"/>
                      </a:lnTo>
                      <a:lnTo>
                        <a:pt x="442" y="349"/>
                      </a:lnTo>
                      <a:lnTo>
                        <a:pt x="441" y="347"/>
                      </a:lnTo>
                      <a:lnTo>
                        <a:pt x="441" y="346"/>
                      </a:lnTo>
                      <a:lnTo>
                        <a:pt x="441" y="345"/>
                      </a:lnTo>
                      <a:lnTo>
                        <a:pt x="440" y="344"/>
                      </a:lnTo>
                      <a:lnTo>
                        <a:pt x="440" y="345"/>
                      </a:lnTo>
                      <a:lnTo>
                        <a:pt x="439" y="345"/>
                      </a:lnTo>
                      <a:lnTo>
                        <a:pt x="437" y="347"/>
                      </a:lnTo>
                      <a:lnTo>
                        <a:pt x="435" y="349"/>
                      </a:lnTo>
                      <a:lnTo>
                        <a:pt x="435" y="349"/>
                      </a:lnTo>
                      <a:lnTo>
                        <a:pt x="434" y="349"/>
                      </a:lnTo>
                      <a:lnTo>
                        <a:pt x="433" y="349"/>
                      </a:lnTo>
                      <a:lnTo>
                        <a:pt x="432" y="348"/>
                      </a:lnTo>
                      <a:lnTo>
                        <a:pt x="432" y="347"/>
                      </a:lnTo>
                      <a:lnTo>
                        <a:pt x="432" y="345"/>
                      </a:lnTo>
                      <a:lnTo>
                        <a:pt x="431" y="343"/>
                      </a:lnTo>
                      <a:lnTo>
                        <a:pt x="431" y="341"/>
                      </a:lnTo>
                      <a:lnTo>
                        <a:pt x="430" y="340"/>
                      </a:lnTo>
                      <a:lnTo>
                        <a:pt x="429" y="339"/>
                      </a:lnTo>
                      <a:lnTo>
                        <a:pt x="427" y="337"/>
                      </a:lnTo>
                      <a:lnTo>
                        <a:pt x="426" y="336"/>
                      </a:lnTo>
                      <a:lnTo>
                        <a:pt x="425" y="335"/>
                      </a:lnTo>
                      <a:lnTo>
                        <a:pt x="425" y="334"/>
                      </a:lnTo>
                      <a:lnTo>
                        <a:pt x="423" y="334"/>
                      </a:lnTo>
                      <a:lnTo>
                        <a:pt x="423" y="334"/>
                      </a:lnTo>
                      <a:lnTo>
                        <a:pt x="422" y="335"/>
                      </a:lnTo>
                      <a:lnTo>
                        <a:pt x="421" y="335"/>
                      </a:lnTo>
                      <a:lnTo>
                        <a:pt x="421" y="336"/>
                      </a:lnTo>
                      <a:lnTo>
                        <a:pt x="421" y="337"/>
                      </a:lnTo>
                      <a:lnTo>
                        <a:pt x="420" y="339"/>
                      </a:lnTo>
                      <a:lnTo>
                        <a:pt x="419" y="339"/>
                      </a:lnTo>
                      <a:lnTo>
                        <a:pt x="418" y="340"/>
                      </a:lnTo>
                      <a:lnTo>
                        <a:pt x="418" y="340"/>
                      </a:lnTo>
                      <a:lnTo>
                        <a:pt x="417" y="339"/>
                      </a:lnTo>
                      <a:lnTo>
                        <a:pt x="417" y="339"/>
                      </a:lnTo>
                      <a:lnTo>
                        <a:pt x="416" y="338"/>
                      </a:lnTo>
                      <a:lnTo>
                        <a:pt x="416" y="336"/>
                      </a:lnTo>
                      <a:lnTo>
                        <a:pt x="415" y="335"/>
                      </a:lnTo>
                      <a:lnTo>
                        <a:pt x="414" y="333"/>
                      </a:lnTo>
                      <a:lnTo>
                        <a:pt x="413" y="333"/>
                      </a:lnTo>
                      <a:lnTo>
                        <a:pt x="412" y="330"/>
                      </a:lnTo>
                      <a:lnTo>
                        <a:pt x="410" y="329"/>
                      </a:lnTo>
                      <a:lnTo>
                        <a:pt x="410" y="328"/>
                      </a:lnTo>
                      <a:lnTo>
                        <a:pt x="410" y="327"/>
                      </a:lnTo>
                      <a:lnTo>
                        <a:pt x="410" y="326"/>
                      </a:lnTo>
                      <a:lnTo>
                        <a:pt x="411" y="324"/>
                      </a:lnTo>
                      <a:lnTo>
                        <a:pt x="412" y="323"/>
                      </a:lnTo>
                      <a:lnTo>
                        <a:pt x="412" y="322"/>
                      </a:lnTo>
                      <a:lnTo>
                        <a:pt x="412" y="322"/>
                      </a:lnTo>
                      <a:lnTo>
                        <a:pt x="411" y="321"/>
                      </a:lnTo>
                      <a:lnTo>
                        <a:pt x="410" y="320"/>
                      </a:lnTo>
                      <a:lnTo>
                        <a:pt x="411" y="318"/>
                      </a:lnTo>
                      <a:lnTo>
                        <a:pt x="411" y="316"/>
                      </a:lnTo>
                      <a:lnTo>
                        <a:pt x="412" y="314"/>
                      </a:lnTo>
                      <a:lnTo>
                        <a:pt x="413" y="313"/>
                      </a:lnTo>
                      <a:lnTo>
                        <a:pt x="414" y="312"/>
                      </a:lnTo>
                      <a:lnTo>
                        <a:pt x="414" y="311"/>
                      </a:lnTo>
                      <a:lnTo>
                        <a:pt x="415" y="310"/>
                      </a:lnTo>
                      <a:lnTo>
                        <a:pt x="414" y="309"/>
                      </a:lnTo>
                      <a:lnTo>
                        <a:pt x="413" y="308"/>
                      </a:lnTo>
                      <a:lnTo>
                        <a:pt x="412" y="308"/>
                      </a:lnTo>
                      <a:lnTo>
                        <a:pt x="410" y="307"/>
                      </a:lnTo>
                      <a:lnTo>
                        <a:pt x="410" y="306"/>
                      </a:lnTo>
                      <a:lnTo>
                        <a:pt x="410" y="305"/>
                      </a:lnTo>
                      <a:lnTo>
                        <a:pt x="410" y="304"/>
                      </a:lnTo>
                      <a:lnTo>
                        <a:pt x="409" y="303"/>
                      </a:lnTo>
                      <a:lnTo>
                        <a:pt x="409" y="303"/>
                      </a:lnTo>
                      <a:lnTo>
                        <a:pt x="410" y="301"/>
                      </a:lnTo>
                      <a:lnTo>
                        <a:pt x="411" y="301"/>
                      </a:lnTo>
                      <a:lnTo>
                        <a:pt x="412" y="300"/>
                      </a:lnTo>
                      <a:lnTo>
                        <a:pt x="412" y="299"/>
                      </a:lnTo>
                      <a:lnTo>
                        <a:pt x="413" y="298"/>
                      </a:lnTo>
                      <a:lnTo>
                        <a:pt x="413" y="297"/>
                      </a:lnTo>
                      <a:lnTo>
                        <a:pt x="413" y="295"/>
                      </a:lnTo>
                      <a:lnTo>
                        <a:pt x="413" y="295"/>
                      </a:lnTo>
                      <a:lnTo>
                        <a:pt x="412" y="294"/>
                      </a:lnTo>
                      <a:lnTo>
                        <a:pt x="412" y="295"/>
                      </a:lnTo>
                      <a:lnTo>
                        <a:pt x="409" y="295"/>
                      </a:lnTo>
                      <a:lnTo>
                        <a:pt x="397" y="295"/>
                      </a:lnTo>
                      <a:lnTo>
                        <a:pt x="388" y="295"/>
                      </a:lnTo>
                      <a:lnTo>
                        <a:pt x="364" y="295"/>
                      </a:lnTo>
                      <a:lnTo>
                        <a:pt x="363" y="295"/>
                      </a:lnTo>
                      <a:lnTo>
                        <a:pt x="360" y="295"/>
                      </a:lnTo>
                      <a:lnTo>
                        <a:pt x="357" y="295"/>
                      </a:lnTo>
                      <a:lnTo>
                        <a:pt x="355" y="295"/>
                      </a:lnTo>
                      <a:lnTo>
                        <a:pt x="350" y="295"/>
                      </a:lnTo>
                      <a:lnTo>
                        <a:pt x="344" y="295"/>
                      </a:lnTo>
                      <a:lnTo>
                        <a:pt x="340" y="295"/>
                      </a:lnTo>
                      <a:lnTo>
                        <a:pt x="334" y="295"/>
                      </a:lnTo>
                      <a:lnTo>
                        <a:pt x="322" y="295"/>
                      </a:lnTo>
                      <a:lnTo>
                        <a:pt x="318" y="295"/>
                      </a:lnTo>
                      <a:lnTo>
                        <a:pt x="311" y="295"/>
                      </a:lnTo>
                      <a:lnTo>
                        <a:pt x="306" y="295"/>
                      </a:lnTo>
                      <a:lnTo>
                        <a:pt x="303" y="295"/>
                      </a:lnTo>
                      <a:lnTo>
                        <a:pt x="302" y="295"/>
                      </a:lnTo>
                      <a:lnTo>
                        <a:pt x="287" y="295"/>
                      </a:lnTo>
                      <a:lnTo>
                        <a:pt x="287" y="295"/>
                      </a:lnTo>
                      <a:lnTo>
                        <a:pt x="272" y="295"/>
                      </a:lnTo>
                      <a:lnTo>
                        <a:pt x="271" y="295"/>
                      </a:lnTo>
                      <a:lnTo>
                        <a:pt x="264" y="295"/>
                      </a:lnTo>
                      <a:lnTo>
                        <a:pt x="257" y="295"/>
                      </a:lnTo>
                      <a:lnTo>
                        <a:pt x="252" y="295"/>
                      </a:lnTo>
                      <a:lnTo>
                        <a:pt x="245" y="295"/>
                      </a:lnTo>
                      <a:lnTo>
                        <a:pt x="241" y="295"/>
                      </a:lnTo>
                      <a:lnTo>
                        <a:pt x="241" y="295"/>
                      </a:lnTo>
                      <a:lnTo>
                        <a:pt x="240" y="295"/>
                      </a:lnTo>
                      <a:lnTo>
                        <a:pt x="199" y="295"/>
                      </a:lnTo>
                      <a:lnTo>
                        <a:pt x="199" y="295"/>
                      </a:lnTo>
                      <a:lnTo>
                        <a:pt x="199" y="296"/>
                      </a:lnTo>
                      <a:lnTo>
                        <a:pt x="199" y="296"/>
                      </a:lnTo>
                      <a:lnTo>
                        <a:pt x="199" y="297"/>
                      </a:lnTo>
                      <a:lnTo>
                        <a:pt x="199" y="297"/>
                      </a:lnTo>
                      <a:lnTo>
                        <a:pt x="199" y="298"/>
                      </a:lnTo>
                      <a:lnTo>
                        <a:pt x="199" y="298"/>
                      </a:lnTo>
                      <a:lnTo>
                        <a:pt x="199" y="299"/>
                      </a:lnTo>
                      <a:lnTo>
                        <a:pt x="199" y="299"/>
                      </a:lnTo>
                      <a:lnTo>
                        <a:pt x="199" y="299"/>
                      </a:lnTo>
                      <a:lnTo>
                        <a:pt x="199" y="300"/>
                      </a:lnTo>
                      <a:lnTo>
                        <a:pt x="199" y="301"/>
                      </a:lnTo>
                      <a:lnTo>
                        <a:pt x="199" y="301"/>
                      </a:lnTo>
                      <a:lnTo>
                        <a:pt x="198" y="301"/>
                      </a:lnTo>
                      <a:lnTo>
                        <a:pt x="198" y="302"/>
                      </a:lnTo>
                      <a:lnTo>
                        <a:pt x="198" y="303"/>
                      </a:lnTo>
                      <a:lnTo>
                        <a:pt x="197" y="303"/>
                      </a:lnTo>
                      <a:lnTo>
                        <a:pt x="197" y="303"/>
                      </a:lnTo>
                      <a:lnTo>
                        <a:pt x="197" y="304"/>
                      </a:lnTo>
                      <a:lnTo>
                        <a:pt x="198" y="304"/>
                      </a:lnTo>
                      <a:lnTo>
                        <a:pt x="197" y="304"/>
                      </a:lnTo>
                      <a:lnTo>
                        <a:pt x="197" y="305"/>
                      </a:lnTo>
                      <a:lnTo>
                        <a:pt x="197" y="305"/>
                      </a:lnTo>
                      <a:lnTo>
                        <a:pt x="197" y="305"/>
                      </a:lnTo>
                      <a:lnTo>
                        <a:pt x="197" y="306"/>
                      </a:lnTo>
                      <a:lnTo>
                        <a:pt x="197" y="306"/>
                      </a:lnTo>
                      <a:lnTo>
                        <a:pt x="197" y="307"/>
                      </a:lnTo>
                      <a:lnTo>
                        <a:pt x="196" y="307"/>
                      </a:lnTo>
                      <a:lnTo>
                        <a:pt x="197" y="307"/>
                      </a:lnTo>
                      <a:lnTo>
                        <a:pt x="197" y="307"/>
                      </a:lnTo>
                      <a:lnTo>
                        <a:pt x="196" y="307"/>
                      </a:lnTo>
                      <a:lnTo>
                        <a:pt x="196" y="308"/>
                      </a:lnTo>
                      <a:lnTo>
                        <a:pt x="195" y="308"/>
                      </a:lnTo>
                      <a:lnTo>
                        <a:pt x="195" y="307"/>
                      </a:lnTo>
                      <a:lnTo>
                        <a:pt x="195" y="307"/>
                      </a:lnTo>
                      <a:lnTo>
                        <a:pt x="195" y="306"/>
                      </a:lnTo>
                      <a:lnTo>
                        <a:pt x="195" y="306"/>
                      </a:lnTo>
                      <a:lnTo>
                        <a:pt x="195" y="305"/>
                      </a:lnTo>
                      <a:lnTo>
                        <a:pt x="195" y="305"/>
                      </a:lnTo>
                      <a:lnTo>
                        <a:pt x="195" y="305"/>
                      </a:lnTo>
                      <a:lnTo>
                        <a:pt x="195" y="305"/>
                      </a:lnTo>
                      <a:lnTo>
                        <a:pt x="195" y="305"/>
                      </a:lnTo>
                      <a:lnTo>
                        <a:pt x="195" y="305"/>
                      </a:lnTo>
                      <a:lnTo>
                        <a:pt x="195" y="304"/>
                      </a:lnTo>
                      <a:lnTo>
                        <a:pt x="195" y="303"/>
                      </a:lnTo>
                      <a:lnTo>
                        <a:pt x="195" y="303"/>
                      </a:lnTo>
                      <a:lnTo>
                        <a:pt x="195" y="303"/>
                      </a:lnTo>
                      <a:lnTo>
                        <a:pt x="195" y="302"/>
                      </a:lnTo>
                      <a:lnTo>
                        <a:pt x="196" y="302"/>
                      </a:lnTo>
                      <a:lnTo>
                        <a:pt x="195" y="302"/>
                      </a:lnTo>
                      <a:lnTo>
                        <a:pt x="195" y="301"/>
                      </a:lnTo>
                      <a:lnTo>
                        <a:pt x="195" y="301"/>
                      </a:lnTo>
                      <a:lnTo>
                        <a:pt x="195" y="301"/>
                      </a:lnTo>
                      <a:lnTo>
                        <a:pt x="195" y="300"/>
                      </a:lnTo>
                      <a:lnTo>
                        <a:pt x="194" y="300"/>
                      </a:lnTo>
                      <a:lnTo>
                        <a:pt x="195" y="300"/>
                      </a:lnTo>
                      <a:lnTo>
                        <a:pt x="194" y="300"/>
                      </a:lnTo>
                      <a:lnTo>
                        <a:pt x="194" y="299"/>
                      </a:lnTo>
                      <a:lnTo>
                        <a:pt x="194" y="299"/>
                      </a:lnTo>
                      <a:lnTo>
                        <a:pt x="194" y="298"/>
                      </a:lnTo>
                      <a:lnTo>
                        <a:pt x="194" y="297"/>
                      </a:lnTo>
                      <a:lnTo>
                        <a:pt x="194" y="297"/>
                      </a:lnTo>
                      <a:lnTo>
                        <a:pt x="194" y="297"/>
                      </a:lnTo>
                      <a:lnTo>
                        <a:pt x="193" y="297"/>
                      </a:lnTo>
                      <a:lnTo>
                        <a:pt x="192" y="297"/>
                      </a:lnTo>
                      <a:lnTo>
                        <a:pt x="192" y="298"/>
                      </a:lnTo>
                      <a:lnTo>
                        <a:pt x="192" y="298"/>
                      </a:lnTo>
                      <a:lnTo>
                        <a:pt x="192" y="297"/>
                      </a:lnTo>
                      <a:lnTo>
                        <a:pt x="191" y="298"/>
                      </a:lnTo>
                      <a:lnTo>
                        <a:pt x="190" y="298"/>
                      </a:lnTo>
                      <a:lnTo>
                        <a:pt x="190" y="298"/>
                      </a:lnTo>
                      <a:lnTo>
                        <a:pt x="190" y="297"/>
                      </a:lnTo>
                      <a:lnTo>
                        <a:pt x="190" y="297"/>
                      </a:lnTo>
                      <a:lnTo>
                        <a:pt x="190" y="296"/>
                      </a:lnTo>
                      <a:lnTo>
                        <a:pt x="189" y="296"/>
                      </a:lnTo>
                      <a:lnTo>
                        <a:pt x="189" y="295"/>
                      </a:lnTo>
                      <a:lnTo>
                        <a:pt x="188" y="295"/>
                      </a:lnTo>
                      <a:lnTo>
                        <a:pt x="188" y="295"/>
                      </a:lnTo>
                      <a:lnTo>
                        <a:pt x="188" y="295"/>
                      </a:lnTo>
                      <a:lnTo>
                        <a:pt x="188" y="294"/>
                      </a:lnTo>
                      <a:lnTo>
                        <a:pt x="187" y="294"/>
                      </a:lnTo>
                      <a:lnTo>
                        <a:pt x="186" y="294"/>
                      </a:lnTo>
                      <a:lnTo>
                        <a:pt x="186" y="294"/>
                      </a:lnTo>
                      <a:lnTo>
                        <a:pt x="178" y="294"/>
                      </a:lnTo>
                      <a:lnTo>
                        <a:pt x="164" y="294"/>
                      </a:lnTo>
                      <a:lnTo>
                        <a:pt x="162" y="294"/>
                      </a:lnTo>
                      <a:lnTo>
                        <a:pt x="142" y="294"/>
                      </a:lnTo>
                      <a:lnTo>
                        <a:pt x="142" y="294"/>
                      </a:lnTo>
                      <a:lnTo>
                        <a:pt x="137" y="294"/>
                      </a:lnTo>
                      <a:lnTo>
                        <a:pt x="134" y="294"/>
                      </a:lnTo>
                      <a:lnTo>
                        <a:pt x="134" y="295"/>
                      </a:lnTo>
                      <a:lnTo>
                        <a:pt x="133" y="295"/>
                      </a:lnTo>
                      <a:lnTo>
                        <a:pt x="133" y="295"/>
                      </a:lnTo>
                      <a:lnTo>
                        <a:pt x="133" y="295"/>
                      </a:lnTo>
                      <a:lnTo>
                        <a:pt x="133" y="296"/>
                      </a:lnTo>
                      <a:lnTo>
                        <a:pt x="132" y="296"/>
                      </a:lnTo>
                      <a:lnTo>
                        <a:pt x="132" y="297"/>
                      </a:lnTo>
                      <a:lnTo>
                        <a:pt x="133" y="297"/>
                      </a:lnTo>
                      <a:lnTo>
                        <a:pt x="132" y="297"/>
                      </a:lnTo>
                      <a:lnTo>
                        <a:pt x="132" y="297"/>
                      </a:lnTo>
                      <a:lnTo>
                        <a:pt x="131" y="297"/>
                      </a:lnTo>
                      <a:lnTo>
                        <a:pt x="131" y="297"/>
                      </a:lnTo>
                      <a:lnTo>
                        <a:pt x="131" y="297"/>
                      </a:lnTo>
                      <a:lnTo>
                        <a:pt x="131" y="297"/>
                      </a:lnTo>
                      <a:lnTo>
                        <a:pt x="131" y="298"/>
                      </a:lnTo>
                      <a:lnTo>
                        <a:pt x="132" y="298"/>
                      </a:lnTo>
                      <a:lnTo>
                        <a:pt x="133" y="299"/>
                      </a:lnTo>
                      <a:lnTo>
                        <a:pt x="132" y="299"/>
                      </a:lnTo>
                      <a:lnTo>
                        <a:pt x="132" y="299"/>
                      </a:lnTo>
                      <a:lnTo>
                        <a:pt x="131" y="299"/>
                      </a:lnTo>
                      <a:lnTo>
                        <a:pt x="131" y="300"/>
                      </a:lnTo>
                      <a:lnTo>
                        <a:pt x="131" y="301"/>
                      </a:lnTo>
                      <a:lnTo>
                        <a:pt x="131" y="301"/>
                      </a:lnTo>
                      <a:lnTo>
                        <a:pt x="131" y="301"/>
                      </a:lnTo>
                      <a:lnTo>
                        <a:pt x="131" y="302"/>
                      </a:lnTo>
                      <a:lnTo>
                        <a:pt x="131" y="303"/>
                      </a:lnTo>
                      <a:lnTo>
                        <a:pt x="131" y="303"/>
                      </a:lnTo>
                      <a:lnTo>
                        <a:pt x="131" y="303"/>
                      </a:lnTo>
                      <a:lnTo>
                        <a:pt x="131" y="304"/>
                      </a:lnTo>
                      <a:lnTo>
                        <a:pt x="130" y="304"/>
                      </a:lnTo>
                      <a:lnTo>
                        <a:pt x="129" y="304"/>
                      </a:lnTo>
                      <a:lnTo>
                        <a:pt x="129" y="304"/>
                      </a:lnTo>
                      <a:lnTo>
                        <a:pt x="129" y="305"/>
                      </a:lnTo>
                      <a:lnTo>
                        <a:pt x="129" y="305"/>
                      </a:lnTo>
                      <a:lnTo>
                        <a:pt x="129" y="306"/>
                      </a:lnTo>
                      <a:lnTo>
                        <a:pt x="129" y="306"/>
                      </a:lnTo>
                      <a:lnTo>
                        <a:pt x="128" y="306"/>
                      </a:lnTo>
                      <a:lnTo>
                        <a:pt x="128" y="307"/>
                      </a:lnTo>
                      <a:lnTo>
                        <a:pt x="129" y="307"/>
                      </a:lnTo>
                      <a:lnTo>
                        <a:pt x="129" y="307"/>
                      </a:lnTo>
                      <a:lnTo>
                        <a:pt x="129" y="308"/>
                      </a:lnTo>
                      <a:lnTo>
                        <a:pt x="129" y="308"/>
                      </a:lnTo>
                      <a:lnTo>
                        <a:pt x="128" y="308"/>
                      </a:lnTo>
                      <a:lnTo>
                        <a:pt x="128" y="309"/>
                      </a:lnTo>
                      <a:lnTo>
                        <a:pt x="128" y="309"/>
                      </a:lnTo>
                      <a:lnTo>
                        <a:pt x="129" y="309"/>
                      </a:lnTo>
                      <a:lnTo>
                        <a:pt x="129" y="309"/>
                      </a:lnTo>
                      <a:lnTo>
                        <a:pt x="129" y="309"/>
                      </a:lnTo>
                      <a:lnTo>
                        <a:pt x="129" y="309"/>
                      </a:lnTo>
                      <a:lnTo>
                        <a:pt x="129" y="310"/>
                      </a:lnTo>
                      <a:lnTo>
                        <a:pt x="129" y="310"/>
                      </a:lnTo>
                      <a:lnTo>
                        <a:pt x="128" y="310"/>
                      </a:lnTo>
                      <a:lnTo>
                        <a:pt x="128" y="311"/>
                      </a:lnTo>
                      <a:lnTo>
                        <a:pt x="127" y="311"/>
                      </a:lnTo>
                      <a:lnTo>
                        <a:pt x="127" y="311"/>
                      </a:lnTo>
                      <a:lnTo>
                        <a:pt x="127" y="311"/>
                      </a:lnTo>
                      <a:lnTo>
                        <a:pt x="127" y="312"/>
                      </a:lnTo>
                      <a:lnTo>
                        <a:pt x="127" y="312"/>
                      </a:lnTo>
                      <a:lnTo>
                        <a:pt x="128" y="312"/>
                      </a:lnTo>
                      <a:lnTo>
                        <a:pt x="127" y="313"/>
                      </a:lnTo>
                      <a:lnTo>
                        <a:pt x="127" y="314"/>
                      </a:lnTo>
                      <a:lnTo>
                        <a:pt x="127" y="314"/>
                      </a:lnTo>
                      <a:lnTo>
                        <a:pt x="127" y="315"/>
                      </a:lnTo>
                      <a:lnTo>
                        <a:pt x="127" y="316"/>
                      </a:lnTo>
                      <a:lnTo>
                        <a:pt x="128" y="316"/>
                      </a:lnTo>
                      <a:lnTo>
                        <a:pt x="127" y="316"/>
                      </a:lnTo>
                      <a:lnTo>
                        <a:pt x="127" y="316"/>
                      </a:lnTo>
                      <a:lnTo>
                        <a:pt x="127" y="317"/>
                      </a:lnTo>
                      <a:lnTo>
                        <a:pt x="127" y="317"/>
                      </a:lnTo>
                      <a:lnTo>
                        <a:pt x="127" y="316"/>
                      </a:lnTo>
                      <a:lnTo>
                        <a:pt x="127" y="317"/>
                      </a:lnTo>
                      <a:lnTo>
                        <a:pt x="127" y="318"/>
                      </a:lnTo>
                      <a:lnTo>
                        <a:pt x="127" y="318"/>
                      </a:lnTo>
                      <a:lnTo>
                        <a:pt x="126" y="319"/>
                      </a:lnTo>
                      <a:lnTo>
                        <a:pt x="125" y="319"/>
                      </a:lnTo>
                      <a:lnTo>
                        <a:pt x="125" y="318"/>
                      </a:lnTo>
                      <a:lnTo>
                        <a:pt x="125" y="318"/>
                      </a:lnTo>
                      <a:lnTo>
                        <a:pt x="125" y="318"/>
                      </a:lnTo>
                      <a:lnTo>
                        <a:pt x="124" y="318"/>
                      </a:lnTo>
                      <a:lnTo>
                        <a:pt x="123" y="318"/>
                      </a:lnTo>
                      <a:lnTo>
                        <a:pt x="123" y="317"/>
                      </a:lnTo>
                      <a:lnTo>
                        <a:pt x="123" y="316"/>
                      </a:lnTo>
                      <a:lnTo>
                        <a:pt x="123" y="316"/>
                      </a:lnTo>
                      <a:lnTo>
                        <a:pt x="123" y="316"/>
                      </a:lnTo>
                      <a:lnTo>
                        <a:pt x="122" y="316"/>
                      </a:lnTo>
                      <a:lnTo>
                        <a:pt x="122" y="316"/>
                      </a:lnTo>
                      <a:lnTo>
                        <a:pt x="121" y="316"/>
                      </a:lnTo>
                      <a:lnTo>
                        <a:pt x="121" y="317"/>
                      </a:lnTo>
                      <a:lnTo>
                        <a:pt x="122" y="317"/>
                      </a:lnTo>
                      <a:lnTo>
                        <a:pt x="123" y="317"/>
                      </a:lnTo>
                      <a:lnTo>
                        <a:pt x="123" y="318"/>
                      </a:lnTo>
                      <a:lnTo>
                        <a:pt x="123" y="318"/>
                      </a:lnTo>
                      <a:lnTo>
                        <a:pt x="123" y="319"/>
                      </a:lnTo>
                      <a:lnTo>
                        <a:pt x="123" y="318"/>
                      </a:lnTo>
                      <a:lnTo>
                        <a:pt x="122" y="318"/>
                      </a:lnTo>
                      <a:lnTo>
                        <a:pt x="121" y="319"/>
                      </a:lnTo>
                      <a:lnTo>
                        <a:pt x="121" y="319"/>
                      </a:lnTo>
                      <a:lnTo>
                        <a:pt x="121" y="320"/>
                      </a:lnTo>
                      <a:lnTo>
                        <a:pt x="120" y="320"/>
                      </a:lnTo>
                      <a:lnTo>
                        <a:pt x="120" y="320"/>
                      </a:lnTo>
                      <a:lnTo>
                        <a:pt x="120" y="321"/>
                      </a:lnTo>
                      <a:lnTo>
                        <a:pt x="120" y="322"/>
                      </a:lnTo>
                      <a:lnTo>
                        <a:pt x="119" y="322"/>
                      </a:lnTo>
                      <a:lnTo>
                        <a:pt x="120" y="322"/>
                      </a:lnTo>
                      <a:lnTo>
                        <a:pt x="120" y="322"/>
                      </a:lnTo>
                      <a:lnTo>
                        <a:pt x="121" y="322"/>
                      </a:lnTo>
                      <a:lnTo>
                        <a:pt x="121" y="322"/>
                      </a:lnTo>
                      <a:lnTo>
                        <a:pt x="121" y="323"/>
                      </a:lnTo>
                      <a:lnTo>
                        <a:pt x="120" y="323"/>
                      </a:lnTo>
                      <a:lnTo>
                        <a:pt x="120" y="322"/>
                      </a:lnTo>
                      <a:lnTo>
                        <a:pt x="119" y="322"/>
                      </a:lnTo>
                      <a:lnTo>
                        <a:pt x="119" y="322"/>
                      </a:lnTo>
                      <a:lnTo>
                        <a:pt x="118" y="322"/>
                      </a:lnTo>
                      <a:lnTo>
                        <a:pt x="117" y="322"/>
                      </a:lnTo>
                      <a:lnTo>
                        <a:pt x="117" y="323"/>
                      </a:lnTo>
                      <a:lnTo>
                        <a:pt x="118" y="324"/>
                      </a:lnTo>
                      <a:lnTo>
                        <a:pt x="119" y="323"/>
                      </a:lnTo>
                      <a:lnTo>
                        <a:pt x="119" y="323"/>
                      </a:lnTo>
                      <a:lnTo>
                        <a:pt x="119" y="324"/>
                      </a:lnTo>
                      <a:lnTo>
                        <a:pt x="119" y="324"/>
                      </a:lnTo>
                      <a:lnTo>
                        <a:pt x="120" y="324"/>
                      </a:lnTo>
                      <a:lnTo>
                        <a:pt x="120" y="325"/>
                      </a:lnTo>
                      <a:lnTo>
                        <a:pt x="120" y="326"/>
                      </a:lnTo>
                      <a:lnTo>
                        <a:pt x="119" y="326"/>
                      </a:lnTo>
                      <a:lnTo>
                        <a:pt x="119" y="326"/>
                      </a:lnTo>
                      <a:lnTo>
                        <a:pt x="119" y="326"/>
                      </a:lnTo>
                      <a:lnTo>
                        <a:pt x="118" y="326"/>
                      </a:lnTo>
                      <a:lnTo>
                        <a:pt x="118" y="327"/>
                      </a:lnTo>
                      <a:lnTo>
                        <a:pt x="118" y="328"/>
                      </a:lnTo>
                      <a:lnTo>
                        <a:pt x="118" y="328"/>
                      </a:lnTo>
                      <a:lnTo>
                        <a:pt x="119" y="328"/>
                      </a:lnTo>
                      <a:lnTo>
                        <a:pt x="119" y="329"/>
                      </a:lnTo>
                      <a:lnTo>
                        <a:pt x="119" y="330"/>
                      </a:lnTo>
                      <a:lnTo>
                        <a:pt x="119" y="330"/>
                      </a:lnTo>
                      <a:lnTo>
                        <a:pt x="118" y="330"/>
                      </a:lnTo>
                      <a:lnTo>
                        <a:pt x="118" y="330"/>
                      </a:lnTo>
                      <a:lnTo>
                        <a:pt x="117" y="330"/>
                      </a:lnTo>
                      <a:lnTo>
                        <a:pt x="117" y="331"/>
                      </a:lnTo>
                      <a:lnTo>
                        <a:pt x="118" y="331"/>
                      </a:lnTo>
                      <a:lnTo>
                        <a:pt x="118" y="332"/>
                      </a:lnTo>
                      <a:lnTo>
                        <a:pt x="118" y="333"/>
                      </a:lnTo>
                      <a:lnTo>
                        <a:pt x="117" y="333"/>
                      </a:lnTo>
                      <a:lnTo>
                        <a:pt x="117" y="333"/>
                      </a:lnTo>
                      <a:lnTo>
                        <a:pt x="117" y="334"/>
                      </a:lnTo>
                      <a:lnTo>
                        <a:pt x="116" y="334"/>
                      </a:lnTo>
                      <a:lnTo>
                        <a:pt x="116" y="335"/>
                      </a:lnTo>
                      <a:lnTo>
                        <a:pt x="116" y="335"/>
                      </a:lnTo>
                      <a:lnTo>
                        <a:pt x="116" y="335"/>
                      </a:lnTo>
                      <a:lnTo>
                        <a:pt x="116" y="335"/>
                      </a:lnTo>
                      <a:lnTo>
                        <a:pt x="117" y="336"/>
                      </a:lnTo>
                      <a:lnTo>
                        <a:pt x="117" y="337"/>
                      </a:lnTo>
                      <a:lnTo>
                        <a:pt x="116" y="337"/>
                      </a:lnTo>
                      <a:lnTo>
                        <a:pt x="116" y="337"/>
                      </a:lnTo>
                      <a:lnTo>
                        <a:pt x="116" y="337"/>
                      </a:lnTo>
                      <a:lnTo>
                        <a:pt x="115" y="338"/>
                      </a:lnTo>
                      <a:lnTo>
                        <a:pt x="115" y="339"/>
                      </a:lnTo>
                      <a:lnTo>
                        <a:pt x="114" y="339"/>
                      </a:lnTo>
                      <a:lnTo>
                        <a:pt x="114" y="339"/>
                      </a:lnTo>
                      <a:lnTo>
                        <a:pt x="113" y="339"/>
                      </a:lnTo>
                      <a:lnTo>
                        <a:pt x="113" y="339"/>
                      </a:lnTo>
                      <a:lnTo>
                        <a:pt x="112" y="340"/>
                      </a:lnTo>
                      <a:lnTo>
                        <a:pt x="112" y="341"/>
                      </a:lnTo>
                      <a:lnTo>
                        <a:pt x="112" y="341"/>
                      </a:lnTo>
                      <a:lnTo>
                        <a:pt x="112" y="342"/>
                      </a:lnTo>
                      <a:lnTo>
                        <a:pt x="112" y="342"/>
                      </a:lnTo>
                      <a:lnTo>
                        <a:pt x="112" y="343"/>
                      </a:lnTo>
                      <a:lnTo>
                        <a:pt x="112" y="343"/>
                      </a:lnTo>
                      <a:lnTo>
                        <a:pt x="113" y="343"/>
                      </a:lnTo>
                      <a:lnTo>
                        <a:pt x="113" y="344"/>
                      </a:lnTo>
                      <a:lnTo>
                        <a:pt x="112" y="344"/>
                      </a:lnTo>
                      <a:lnTo>
                        <a:pt x="112" y="344"/>
                      </a:lnTo>
                      <a:lnTo>
                        <a:pt x="111" y="344"/>
                      </a:lnTo>
                      <a:lnTo>
                        <a:pt x="110" y="345"/>
                      </a:lnTo>
                      <a:lnTo>
                        <a:pt x="110" y="345"/>
                      </a:lnTo>
                      <a:lnTo>
                        <a:pt x="110" y="346"/>
                      </a:lnTo>
                      <a:lnTo>
                        <a:pt x="109" y="346"/>
                      </a:lnTo>
                      <a:lnTo>
                        <a:pt x="109" y="347"/>
                      </a:lnTo>
                      <a:lnTo>
                        <a:pt x="109" y="347"/>
                      </a:lnTo>
                      <a:lnTo>
                        <a:pt x="110" y="348"/>
                      </a:lnTo>
                      <a:lnTo>
                        <a:pt x="110" y="349"/>
                      </a:lnTo>
                      <a:lnTo>
                        <a:pt x="110" y="349"/>
                      </a:lnTo>
                      <a:lnTo>
                        <a:pt x="110" y="349"/>
                      </a:lnTo>
                      <a:lnTo>
                        <a:pt x="111" y="349"/>
                      </a:lnTo>
                      <a:lnTo>
                        <a:pt x="111" y="350"/>
                      </a:lnTo>
                      <a:lnTo>
                        <a:pt x="110" y="350"/>
                      </a:lnTo>
                      <a:lnTo>
                        <a:pt x="110" y="351"/>
                      </a:lnTo>
                      <a:lnTo>
                        <a:pt x="110" y="352"/>
                      </a:lnTo>
                      <a:lnTo>
                        <a:pt x="110" y="352"/>
                      </a:lnTo>
                      <a:lnTo>
                        <a:pt x="109" y="352"/>
                      </a:lnTo>
                      <a:lnTo>
                        <a:pt x="109" y="353"/>
                      </a:lnTo>
                      <a:lnTo>
                        <a:pt x="108" y="353"/>
                      </a:lnTo>
                      <a:lnTo>
                        <a:pt x="108" y="353"/>
                      </a:lnTo>
                      <a:lnTo>
                        <a:pt x="108" y="354"/>
                      </a:lnTo>
                      <a:lnTo>
                        <a:pt x="108" y="354"/>
                      </a:lnTo>
                      <a:lnTo>
                        <a:pt x="108" y="354"/>
                      </a:lnTo>
                      <a:lnTo>
                        <a:pt x="109" y="354"/>
                      </a:lnTo>
                      <a:lnTo>
                        <a:pt x="110" y="354"/>
                      </a:lnTo>
                      <a:lnTo>
                        <a:pt x="110" y="355"/>
                      </a:lnTo>
                      <a:lnTo>
                        <a:pt x="110" y="356"/>
                      </a:lnTo>
                      <a:lnTo>
                        <a:pt x="110" y="356"/>
                      </a:lnTo>
                      <a:lnTo>
                        <a:pt x="109" y="356"/>
                      </a:lnTo>
                      <a:lnTo>
                        <a:pt x="109" y="357"/>
                      </a:lnTo>
                      <a:lnTo>
                        <a:pt x="108" y="356"/>
                      </a:lnTo>
                      <a:lnTo>
                        <a:pt x="108" y="356"/>
                      </a:lnTo>
                      <a:lnTo>
                        <a:pt x="108" y="357"/>
                      </a:lnTo>
                      <a:lnTo>
                        <a:pt x="108" y="358"/>
                      </a:lnTo>
                      <a:lnTo>
                        <a:pt x="108" y="358"/>
                      </a:lnTo>
                      <a:lnTo>
                        <a:pt x="109" y="358"/>
                      </a:lnTo>
                      <a:lnTo>
                        <a:pt x="109" y="358"/>
                      </a:lnTo>
                      <a:lnTo>
                        <a:pt x="109" y="359"/>
                      </a:lnTo>
                      <a:lnTo>
                        <a:pt x="108" y="359"/>
                      </a:lnTo>
                      <a:lnTo>
                        <a:pt x="108" y="358"/>
                      </a:lnTo>
                      <a:lnTo>
                        <a:pt x="107" y="358"/>
                      </a:lnTo>
                      <a:lnTo>
                        <a:pt x="107" y="359"/>
                      </a:lnTo>
                      <a:lnTo>
                        <a:pt x="108" y="359"/>
                      </a:lnTo>
                      <a:lnTo>
                        <a:pt x="108" y="360"/>
                      </a:lnTo>
                      <a:lnTo>
                        <a:pt x="107" y="360"/>
                      </a:lnTo>
                      <a:lnTo>
                        <a:pt x="106" y="360"/>
                      </a:lnTo>
                      <a:lnTo>
                        <a:pt x="106" y="360"/>
                      </a:lnTo>
                      <a:lnTo>
                        <a:pt x="106" y="359"/>
                      </a:lnTo>
                      <a:lnTo>
                        <a:pt x="105" y="359"/>
                      </a:lnTo>
                      <a:lnTo>
                        <a:pt x="104" y="359"/>
                      </a:lnTo>
                      <a:lnTo>
                        <a:pt x="104" y="360"/>
                      </a:lnTo>
                      <a:lnTo>
                        <a:pt x="104" y="360"/>
                      </a:lnTo>
                      <a:lnTo>
                        <a:pt x="104" y="359"/>
                      </a:lnTo>
                      <a:lnTo>
                        <a:pt x="104" y="358"/>
                      </a:lnTo>
                      <a:lnTo>
                        <a:pt x="104" y="358"/>
                      </a:lnTo>
                      <a:lnTo>
                        <a:pt x="103" y="358"/>
                      </a:lnTo>
                      <a:lnTo>
                        <a:pt x="102" y="358"/>
                      </a:lnTo>
                      <a:lnTo>
                        <a:pt x="102" y="358"/>
                      </a:lnTo>
                      <a:lnTo>
                        <a:pt x="102" y="359"/>
                      </a:lnTo>
                      <a:lnTo>
                        <a:pt x="102" y="360"/>
                      </a:lnTo>
                      <a:lnTo>
                        <a:pt x="101" y="360"/>
                      </a:lnTo>
                      <a:lnTo>
                        <a:pt x="101" y="360"/>
                      </a:lnTo>
                      <a:lnTo>
                        <a:pt x="101" y="361"/>
                      </a:lnTo>
                      <a:lnTo>
                        <a:pt x="100" y="362"/>
                      </a:lnTo>
                      <a:lnTo>
                        <a:pt x="100" y="362"/>
                      </a:lnTo>
                      <a:lnTo>
                        <a:pt x="99" y="362"/>
                      </a:lnTo>
                      <a:lnTo>
                        <a:pt x="99" y="363"/>
                      </a:lnTo>
                      <a:lnTo>
                        <a:pt x="99" y="364"/>
                      </a:lnTo>
                      <a:lnTo>
                        <a:pt x="99" y="364"/>
                      </a:lnTo>
                      <a:lnTo>
                        <a:pt x="99" y="365"/>
                      </a:lnTo>
                      <a:lnTo>
                        <a:pt x="99" y="366"/>
                      </a:lnTo>
                      <a:lnTo>
                        <a:pt x="99" y="366"/>
                      </a:lnTo>
                      <a:lnTo>
                        <a:pt x="99" y="367"/>
                      </a:lnTo>
                      <a:lnTo>
                        <a:pt x="99" y="368"/>
                      </a:lnTo>
                      <a:lnTo>
                        <a:pt x="99" y="368"/>
                      </a:lnTo>
                      <a:lnTo>
                        <a:pt x="99" y="369"/>
                      </a:lnTo>
                      <a:lnTo>
                        <a:pt x="98" y="370"/>
                      </a:lnTo>
                      <a:lnTo>
                        <a:pt x="98" y="369"/>
                      </a:lnTo>
                      <a:lnTo>
                        <a:pt x="98" y="368"/>
                      </a:lnTo>
                      <a:lnTo>
                        <a:pt x="98" y="368"/>
                      </a:lnTo>
                      <a:lnTo>
                        <a:pt x="97" y="368"/>
                      </a:lnTo>
                      <a:lnTo>
                        <a:pt x="97" y="368"/>
                      </a:lnTo>
                      <a:lnTo>
                        <a:pt x="97" y="369"/>
                      </a:lnTo>
                      <a:lnTo>
                        <a:pt x="97" y="370"/>
                      </a:lnTo>
                      <a:lnTo>
                        <a:pt x="97" y="370"/>
                      </a:lnTo>
                      <a:lnTo>
                        <a:pt x="97" y="371"/>
                      </a:lnTo>
                      <a:lnTo>
                        <a:pt x="97" y="372"/>
                      </a:lnTo>
                      <a:lnTo>
                        <a:pt x="96" y="373"/>
                      </a:lnTo>
                      <a:lnTo>
                        <a:pt x="95" y="373"/>
                      </a:lnTo>
                      <a:lnTo>
                        <a:pt x="95" y="374"/>
                      </a:lnTo>
                      <a:lnTo>
                        <a:pt x="95" y="375"/>
                      </a:lnTo>
                      <a:lnTo>
                        <a:pt x="95" y="375"/>
                      </a:lnTo>
                      <a:lnTo>
                        <a:pt x="95" y="375"/>
                      </a:lnTo>
                      <a:lnTo>
                        <a:pt x="96" y="375"/>
                      </a:lnTo>
                      <a:lnTo>
                        <a:pt x="97" y="375"/>
                      </a:lnTo>
                      <a:lnTo>
                        <a:pt x="97" y="376"/>
                      </a:lnTo>
                      <a:lnTo>
                        <a:pt x="96" y="377"/>
                      </a:lnTo>
                      <a:lnTo>
                        <a:pt x="95" y="377"/>
                      </a:lnTo>
                      <a:lnTo>
                        <a:pt x="95" y="377"/>
                      </a:lnTo>
                      <a:lnTo>
                        <a:pt x="95" y="377"/>
                      </a:lnTo>
                      <a:lnTo>
                        <a:pt x="94" y="377"/>
                      </a:lnTo>
                      <a:lnTo>
                        <a:pt x="94" y="378"/>
                      </a:lnTo>
                      <a:lnTo>
                        <a:pt x="93" y="378"/>
                      </a:lnTo>
                      <a:lnTo>
                        <a:pt x="93" y="379"/>
                      </a:lnTo>
                      <a:lnTo>
                        <a:pt x="94" y="379"/>
                      </a:lnTo>
                      <a:lnTo>
                        <a:pt x="95" y="379"/>
                      </a:lnTo>
                      <a:lnTo>
                        <a:pt x="95" y="379"/>
                      </a:lnTo>
                      <a:lnTo>
                        <a:pt x="95" y="379"/>
                      </a:lnTo>
                      <a:lnTo>
                        <a:pt x="95" y="379"/>
                      </a:lnTo>
                      <a:lnTo>
                        <a:pt x="95" y="380"/>
                      </a:lnTo>
                      <a:lnTo>
                        <a:pt x="95" y="381"/>
                      </a:lnTo>
                      <a:lnTo>
                        <a:pt x="94" y="381"/>
                      </a:lnTo>
                      <a:lnTo>
                        <a:pt x="93" y="381"/>
                      </a:lnTo>
                      <a:lnTo>
                        <a:pt x="93" y="381"/>
                      </a:lnTo>
                      <a:lnTo>
                        <a:pt x="93" y="381"/>
                      </a:lnTo>
                      <a:lnTo>
                        <a:pt x="93" y="382"/>
                      </a:lnTo>
                      <a:lnTo>
                        <a:pt x="93" y="383"/>
                      </a:lnTo>
                      <a:lnTo>
                        <a:pt x="93" y="383"/>
                      </a:lnTo>
                      <a:lnTo>
                        <a:pt x="93" y="383"/>
                      </a:lnTo>
                      <a:lnTo>
                        <a:pt x="93" y="383"/>
                      </a:lnTo>
                      <a:lnTo>
                        <a:pt x="92" y="383"/>
                      </a:lnTo>
                      <a:lnTo>
                        <a:pt x="93" y="384"/>
                      </a:lnTo>
                      <a:lnTo>
                        <a:pt x="93" y="385"/>
                      </a:lnTo>
                      <a:lnTo>
                        <a:pt x="93" y="385"/>
                      </a:lnTo>
                      <a:lnTo>
                        <a:pt x="93" y="387"/>
                      </a:lnTo>
                      <a:lnTo>
                        <a:pt x="92" y="389"/>
                      </a:lnTo>
                      <a:lnTo>
                        <a:pt x="91" y="389"/>
                      </a:lnTo>
                      <a:lnTo>
                        <a:pt x="89" y="390"/>
                      </a:lnTo>
                      <a:lnTo>
                        <a:pt x="89" y="391"/>
                      </a:lnTo>
                      <a:lnTo>
                        <a:pt x="89" y="392"/>
                      </a:lnTo>
                      <a:lnTo>
                        <a:pt x="89" y="392"/>
                      </a:lnTo>
                      <a:lnTo>
                        <a:pt x="91" y="395"/>
                      </a:lnTo>
                      <a:lnTo>
                        <a:pt x="91" y="396"/>
                      </a:lnTo>
                      <a:lnTo>
                        <a:pt x="91" y="396"/>
                      </a:lnTo>
                      <a:lnTo>
                        <a:pt x="90" y="396"/>
                      </a:lnTo>
                      <a:lnTo>
                        <a:pt x="89" y="396"/>
                      </a:lnTo>
                      <a:lnTo>
                        <a:pt x="88" y="396"/>
                      </a:lnTo>
                      <a:lnTo>
                        <a:pt x="88" y="396"/>
                      </a:lnTo>
                      <a:lnTo>
                        <a:pt x="88" y="399"/>
                      </a:lnTo>
                      <a:lnTo>
                        <a:pt x="89" y="401"/>
                      </a:lnTo>
                      <a:lnTo>
                        <a:pt x="89" y="402"/>
                      </a:lnTo>
                      <a:lnTo>
                        <a:pt x="88" y="402"/>
                      </a:lnTo>
                      <a:lnTo>
                        <a:pt x="87" y="402"/>
                      </a:lnTo>
                      <a:lnTo>
                        <a:pt x="85" y="402"/>
                      </a:lnTo>
                      <a:lnTo>
                        <a:pt x="83" y="403"/>
                      </a:lnTo>
                      <a:lnTo>
                        <a:pt x="83" y="404"/>
                      </a:lnTo>
                      <a:lnTo>
                        <a:pt x="82" y="404"/>
                      </a:lnTo>
                      <a:lnTo>
                        <a:pt x="83" y="406"/>
                      </a:lnTo>
                      <a:lnTo>
                        <a:pt x="84" y="408"/>
                      </a:lnTo>
                      <a:lnTo>
                        <a:pt x="84" y="408"/>
                      </a:lnTo>
                      <a:lnTo>
                        <a:pt x="83" y="409"/>
                      </a:lnTo>
                      <a:lnTo>
                        <a:pt x="82" y="409"/>
                      </a:lnTo>
                      <a:lnTo>
                        <a:pt x="80" y="410"/>
                      </a:lnTo>
                      <a:lnTo>
                        <a:pt x="80" y="411"/>
                      </a:lnTo>
                      <a:lnTo>
                        <a:pt x="80" y="414"/>
                      </a:lnTo>
                      <a:lnTo>
                        <a:pt x="80" y="415"/>
                      </a:lnTo>
                      <a:lnTo>
                        <a:pt x="79" y="415"/>
                      </a:lnTo>
                      <a:lnTo>
                        <a:pt x="78" y="415"/>
                      </a:lnTo>
                      <a:lnTo>
                        <a:pt x="78" y="416"/>
                      </a:lnTo>
                      <a:lnTo>
                        <a:pt x="78" y="417"/>
                      </a:lnTo>
                      <a:lnTo>
                        <a:pt x="78" y="418"/>
                      </a:lnTo>
                      <a:lnTo>
                        <a:pt x="77" y="419"/>
                      </a:lnTo>
                      <a:lnTo>
                        <a:pt x="75" y="418"/>
                      </a:lnTo>
                      <a:lnTo>
                        <a:pt x="74" y="419"/>
                      </a:lnTo>
                      <a:lnTo>
                        <a:pt x="73" y="420"/>
                      </a:lnTo>
                      <a:lnTo>
                        <a:pt x="72" y="421"/>
                      </a:lnTo>
                      <a:lnTo>
                        <a:pt x="72" y="424"/>
                      </a:lnTo>
                      <a:lnTo>
                        <a:pt x="71" y="425"/>
                      </a:lnTo>
                      <a:lnTo>
                        <a:pt x="69" y="424"/>
                      </a:lnTo>
                      <a:lnTo>
                        <a:pt x="68" y="426"/>
                      </a:lnTo>
                      <a:lnTo>
                        <a:pt x="68" y="427"/>
                      </a:lnTo>
                      <a:lnTo>
                        <a:pt x="67" y="429"/>
                      </a:lnTo>
                      <a:lnTo>
                        <a:pt x="66" y="434"/>
                      </a:lnTo>
                      <a:lnTo>
                        <a:pt x="65" y="438"/>
                      </a:lnTo>
                      <a:lnTo>
                        <a:pt x="62" y="438"/>
                      </a:lnTo>
                      <a:lnTo>
                        <a:pt x="62" y="440"/>
                      </a:lnTo>
                      <a:lnTo>
                        <a:pt x="61" y="442"/>
                      </a:lnTo>
                      <a:lnTo>
                        <a:pt x="59" y="442"/>
                      </a:lnTo>
                      <a:lnTo>
                        <a:pt x="58" y="444"/>
                      </a:lnTo>
                      <a:lnTo>
                        <a:pt x="58" y="446"/>
                      </a:lnTo>
                      <a:lnTo>
                        <a:pt x="58" y="447"/>
                      </a:lnTo>
                      <a:lnTo>
                        <a:pt x="58" y="448"/>
                      </a:lnTo>
                      <a:lnTo>
                        <a:pt x="58" y="451"/>
                      </a:lnTo>
                      <a:lnTo>
                        <a:pt x="58" y="453"/>
                      </a:lnTo>
                      <a:lnTo>
                        <a:pt x="59" y="456"/>
                      </a:lnTo>
                      <a:lnTo>
                        <a:pt x="59" y="459"/>
                      </a:lnTo>
                      <a:lnTo>
                        <a:pt x="59" y="461"/>
                      </a:lnTo>
                      <a:lnTo>
                        <a:pt x="57" y="462"/>
                      </a:lnTo>
                      <a:lnTo>
                        <a:pt x="55" y="461"/>
                      </a:lnTo>
                      <a:lnTo>
                        <a:pt x="53" y="467"/>
                      </a:lnTo>
                      <a:lnTo>
                        <a:pt x="59" y="471"/>
                      </a:lnTo>
                      <a:lnTo>
                        <a:pt x="58" y="472"/>
                      </a:lnTo>
                      <a:lnTo>
                        <a:pt x="55" y="473"/>
                      </a:lnTo>
                      <a:lnTo>
                        <a:pt x="54" y="474"/>
                      </a:lnTo>
                      <a:lnTo>
                        <a:pt x="54" y="476"/>
                      </a:lnTo>
                      <a:lnTo>
                        <a:pt x="54" y="477"/>
                      </a:lnTo>
                      <a:lnTo>
                        <a:pt x="53" y="478"/>
                      </a:lnTo>
                      <a:lnTo>
                        <a:pt x="53" y="479"/>
                      </a:lnTo>
                      <a:lnTo>
                        <a:pt x="53" y="480"/>
                      </a:lnTo>
                      <a:lnTo>
                        <a:pt x="53" y="481"/>
                      </a:lnTo>
                      <a:lnTo>
                        <a:pt x="52" y="482"/>
                      </a:lnTo>
                      <a:lnTo>
                        <a:pt x="51" y="482"/>
                      </a:lnTo>
                      <a:lnTo>
                        <a:pt x="51" y="483"/>
                      </a:lnTo>
                      <a:lnTo>
                        <a:pt x="51" y="484"/>
                      </a:lnTo>
                      <a:lnTo>
                        <a:pt x="51" y="484"/>
                      </a:lnTo>
                      <a:lnTo>
                        <a:pt x="52" y="485"/>
                      </a:lnTo>
                      <a:lnTo>
                        <a:pt x="52" y="486"/>
                      </a:lnTo>
                      <a:lnTo>
                        <a:pt x="53" y="488"/>
                      </a:lnTo>
                      <a:lnTo>
                        <a:pt x="52" y="489"/>
                      </a:lnTo>
                      <a:lnTo>
                        <a:pt x="52" y="490"/>
                      </a:lnTo>
                      <a:lnTo>
                        <a:pt x="52" y="491"/>
                      </a:lnTo>
                      <a:lnTo>
                        <a:pt x="53" y="491"/>
                      </a:lnTo>
                      <a:lnTo>
                        <a:pt x="53" y="492"/>
                      </a:lnTo>
                      <a:lnTo>
                        <a:pt x="51" y="492"/>
                      </a:lnTo>
                      <a:lnTo>
                        <a:pt x="49" y="493"/>
                      </a:lnTo>
                      <a:lnTo>
                        <a:pt x="49" y="494"/>
                      </a:lnTo>
                      <a:lnTo>
                        <a:pt x="50" y="495"/>
                      </a:lnTo>
                      <a:lnTo>
                        <a:pt x="53" y="495"/>
                      </a:lnTo>
                      <a:lnTo>
                        <a:pt x="53" y="497"/>
                      </a:lnTo>
                      <a:lnTo>
                        <a:pt x="53" y="499"/>
                      </a:lnTo>
                      <a:lnTo>
                        <a:pt x="51" y="500"/>
                      </a:lnTo>
                      <a:lnTo>
                        <a:pt x="50" y="501"/>
                      </a:lnTo>
                      <a:lnTo>
                        <a:pt x="50" y="502"/>
                      </a:lnTo>
                      <a:lnTo>
                        <a:pt x="51" y="503"/>
                      </a:lnTo>
                      <a:lnTo>
                        <a:pt x="51" y="504"/>
                      </a:lnTo>
                      <a:lnTo>
                        <a:pt x="49" y="505"/>
                      </a:lnTo>
                      <a:lnTo>
                        <a:pt x="48" y="509"/>
                      </a:lnTo>
                      <a:lnTo>
                        <a:pt x="49" y="514"/>
                      </a:lnTo>
                      <a:lnTo>
                        <a:pt x="48" y="516"/>
                      </a:lnTo>
                      <a:lnTo>
                        <a:pt x="47" y="516"/>
                      </a:lnTo>
                      <a:lnTo>
                        <a:pt x="46" y="516"/>
                      </a:lnTo>
                      <a:lnTo>
                        <a:pt x="45" y="517"/>
                      </a:lnTo>
                      <a:lnTo>
                        <a:pt x="44" y="516"/>
                      </a:lnTo>
                      <a:lnTo>
                        <a:pt x="43" y="518"/>
                      </a:lnTo>
                      <a:lnTo>
                        <a:pt x="44" y="518"/>
                      </a:lnTo>
                      <a:lnTo>
                        <a:pt x="45" y="520"/>
                      </a:lnTo>
                      <a:lnTo>
                        <a:pt x="45" y="520"/>
                      </a:lnTo>
                      <a:lnTo>
                        <a:pt x="45" y="523"/>
                      </a:lnTo>
                      <a:lnTo>
                        <a:pt x="44" y="523"/>
                      </a:lnTo>
                      <a:lnTo>
                        <a:pt x="43" y="523"/>
                      </a:lnTo>
                      <a:lnTo>
                        <a:pt x="42" y="524"/>
                      </a:lnTo>
                      <a:lnTo>
                        <a:pt x="42" y="525"/>
                      </a:lnTo>
                      <a:lnTo>
                        <a:pt x="42" y="526"/>
                      </a:lnTo>
                      <a:lnTo>
                        <a:pt x="42" y="527"/>
                      </a:lnTo>
                      <a:lnTo>
                        <a:pt x="42" y="528"/>
                      </a:lnTo>
                      <a:lnTo>
                        <a:pt x="41" y="528"/>
                      </a:lnTo>
                      <a:lnTo>
                        <a:pt x="40" y="528"/>
                      </a:lnTo>
                      <a:lnTo>
                        <a:pt x="41" y="527"/>
                      </a:lnTo>
                      <a:lnTo>
                        <a:pt x="41" y="526"/>
                      </a:lnTo>
                      <a:lnTo>
                        <a:pt x="42" y="526"/>
                      </a:lnTo>
                      <a:lnTo>
                        <a:pt x="42" y="525"/>
                      </a:lnTo>
                      <a:lnTo>
                        <a:pt x="41" y="524"/>
                      </a:lnTo>
                      <a:lnTo>
                        <a:pt x="40" y="524"/>
                      </a:lnTo>
                      <a:lnTo>
                        <a:pt x="39" y="526"/>
                      </a:lnTo>
                      <a:lnTo>
                        <a:pt x="39" y="526"/>
                      </a:lnTo>
                      <a:lnTo>
                        <a:pt x="38" y="526"/>
                      </a:lnTo>
                      <a:lnTo>
                        <a:pt x="37" y="526"/>
                      </a:lnTo>
                      <a:lnTo>
                        <a:pt x="36" y="526"/>
                      </a:lnTo>
                      <a:lnTo>
                        <a:pt x="36" y="524"/>
                      </a:lnTo>
                      <a:lnTo>
                        <a:pt x="35" y="524"/>
                      </a:lnTo>
                      <a:lnTo>
                        <a:pt x="35" y="522"/>
                      </a:lnTo>
                      <a:lnTo>
                        <a:pt x="36" y="522"/>
                      </a:lnTo>
                      <a:lnTo>
                        <a:pt x="37" y="522"/>
                      </a:lnTo>
                      <a:lnTo>
                        <a:pt x="37" y="523"/>
                      </a:lnTo>
                      <a:lnTo>
                        <a:pt x="38" y="523"/>
                      </a:lnTo>
                      <a:lnTo>
                        <a:pt x="38" y="522"/>
                      </a:lnTo>
                      <a:lnTo>
                        <a:pt x="38" y="521"/>
                      </a:lnTo>
                      <a:lnTo>
                        <a:pt x="38" y="520"/>
                      </a:lnTo>
                      <a:lnTo>
                        <a:pt x="38" y="519"/>
                      </a:lnTo>
                      <a:lnTo>
                        <a:pt x="38" y="518"/>
                      </a:lnTo>
                      <a:lnTo>
                        <a:pt x="38" y="516"/>
                      </a:lnTo>
                      <a:lnTo>
                        <a:pt x="38" y="515"/>
                      </a:lnTo>
                      <a:lnTo>
                        <a:pt x="38" y="514"/>
                      </a:lnTo>
                      <a:lnTo>
                        <a:pt x="38" y="512"/>
                      </a:lnTo>
                      <a:lnTo>
                        <a:pt x="37" y="510"/>
                      </a:lnTo>
                      <a:lnTo>
                        <a:pt x="36" y="509"/>
                      </a:lnTo>
                      <a:lnTo>
                        <a:pt x="34" y="508"/>
                      </a:lnTo>
                      <a:lnTo>
                        <a:pt x="34" y="507"/>
                      </a:lnTo>
                      <a:lnTo>
                        <a:pt x="34" y="506"/>
                      </a:lnTo>
                      <a:lnTo>
                        <a:pt x="34" y="505"/>
                      </a:lnTo>
                      <a:lnTo>
                        <a:pt x="35" y="503"/>
                      </a:lnTo>
                      <a:lnTo>
                        <a:pt x="35" y="501"/>
                      </a:lnTo>
                      <a:lnTo>
                        <a:pt x="35" y="498"/>
                      </a:lnTo>
                      <a:lnTo>
                        <a:pt x="34" y="497"/>
                      </a:lnTo>
                      <a:lnTo>
                        <a:pt x="34" y="494"/>
                      </a:lnTo>
                      <a:lnTo>
                        <a:pt x="34" y="493"/>
                      </a:lnTo>
                      <a:lnTo>
                        <a:pt x="34" y="493"/>
                      </a:lnTo>
                      <a:lnTo>
                        <a:pt x="34" y="492"/>
                      </a:lnTo>
                      <a:lnTo>
                        <a:pt x="33" y="491"/>
                      </a:lnTo>
                      <a:lnTo>
                        <a:pt x="32" y="491"/>
                      </a:lnTo>
                      <a:lnTo>
                        <a:pt x="32" y="490"/>
                      </a:lnTo>
                      <a:lnTo>
                        <a:pt x="32" y="489"/>
                      </a:lnTo>
                      <a:lnTo>
                        <a:pt x="32" y="488"/>
                      </a:lnTo>
                      <a:lnTo>
                        <a:pt x="31" y="488"/>
                      </a:lnTo>
                      <a:lnTo>
                        <a:pt x="30" y="487"/>
                      </a:lnTo>
                      <a:lnTo>
                        <a:pt x="30" y="486"/>
                      </a:lnTo>
                      <a:lnTo>
                        <a:pt x="29" y="486"/>
                      </a:lnTo>
                      <a:lnTo>
                        <a:pt x="28" y="486"/>
                      </a:lnTo>
                      <a:lnTo>
                        <a:pt x="28" y="487"/>
                      </a:lnTo>
                      <a:lnTo>
                        <a:pt x="28" y="487"/>
                      </a:lnTo>
                      <a:lnTo>
                        <a:pt x="27" y="488"/>
                      </a:lnTo>
                      <a:lnTo>
                        <a:pt x="27" y="487"/>
                      </a:lnTo>
                      <a:lnTo>
                        <a:pt x="26" y="487"/>
                      </a:lnTo>
                      <a:lnTo>
                        <a:pt x="27" y="487"/>
                      </a:lnTo>
                      <a:lnTo>
                        <a:pt x="27" y="486"/>
                      </a:lnTo>
                      <a:lnTo>
                        <a:pt x="26" y="486"/>
                      </a:lnTo>
                      <a:lnTo>
                        <a:pt x="26" y="486"/>
                      </a:lnTo>
                      <a:lnTo>
                        <a:pt x="25" y="485"/>
                      </a:lnTo>
                      <a:lnTo>
                        <a:pt x="24" y="485"/>
                      </a:lnTo>
                      <a:lnTo>
                        <a:pt x="23" y="485"/>
                      </a:lnTo>
                      <a:lnTo>
                        <a:pt x="23" y="486"/>
                      </a:lnTo>
                      <a:lnTo>
                        <a:pt x="23" y="486"/>
                      </a:lnTo>
                      <a:lnTo>
                        <a:pt x="22" y="486"/>
                      </a:lnTo>
                      <a:lnTo>
                        <a:pt x="22" y="486"/>
                      </a:lnTo>
                      <a:lnTo>
                        <a:pt x="21" y="486"/>
                      </a:lnTo>
                      <a:lnTo>
                        <a:pt x="21" y="485"/>
                      </a:lnTo>
                      <a:lnTo>
                        <a:pt x="21" y="485"/>
                      </a:lnTo>
                      <a:lnTo>
                        <a:pt x="21" y="486"/>
                      </a:lnTo>
                      <a:lnTo>
                        <a:pt x="20" y="486"/>
                      </a:lnTo>
                      <a:lnTo>
                        <a:pt x="19" y="486"/>
                      </a:lnTo>
                      <a:lnTo>
                        <a:pt x="19" y="485"/>
                      </a:lnTo>
                      <a:lnTo>
                        <a:pt x="19" y="484"/>
                      </a:lnTo>
                      <a:lnTo>
                        <a:pt x="20" y="484"/>
                      </a:lnTo>
                      <a:lnTo>
                        <a:pt x="20" y="484"/>
                      </a:lnTo>
                      <a:lnTo>
                        <a:pt x="21" y="484"/>
                      </a:lnTo>
                      <a:lnTo>
                        <a:pt x="21" y="484"/>
                      </a:lnTo>
                      <a:lnTo>
                        <a:pt x="22" y="484"/>
                      </a:lnTo>
                      <a:lnTo>
                        <a:pt x="22" y="483"/>
                      </a:lnTo>
                      <a:lnTo>
                        <a:pt x="21" y="483"/>
                      </a:lnTo>
                      <a:lnTo>
                        <a:pt x="21" y="483"/>
                      </a:lnTo>
                      <a:lnTo>
                        <a:pt x="21" y="482"/>
                      </a:lnTo>
                      <a:lnTo>
                        <a:pt x="21" y="482"/>
                      </a:lnTo>
                      <a:lnTo>
                        <a:pt x="20" y="481"/>
                      </a:lnTo>
                      <a:lnTo>
                        <a:pt x="20" y="480"/>
                      </a:lnTo>
                      <a:lnTo>
                        <a:pt x="19" y="480"/>
                      </a:lnTo>
                      <a:lnTo>
                        <a:pt x="20" y="479"/>
                      </a:lnTo>
                      <a:lnTo>
                        <a:pt x="21" y="478"/>
                      </a:lnTo>
                      <a:lnTo>
                        <a:pt x="21" y="478"/>
                      </a:lnTo>
                      <a:lnTo>
                        <a:pt x="21" y="477"/>
                      </a:lnTo>
                      <a:lnTo>
                        <a:pt x="21" y="476"/>
                      </a:lnTo>
                      <a:lnTo>
                        <a:pt x="20" y="476"/>
                      </a:lnTo>
                      <a:lnTo>
                        <a:pt x="19" y="476"/>
                      </a:lnTo>
                      <a:lnTo>
                        <a:pt x="19" y="476"/>
                      </a:lnTo>
                      <a:lnTo>
                        <a:pt x="17" y="476"/>
                      </a:lnTo>
                      <a:lnTo>
                        <a:pt x="17" y="475"/>
                      </a:lnTo>
                      <a:lnTo>
                        <a:pt x="16" y="475"/>
                      </a:lnTo>
                      <a:lnTo>
                        <a:pt x="15" y="474"/>
                      </a:lnTo>
                      <a:lnTo>
                        <a:pt x="15" y="474"/>
                      </a:lnTo>
                      <a:lnTo>
                        <a:pt x="15" y="473"/>
                      </a:lnTo>
                      <a:lnTo>
                        <a:pt x="15" y="472"/>
                      </a:lnTo>
                      <a:lnTo>
                        <a:pt x="16" y="471"/>
                      </a:lnTo>
                      <a:lnTo>
                        <a:pt x="16" y="470"/>
                      </a:lnTo>
                      <a:lnTo>
                        <a:pt x="16" y="469"/>
                      </a:lnTo>
                      <a:lnTo>
                        <a:pt x="16" y="469"/>
                      </a:lnTo>
                      <a:lnTo>
                        <a:pt x="15" y="468"/>
                      </a:lnTo>
                      <a:lnTo>
                        <a:pt x="15" y="468"/>
                      </a:lnTo>
                      <a:lnTo>
                        <a:pt x="14" y="468"/>
                      </a:lnTo>
                      <a:lnTo>
                        <a:pt x="13" y="467"/>
                      </a:lnTo>
                      <a:lnTo>
                        <a:pt x="13" y="467"/>
                      </a:lnTo>
                      <a:lnTo>
                        <a:pt x="12" y="467"/>
                      </a:lnTo>
                      <a:lnTo>
                        <a:pt x="11" y="467"/>
                      </a:lnTo>
                      <a:lnTo>
                        <a:pt x="11" y="466"/>
                      </a:lnTo>
                      <a:lnTo>
                        <a:pt x="11" y="465"/>
                      </a:lnTo>
                      <a:lnTo>
                        <a:pt x="11" y="465"/>
                      </a:lnTo>
                      <a:lnTo>
                        <a:pt x="10" y="465"/>
                      </a:lnTo>
                      <a:lnTo>
                        <a:pt x="9" y="465"/>
                      </a:lnTo>
                      <a:lnTo>
                        <a:pt x="9" y="464"/>
                      </a:lnTo>
                      <a:lnTo>
                        <a:pt x="9" y="463"/>
                      </a:lnTo>
                      <a:lnTo>
                        <a:pt x="10" y="463"/>
                      </a:lnTo>
                      <a:lnTo>
                        <a:pt x="11" y="463"/>
                      </a:lnTo>
                      <a:lnTo>
                        <a:pt x="11" y="463"/>
                      </a:lnTo>
                      <a:lnTo>
                        <a:pt x="12" y="463"/>
                      </a:lnTo>
                      <a:lnTo>
                        <a:pt x="13" y="464"/>
                      </a:lnTo>
                      <a:lnTo>
                        <a:pt x="13" y="464"/>
                      </a:lnTo>
                      <a:lnTo>
                        <a:pt x="14" y="463"/>
                      </a:lnTo>
                      <a:lnTo>
                        <a:pt x="14" y="463"/>
                      </a:lnTo>
                      <a:lnTo>
                        <a:pt x="14" y="462"/>
                      </a:lnTo>
                      <a:lnTo>
                        <a:pt x="13" y="462"/>
                      </a:lnTo>
                      <a:lnTo>
                        <a:pt x="13" y="462"/>
                      </a:lnTo>
                      <a:lnTo>
                        <a:pt x="13" y="463"/>
                      </a:lnTo>
                      <a:lnTo>
                        <a:pt x="12" y="463"/>
                      </a:lnTo>
                      <a:lnTo>
                        <a:pt x="11" y="463"/>
                      </a:lnTo>
                      <a:lnTo>
                        <a:pt x="11" y="462"/>
                      </a:lnTo>
                      <a:lnTo>
                        <a:pt x="12" y="461"/>
                      </a:lnTo>
                      <a:lnTo>
                        <a:pt x="11" y="461"/>
                      </a:lnTo>
                      <a:lnTo>
                        <a:pt x="11" y="460"/>
                      </a:lnTo>
                      <a:lnTo>
                        <a:pt x="12" y="460"/>
                      </a:lnTo>
                      <a:lnTo>
                        <a:pt x="12" y="459"/>
                      </a:lnTo>
                      <a:lnTo>
                        <a:pt x="13" y="459"/>
                      </a:lnTo>
                      <a:lnTo>
                        <a:pt x="13" y="459"/>
                      </a:lnTo>
                      <a:lnTo>
                        <a:pt x="13" y="458"/>
                      </a:lnTo>
                      <a:lnTo>
                        <a:pt x="13" y="457"/>
                      </a:lnTo>
                      <a:lnTo>
                        <a:pt x="13" y="457"/>
                      </a:lnTo>
                      <a:lnTo>
                        <a:pt x="13" y="456"/>
                      </a:lnTo>
                      <a:lnTo>
                        <a:pt x="13" y="456"/>
                      </a:lnTo>
                      <a:lnTo>
                        <a:pt x="13" y="455"/>
                      </a:lnTo>
                      <a:lnTo>
                        <a:pt x="13" y="455"/>
                      </a:lnTo>
                      <a:lnTo>
                        <a:pt x="13" y="455"/>
                      </a:lnTo>
                      <a:lnTo>
                        <a:pt x="13" y="454"/>
                      </a:lnTo>
                      <a:lnTo>
                        <a:pt x="13" y="453"/>
                      </a:lnTo>
                      <a:lnTo>
                        <a:pt x="13" y="453"/>
                      </a:lnTo>
                      <a:lnTo>
                        <a:pt x="13" y="452"/>
                      </a:lnTo>
                      <a:lnTo>
                        <a:pt x="13" y="451"/>
                      </a:lnTo>
                      <a:lnTo>
                        <a:pt x="13" y="451"/>
                      </a:lnTo>
                      <a:lnTo>
                        <a:pt x="13" y="451"/>
                      </a:lnTo>
                      <a:lnTo>
                        <a:pt x="12" y="450"/>
                      </a:lnTo>
                      <a:lnTo>
                        <a:pt x="12" y="449"/>
                      </a:lnTo>
                      <a:lnTo>
                        <a:pt x="12" y="448"/>
                      </a:lnTo>
                      <a:lnTo>
                        <a:pt x="13" y="448"/>
                      </a:lnTo>
                      <a:lnTo>
                        <a:pt x="13" y="448"/>
                      </a:lnTo>
                      <a:lnTo>
                        <a:pt x="14" y="448"/>
                      </a:lnTo>
                      <a:lnTo>
                        <a:pt x="15" y="448"/>
                      </a:lnTo>
                      <a:lnTo>
                        <a:pt x="15" y="447"/>
                      </a:lnTo>
                      <a:lnTo>
                        <a:pt x="16" y="446"/>
                      </a:lnTo>
                      <a:lnTo>
                        <a:pt x="17" y="446"/>
                      </a:lnTo>
                      <a:lnTo>
                        <a:pt x="17" y="445"/>
                      </a:lnTo>
                      <a:lnTo>
                        <a:pt x="17" y="444"/>
                      </a:lnTo>
                      <a:lnTo>
                        <a:pt x="17" y="444"/>
                      </a:lnTo>
                      <a:lnTo>
                        <a:pt x="17" y="443"/>
                      </a:lnTo>
                      <a:lnTo>
                        <a:pt x="17" y="442"/>
                      </a:lnTo>
                      <a:lnTo>
                        <a:pt x="16" y="442"/>
                      </a:lnTo>
                      <a:lnTo>
                        <a:pt x="15" y="442"/>
                      </a:lnTo>
                      <a:lnTo>
                        <a:pt x="15" y="441"/>
                      </a:lnTo>
                      <a:lnTo>
                        <a:pt x="15" y="440"/>
                      </a:lnTo>
                      <a:lnTo>
                        <a:pt x="16" y="440"/>
                      </a:lnTo>
                      <a:lnTo>
                        <a:pt x="16" y="440"/>
                      </a:lnTo>
                      <a:lnTo>
                        <a:pt x="17" y="440"/>
                      </a:lnTo>
                      <a:lnTo>
                        <a:pt x="17" y="439"/>
                      </a:lnTo>
                      <a:lnTo>
                        <a:pt x="17" y="438"/>
                      </a:lnTo>
                      <a:lnTo>
                        <a:pt x="17" y="438"/>
                      </a:lnTo>
                      <a:lnTo>
                        <a:pt x="16" y="437"/>
                      </a:lnTo>
                      <a:lnTo>
                        <a:pt x="15" y="437"/>
                      </a:lnTo>
                      <a:lnTo>
                        <a:pt x="15" y="437"/>
                      </a:lnTo>
                      <a:lnTo>
                        <a:pt x="14" y="436"/>
                      </a:lnTo>
                      <a:lnTo>
                        <a:pt x="13" y="436"/>
                      </a:lnTo>
                      <a:lnTo>
                        <a:pt x="13" y="434"/>
                      </a:lnTo>
                      <a:lnTo>
                        <a:pt x="13" y="434"/>
                      </a:lnTo>
                      <a:lnTo>
                        <a:pt x="12" y="434"/>
                      </a:lnTo>
                      <a:lnTo>
                        <a:pt x="11" y="433"/>
                      </a:lnTo>
                      <a:lnTo>
                        <a:pt x="11" y="433"/>
                      </a:lnTo>
                      <a:lnTo>
                        <a:pt x="10" y="433"/>
                      </a:lnTo>
                      <a:lnTo>
                        <a:pt x="10" y="434"/>
                      </a:lnTo>
                      <a:lnTo>
                        <a:pt x="9" y="434"/>
                      </a:lnTo>
                      <a:lnTo>
                        <a:pt x="9" y="434"/>
                      </a:lnTo>
                      <a:lnTo>
                        <a:pt x="8" y="433"/>
                      </a:lnTo>
                      <a:lnTo>
                        <a:pt x="7" y="433"/>
                      </a:lnTo>
                      <a:lnTo>
                        <a:pt x="7" y="432"/>
                      </a:lnTo>
                      <a:lnTo>
                        <a:pt x="7" y="432"/>
                      </a:lnTo>
                      <a:lnTo>
                        <a:pt x="7" y="432"/>
                      </a:lnTo>
                      <a:lnTo>
                        <a:pt x="7" y="431"/>
                      </a:lnTo>
                      <a:lnTo>
                        <a:pt x="8" y="430"/>
                      </a:lnTo>
                      <a:lnTo>
                        <a:pt x="9" y="430"/>
                      </a:lnTo>
                      <a:lnTo>
                        <a:pt x="9" y="429"/>
                      </a:lnTo>
                      <a:lnTo>
                        <a:pt x="9" y="429"/>
                      </a:lnTo>
                      <a:lnTo>
                        <a:pt x="8" y="429"/>
                      </a:lnTo>
                      <a:lnTo>
                        <a:pt x="7" y="428"/>
                      </a:lnTo>
                      <a:lnTo>
                        <a:pt x="7" y="429"/>
                      </a:lnTo>
                      <a:lnTo>
                        <a:pt x="7" y="429"/>
                      </a:lnTo>
                      <a:lnTo>
                        <a:pt x="6" y="429"/>
                      </a:lnTo>
                      <a:lnTo>
                        <a:pt x="5" y="428"/>
                      </a:lnTo>
                      <a:lnTo>
                        <a:pt x="5" y="427"/>
                      </a:lnTo>
                      <a:lnTo>
                        <a:pt x="5" y="427"/>
                      </a:lnTo>
                      <a:lnTo>
                        <a:pt x="5" y="426"/>
                      </a:lnTo>
                      <a:lnTo>
                        <a:pt x="4" y="425"/>
                      </a:lnTo>
                      <a:lnTo>
                        <a:pt x="4" y="425"/>
                      </a:lnTo>
                      <a:lnTo>
                        <a:pt x="3" y="425"/>
                      </a:lnTo>
                      <a:lnTo>
                        <a:pt x="2" y="425"/>
                      </a:lnTo>
                      <a:lnTo>
                        <a:pt x="2" y="425"/>
                      </a:lnTo>
                      <a:lnTo>
                        <a:pt x="2" y="424"/>
                      </a:lnTo>
                      <a:lnTo>
                        <a:pt x="2" y="424"/>
                      </a:lnTo>
                      <a:lnTo>
                        <a:pt x="2" y="425"/>
                      </a:lnTo>
                      <a:lnTo>
                        <a:pt x="1" y="425"/>
                      </a:lnTo>
                      <a:lnTo>
                        <a:pt x="0" y="424"/>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8" name="Freeform 82">
                  <a:extLst>
                    <a:ext uri="{FF2B5EF4-FFF2-40B4-BE49-F238E27FC236}">
                      <a16:creationId xmlns:a16="http://schemas.microsoft.com/office/drawing/2014/main" xmlns="" id="{39E215D2-C9E0-54EF-D538-FDD9E2E72E29}"/>
                    </a:ext>
                  </a:extLst>
                </p:cNvPr>
                <p:cNvSpPr>
                  <a:spLocks/>
                </p:cNvSpPr>
                <p:nvPr/>
              </p:nvSpPr>
              <p:spPr bwMode="auto">
                <a:xfrm>
                  <a:off x="3068" y="3759"/>
                  <a:ext cx="235" cy="353"/>
                </a:xfrm>
                <a:custGeom>
                  <a:avLst/>
                  <a:gdLst>
                    <a:gd name="T0" fmla="*/ 233 w 235"/>
                    <a:gd name="T1" fmla="*/ 346 h 353"/>
                    <a:gd name="T2" fmla="*/ 228 w 235"/>
                    <a:gd name="T3" fmla="*/ 341 h 353"/>
                    <a:gd name="T4" fmla="*/ 226 w 235"/>
                    <a:gd name="T5" fmla="*/ 335 h 353"/>
                    <a:gd name="T6" fmla="*/ 213 w 235"/>
                    <a:gd name="T7" fmla="*/ 323 h 353"/>
                    <a:gd name="T8" fmla="*/ 212 w 235"/>
                    <a:gd name="T9" fmla="*/ 312 h 353"/>
                    <a:gd name="T10" fmla="*/ 219 w 235"/>
                    <a:gd name="T11" fmla="*/ 304 h 353"/>
                    <a:gd name="T12" fmla="*/ 211 w 235"/>
                    <a:gd name="T13" fmla="*/ 293 h 353"/>
                    <a:gd name="T14" fmla="*/ 203 w 235"/>
                    <a:gd name="T15" fmla="*/ 287 h 353"/>
                    <a:gd name="T16" fmla="*/ 199 w 235"/>
                    <a:gd name="T17" fmla="*/ 281 h 353"/>
                    <a:gd name="T18" fmla="*/ 193 w 235"/>
                    <a:gd name="T19" fmla="*/ 276 h 353"/>
                    <a:gd name="T20" fmla="*/ 182 w 235"/>
                    <a:gd name="T21" fmla="*/ 274 h 353"/>
                    <a:gd name="T22" fmla="*/ 173 w 235"/>
                    <a:gd name="T23" fmla="*/ 276 h 353"/>
                    <a:gd name="T24" fmla="*/ 166 w 235"/>
                    <a:gd name="T25" fmla="*/ 273 h 353"/>
                    <a:gd name="T26" fmla="*/ 159 w 235"/>
                    <a:gd name="T27" fmla="*/ 272 h 353"/>
                    <a:gd name="T28" fmla="*/ 155 w 235"/>
                    <a:gd name="T29" fmla="*/ 268 h 353"/>
                    <a:gd name="T30" fmla="*/ 149 w 235"/>
                    <a:gd name="T31" fmla="*/ 264 h 353"/>
                    <a:gd name="T32" fmla="*/ 143 w 235"/>
                    <a:gd name="T33" fmla="*/ 261 h 353"/>
                    <a:gd name="T34" fmla="*/ 136 w 235"/>
                    <a:gd name="T35" fmla="*/ 257 h 353"/>
                    <a:gd name="T36" fmla="*/ 131 w 235"/>
                    <a:gd name="T37" fmla="*/ 259 h 353"/>
                    <a:gd name="T38" fmla="*/ 123 w 235"/>
                    <a:gd name="T39" fmla="*/ 257 h 353"/>
                    <a:gd name="T40" fmla="*/ 116 w 235"/>
                    <a:gd name="T41" fmla="*/ 253 h 353"/>
                    <a:gd name="T42" fmla="*/ 108 w 235"/>
                    <a:gd name="T43" fmla="*/ 251 h 353"/>
                    <a:gd name="T44" fmla="*/ 59 w 235"/>
                    <a:gd name="T45" fmla="*/ 231 h 353"/>
                    <a:gd name="T46" fmla="*/ 51 w 235"/>
                    <a:gd name="T47" fmla="*/ 226 h 353"/>
                    <a:gd name="T48" fmla="*/ 44 w 235"/>
                    <a:gd name="T49" fmla="*/ 222 h 353"/>
                    <a:gd name="T50" fmla="*/ 35 w 235"/>
                    <a:gd name="T51" fmla="*/ 219 h 353"/>
                    <a:gd name="T52" fmla="*/ 26 w 235"/>
                    <a:gd name="T53" fmla="*/ 219 h 353"/>
                    <a:gd name="T54" fmla="*/ 18 w 235"/>
                    <a:gd name="T55" fmla="*/ 216 h 353"/>
                    <a:gd name="T56" fmla="*/ 11 w 235"/>
                    <a:gd name="T57" fmla="*/ 211 h 353"/>
                    <a:gd name="T58" fmla="*/ 4 w 235"/>
                    <a:gd name="T59" fmla="*/ 206 h 353"/>
                    <a:gd name="T60" fmla="*/ 0 w 235"/>
                    <a:gd name="T61" fmla="*/ 199 h 353"/>
                    <a:gd name="T62" fmla="*/ 5 w 235"/>
                    <a:gd name="T63" fmla="*/ 195 h 353"/>
                    <a:gd name="T64" fmla="*/ 6 w 235"/>
                    <a:gd name="T65" fmla="*/ 187 h 353"/>
                    <a:gd name="T66" fmla="*/ 13 w 235"/>
                    <a:gd name="T67" fmla="*/ 185 h 353"/>
                    <a:gd name="T68" fmla="*/ 17 w 235"/>
                    <a:gd name="T69" fmla="*/ 177 h 353"/>
                    <a:gd name="T70" fmla="*/ 22 w 235"/>
                    <a:gd name="T71" fmla="*/ 170 h 353"/>
                    <a:gd name="T72" fmla="*/ 23 w 235"/>
                    <a:gd name="T73" fmla="*/ 163 h 353"/>
                    <a:gd name="T74" fmla="*/ 27 w 235"/>
                    <a:gd name="T75" fmla="*/ 156 h 353"/>
                    <a:gd name="T76" fmla="*/ 28 w 235"/>
                    <a:gd name="T77" fmla="*/ 150 h 353"/>
                    <a:gd name="T78" fmla="*/ 29 w 235"/>
                    <a:gd name="T79" fmla="*/ 143 h 353"/>
                    <a:gd name="T80" fmla="*/ 34 w 235"/>
                    <a:gd name="T81" fmla="*/ 136 h 353"/>
                    <a:gd name="T82" fmla="*/ 37 w 235"/>
                    <a:gd name="T83" fmla="*/ 131 h 353"/>
                    <a:gd name="T84" fmla="*/ 38 w 235"/>
                    <a:gd name="T85" fmla="*/ 123 h 353"/>
                    <a:gd name="T86" fmla="*/ 40 w 235"/>
                    <a:gd name="T87" fmla="*/ 114 h 353"/>
                    <a:gd name="T88" fmla="*/ 40 w 235"/>
                    <a:gd name="T89" fmla="*/ 106 h 353"/>
                    <a:gd name="T90" fmla="*/ 40 w 235"/>
                    <a:gd name="T91" fmla="*/ 99 h 353"/>
                    <a:gd name="T92" fmla="*/ 40 w 235"/>
                    <a:gd name="T93" fmla="*/ 91 h 353"/>
                    <a:gd name="T94" fmla="*/ 42 w 235"/>
                    <a:gd name="T95" fmla="*/ 82 h 353"/>
                    <a:gd name="T96" fmla="*/ 44 w 235"/>
                    <a:gd name="T97" fmla="*/ 73 h 353"/>
                    <a:gd name="T98" fmla="*/ 44 w 235"/>
                    <a:gd name="T99" fmla="*/ 66 h 353"/>
                    <a:gd name="T100" fmla="*/ 45 w 235"/>
                    <a:gd name="T101" fmla="*/ 58 h 353"/>
                    <a:gd name="T102" fmla="*/ 46 w 235"/>
                    <a:gd name="T103" fmla="*/ 51 h 353"/>
                    <a:gd name="T104" fmla="*/ 48 w 235"/>
                    <a:gd name="T105" fmla="*/ 45 h 353"/>
                    <a:gd name="T106" fmla="*/ 48 w 235"/>
                    <a:gd name="T107" fmla="*/ 38 h 353"/>
                    <a:gd name="T108" fmla="*/ 48 w 235"/>
                    <a:gd name="T109" fmla="*/ 31 h 353"/>
                    <a:gd name="T110" fmla="*/ 48 w 235"/>
                    <a:gd name="T111" fmla="*/ 28 h 353"/>
                    <a:gd name="T112" fmla="*/ 50 w 235"/>
                    <a:gd name="T113" fmla="*/ 20 h 353"/>
                    <a:gd name="T114" fmla="*/ 51 w 235"/>
                    <a:gd name="T115" fmla="*/ 15 h 353"/>
                    <a:gd name="T116" fmla="*/ 50 w 235"/>
                    <a:gd name="T117" fmla="*/ 8 h 353"/>
                    <a:gd name="T118" fmla="*/ 53 w 235"/>
                    <a:gd name="T119" fmla="*/ 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 h="353">
                      <a:moveTo>
                        <a:pt x="234" y="353"/>
                      </a:moveTo>
                      <a:lnTo>
                        <a:pt x="234" y="352"/>
                      </a:lnTo>
                      <a:lnTo>
                        <a:pt x="234" y="352"/>
                      </a:lnTo>
                      <a:lnTo>
                        <a:pt x="234" y="352"/>
                      </a:lnTo>
                      <a:lnTo>
                        <a:pt x="233" y="352"/>
                      </a:lnTo>
                      <a:lnTo>
                        <a:pt x="233" y="351"/>
                      </a:lnTo>
                      <a:lnTo>
                        <a:pt x="232" y="351"/>
                      </a:lnTo>
                      <a:lnTo>
                        <a:pt x="232" y="350"/>
                      </a:lnTo>
                      <a:lnTo>
                        <a:pt x="233" y="350"/>
                      </a:lnTo>
                      <a:lnTo>
                        <a:pt x="233" y="349"/>
                      </a:lnTo>
                      <a:lnTo>
                        <a:pt x="234" y="349"/>
                      </a:lnTo>
                      <a:lnTo>
                        <a:pt x="234" y="349"/>
                      </a:lnTo>
                      <a:lnTo>
                        <a:pt x="235" y="348"/>
                      </a:lnTo>
                      <a:lnTo>
                        <a:pt x="234" y="348"/>
                      </a:lnTo>
                      <a:lnTo>
                        <a:pt x="234" y="347"/>
                      </a:lnTo>
                      <a:lnTo>
                        <a:pt x="234" y="346"/>
                      </a:lnTo>
                      <a:lnTo>
                        <a:pt x="233" y="346"/>
                      </a:lnTo>
                      <a:lnTo>
                        <a:pt x="232" y="346"/>
                      </a:lnTo>
                      <a:lnTo>
                        <a:pt x="232" y="346"/>
                      </a:lnTo>
                      <a:lnTo>
                        <a:pt x="232" y="346"/>
                      </a:lnTo>
                      <a:lnTo>
                        <a:pt x="231" y="345"/>
                      </a:lnTo>
                      <a:lnTo>
                        <a:pt x="231" y="344"/>
                      </a:lnTo>
                      <a:lnTo>
                        <a:pt x="231" y="344"/>
                      </a:lnTo>
                      <a:lnTo>
                        <a:pt x="231" y="343"/>
                      </a:lnTo>
                      <a:lnTo>
                        <a:pt x="231" y="342"/>
                      </a:lnTo>
                      <a:lnTo>
                        <a:pt x="231" y="342"/>
                      </a:lnTo>
                      <a:lnTo>
                        <a:pt x="231" y="341"/>
                      </a:lnTo>
                      <a:lnTo>
                        <a:pt x="231" y="340"/>
                      </a:lnTo>
                      <a:lnTo>
                        <a:pt x="230" y="340"/>
                      </a:lnTo>
                      <a:lnTo>
                        <a:pt x="230" y="340"/>
                      </a:lnTo>
                      <a:lnTo>
                        <a:pt x="230" y="340"/>
                      </a:lnTo>
                      <a:lnTo>
                        <a:pt x="229" y="340"/>
                      </a:lnTo>
                      <a:lnTo>
                        <a:pt x="229" y="341"/>
                      </a:lnTo>
                      <a:lnTo>
                        <a:pt x="228" y="341"/>
                      </a:lnTo>
                      <a:lnTo>
                        <a:pt x="228" y="342"/>
                      </a:lnTo>
                      <a:lnTo>
                        <a:pt x="227" y="342"/>
                      </a:lnTo>
                      <a:lnTo>
                        <a:pt x="226" y="342"/>
                      </a:lnTo>
                      <a:lnTo>
                        <a:pt x="225" y="342"/>
                      </a:lnTo>
                      <a:lnTo>
                        <a:pt x="224" y="342"/>
                      </a:lnTo>
                      <a:lnTo>
                        <a:pt x="224" y="342"/>
                      </a:lnTo>
                      <a:lnTo>
                        <a:pt x="223" y="342"/>
                      </a:lnTo>
                      <a:lnTo>
                        <a:pt x="222" y="341"/>
                      </a:lnTo>
                      <a:lnTo>
                        <a:pt x="223" y="341"/>
                      </a:lnTo>
                      <a:lnTo>
                        <a:pt x="223" y="340"/>
                      </a:lnTo>
                      <a:lnTo>
                        <a:pt x="223" y="340"/>
                      </a:lnTo>
                      <a:lnTo>
                        <a:pt x="224" y="339"/>
                      </a:lnTo>
                      <a:lnTo>
                        <a:pt x="224" y="338"/>
                      </a:lnTo>
                      <a:lnTo>
                        <a:pt x="224" y="337"/>
                      </a:lnTo>
                      <a:lnTo>
                        <a:pt x="225" y="337"/>
                      </a:lnTo>
                      <a:lnTo>
                        <a:pt x="226" y="336"/>
                      </a:lnTo>
                      <a:lnTo>
                        <a:pt x="226" y="335"/>
                      </a:lnTo>
                      <a:lnTo>
                        <a:pt x="226" y="334"/>
                      </a:lnTo>
                      <a:lnTo>
                        <a:pt x="225" y="333"/>
                      </a:lnTo>
                      <a:lnTo>
                        <a:pt x="224" y="333"/>
                      </a:lnTo>
                      <a:lnTo>
                        <a:pt x="224" y="332"/>
                      </a:lnTo>
                      <a:lnTo>
                        <a:pt x="223" y="332"/>
                      </a:lnTo>
                      <a:lnTo>
                        <a:pt x="222" y="331"/>
                      </a:lnTo>
                      <a:lnTo>
                        <a:pt x="222" y="330"/>
                      </a:lnTo>
                      <a:lnTo>
                        <a:pt x="220" y="329"/>
                      </a:lnTo>
                      <a:lnTo>
                        <a:pt x="219" y="329"/>
                      </a:lnTo>
                      <a:lnTo>
                        <a:pt x="218" y="329"/>
                      </a:lnTo>
                      <a:lnTo>
                        <a:pt x="217" y="328"/>
                      </a:lnTo>
                      <a:lnTo>
                        <a:pt x="216" y="327"/>
                      </a:lnTo>
                      <a:lnTo>
                        <a:pt x="215" y="327"/>
                      </a:lnTo>
                      <a:lnTo>
                        <a:pt x="214" y="325"/>
                      </a:lnTo>
                      <a:lnTo>
                        <a:pt x="213" y="325"/>
                      </a:lnTo>
                      <a:lnTo>
                        <a:pt x="213" y="324"/>
                      </a:lnTo>
                      <a:lnTo>
                        <a:pt x="213" y="323"/>
                      </a:lnTo>
                      <a:lnTo>
                        <a:pt x="212" y="323"/>
                      </a:lnTo>
                      <a:lnTo>
                        <a:pt x="212" y="322"/>
                      </a:lnTo>
                      <a:lnTo>
                        <a:pt x="212" y="321"/>
                      </a:lnTo>
                      <a:lnTo>
                        <a:pt x="213" y="321"/>
                      </a:lnTo>
                      <a:lnTo>
                        <a:pt x="213" y="320"/>
                      </a:lnTo>
                      <a:lnTo>
                        <a:pt x="213" y="319"/>
                      </a:lnTo>
                      <a:lnTo>
                        <a:pt x="213" y="318"/>
                      </a:lnTo>
                      <a:lnTo>
                        <a:pt x="213" y="318"/>
                      </a:lnTo>
                      <a:lnTo>
                        <a:pt x="213" y="317"/>
                      </a:lnTo>
                      <a:lnTo>
                        <a:pt x="213" y="317"/>
                      </a:lnTo>
                      <a:lnTo>
                        <a:pt x="213" y="316"/>
                      </a:lnTo>
                      <a:lnTo>
                        <a:pt x="213" y="316"/>
                      </a:lnTo>
                      <a:lnTo>
                        <a:pt x="213" y="315"/>
                      </a:lnTo>
                      <a:lnTo>
                        <a:pt x="212" y="314"/>
                      </a:lnTo>
                      <a:lnTo>
                        <a:pt x="212" y="314"/>
                      </a:lnTo>
                      <a:lnTo>
                        <a:pt x="212" y="313"/>
                      </a:lnTo>
                      <a:lnTo>
                        <a:pt x="212" y="312"/>
                      </a:lnTo>
                      <a:lnTo>
                        <a:pt x="213" y="312"/>
                      </a:lnTo>
                      <a:lnTo>
                        <a:pt x="213" y="312"/>
                      </a:lnTo>
                      <a:lnTo>
                        <a:pt x="213" y="311"/>
                      </a:lnTo>
                      <a:lnTo>
                        <a:pt x="213" y="310"/>
                      </a:lnTo>
                      <a:lnTo>
                        <a:pt x="213" y="310"/>
                      </a:lnTo>
                      <a:lnTo>
                        <a:pt x="214" y="309"/>
                      </a:lnTo>
                      <a:lnTo>
                        <a:pt x="215" y="309"/>
                      </a:lnTo>
                      <a:lnTo>
                        <a:pt x="215" y="309"/>
                      </a:lnTo>
                      <a:lnTo>
                        <a:pt x="216" y="308"/>
                      </a:lnTo>
                      <a:lnTo>
                        <a:pt x="217" y="308"/>
                      </a:lnTo>
                      <a:lnTo>
                        <a:pt x="217" y="308"/>
                      </a:lnTo>
                      <a:lnTo>
                        <a:pt x="217" y="307"/>
                      </a:lnTo>
                      <a:lnTo>
                        <a:pt x="217" y="306"/>
                      </a:lnTo>
                      <a:lnTo>
                        <a:pt x="218" y="306"/>
                      </a:lnTo>
                      <a:lnTo>
                        <a:pt x="218" y="305"/>
                      </a:lnTo>
                      <a:lnTo>
                        <a:pt x="219" y="304"/>
                      </a:lnTo>
                      <a:lnTo>
                        <a:pt x="219" y="304"/>
                      </a:lnTo>
                      <a:lnTo>
                        <a:pt x="219" y="303"/>
                      </a:lnTo>
                      <a:lnTo>
                        <a:pt x="219" y="302"/>
                      </a:lnTo>
                      <a:lnTo>
                        <a:pt x="219" y="302"/>
                      </a:lnTo>
                      <a:lnTo>
                        <a:pt x="219" y="301"/>
                      </a:lnTo>
                      <a:lnTo>
                        <a:pt x="219" y="300"/>
                      </a:lnTo>
                      <a:lnTo>
                        <a:pt x="219" y="299"/>
                      </a:lnTo>
                      <a:lnTo>
                        <a:pt x="217" y="297"/>
                      </a:lnTo>
                      <a:lnTo>
                        <a:pt x="216" y="297"/>
                      </a:lnTo>
                      <a:lnTo>
                        <a:pt x="215" y="296"/>
                      </a:lnTo>
                      <a:lnTo>
                        <a:pt x="215" y="296"/>
                      </a:lnTo>
                      <a:lnTo>
                        <a:pt x="214" y="295"/>
                      </a:lnTo>
                      <a:lnTo>
                        <a:pt x="213" y="295"/>
                      </a:lnTo>
                      <a:lnTo>
                        <a:pt x="213" y="295"/>
                      </a:lnTo>
                      <a:lnTo>
                        <a:pt x="213" y="294"/>
                      </a:lnTo>
                      <a:lnTo>
                        <a:pt x="212" y="294"/>
                      </a:lnTo>
                      <a:lnTo>
                        <a:pt x="211" y="293"/>
                      </a:lnTo>
                      <a:lnTo>
                        <a:pt x="211" y="293"/>
                      </a:lnTo>
                      <a:lnTo>
                        <a:pt x="210" y="292"/>
                      </a:lnTo>
                      <a:lnTo>
                        <a:pt x="209" y="292"/>
                      </a:lnTo>
                      <a:lnTo>
                        <a:pt x="209" y="291"/>
                      </a:lnTo>
                      <a:lnTo>
                        <a:pt x="209" y="291"/>
                      </a:lnTo>
                      <a:lnTo>
                        <a:pt x="209" y="291"/>
                      </a:lnTo>
                      <a:lnTo>
                        <a:pt x="208" y="291"/>
                      </a:lnTo>
                      <a:lnTo>
                        <a:pt x="207" y="291"/>
                      </a:lnTo>
                      <a:lnTo>
                        <a:pt x="207" y="291"/>
                      </a:lnTo>
                      <a:lnTo>
                        <a:pt x="207" y="290"/>
                      </a:lnTo>
                      <a:lnTo>
                        <a:pt x="206" y="290"/>
                      </a:lnTo>
                      <a:lnTo>
                        <a:pt x="205" y="290"/>
                      </a:lnTo>
                      <a:lnTo>
                        <a:pt x="205" y="289"/>
                      </a:lnTo>
                      <a:lnTo>
                        <a:pt x="205" y="289"/>
                      </a:lnTo>
                      <a:lnTo>
                        <a:pt x="204" y="289"/>
                      </a:lnTo>
                      <a:lnTo>
                        <a:pt x="204" y="288"/>
                      </a:lnTo>
                      <a:lnTo>
                        <a:pt x="204" y="287"/>
                      </a:lnTo>
                      <a:lnTo>
                        <a:pt x="203" y="287"/>
                      </a:lnTo>
                      <a:lnTo>
                        <a:pt x="203" y="287"/>
                      </a:lnTo>
                      <a:lnTo>
                        <a:pt x="204" y="287"/>
                      </a:lnTo>
                      <a:lnTo>
                        <a:pt x="204" y="286"/>
                      </a:lnTo>
                      <a:lnTo>
                        <a:pt x="203" y="286"/>
                      </a:lnTo>
                      <a:lnTo>
                        <a:pt x="203" y="285"/>
                      </a:lnTo>
                      <a:lnTo>
                        <a:pt x="203" y="285"/>
                      </a:lnTo>
                      <a:lnTo>
                        <a:pt x="203" y="285"/>
                      </a:lnTo>
                      <a:lnTo>
                        <a:pt x="203" y="284"/>
                      </a:lnTo>
                      <a:lnTo>
                        <a:pt x="202" y="284"/>
                      </a:lnTo>
                      <a:lnTo>
                        <a:pt x="202" y="283"/>
                      </a:lnTo>
                      <a:lnTo>
                        <a:pt x="201" y="283"/>
                      </a:lnTo>
                      <a:lnTo>
                        <a:pt x="201" y="283"/>
                      </a:lnTo>
                      <a:lnTo>
                        <a:pt x="200" y="283"/>
                      </a:lnTo>
                      <a:lnTo>
                        <a:pt x="200" y="282"/>
                      </a:lnTo>
                      <a:lnTo>
                        <a:pt x="200" y="281"/>
                      </a:lnTo>
                      <a:lnTo>
                        <a:pt x="199" y="281"/>
                      </a:lnTo>
                      <a:lnTo>
                        <a:pt x="199" y="281"/>
                      </a:lnTo>
                      <a:lnTo>
                        <a:pt x="199" y="280"/>
                      </a:lnTo>
                      <a:lnTo>
                        <a:pt x="199" y="279"/>
                      </a:lnTo>
                      <a:lnTo>
                        <a:pt x="198" y="279"/>
                      </a:lnTo>
                      <a:lnTo>
                        <a:pt x="198" y="280"/>
                      </a:lnTo>
                      <a:lnTo>
                        <a:pt x="197" y="280"/>
                      </a:lnTo>
                      <a:lnTo>
                        <a:pt x="197" y="279"/>
                      </a:lnTo>
                      <a:lnTo>
                        <a:pt x="197" y="278"/>
                      </a:lnTo>
                      <a:lnTo>
                        <a:pt x="196" y="278"/>
                      </a:lnTo>
                      <a:lnTo>
                        <a:pt x="196" y="278"/>
                      </a:lnTo>
                      <a:lnTo>
                        <a:pt x="196" y="278"/>
                      </a:lnTo>
                      <a:lnTo>
                        <a:pt x="195" y="278"/>
                      </a:lnTo>
                      <a:lnTo>
                        <a:pt x="194" y="278"/>
                      </a:lnTo>
                      <a:lnTo>
                        <a:pt x="194" y="277"/>
                      </a:lnTo>
                      <a:lnTo>
                        <a:pt x="194" y="276"/>
                      </a:lnTo>
                      <a:lnTo>
                        <a:pt x="194" y="276"/>
                      </a:lnTo>
                      <a:lnTo>
                        <a:pt x="194" y="276"/>
                      </a:lnTo>
                      <a:lnTo>
                        <a:pt x="193" y="276"/>
                      </a:lnTo>
                      <a:lnTo>
                        <a:pt x="192" y="276"/>
                      </a:lnTo>
                      <a:lnTo>
                        <a:pt x="192" y="276"/>
                      </a:lnTo>
                      <a:lnTo>
                        <a:pt x="192" y="275"/>
                      </a:lnTo>
                      <a:lnTo>
                        <a:pt x="191" y="275"/>
                      </a:lnTo>
                      <a:lnTo>
                        <a:pt x="190" y="275"/>
                      </a:lnTo>
                      <a:lnTo>
                        <a:pt x="190" y="276"/>
                      </a:lnTo>
                      <a:lnTo>
                        <a:pt x="189" y="276"/>
                      </a:lnTo>
                      <a:lnTo>
                        <a:pt x="188" y="276"/>
                      </a:lnTo>
                      <a:lnTo>
                        <a:pt x="188" y="276"/>
                      </a:lnTo>
                      <a:lnTo>
                        <a:pt x="187" y="276"/>
                      </a:lnTo>
                      <a:lnTo>
                        <a:pt x="186" y="275"/>
                      </a:lnTo>
                      <a:lnTo>
                        <a:pt x="186" y="275"/>
                      </a:lnTo>
                      <a:lnTo>
                        <a:pt x="185" y="274"/>
                      </a:lnTo>
                      <a:lnTo>
                        <a:pt x="184" y="274"/>
                      </a:lnTo>
                      <a:lnTo>
                        <a:pt x="184" y="274"/>
                      </a:lnTo>
                      <a:lnTo>
                        <a:pt x="183" y="274"/>
                      </a:lnTo>
                      <a:lnTo>
                        <a:pt x="182" y="274"/>
                      </a:lnTo>
                      <a:lnTo>
                        <a:pt x="181" y="274"/>
                      </a:lnTo>
                      <a:lnTo>
                        <a:pt x="181" y="274"/>
                      </a:lnTo>
                      <a:lnTo>
                        <a:pt x="180" y="274"/>
                      </a:lnTo>
                      <a:lnTo>
                        <a:pt x="179" y="274"/>
                      </a:lnTo>
                      <a:lnTo>
                        <a:pt x="179" y="275"/>
                      </a:lnTo>
                      <a:lnTo>
                        <a:pt x="179" y="275"/>
                      </a:lnTo>
                      <a:lnTo>
                        <a:pt x="178" y="275"/>
                      </a:lnTo>
                      <a:lnTo>
                        <a:pt x="177" y="275"/>
                      </a:lnTo>
                      <a:lnTo>
                        <a:pt x="177" y="275"/>
                      </a:lnTo>
                      <a:lnTo>
                        <a:pt x="176" y="275"/>
                      </a:lnTo>
                      <a:lnTo>
                        <a:pt x="175" y="275"/>
                      </a:lnTo>
                      <a:lnTo>
                        <a:pt x="175" y="276"/>
                      </a:lnTo>
                      <a:lnTo>
                        <a:pt x="175" y="276"/>
                      </a:lnTo>
                      <a:lnTo>
                        <a:pt x="174" y="276"/>
                      </a:lnTo>
                      <a:lnTo>
                        <a:pt x="173" y="276"/>
                      </a:lnTo>
                      <a:lnTo>
                        <a:pt x="173" y="277"/>
                      </a:lnTo>
                      <a:lnTo>
                        <a:pt x="173" y="276"/>
                      </a:lnTo>
                      <a:lnTo>
                        <a:pt x="173" y="276"/>
                      </a:lnTo>
                      <a:lnTo>
                        <a:pt x="172" y="276"/>
                      </a:lnTo>
                      <a:lnTo>
                        <a:pt x="171" y="276"/>
                      </a:lnTo>
                      <a:lnTo>
                        <a:pt x="171" y="276"/>
                      </a:lnTo>
                      <a:lnTo>
                        <a:pt x="170" y="276"/>
                      </a:lnTo>
                      <a:lnTo>
                        <a:pt x="169" y="276"/>
                      </a:lnTo>
                      <a:lnTo>
                        <a:pt x="169" y="276"/>
                      </a:lnTo>
                      <a:lnTo>
                        <a:pt x="169" y="276"/>
                      </a:lnTo>
                      <a:lnTo>
                        <a:pt x="168" y="275"/>
                      </a:lnTo>
                      <a:lnTo>
                        <a:pt x="167" y="275"/>
                      </a:lnTo>
                      <a:lnTo>
                        <a:pt x="167" y="274"/>
                      </a:lnTo>
                      <a:lnTo>
                        <a:pt x="168" y="274"/>
                      </a:lnTo>
                      <a:lnTo>
                        <a:pt x="168" y="274"/>
                      </a:lnTo>
                      <a:lnTo>
                        <a:pt x="167" y="274"/>
                      </a:lnTo>
                      <a:lnTo>
                        <a:pt x="167" y="273"/>
                      </a:lnTo>
                      <a:lnTo>
                        <a:pt x="167" y="273"/>
                      </a:lnTo>
                      <a:lnTo>
                        <a:pt x="166" y="273"/>
                      </a:lnTo>
                      <a:lnTo>
                        <a:pt x="166" y="272"/>
                      </a:lnTo>
                      <a:lnTo>
                        <a:pt x="165" y="272"/>
                      </a:lnTo>
                      <a:lnTo>
                        <a:pt x="165" y="272"/>
                      </a:lnTo>
                      <a:lnTo>
                        <a:pt x="165" y="273"/>
                      </a:lnTo>
                      <a:lnTo>
                        <a:pt x="164" y="272"/>
                      </a:lnTo>
                      <a:lnTo>
                        <a:pt x="164" y="273"/>
                      </a:lnTo>
                      <a:lnTo>
                        <a:pt x="164" y="272"/>
                      </a:lnTo>
                      <a:lnTo>
                        <a:pt x="163" y="272"/>
                      </a:lnTo>
                      <a:lnTo>
                        <a:pt x="162" y="272"/>
                      </a:lnTo>
                      <a:lnTo>
                        <a:pt x="162" y="272"/>
                      </a:lnTo>
                      <a:lnTo>
                        <a:pt x="162" y="272"/>
                      </a:lnTo>
                      <a:lnTo>
                        <a:pt x="161" y="272"/>
                      </a:lnTo>
                      <a:lnTo>
                        <a:pt x="161" y="272"/>
                      </a:lnTo>
                      <a:lnTo>
                        <a:pt x="160" y="272"/>
                      </a:lnTo>
                      <a:lnTo>
                        <a:pt x="160" y="272"/>
                      </a:lnTo>
                      <a:lnTo>
                        <a:pt x="160" y="272"/>
                      </a:lnTo>
                      <a:lnTo>
                        <a:pt x="159" y="272"/>
                      </a:lnTo>
                      <a:lnTo>
                        <a:pt x="159" y="272"/>
                      </a:lnTo>
                      <a:lnTo>
                        <a:pt x="158" y="272"/>
                      </a:lnTo>
                      <a:lnTo>
                        <a:pt x="158" y="271"/>
                      </a:lnTo>
                      <a:lnTo>
                        <a:pt x="158" y="271"/>
                      </a:lnTo>
                      <a:lnTo>
                        <a:pt x="158" y="270"/>
                      </a:lnTo>
                      <a:lnTo>
                        <a:pt x="157" y="270"/>
                      </a:lnTo>
                      <a:lnTo>
                        <a:pt x="156" y="270"/>
                      </a:lnTo>
                      <a:lnTo>
                        <a:pt x="156" y="269"/>
                      </a:lnTo>
                      <a:lnTo>
                        <a:pt x="156" y="268"/>
                      </a:lnTo>
                      <a:lnTo>
                        <a:pt x="156" y="269"/>
                      </a:lnTo>
                      <a:lnTo>
                        <a:pt x="156" y="268"/>
                      </a:lnTo>
                      <a:lnTo>
                        <a:pt x="155" y="268"/>
                      </a:lnTo>
                      <a:lnTo>
                        <a:pt x="156" y="268"/>
                      </a:lnTo>
                      <a:lnTo>
                        <a:pt x="156" y="268"/>
                      </a:lnTo>
                      <a:lnTo>
                        <a:pt x="155" y="268"/>
                      </a:lnTo>
                      <a:lnTo>
                        <a:pt x="155" y="268"/>
                      </a:lnTo>
                      <a:lnTo>
                        <a:pt x="155" y="268"/>
                      </a:lnTo>
                      <a:lnTo>
                        <a:pt x="155" y="268"/>
                      </a:lnTo>
                      <a:lnTo>
                        <a:pt x="154" y="268"/>
                      </a:lnTo>
                      <a:lnTo>
                        <a:pt x="154" y="268"/>
                      </a:lnTo>
                      <a:lnTo>
                        <a:pt x="154" y="268"/>
                      </a:lnTo>
                      <a:lnTo>
                        <a:pt x="154" y="267"/>
                      </a:lnTo>
                      <a:lnTo>
                        <a:pt x="153" y="267"/>
                      </a:lnTo>
                      <a:lnTo>
                        <a:pt x="153" y="266"/>
                      </a:lnTo>
                      <a:lnTo>
                        <a:pt x="152" y="266"/>
                      </a:lnTo>
                      <a:lnTo>
                        <a:pt x="152" y="266"/>
                      </a:lnTo>
                      <a:lnTo>
                        <a:pt x="152" y="266"/>
                      </a:lnTo>
                      <a:lnTo>
                        <a:pt x="151" y="266"/>
                      </a:lnTo>
                      <a:lnTo>
                        <a:pt x="151" y="265"/>
                      </a:lnTo>
                      <a:lnTo>
                        <a:pt x="150" y="265"/>
                      </a:lnTo>
                      <a:lnTo>
                        <a:pt x="150" y="264"/>
                      </a:lnTo>
                      <a:lnTo>
                        <a:pt x="150" y="264"/>
                      </a:lnTo>
                      <a:lnTo>
                        <a:pt x="150" y="264"/>
                      </a:lnTo>
                      <a:lnTo>
                        <a:pt x="149" y="264"/>
                      </a:lnTo>
                      <a:lnTo>
                        <a:pt x="148" y="264"/>
                      </a:lnTo>
                      <a:lnTo>
                        <a:pt x="148" y="263"/>
                      </a:lnTo>
                      <a:lnTo>
                        <a:pt x="148" y="263"/>
                      </a:lnTo>
                      <a:lnTo>
                        <a:pt x="147" y="263"/>
                      </a:lnTo>
                      <a:lnTo>
                        <a:pt x="148" y="263"/>
                      </a:lnTo>
                      <a:lnTo>
                        <a:pt x="147" y="263"/>
                      </a:lnTo>
                      <a:lnTo>
                        <a:pt x="146" y="263"/>
                      </a:lnTo>
                      <a:lnTo>
                        <a:pt x="146" y="264"/>
                      </a:lnTo>
                      <a:lnTo>
                        <a:pt x="146" y="264"/>
                      </a:lnTo>
                      <a:lnTo>
                        <a:pt x="146" y="263"/>
                      </a:lnTo>
                      <a:lnTo>
                        <a:pt x="146" y="262"/>
                      </a:lnTo>
                      <a:lnTo>
                        <a:pt x="145" y="262"/>
                      </a:lnTo>
                      <a:lnTo>
                        <a:pt x="144" y="262"/>
                      </a:lnTo>
                      <a:lnTo>
                        <a:pt x="143" y="262"/>
                      </a:lnTo>
                      <a:lnTo>
                        <a:pt x="143" y="262"/>
                      </a:lnTo>
                      <a:lnTo>
                        <a:pt x="143" y="262"/>
                      </a:lnTo>
                      <a:lnTo>
                        <a:pt x="143" y="261"/>
                      </a:lnTo>
                      <a:lnTo>
                        <a:pt x="142" y="261"/>
                      </a:lnTo>
                      <a:lnTo>
                        <a:pt x="141" y="260"/>
                      </a:lnTo>
                      <a:lnTo>
                        <a:pt x="141" y="260"/>
                      </a:lnTo>
                      <a:lnTo>
                        <a:pt x="141" y="259"/>
                      </a:lnTo>
                      <a:lnTo>
                        <a:pt x="140" y="259"/>
                      </a:lnTo>
                      <a:lnTo>
                        <a:pt x="139" y="259"/>
                      </a:lnTo>
                      <a:lnTo>
                        <a:pt x="139" y="259"/>
                      </a:lnTo>
                      <a:lnTo>
                        <a:pt x="139" y="258"/>
                      </a:lnTo>
                      <a:lnTo>
                        <a:pt x="139" y="257"/>
                      </a:lnTo>
                      <a:lnTo>
                        <a:pt x="139" y="258"/>
                      </a:lnTo>
                      <a:lnTo>
                        <a:pt x="138" y="258"/>
                      </a:lnTo>
                      <a:lnTo>
                        <a:pt x="138" y="257"/>
                      </a:lnTo>
                      <a:lnTo>
                        <a:pt x="137" y="258"/>
                      </a:lnTo>
                      <a:lnTo>
                        <a:pt x="137" y="257"/>
                      </a:lnTo>
                      <a:lnTo>
                        <a:pt x="137" y="257"/>
                      </a:lnTo>
                      <a:lnTo>
                        <a:pt x="136" y="257"/>
                      </a:lnTo>
                      <a:lnTo>
                        <a:pt x="136" y="257"/>
                      </a:lnTo>
                      <a:lnTo>
                        <a:pt x="135" y="257"/>
                      </a:lnTo>
                      <a:lnTo>
                        <a:pt x="135" y="256"/>
                      </a:lnTo>
                      <a:lnTo>
                        <a:pt x="135" y="256"/>
                      </a:lnTo>
                      <a:lnTo>
                        <a:pt x="135" y="257"/>
                      </a:lnTo>
                      <a:lnTo>
                        <a:pt x="135" y="256"/>
                      </a:lnTo>
                      <a:lnTo>
                        <a:pt x="134" y="257"/>
                      </a:lnTo>
                      <a:lnTo>
                        <a:pt x="134" y="257"/>
                      </a:lnTo>
                      <a:lnTo>
                        <a:pt x="134" y="258"/>
                      </a:lnTo>
                      <a:lnTo>
                        <a:pt x="134" y="257"/>
                      </a:lnTo>
                      <a:lnTo>
                        <a:pt x="134" y="258"/>
                      </a:lnTo>
                      <a:lnTo>
                        <a:pt x="133" y="258"/>
                      </a:lnTo>
                      <a:lnTo>
                        <a:pt x="133" y="259"/>
                      </a:lnTo>
                      <a:lnTo>
                        <a:pt x="133" y="259"/>
                      </a:lnTo>
                      <a:lnTo>
                        <a:pt x="133" y="259"/>
                      </a:lnTo>
                      <a:lnTo>
                        <a:pt x="132" y="259"/>
                      </a:lnTo>
                      <a:lnTo>
                        <a:pt x="132" y="259"/>
                      </a:lnTo>
                      <a:lnTo>
                        <a:pt x="131" y="259"/>
                      </a:lnTo>
                      <a:lnTo>
                        <a:pt x="131" y="258"/>
                      </a:lnTo>
                      <a:lnTo>
                        <a:pt x="130" y="258"/>
                      </a:lnTo>
                      <a:lnTo>
                        <a:pt x="129" y="258"/>
                      </a:lnTo>
                      <a:lnTo>
                        <a:pt x="129" y="257"/>
                      </a:lnTo>
                      <a:lnTo>
                        <a:pt x="129" y="257"/>
                      </a:lnTo>
                      <a:lnTo>
                        <a:pt x="129" y="257"/>
                      </a:lnTo>
                      <a:lnTo>
                        <a:pt x="129" y="257"/>
                      </a:lnTo>
                      <a:lnTo>
                        <a:pt x="128" y="257"/>
                      </a:lnTo>
                      <a:lnTo>
                        <a:pt x="128" y="257"/>
                      </a:lnTo>
                      <a:lnTo>
                        <a:pt x="127" y="257"/>
                      </a:lnTo>
                      <a:lnTo>
                        <a:pt x="127" y="257"/>
                      </a:lnTo>
                      <a:lnTo>
                        <a:pt x="127" y="257"/>
                      </a:lnTo>
                      <a:lnTo>
                        <a:pt x="126" y="257"/>
                      </a:lnTo>
                      <a:lnTo>
                        <a:pt x="125" y="257"/>
                      </a:lnTo>
                      <a:lnTo>
                        <a:pt x="124" y="257"/>
                      </a:lnTo>
                      <a:lnTo>
                        <a:pt x="124" y="257"/>
                      </a:lnTo>
                      <a:lnTo>
                        <a:pt x="123" y="257"/>
                      </a:lnTo>
                      <a:lnTo>
                        <a:pt x="122" y="257"/>
                      </a:lnTo>
                      <a:lnTo>
                        <a:pt x="122" y="257"/>
                      </a:lnTo>
                      <a:lnTo>
                        <a:pt x="122" y="257"/>
                      </a:lnTo>
                      <a:lnTo>
                        <a:pt x="121" y="257"/>
                      </a:lnTo>
                      <a:lnTo>
                        <a:pt x="121" y="256"/>
                      </a:lnTo>
                      <a:lnTo>
                        <a:pt x="120" y="256"/>
                      </a:lnTo>
                      <a:lnTo>
                        <a:pt x="120" y="255"/>
                      </a:lnTo>
                      <a:lnTo>
                        <a:pt x="120" y="255"/>
                      </a:lnTo>
                      <a:lnTo>
                        <a:pt x="120" y="255"/>
                      </a:lnTo>
                      <a:lnTo>
                        <a:pt x="119" y="255"/>
                      </a:lnTo>
                      <a:lnTo>
                        <a:pt x="118" y="255"/>
                      </a:lnTo>
                      <a:lnTo>
                        <a:pt x="118" y="255"/>
                      </a:lnTo>
                      <a:lnTo>
                        <a:pt x="118" y="254"/>
                      </a:lnTo>
                      <a:lnTo>
                        <a:pt x="117" y="254"/>
                      </a:lnTo>
                      <a:lnTo>
                        <a:pt x="116" y="254"/>
                      </a:lnTo>
                      <a:lnTo>
                        <a:pt x="116" y="254"/>
                      </a:lnTo>
                      <a:lnTo>
                        <a:pt x="116" y="253"/>
                      </a:lnTo>
                      <a:lnTo>
                        <a:pt x="115" y="253"/>
                      </a:lnTo>
                      <a:lnTo>
                        <a:pt x="115" y="253"/>
                      </a:lnTo>
                      <a:lnTo>
                        <a:pt x="114" y="253"/>
                      </a:lnTo>
                      <a:lnTo>
                        <a:pt x="114" y="253"/>
                      </a:lnTo>
                      <a:lnTo>
                        <a:pt x="114" y="253"/>
                      </a:lnTo>
                      <a:lnTo>
                        <a:pt x="114" y="253"/>
                      </a:lnTo>
                      <a:lnTo>
                        <a:pt x="113" y="253"/>
                      </a:lnTo>
                      <a:lnTo>
                        <a:pt x="112" y="253"/>
                      </a:lnTo>
                      <a:lnTo>
                        <a:pt x="112" y="253"/>
                      </a:lnTo>
                      <a:lnTo>
                        <a:pt x="112" y="253"/>
                      </a:lnTo>
                      <a:lnTo>
                        <a:pt x="112" y="252"/>
                      </a:lnTo>
                      <a:lnTo>
                        <a:pt x="111" y="252"/>
                      </a:lnTo>
                      <a:lnTo>
                        <a:pt x="110" y="252"/>
                      </a:lnTo>
                      <a:lnTo>
                        <a:pt x="110" y="252"/>
                      </a:lnTo>
                      <a:lnTo>
                        <a:pt x="110" y="251"/>
                      </a:lnTo>
                      <a:lnTo>
                        <a:pt x="109" y="251"/>
                      </a:lnTo>
                      <a:lnTo>
                        <a:pt x="108" y="251"/>
                      </a:lnTo>
                      <a:lnTo>
                        <a:pt x="108" y="251"/>
                      </a:lnTo>
                      <a:lnTo>
                        <a:pt x="108" y="251"/>
                      </a:lnTo>
                      <a:lnTo>
                        <a:pt x="108" y="250"/>
                      </a:lnTo>
                      <a:lnTo>
                        <a:pt x="107" y="250"/>
                      </a:lnTo>
                      <a:lnTo>
                        <a:pt x="108" y="249"/>
                      </a:lnTo>
                      <a:lnTo>
                        <a:pt x="107" y="249"/>
                      </a:lnTo>
                      <a:lnTo>
                        <a:pt x="107" y="249"/>
                      </a:lnTo>
                      <a:lnTo>
                        <a:pt x="106" y="249"/>
                      </a:lnTo>
                      <a:lnTo>
                        <a:pt x="105" y="248"/>
                      </a:lnTo>
                      <a:lnTo>
                        <a:pt x="91" y="248"/>
                      </a:lnTo>
                      <a:lnTo>
                        <a:pt x="69" y="249"/>
                      </a:lnTo>
                      <a:lnTo>
                        <a:pt x="58" y="249"/>
                      </a:lnTo>
                      <a:lnTo>
                        <a:pt x="57" y="247"/>
                      </a:lnTo>
                      <a:lnTo>
                        <a:pt x="58" y="240"/>
                      </a:lnTo>
                      <a:lnTo>
                        <a:pt x="59" y="233"/>
                      </a:lnTo>
                      <a:lnTo>
                        <a:pt x="59" y="232"/>
                      </a:lnTo>
                      <a:lnTo>
                        <a:pt x="59" y="231"/>
                      </a:lnTo>
                      <a:lnTo>
                        <a:pt x="59" y="230"/>
                      </a:lnTo>
                      <a:lnTo>
                        <a:pt x="59" y="230"/>
                      </a:lnTo>
                      <a:lnTo>
                        <a:pt x="58" y="230"/>
                      </a:lnTo>
                      <a:lnTo>
                        <a:pt x="57" y="230"/>
                      </a:lnTo>
                      <a:lnTo>
                        <a:pt x="57" y="230"/>
                      </a:lnTo>
                      <a:lnTo>
                        <a:pt x="56" y="230"/>
                      </a:lnTo>
                      <a:lnTo>
                        <a:pt x="55" y="230"/>
                      </a:lnTo>
                      <a:lnTo>
                        <a:pt x="55" y="230"/>
                      </a:lnTo>
                      <a:lnTo>
                        <a:pt x="54" y="229"/>
                      </a:lnTo>
                      <a:lnTo>
                        <a:pt x="54" y="228"/>
                      </a:lnTo>
                      <a:lnTo>
                        <a:pt x="53" y="228"/>
                      </a:lnTo>
                      <a:lnTo>
                        <a:pt x="53" y="228"/>
                      </a:lnTo>
                      <a:lnTo>
                        <a:pt x="53" y="228"/>
                      </a:lnTo>
                      <a:lnTo>
                        <a:pt x="53" y="227"/>
                      </a:lnTo>
                      <a:lnTo>
                        <a:pt x="52" y="227"/>
                      </a:lnTo>
                      <a:lnTo>
                        <a:pt x="52" y="226"/>
                      </a:lnTo>
                      <a:lnTo>
                        <a:pt x="51" y="226"/>
                      </a:lnTo>
                      <a:lnTo>
                        <a:pt x="51" y="226"/>
                      </a:lnTo>
                      <a:lnTo>
                        <a:pt x="50" y="226"/>
                      </a:lnTo>
                      <a:lnTo>
                        <a:pt x="50" y="226"/>
                      </a:lnTo>
                      <a:lnTo>
                        <a:pt x="50" y="225"/>
                      </a:lnTo>
                      <a:lnTo>
                        <a:pt x="49" y="225"/>
                      </a:lnTo>
                      <a:lnTo>
                        <a:pt x="48" y="225"/>
                      </a:lnTo>
                      <a:lnTo>
                        <a:pt x="48" y="225"/>
                      </a:lnTo>
                      <a:lnTo>
                        <a:pt x="47" y="225"/>
                      </a:lnTo>
                      <a:lnTo>
                        <a:pt x="47" y="224"/>
                      </a:lnTo>
                      <a:lnTo>
                        <a:pt x="46" y="224"/>
                      </a:lnTo>
                      <a:lnTo>
                        <a:pt x="46" y="224"/>
                      </a:lnTo>
                      <a:lnTo>
                        <a:pt x="46" y="224"/>
                      </a:lnTo>
                      <a:lnTo>
                        <a:pt x="45" y="224"/>
                      </a:lnTo>
                      <a:lnTo>
                        <a:pt x="45" y="223"/>
                      </a:lnTo>
                      <a:lnTo>
                        <a:pt x="44" y="223"/>
                      </a:lnTo>
                      <a:lnTo>
                        <a:pt x="44" y="223"/>
                      </a:lnTo>
                      <a:lnTo>
                        <a:pt x="44" y="222"/>
                      </a:lnTo>
                      <a:lnTo>
                        <a:pt x="44" y="222"/>
                      </a:lnTo>
                      <a:lnTo>
                        <a:pt x="43" y="222"/>
                      </a:lnTo>
                      <a:lnTo>
                        <a:pt x="43" y="221"/>
                      </a:lnTo>
                      <a:lnTo>
                        <a:pt x="42" y="221"/>
                      </a:lnTo>
                      <a:lnTo>
                        <a:pt x="42" y="220"/>
                      </a:lnTo>
                      <a:lnTo>
                        <a:pt x="42" y="220"/>
                      </a:lnTo>
                      <a:lnTo>
                        <a:pt x="41" y="220"/>
                      </a:lnTo>
                      <a:lnTo>
                        <a:pt x="40" y="219"/>
                      </a:lnTo>
                      <a:lnTo>
                        <a:pt x="40" y="219"/>
                      </a:lnTo>
                      <a:lnTo>
                        <a:pt x="39" y="219"/>
                      </a:lnTo>
                      <a:lnTo>
                        <a:pt x="38" y="219"/>
                      </a:lnTo>
                      <a:lnTo>
                        <a:pt x="38" y="219"/>
                      </a:lnTo>
                      <a:lnTo>
                        <a:pt x="37" y="219"/>
                      </a:lnTo>
                      <a:lnTo>
                        <a:pt x="36" y="219"/>
                      </a:lnTo>
                      <a:lnTo>
                        <a:pt x="36" y="219"/>
                      </a:lnTo>
                      <a:lnTo>
                        <a:pt x="36" y="219"/>
                      </a:lnTo>
                      <a:lnTo>
                        <a:pt x="35" y="219"/>
                      </a:lnTo>
                      <a:lnTo>
                        <a:pt x="34" y="219"/>
                      </a:lnTo>
                      <a:lnTo>
                        <a:pt x="34" y="219"/>
                      </a:lnTo>
                      <a:lnTo>
                        <a:pt x="34" y="220"/>
                      </a:lnTo>
                      <a:lnTo>
                        <a:pt x="33" y="220"/>
                      </a:lnTo>
                      <a:lnTo>
                        <a:pt x="32" y="220"/>
                      </a:lnTo>
                      <a:lnTo>
                        <a:pt x="31" y="220"/>
                      </a:lnTo>
                      <a:lnTo>
                        <a:pt x="31" y="221"/>
                      </a:lnTo>
                      <a:lnTo>
                        <a:pt x="31" y="221"/>
                      </a:lnTo>
                      <a:lnTo>
                        <a:pt x="30" y="221"/>
                      </a:lnTo>
                      <a:lnTo>
                        <a:pt x="29" y="221"/>
                      </a:lnTo>
                      <a:lnTo>
                        <a:pt x="29" y="221"/>
                      </a:lnTo>
                      <a:lnTo>
                        <a:pt x="28" y="221"/>
                      </a:lnTo>
                      <a:lnTo>
                        <a:pt x="27" y="221"/>
                      </a:lnTo>
                      <a:lnTo>
                        <a:pt x="27" y="220"/>
                      </a:lnTo>
                      <a:lnTo>
                        <a:pt x="27" y="220"/>
                      </a:lnTo>
                      <a:lnTo>
                        <a:pt x="26" y="220"/>
                      </a:lnTo>
                      <a:lnTo>
                        <a:pt x="26" y="219"/>
                      </a:lnTo>
                      <a:lnTo>
                        <a:pt x="25" y="219"/>
                      </a:lnTo>
                      <a:lnTo>
                        <a:pt x="25" y="219"/>
                      </a:lnTo>
                      <a:lnTo>
                        <a:pt x="25" y="219"/>
                      </a:lnTo>
                      <a:lnTo>
                        <a:pt x="24" y="219"/>
                      </a:lnTo>
                      <a:lnTo>
                        <a:pt x="23" y="219"/>
                      </a:lnTo>
                      <a:lnTo>
                        <a:pt x="23" y="218"/>
                      </a:lnTo>
                      <a:lnTo>
                        <a:pt x="23" y="218"/>
                      </a:lnTo>
                      <a:lnTo>
                        <a:pt x="22" y="218"/>
                      </a:lnTo>
                      <a:lnTo>
                        <a:pt x="21" y="218"/>
                      </a:lnTo>
                      <a:lnTo>
                        <a:pt x="21" y="217"/>
                      </a:lnTo>
                      <a:lnTo>
                        <a:pt x="21" y="217"/>
                      </a:lnTo>
                      <a:lnTo>
                        <a:pt x="20" y="217"/>
                      </a:lnTo>
                      <a:lnTo>
                        <a:pt x="20" y="217"/>
                      </a:lnTo>
                      <a:lnTo>
                        <a:pt x="19" y="217"/>
                      </a:lnTo>
                      <a:lnTo>
                        <a:pt x="19" y="216"/>
                      </a:lnTo>
                      <a:lnTo>
                        <a:pt x="19" y="216"/>
                      </a:lnTo>
                      <a:lnTo>
                        <a:pt x="18" y="216"/>
                      </a:lnTo>
                      <a:lnTo>
                        <a:pt x="18" y="215"/>
                      </a:lnTo>
                      <a:lnTo>
                        <a:pt x="17" y="215"/>
                      </a:lnTo>
                      <a:lnTo>
                        <a:pt x="17" y="215"/>
                      </a:lnTo>
                      <a:lnTo>
                        <a:pt x="17" y="215"/>
                      </a:lnTo>
                      <a:lnTo>
                        <a:pt x="17" y="214"/>
                      </a:lnTo>
                      <a:lnTo>
                        <a:pt x="16" y="214"/>
                      </a:lnTo>
                      <a:lnTo>
                        <a:pt x="16" y="213"/>
                      </a:lnTo>
                      <a:lnTo>
                        <a:pt x="15" y="213"/>
                      </a:lnTo>
                      <a:lnTo>
                        <a:pt x="15" y="213"/>
                      </a:lnTo>
                      <a:lnTo>
                        <a:pt x="14" y="213"/>
                      </a:lnTo>
                      <a:lnTo>
                        <a:pt x="14" y="212"/>
                      </a:lnTo>
                      <a:lnTo>
                        <a:pt x="13" y="212"/>
                      </a:lnTo>
                      <a:lnTo>
                        <a:pt x="12" y="212"/>
                      </a:lnTo>
                      <a:lnTo>
                        <a:pt x="12" y="212"/>
                      </a:lnTo>
                      <a:lnTo>
                        <a:pt x="12" y="211"/>
                      </a:lnTo>
                      <a:lnTo>
                        <a:pt x="11" y="211"/>
                      </a:lnTo>
                      <a:lnTo>
                        <a:pt x="11" y="211"/>
                      </a:lnTo>
                      <a:lnTo>
                        <a:pt x="10" y="211"/>
                      </a:lnTo>
                      <a:lnTo>
                        <a:pt x="10" y="210"/>
                      </a:lnTo>
                      <a:lnTo>
                        <a:pt x="10" y="210"/>
                      </a:lnTo>
                      <a:lnTo>
                        <a:pt x="10" y="209"/>
                      </a:lnTo>
                      <a:lnTo>
                        <a:pt x="9" y="209"/>
                      </a:lnTo>
                      <a:lnTo>
                        <a:pt x="8" y="209"/>
                      </a:lnTo>
                      <a:lnTo>
                        <a:pt x="8" y="209"/>
                      </a:lnTo>
                      <a:lnTo>
                        <a:pt x="8" y="209"/>
                      </a:lnTo>
                      <a:lnTo>
                        <a:pt x="7" y="209"/>
                      </a:lnTo>
                      <a:lnTo>
                        <a:pt x="6" y="209"/>
                      </a:lnTo>
                      <a:lnTo>
                        <a:pt x="6" y="208"/>
                      </a:lnTo>
                      <a:lnTo>
                        <a:pt x="6" y="208"/>
                      </a:lnTo>
                      <a:lnTo>
                        <a:pt x="6" y="207"/>
                      </a:lnTo>
                      <a:lnTo>
                        <a:pt x="6" y="207"/>
                      </a:lnTo>
                      <a:lnTo>
                        <a:pt x="5" y="207"/>
                      </a:lnTo>
                      <a:lnTo>
                        <a:pt x="4" y="207"/>
                      </a:lnTo>
                      <a:lnTo>
                        <a:pt x="4" y="206"/>
                      </a:lnTo>
                      <a:lnTo>
                        <a:pt x="4" y="206"/>
                      </a:lnTo>
                      <a:lnTo>
                        <a:pt x="4" y="205"/>
                      </a:lnTo>
                      <a:lnTo>
                        <a:pt x="3" y="205"/>
                      </a:lnTo>
                      <a:lnTo>
                        <a:pt x="3" y="205"/>
                      </a:lnTo>
                      <a:lnTo>
                        <a:pt x="2" y="205"/>
                      </a:lnTo>
                      <a:lnTo>
                        <a:pt x="2" y="204"/>
                      </a:lnTo>
                      <a:lnTo>
                        <a:pt x="2" y="203"/>
                      </a:lnTo>
                      <a:lnTo>
                        <a:pt x="2" y="203"/>
                      </a:lnTo>
                      <a:lnTo>
                        <a:pt x="2" y="203"/>
                      </a:lnTo>
                      <a:lnTo>
                        <a:pt x="2" y="202"/>
                      </a:lnTo>
                      <a:lnTo>
                        <a:pt x="2" y="201"/>
                      </a:lnTo>
                      <a:lnTo>
                        <a:pt x="1" y="201"/>
                      </a:lnTo>
                      <a:lnTo>
                        <a:pt x="1" y="200"/>
                      </a:lnTo>
                      <a:lnTo>
                        <a:pt x="0" y="200"/>
                      </a:lnTo>
                      <a:lnTo>
                        <a:pt x="0" y="200"/>
                      </a:lnTo>
                      <a:lnTo>
                        <a:pt x="0" y="199"/>
                      </a:lnTo>
                      <a:lnTo>
                        <a:pt x="0" y="199"/>
                      </a:lnTo>
                      <a:lnTo>
                        <a:pt x="0" y="198"/>
                      </a:lnTo>
                      <a:lnTo>
                        <a:pt x="1" y="198"/>
                      </a:lnTo>
                      <a:lnTo>
                        <a:pt x="1" y="198"/>
                      </a:lnTo>
                      <a:lnTo>
                        <a:pt x="1" y="197"/>
                      </a:lnTo>
                      <a:lnTo>
                        <a:pt x="1" y="196"/>
                      </a:lnTo>
                      <a:lnTo>
                        <a:pt x="0" y="196"/>
                      </a:lnTo>
                      <a:lnTo>
                        <a:pt x="0" y="196"/>
                      </a:lnTo>
                      <a:lnTo>
                        <a:pt x="1" y="196"/>
                      </a:lnTo>
                      <a:lnTo>
                        <a:pt x="2" y="196"/>
                      </a:lnTo>
                      <a:lnTo>
                        <a:pt x="2" y="196"/>
                      </a:lnTo>
                      <a:lnTo>
                        <a:pt x="2" y="196"/>
                      </a:lnTo>
                      <a:lnTo>
                        <a:pt x="2" y="196"/>
                      </a:lnTo>
                      <a:lnTo>
                        <a:pt x="3" y="196"/>
                      </a:lnTo>
                      <a:lnTo>
                        <a:pt x="4" y="196"/>
                      </a:lnTo>
                      <a:lnTo>
                        <a:pt x="4" y="196"/>
                      </a:lnTo>
                      <a:lnTo>
                        <a:pt x="5" y="196"/>
                      </a:lnTo>
                      <a:lnTo>
                        <a:pt x="5" y="195"/>
                      </a:lnTo>
                      <a:lnTo>
                        <a:pt x="6" y="195"/>
                      </a:lnTo>
                      <a:lnTo>
                        <a:pt x="6" y="194"/>
                      </a:lnTo>
                      <a:lnTo>
                        <a:pt x="5" y="194"/>
                      </a:lnTo>
                      <a:lnTo>
                        <a:pt x="5" y="194"/>
                      </a:lnTo>
                      <a:lnTo>
                        <a:pt x="6" y="194"/>
                      </a:lnTo>
                      <a:lnTo>
                        <a:pt x="6" y="193"/>
                      </a:lnTo>
                      <a:lnTo>
                        <a:pt x="6" y="193"/>
                      </a:lnTo>
                      <a:lnTo>
                        <a:pt x="6" y="192"/>
                      </a:lnTo>
                      <a:lnTo>
                        <a:pt x="6" y="192"/>
                      </a:lnTo>
                      <a:lnTo>
                        <a:pt x="6" y="191"/>
                      </a:lnTo>
                      <a:lnTo>
                        <a:pt x="7" y="191"/>
                      </a:lnTo>
                      <a:lnTo>
                        <a:pt x="7" y="190"/>
                      </a:lnTo>
                      <a:lnTo>
                        <a:pt x="7" y="190"/>
                      </a:lnTo>
                      <a:lnTo>
                        <a:pt x="7" y="189"/>
                      </a:lnTo>
                      <a:lnTo>
                        <a:pt x="7" y="188"/>
                      </a:lnTo>
                      <a:lnTo>
                        <a:pt x="7" y="188"/>
                      </a:lnTo>
                      <a:lnTo>
                        <a:pt x="6" y="187"/>
                      </a:lnTo>
                      <a:lnTo>
                        <a:pt x="7" y="187"/>
                      </a:lnTo>
                      <a:lnTo>
                        <a:pt x="7" y="186"/>
                      </a:lnTo>
                      <a:lnTo>
                        <a:pt x="7" y="186"/>
                      </a:lnTo>
                      <a:lnTo>
                        <a:pt x="7" y="185"/>
                      </a:lnTo>
                      <a:lnTo>
                        <a:pt x="8" y="185"/>
                      </a:lnTo>
                      <a:lnTo>
                        <a:pt x="8" y="186"/>
                      </a:lnTo>
                      <a:lnTo>
                        <a:pt x="8" y="186"/>
                      </a:lnTo>
                      <a:lnTo>
                        <a:pt x="8" y="185"/>
                      </a:lnTo>
                      <a:lnTo>
                        <a:pt x="9" y="184"/>
                      </a:lnTo>
                      <a:lnTo>
                        <a:pt x="9" y="184"/>
                      </a:lnTo>
                      <a:lnTo>
                        <a:pt x="10" y="184"/>
                      </a:lnTo>
                      <a:lnTo>
                        <a:pt x="10" y="184"/>
                      </a:lnTo>
                      <a:lnTo>
                        <a:pt x="11" y="184"/>
                      </a:lnTo>
                      <a:lnTo>
                        <a:pt x="11" y="185"/>
                      </a:lnTo>
                      <a:lnTo>
                        <a:pt x="12" y="185"/>
                      </a:lnTo>
                      <a:lnTo>
                        <a:pt x="12" y="185"/>
                      </a:lnTo>
                      <a:lnTo>
                        <a:pt x="13" y="185"/>
                      </a:lnTo>
                      <a:lnTo>
                        <a:pt x="13" y="184"/>
                      </a:lnTo>
                      <a:lnTo>
                        <a:pt x="14" y="184"/>
                      </a:lnTo>
                      <a:lnTo>
                        <a:pt x="15" y="184"/>
                      </a:lnTo>
                      <a:lnTo>
                        <a:pt x="15" y="184"/>
                      </a:lnTo>
                      <a:lnTo>
                        <a:pt x="16" y="184"/>
                      </a:lnTo>
                      <a:lnTo>
                        <a:pt x="16" y="184"/>
                      </a:lnTo>
                      <a:lnTo>
                        <a:pt x="16" y="183"/>
                      </a:lnTo>
                      <a:lnTo>
                        <a:pt x="16" y="182"/>
                      </a:lnTo>
                      <a:lnTo>
                        <a:pt x="17" y="182"/>
                      </a:lnTo>
                      <a:lnTo>
                        <a:pt x="17" y="182"/>
                      </a:lnTo>
                      <a:lnTo>
                        <a:pt x="17" y="181"/>
                      </a:lnTo>
                      <a:lnTo>
                        <a:pt x="17" y="180"/>
                      </a:lnTo>
                      <a:lnTo>
                        <a:pt x="17" y="179"/>
                      </a:lnTo>
                      <a:lnTo>
                        <a:pt x="17" y="179"/>
                      </a:lnTo>
                      <a:lnTo>
                        <a:pt x="17" y="178"/>
                      </a:lnTo>
                      <a:lnTo>
                        <a:pt x="17" y="177"/>
                      </a:lnTo>
                      <a:lnTo>
                        <a:pt x="17" y="177"/>
                      </a:lnTo>
                      <a:lnTo>
                        <a:pt x="18" y="177"/>
                      </a:lnTo>
                      <a:lnTo>
                        <a:pt x="19" y="177"/>
                      </a:lnTo>
                      <a:lnTo>
                        <a:pt x="19" y="176"/>
                      </a:lnTo>
                      <a:lnTo>
                        <a:pt x="20" y="176"/>
                      </a:lnTo>
                      <a:lnTo>
                        <a:pt x="20" y="175"/>
                      </a:lnTo>
                      <a:lnTo>
                        <a:pt x="21" y="175"/>
                      </a:lnTo>
                      <a:lnTo>
                        <a:pt x="20" y="175"/>
                      </a:lnTo>
                      <a:lnTo>
                        <a:pt x="20" y="174"/>
                      </a:lnTo>
                      <a:lnTo>
                        <a:pt x="21" y="174"/>
                      </a:lnTo>
                      <a:lnTo>
                        <a:pt x="21" y="173"/>
                      </a:lnTo>
                      <a:lnTo>
                        <a:pt x="21" y="173"/>
                      </a:lnTo>
                      <a:lnTo>
                        <a:pt x="21" y="172"/>
                      </a:lnTo>
                      <a:lnTo>
                        <a:pt x="21" y="171"/>
                      </a:lnTo>
                      <a:lnTo>
                        <a:pt x="21" y="171"/>
                      </a:lnTo>
                      <a:lnTo>
                        <a:pt x="21" y="171"/>
                      </a:lnTo>
                      <a:lnTo>
                        <a:pt x="22" y="171"/>
                      </a:lnTo>
                      <a:lnTo>
                        <a:pt x="22" y="170"/>
                      </a:lnTo>
                      <a:lnTo>
                        <a:pt x="22" y="169"/>
                      </a:lnTo>
                      <a:lnTo>
                        <a:pt x="22" y="169"/>
                      </a:lnTo>
                      <a:lnTo>
                        <a:pt x="21" y="169"/>
                      </a:lnTo>
                      <a:lnTo>
                        <a:pt x="21" y="168"/>
                      </a:lnTo>
                      <a:lnTo>
                        <a:pt x="22" y="168"/>
                      </a:lnTo>
                      <a:lnTo>
                        <a:pt x="22" y="167"/>
                      </a:lnTo>
                      <a:lnTo>
                        <a:pt x="22" y="167"/>
                      </a:lnTo>
                      <a:lnTo>
                        <a:pt x="23" y="167"/>
                      </a:lnTo>
                      <a:lnTo>
                        <a:pt x="23" y="166"/>
                      </a:lnTo>
                      <a:lnTo>
                        <a:pt x="23" y="166"/>
                      </a:lnTo>
                      <a:lnTo>
                        <a:pt x="23" y="165"/>
                      </a:lnTo>
                      <a:lnTo>
                        <a:pt x="24" y="165"/>
                      </a:lnTo>
                      <a:lnTo>
                        <a:pt x="24" y="165"/>
                      </a:lnTo>
                      <a:lnTo>
                        <a:pt x="24" y="164"/>
                      </a:lnTo>
                      <a:lnTo>
                        <a:pt x="23" y="164"/>
                      </a:lnTo>
                      <a:lnTo>
                        <a:pt x="23" y="163"/>
                      </a:lnTo>
                      <a:lnTo>
                        <a:pt x="23" y="163"/>
                      </a:lnTo>
                      <a:lnTo>
                        <a:pt x="23" y="163"/>
                      </a:lnTo>
                      <a:lnTo>
                        <a:pt x="23" y="162"/>
                      </a:lnTo>
                      <a:lnTo>
                        <a:pt x="24" y="162"/>
                      </a:lnTo>
                      <a:lnTo>
                        <a:pt x="24" y="161"/>
                      </a:lnTo>
                      <a:lnTo>
                        <a:pt x="24" y="160"/>
                      </a:lnTo>
                      <a:lnTo>
                        <a:pt x="25" y="160"/>
                      </a:lnTo>
                      <a:lnTo>
                        <a:pt x="25" y="160"/>
                      </a:lnTo>
                      <a:lnTo>
                        <a:pt x="25" y="159"/>
                      </a:lnTo>
                      <a:lnTo>
                        <a:pt x="25" y="158"/>
                      </a:lnTo>
                      <a:lnTo>
                        <a:pt x="25" y="158"/>
                      </a:lnTo>
                      <a:lnTo>
                        <a:pt x="25" y="158"/>
                      </a:lnTo>
                      <a:lnTo>
                        <a:pt x="25" y="157"/>
                      </a:lnTo>
                      <a:lnTo>
                        <a:pt x="25" y="156"/>
                      </a:lnTo>
                      <a:lnTo>
                        <a:pt x="25" y="156"/>
                      </a:lnTo>
                      <a:lnTo>
                        <a:pt x="26" y="156"/>
                      </a:lnTo>
                      <a:lnTo>
                        <a:pt x="27" y="156"/>
                      </a:lnTo>
                      <a:lnTo>
                        <a:pt x="27" y="156"/>
                      </a:lnTo>
                      <a:lnTo>
                        <a:pt x="28" y="156"/>
                      </a:lnTo>
                      <a:lnTo>
                        <a:pt x="29" y="156"/>
                      </a:lnTo>
                      <a:lnTo>
                        <a:pt x="29" y="156"/>
                      </a:lnTo>
                      <a:lnTo>
                        <a:pt x="29" y="156"/>
                      </a:lnTo>
                      <a:lnTo>
                        <a:pt x="30" y="156"/>
                      </a:lnTo>
                      <a:lnTo>
                        <a:pt x="31" y="156"/>
                      </a:lnTo>
                      <a:lnTo>
                        <a:pt x="31" y="155"/>
                      </a:lnTo>
                      <a:lnTo>
                        <a:pt x="31" y="154"/>
                      </a:lnTo>
                      <a:lnTo>
                        <a:pt x="30" y="154"/>
                      </a:lnTo>
                      <a:lnTo>
                        <a:pt x="30" y="153"/>
                      </a:lnTo>
                      <a:lnTo>
                        <a:pt x="29" y="153"/>
                      </a:lnTo>
                      <a:lnTo>
                        <a:pt x="29" y="153"/>
                      </a:lnTo>
                      <a:lnTo>
                        <a:pt x="29" y="152"/>
                      </a:lnTo>
                      <a:lnTo>
                        <a:pt x="28" y="152"/>
                      </a:lnTo>
                      <a:lnTo>
                        <a:pt x="29" y="152"/>
                      </a:lnTo>
                      <a:lnTo>
                        <a:pt x="29" y="151"/>
                      </a:lnTo>
                      <a:lnTo>
                        <a:pt x="28" y="150"/>
                      </a:lnTo>
                      <a:lnTo>
                        <a:pt x="28" y="150"/>
                      </a:lnTo>
                      <a:lnTo>
                        <a:pt x="27" y="150"/>
                      </a:lnTo>
                      <a:lnTo>
                        <a:pt x="27" y="150"/>
                      </a:lnTo>
                      <a:lnTo>
                        <a:pt x="27" y="149"/>
                      </a:lnTo>
                      <a:lnTo>
                        <a:pt x="27" y="148"/>
                      </a:lnTo>
                      <a:lnTo>
                        <a:pt x="27" y="148"/>
                      </a:lnTo>
                      <a:lnTo>
                        <a:pt x="27" y="148"/>
                      </a:lnTo>
                      <a:lnTo>
                        <a:pt x="28" y="148"/>
                      </a:lnTo>
                      <a:lnTo>
                        <a:pt x="28" y="147"/>
                      </a:lnTo>
                      <a:lnTo>
                        <a:pt x="28" y="146"/>
                      </a:lnTo>
                      <a:lnTo>
                        <a:pt x="28" y="146"/>
                      </a:lnTo>
                      <a:lnTo>
                        <a:pt x="27" y="145"/>
                      </a:lnTo>
                      <a:lnTo>
                        <a:pt x="27" y="144"/>
                      </a:lnTo>
                      <a:lnTo>
                        <a:pt x="28" y="144"/>
                      </a:lnTo>
                      <a:lnTo>
                        <a:pt x="28" y="144"/>
                      </a:lnTo>
                      <a:lnTo>
                        <a:pt x="29" y="144"/>
                      </a:lnTo>
                      <a:lnTo>
                        <a:pt x="29" y="143"/>
                      </a:lnTo>
                      <a:lnTo>
                        <a:pt x="29" y="142"/>
                      </a:lnTo>
                      <a:lnTo>
                        <a:pt x="29" y="141"/>
                      </a:lnTo>
                      <a:lnTo>
                        <a:pt x="29" y="141"/>
                      </a:lnTo>
                      <a:lnTo>
                        <a:pt x="30" y="141"/>
                      </a:lnTo>
                      <a:lnTo>
                        <a:pt x="30" y="140"/>
                      </a:lnTo>
                      <a:lnTo>
                        <a:pt x="31" y="140"/>
                      </a:lnTo>
                      <a:lnTo>
                        <a:pt x="31" y="139"/>
                      </a:lnTo>
                      <a:lnTo>
                        <a:pt x="31" y="139"/>
                      </a:lnTo>
                      <a:lnTo>
                        <a:pt x="32" y="139"/>
                      </a:lnTo>
                      <a:lnTo>
                        <a:pt x="32" y="139"/>
                      </a:lnTo>
                      <a:lnTo>
                        <a:pt x="32" y="138"/>
                      </a:lnTo>
                      <a:lnTo>
                        <a:pt x="33" y="138"/>
                      </a:lnTo>
                      <a:lnTo>
                        <a:pt x="34" y="138"/>
                      </a:lnTo>
                      <a:lnTo>
                        <a:pt x="34" y="138"/>
                      </a:lnTo>
                      <a:lnTo>
                        <a:pt x="34" y="137"/>
                      </a:lnTo>
                      <a:lnTo>
                        <a:pt x="34" y="137"/>
                      </a:lnTo>
                      <a:lnTo>
                        <a:pt x="34" y="136"/>
                      </a:lnTo>
                      <a:lnTo>
                        <a:pt x="34" y="135"/>
                      </a:lnTo>
                      <a:lnTo>
                        <a:pt x="35" y="135"/>
                      </a:lnTo>
                      <a:lnTo>
                        <a:pt x="36" y="135"/>
                      </a:lnTo>
                      <a:lnTo>
                        <a:pt x="36" y="135"/>
                      </a:lnTo>
                      <a:lnTo>
                        <a:pt x="35" y="135"/>
                      </a:lnTo>
                      <a:lnTo>
                        <a:pt x="35" y="134"/>
                      </a:lnTo>
                      <a:lnTo>
                        <a:pt x="34" y="134"/>
                      </a:lnTo>
                      <a:lnTo>
                        <a:pt x="34" y="134"/>
                      </a:lnTo>
                      <a:lnTo>
                        <a:pt x="34" y="133"/>
                      </a:lnTo>
                      <a:lnTo>
                        <a:pt x="34" y="133"/>
                      </a:lnTo>
                      <a:lnTo>
                        <a:pt x="34" y="133"/>
                      </a:lnTo>
                      <a:lnTo>
                        <a:pt x="35" y="133"/>
                      </a:lnTo>
                      <a:lnTo>
                        <a:pt x="36" y="133"/>
                      </a:lnTo>
                      <a:lnTo>
                        <a:pt x="36" y="133"/>
                      </a:lnTo>
                      <a:lnTo>
                        <a:pt x="36" y="132"/>
                      </a:lnTo>
                      <a:lnTo>
                        <a:pt x="36" y="131"/>
                      </a:lnTo>
                      <a:lnTo>
                        <a:pt x="37" y="131"/>
                      </a:lnTo>
                      <a:lnTo>
                        <a:pt x="37" y="131"/>
                      </a:lnTo>
                      <a:lnTo>
                        <a:pt x="38" y="131"/>
                      </a:lnTo>
                      <a:lnTo>
                        <a:pt x="38" y="130"/>
                      </a:lnTo>
                      <a:lnTo>
                        <a:pt x="38" y="129"/>
                      </a:lnTo>
                      <a:lnTo>
                        <a:pt x="38" y="129"/>
                      </a:lnTo>
                      <a:lnTo>
                        <a:pt x="38" y="128"/>
                      </a:lnTo>
                      <a:lnTo>
                        <a:pt x="37" y="128"/>
                      </a:lnTo>
                      <a:lnTo>
                        <a:pt x="37" y="127"/>
                      </a:lnTo>
                      <a:lnTo>
                        <a:pt x="37" y="127"/>
                      </a:lnTo>
                      <a:lnTo>
                        <a:pt x="37" y="126"/>
                      </a:lnTo>
                      <a:lnTo>
                        <a:pt x="37" y="125"/>
                      </a:lnTo>
                      <a:lnTo>
                        <a:pt x="38" y="125"/>
                      </a:lnTo>
                      <a:lnTo>
                        <a:pt x="38" y="124"/>
                      </a:lnTo>
                      <a:lnTo>
                        <a:pt x="37" y="124"/>
                      </a:lnTo>
                      <a:lnTo>
                        <a:pt x="37" y="123"/>
                      </a:lnTo>
                      <a:lnTo>
                        <a:pt x="38" y="123"/>
                      </a:lnTo>
                      <a:lnTo>
                        <a:pt x="38" y="123"/>
                      </a:lnTo>
                      <a:lnTo>
                        <a:pt x="38" y="122"/>
                      </a:lnTo>
                      <a:lnTo>
                        <a:pt x="38" y="121"/>
                      </a:lnTo>
                      <a:lnTo>
                        <a:pt x="39" y="121"/>
                      </a:lnTo>
                      <a:lnTo>
                        <a:pt x="40" y="121"/>
                      </a:lnTo>
                      <a:lnTo>
                        <a:pt x="40" y="120"/>
                      </a:lnTo>
                      <a:lnTo>
                        <a:pt x="40" y="120"/>
                      </a:lnTo>
                      <a:lnTo>
                        <a:pt x="40" y="119"/>
                      </a:lnTo>
                      <a:lnTo>
                        <a:pt x="40" y="118"/>
                      </a:lnTo>
                      <a:lnTo>
                        <a:pt x="40" y="118"/>
                      </a:lnTo>
                      <a:lnTo>
                        <a:pt x="40" y="118"/>
                      </a:lnTo>
                      <a:lnTo>
                        <a:pt x="40" y="117"/>
                      </a:lnTo>
                      <a:lnTo>
                        <a:pt x="40" y="116"/>
                      </a:lnTo>
                      <a:lnTo>
                        <a:pt x="40" y="116"/>
                      </a:lnTo>
                      <a:lnTo>
                        <a:pt x="40" y="116"/>
                      </a:lnTo>
                      <a:lnTo>
                        <a:pt x="40" y="115"/>
                      </a:lnTo>
                      <a:lnTo>
                        <a:pt x="40" y="115"/>
                      </a:lnTo>
                      <a:lnTo>
                        <a:pt x="40" y="114"/>
                      </a:lnTo>
                      <a:lnTo>
                        <a:pt x="40" y="114"/>
                      </a:lnTo>
                      <a:lnTo>
                        <a:pt x="41" y="114"/>
                      </a:lnTo>
                      <a:lnTo>
                        <a:pt x="41" y="113"/>
                      </a:lnTo>
                      <a:lnTo>
                        <a:pt x="42" y="113"/>
                      </a:lnTo>
                      <a:lnTo>
                        <a:pt x="42" y="112"/>
                      </a:lnTo>
                      <a:lnTo>
                        <a:pt x="42" y="112"/>
                      </a:lnTo>
                      <a:lnTo>
                        <a:pt x="42" y="111"/>
                      </a:lnTo>
                      <a:lnTo>
                        <a:pt x="42" y="110"/>
                      </a:lnTo>
                      <a:lnTo>
                        <a:pt x="41" y="110"/>
                      </a:lnTo>
                      <a:lnTo>
                        <a:pt x="42" y="110"/>
                      </a:lnTo>
                      <a:lnTo>
                        <a:pt x="42" y="109"/>
                      </a:lnTo>
                      <a:lnTo>
                        <a:pt x="42" y="108"/>
                      </a:lnTo>
                      <a:lnTo>
                        <a:pt x="41" y="108"/>
                      </a:lnTo>
                      <a:lnTo>
                        <a:pt x="41" y="107"/>
                      </a:lnTo>
                      <a:lnTo>
                        <a:pt x="40" y="107"/>
                      </a:lnTo>
                      <a:lnTo>
                        <a:pt x="40" y="106"/>
                      </a:lnTo>
                      <a:lnTo>
                        <a:pt x="40" y="106"/>
                      </a:lnTo>
                      <a:lnTo>
                        <a:pt x="41" y="106"/>
                      </a:lnTo>
                      <a:lnTo>
                        <a:pt x="42" y="106"/>
                      </a:lnTo>
                      <a:lnTo>
                        <a:pt x="42" y="105"/>
                      </a:lnTo>
                      <a:lnTo>
                        <a:pt x="42" y="104"/>
                      </a:lnTo>
                      <a:lnTo>
                        <a:pt x="41" y="104"/>
                      </a:lnTo>
                      <a:lnTo>
                        <a:pt x="41" y="104"/>
                      </a:lnTo>
                      <a:lnTo>
                        <a:pt x="41" y="103"/>
                      </a:lnTo>
                      <a:lnTo>
                        <a:pt x="42" y="103"/>
                      </a:lnTo>
                      <a:lnTo>
                        <a:pt x="42" y="102"/>
                      </a:lnTo>
                      <a:lnTo>
                        <a:pt x="41" y="102"/>
                      </a:lnTo>
                      <a:lnTo>
                        <a:pt x="41" y="101"/>
                      </a:lnTo>
                      <a:lnTo>
                        <a:pt x="42" y="101"/>
                      </a:lnTo>
                      <a:lnTo>
                        <a:pt x="42" y="101"/>
                      </a:lnTo>
                      <a:lnTo>
                        <a:pt x="42" y="100"/>
                      </a:lnTo>
                      <a:lnTo>
                        <a:pt x="41" y="100"/>
                      </a:lnTo>
                      <a:lnTo>
                        <a:pt x="40" y="99"/>
                      </a:lnTo>
                      <a:lnTo>
                        <a:pt x="40" y="99"/>
                      </a:lnTo>
                      <a:lnTo>
                        <a:pt x="40" y="99"/>
                      </a:lnTo>
                      <a:lnTo>
                        <a:pt x="40" y="98"/>
                      </a:lnTo>
                      <a:lnTo>
                        <a:pt x="40" y="97"/>
                      </a:lnTo>
                      <a:lnTo>
                        <a:pt x="40" y="97"/>
                      </a:lnTo>
                      <a:lnTo>
                        <a:pt x="41" y="97"/>
                      </a:lnTo>
                      <a:lnTo>
                        <a:pt x="41" y="96"/>
                      </a:lnTo>
                      <a:lnTo>
                        <a:pt x="42" y="96"/>
                      </a:lnTo>
                      <a:lnTo>
                        <a:pt x="42" y="95"/>
                      </a:lnTo>
                      <a:lnTo>
                        <a:pt x="42" y="95"/>
                      </a:lnTo>
                      <a:lnTo>
                        <a:pt x="42" y="94"/>
                      </a:lnTo>
                      <a:lnTo>
                        <a:pt x="42" y="93"/>
                      </a:lnTo>
                      <a:lnTo>
                        <a:pt x="41" y="93"/>
                      </a:lnTo>
                      <a:lnTo>
                        <a:pt x="41" y="93"/>
                      </a:lnTo>
                      <a:lnTo>
                        <a:pt x="41" y="92"/>
                      </a:lnTo>
                      <a:lnTo>
                        <a:pt x="41" y="91"/>
                      </a:lnTo>
                      <a:lnTo>
                        <a:pt x="41" y="91"/>
                      </a:lnTo>
                      <a:lnTo>
                        <a:pt x="40" y="91"/>
                      </a:lnTo>
                      <a:lnTo>
                        <a:pt x="40" y="90"/>
                      </a:lnTo>
                      <a:lnTo>
                        <a:pt x="40" y="89"/>
                      </a:lnTo>
                      <a:lnTo>
                        <a:pt x="41" y="89"/>
                      </a:lnTo>
                      <a:lnTo>
                        <a:pt x="41" y="89"/>
                      </a:lnTo>
                      <a:lnTo>
                        <a:pt x="41" y="88"/>
                      </a:lnTo>
                      <a:lnTo>
                        <a:pt x="41" y="87"/>
                      </a:lnTo>
                      <a:lnTo>
                        <a:pt x="40" y="87"/>
                      </a:lnTo>
                      <a:lnTo>
                        <a:pt x="40" y="87"/>
                      </a:lnTo>
                      <a:lnTo>
                        <a:pt x="40" y="86"/>
                      </a:lnTo>
                      <a:lnTo>
                        <a:pt x="40" y="85"/>
                      </a:lnTo>
                      <a:lnTo>
                        <a:pt x="41" y="85"/>
                      </a:lnTo>
                      <a:lnTo>
                        <a:pt x="42" y="85"/>
                      </a:lnTo>
                      <a:lnTo>
                        <a:pt x="42" y="85"/>
                      </a:lnTo>
                      <a:lnTo>
                        <a:pt x="42" y="84"/>
                      </a:lnTo>
                      <a:lnTo>
                        <a:pt x="42" y="83"/>
                      </a:lnTo>
                      <a:lnTo>
                        <a:pt x="42" y="83"/>
                      </a:lnTo>
                      <a:lnTo>
                        <a:pt x="42" y="82"/>
                      </a:lnTo>
                      <a:lnTo>
                        <a:pt x="42" y="82"/>
                      </a:lnTo>
                      <a:lnTo>
                        <a:pt x="42" y="81"/>
                      </a:lnTo>
                      <a:lnTo>
                        <a:pt x="42" y="80"/>
                      </a:lnTo>
                      <a:lnTo>
                        <a:pt x="42" y="80"/>
                      </a:lnTo>
                      <a:lnTo>
                        <a:pt x="42" y="79"/>
                      </a:lnTo>
                      <a:lnTo>
                        <a:pt x="42" y="79"/>
                      </a:lnTo>
                      <a:lnTo>
                        <a:pt x="42" y="78"/>
                      </a:lnTo>
                      <a:lnTo>
                        <a:pt x="42" y="78"/>
                      </a:lnTo>
                      <a:lnTo>
                        <a:pt x="42" y="77"/>
                      </a:lnTo>
                      <a:lnTo>
                        <a:pt x="42" y="76"/>
                      </a:lnTo>
                      <a:lnTo>
                        <a:pt x="42" y="76"/>
                      </a:lnTo>
                      <a:lnTo>
                        <a:pt x="42" y="76"/>
                      </a:lnTo>
                      <a:lnTo>
                        <a:pt x="43" y="75"/>
                      </a:lnTo>
                      <a:lnTo>
                        <a:pt x="44" y="75"/>
                      </a:lnTo>
                      <a:lnTo>
                        <a:pt x="44" y="74"/>
                      </a:lnTo>
                      <a:lnTo>
                        <a:pt x="44" y="74"/>
                      </a:lnTo>
                      <a:lnTo>
                        <a:pt x="44" y="73"/>
                      </a:lnTo>
                      <a:lnTo>
                        <a:pt x="43" y="73"/>
                      </a:lnTo>
                      <a:lnTo>
                        <a:pt x="44" y="72"/>
                      </a:lnTo>
                      <a:lnTo>
                        <a:pt x="43" y="72"/>
                      </a:lnTo>
                      <a:lnTo>
                        <a:pt x="43" y="72"/>
                      </a:lnTo>
                      <a:lnTo>
                        <a:pt x="43" y="71"/>
                      </a:lnTo>
                      <a:lnTo>
                        <a:pt x="44" y="71"/>
                      </a:lnTo>
                      <a:lnTo>
                        <a:pt x="44" y="70"/>
                      </a:lnTo>
                      <a:lnTo>
                        <a:pt x="44" y="70"/>
                      </a:lnTo>
                      <a:lnTo>
                        <a:pt x="43" y="70"/>
                      </a:lnTo>
                      <a:lnTo>
                        <a:pt x="43" y="69"/>
                      </a:lnTo>
                      <a:lnTo>
                        <a:pt x="44" y="69"/>
                      </a:lnTo>
                      <a:lnTo>
                        <a:pt x="44" y="68"/>
                      </a:lnTo>
                      <a:lnTo>
                        <a:pt x="45" y="68"/>
                      </a:lnTo>
                      <a:lnTo>
                        <a:pt x="44" y="68"/>
                      </a:lnTo>
                      <a:lnTo>
                        <a:pt x="45" y="67"/>
                      </a:lnTo>
                      <a:lnTo>
                        <a:pt x="44" y="67"/>
                      </a:lnTo>
                      <a:lnTo>
                        <a:pt x="44" y="66"/>
                      </a:lnTo>
                      <a:lnTo>
                        <a:pt x="44" y="66"/>
                      </a:lnTo>
                      <a:lnTo>
                        <a:pt x="44" y="66"/>
                      </a:lnTo>
                      <a:lnTo>
                        <a:pt x="44" y="65"/>
                      </a:lnTo>
                      <a:lnTo>
                        <a:pt x="44" y="65"/>
                      </a:lnTo>
                      <a:lnTo>
                        <a:pt x="44" y="64"/>
                      </a:lnTo>
                      <a:lnTo>
                        <a:pt x="45" y="64"/>
                      </a:lnTo>
                      <a:lnTo>
                        <a:pt x="45" y="64"/>
                      </a:lnTo>
                      <a:lnTo>
                        <a:pt x="44" y="64"/>
                      </a:lnTo>
                      <a:lnTo>
                        <a:pt x="44" y="63"/>
                      </a:lnTo>
                      <a:lnTo>
                        <a:pt x="44" y="62"/>
                      </a:lnTo>
                      <a:lnTo>
                        <a:pt x="44" y="61"/>
                      </a:lnTo>
                      <a:lnTo>
                        <a:pt x="44" y="61"/>
                      </a:lnTo>
                      <a:lnTo>
                        <a:pt x="44" y="60"/>
                      </a:lnTo>
                      <a:lnTo>
                        <a:pt x="44" y="59"/>
                      </a:lnTo>
                      <a:lnTo>
                        <a:pt x="44" y="59"/>
                      </a:lnTo>
                      <a:lnTo>
                        <a:pt x="45" y="59"/>
                      </a:lnTo>
                      <a:lnTo>
                        <a:pt x="45" y="58"/>
                      </a:lnTo>
                      <a:lnTo>
                        <a:pt x="45" y="57"/>
                      </a:lnTo>
                      <a:lnTo>
                        <a:pt x="46" y="57"/>
                      </a:lnTo>
                      <a:lnTo>
                        <a:pt x="45" y="57"/>
                      </a:lnTo>
                      <a:lnTo>
                        <a:pt x="46" y="56"/>
                      </a:lnTo>
                      <a:lnTo>
                        <a:pt x="46" y="56"/>
                      </a:lnTo>
                      <a:lnTo>
                        <a:pt x="46" y="55"/>
                      </a:lnTo>
                      <a:lnTo>
                        <a:pt x="46" y="55"/>
                      </a:lnTo>
                      <a:lnTo>
                        <a:pt x="46" y="55"/>
                      </a:lnTo>
                      <a:lnTo>
                        <a:pt x="46" y="54"/>
                      </a:lnTo>
                      <a:lnTo>
                        <a:pt x="45" y="53"/>
                      </a:lnTo>
                      <a:lnTo>
                        <a:pt x="45" y="53"/>
                      </a:lnTo>
                      <a:lnTo>
                        <a:pt x="45" y="52"/>
                      </a:lnTo>
                      <a:lnTo>
                        <a:pt x="46" y="52"/>
                      </a:lnTo>
                      <a:lnTo>
                        <a:pt x="46" y="51"/>
                      </a:lnTo>
                      <a:lnTo>
                        <a:pt x="45" y="51"/>
                      </a:lnTo>
                      <a:lnTo>
                        <a:pt x="45" y="51"/>
                      </a:lnTo>
                      <a:lnTo>
                        <a:pt x="46" y="51"/>
                      </a:lnTo>
                      <a:lnTo>
                        <a:pt x="46" y="51"/>
                      </a:lnTo>
                      <a:lnTo>
                        <a:pt x="47" y="51"/>
                      </a:lnTo>
                      <a:lnTo>
                        <a:pt x="47" y="50"/>
                      </a:lnTo>
                      <a:lnTo>
                        <a:pt x="47" y="49"/>
                      </a:lnTo>
                      <a:lnTo>
                        <a:pt x="47" y="49"/>
                      </a:lnTo>
                      <a:lnTo>
                        <a:pt x="46" y="49"/>
                      </a:lnTo>
                      <a:lnTo>
                        <a:pt x="46" y="49"/>
                      </a:lnTo>
                      <a:lnTo>
                        <a:pt x="46" y="48"/>
                      </a:lnTo>
                      <a:lnTo>
                        <a:pt x="46" y="47"/>
                      </a:lnTo>
                      <a:lnTo>
                        <a:pt x="47" y="47"/>
                      </a:lnTo>
                      <a:lnTo>
                        <a:pt x="47" y="47"/>
                      </a:lnTo>
                      <a:lnTo>
                        <a:pt x="48" y="47"/>
                      </a:lnTo>
                      <a:lnTo>
                        <a:pt x="48" y="46"/>
                      </a:lnTo>
                      <a:lnTo>
                        <a:pt x="47" y="46"/>
                      </a:lnTo>
                      <a:lnTo>
                        <a:pt x="47" y="45"/>
                      </a:lnTo>
                      <a:lnTo>
                        <a:pt x="47" y="45"/>
                      </a:lnTo>
                      <a:lnTo>
                        <a:pt x="48" y="45"/>
                      </a:lnTo>
                      <a:lnTo>
                        <a:pt x="48" y="44"/>
                      </a:lnTo>
                      <a:lnTo>
                        <a:pt x="48" y="43"/>
                      </a:lnTo>
                      <a:lnTo>
                        <a:pt x="47" y="43"/>
                      </a:lnTo>
                      <a:lnTo>
                        <a:pt x="48" y="43"/>
                      </a:lnTo>
                      <a:lnTo>
                        <a:pt x="48" y="42"/>
                      </a:lnTo>
                      <a:lnTo>
                        <a:pt x="48" y="42"/>
                      </a:lnTo>
                      <a:lnTo>
                        <a:pt x="47" y="42"/>
                      </a:lnTo>
                      <a:lnTo>
                        <a:pt x="47" y="41"/>
                      </a:lnTo>
                      <a:lnTo>
                        <a:pt x="48" y="41"/>
                      </a:lnTo>
                      <a:lnTo>
                        <a:pt x="48" y="40"/>
                      </a:lnTo>
                      <a:lnTo>
                        <a:pt x="48" y="40"/>
                      </a:lnTo>
                      <a:lnTo>
                        <a:pt x="48" y="40"/>
                      </a:lnTo>
                      <a:lnTo>
                        <a:pt x="48" y="39"/>
                      </a:lnTo>
                      <a:lnTo>
                        <a:pt x="49" y="39"/>
                      </a:lnTo>
                      <a:lnTo>
                        <a:pt x="49" y="38"/>
                      </a:lnTo>
                      <a:lnTo>
                        <a:pt x="48" y="38"/>
                      </a:lnTo>
                      <a:lnTo>
                        <a:pt x="48" y="38"/>
                      </a:lnTo>
                      <a:lnTo>
                        <a:pt x="48" y="38"/>
                      </a:lnTo>
                      <a:lnTo>
                        <a:pt x="48" y="37"/>
                      </a:lnTo>
                      <a:lnTo>
                        <a:pt x="48" y="36"/>
                      </a:lnTo>
                      <a:lnTo>
                        <a:pt x="48" y="36"/>
                      </a:lnTo>
                      <a:lnTo>
                        <a:pt x="48" y="36"/>
                      </a:lnTo>
                      <a:lnTo>
                        <a:pt x="48" y="35"/>
                      </a:lnTo>
                      <a:lnTo>
                        <a:pt x="48" y="34"/>
                      </a:lnTo>
                      <a:lnTo>
                        <a:pt x="48" y="34"/>
                      </a:lnTo>
                      <a:lnTo>
                        <a:pt x="48" y="34"/>
                      </a:lnTo>
                      <a:lnTo>
                        <a:pt x="47" y="34"/>
                      </a:lnTo>
                      <a:lnTo>
                        <a:pt x="47" y="33"/>
                      </a:lnTo>
                      <a:lnTo>
                        <a:pt x="47" y="32"/>
                      </a:lnTo>
                      <a:lnTo>
                        <a:pt x="47" y="32"/>
                      </a:lnTo>
                      <a:lnTo>
                        <a:pt x="47" y="31"/>
                      </a:lnTo>
                      <a:lnTo>
                        <a:pt x="47" y="32"/>
                      </a:lnTo>
                      <a:lnTo>
                        <a:pt x="48" y="32"/>
                      </a:lnTo>
                      <a:lnTo>
                        <a:pt x="48" y="31"/>
                      </a:lnTo>
                      <a:lnTo>
                        <a:pt x="48" y="30"/>
                      </a:lnTo>
                      <a:lnTo>
                        <a:pt x="47" y="30"/>
                      </a:lnTo>
                      <a:lnTo>
                        <a:pt x="46" y="30"/>
                      </a:lnTo>
                      <a:lnTo>
                        <a:pt x="46" y="30"/>
                      </a:lnTo>
                      <a:lnTo>
                        <a:pt x="46" y="30"/>
                      </a:lnTo>
                      <a:lnTo>
                        <a:pt x="46" y="29"/>
                      </a:lnTo>
                      <a:lnTo>
                        <a:pt x="46" y="29"/>
                      </a:lnTo>
                      <a:lnTo>
                        <a:pt x="46" y="28"/>
                      </a:lnTo>
                      <a:lnTo>
                        <a:pt x="47" y="28"/>
                      </a:lnTo>
                      <a:lnTo>
                        <a:pt x="48" y="29"/>
                      </a:lnTo>
                      <a:lnTo>
                        <a:pt x="48" y="30"/>
                      </a:lnTo>
                      <a:lnTo>
                        <a:pt x="48" y="30"/>
                      </a:lnTo>
                      <a:lnTo>
                        <a:pt x="48" y="30"/>
                      </a:lnTo>
                      <a:lnTo>
                        <a:pt x="48" y="30"/>
                      </a:lnTo>
                      <a:lnTo>
                        <a:pt x="49" y="30"/>
                      </a:lnTo>
                      <a:lnTo>
                        <a:pt x="49" y="29"/>
                      </a:lnTo>
                      <a:lnTo>
                        <a:pt x="48" y="28"/>
                      </a:lnTo>
                      <a:lnTo>
                        <a:pt x="48" y="28"/>
                      </a:lnTo>
                      <a:lnTo>
                        <a:pt x="48" y="27"/>
                      </a:lnTo>
                      <a:lnTo>
                        <a:pt x="48" y="26"/>
                      </a:lnTo>
                      <a:lnTo>
                        <a:pt x="49" y="26"/>
                      </a:lnTo>
                      <a:lnTo>
                        <a:pt x="50" y="26"/>
                      </a:lnTo>
                      <a:lnTo>
                        <a:pt x="50" y="25"/>
                      </a:lnTo>
                      <a:lnTo>
                        <a:pt x="49" y="25"/>
                      </a:lnTo>
                      <a:lnTo>
                        <a:pt x="48" y="24"/>
                      </a:lnTo>
                      <a:lnTo>
                        <a:pt x="48" y="24"/>
                      </a:lnTo>
                      <a:lnTo>
                        <a:pt x="49" y="24"/>
                      </a:lnTo>
                      <a:lnTo>
                        <a:pt x="49" y="23"/>
                      </a:lnTo>
                      <a:lnTo>
                        <a:pt x="49" y="22"/>
                      </a:lnTo>
                      <a:lnTo>
                        <a:pt x="50" y="22"/>
                      </a:lnTo>
                      <a:lnTo>
                        <a:pt x="50" y="21"/>
                      </a:lnTo>
                      <a:lnTo>
                        <a:pt x="50" y="21"/>
                      </a:lnTo>
                      <a:lnTo>
                        <a:pt x="50" y="21"/>
                      </a:lnTo>
                      <a:lnTo>
                        <a:pt x="50" y="20"/>
                      </a:lnTo>
                      <a:lnTo>
                        <a:pt x="51" y="20"/>
                      </a:lnTo>
                      <a:lnTo>
                        <a:pt x="52" y="20"/>
                      </a:lnTo>
                      <a:lnTo>
                        <a:pt x="52" y="19"/>
                      </a:lnTo>
                      <a:lnTo>
                        <a:pt x="52" y="19"/>
                      </a:lnTo>
                      <a:lnTo>
                        <a:pt x="51" y="19"/>
                      </a:lnTo>
                      <a:lnTo>
                        <a:pt x="51" y="18"/>
                      </a:lnTo>
                      <a:lnTo>
                        <a:pt x="50" y="18"/>
                      </a:lnTo>
                      <a:lnTo>
                        <a:pt x="50" y="17"/>
                      </a:lnTo>
                      <a:lnTo>
                        <a:pt x="50" y="17"/>
                      </a:lnTo>
                      <a:lnTo>
                        <a:pt x="50" y="17"/>
                      </a:lnTo>
                      <a:lnTo>
                        <a:pt x="50" y="17"/>
                      </a:lnTo>
                      <a:lnTo>
                        <a:pt x="50" y="16"/>
                      </a:lnTo>
                      <a:lnTo>
                        <a:pt x="51" y="16"/>
                      </a:lnTo>
                      <a:lnTo>
                        <a:pt x="52" y="16"/>
                      </a:lnTo>
                      <a:lnTo>
                        <a:pt x="52" y="15"/>
                      </a:lnTo>
                      <a:lnTo>
                        <a:pt x="51" y="15"/>
                      </a:lnTo>
                      <a:lnTo>
                        <a:pt x="51" y="15"/>
                      </a:lnTo>
                      <a:lnTo>
                        <a:pt x="50" y="14"/>
                      </a:lnTo>
                      <a:lnTo>
                        <a:pt x="50" y="13"/>
                      </a:lnTo>
                      <a:lnTo>
                        <a:pt x="49" y="13"/>
                      </a:lnTo>
                      <a:lnTo>
                        <a:pt x="48" y="13"/>
                      </a:lnTo>
                      <a:lnTo>
                        <a:pt x="48" y="13"/>
                      </a:lnTo>
                      <a:lnTo>
                        <a:pt x="48" y="12"/>
                      </a:lnTo>
                      <a:lnTo>
                        <a:pt x="49" y="12"/>
                      </a:lnTo>
                      <a:lnTo>
                        <a:pt x="49" y="11"/>
                      </a:lnTo>
                      <a:lnTo>
                        <a:pt x="50" y="11"/>
                      </a:lnTo>
                      <a:lnTo>
                        <a:pt x="50" y="11"/>
                      </a:lnTo>
                      <a:lnTo>
                        <a:pt x="50" y="11"/>
                      </a:lnTo>
                      <a:lnTo>
                        <a:pt x="50" y="10"/>
                      </a:lnTo>
                      <a:lnTo>
                        <a:pt x="50" y="9"/>
                      </a:lnTo>
                      <a:lnTo>
                        <a:pt x="50" y="9"/>
                      </a:lnTo>
                      <a:lnTo>
                        <a:pt x="50" y="9"/>
                      </a:lnTo>
                      <a:lnTo>
                        <a:pt x="50" y="9"/>
                      </a:lnTo>
                      <a:lnTo>
                        <a:pt x="50" y="8"/>
                      </a:lnTo>
                      <a:lnTo>
                        <a:pt x="51" y="8"/>
                      </a:lnTo>
                      <a:lnTo>
                        <a:pt x="51" y="7"/>
                      </a:lnTo>
                      <a:lnTo>
                        <a:pt x="52" y="7"/>
                      </a:lnTo>
                      <a:lnTo>
                        <a:pt x="53" y="7"/>
                      </a:lnTo>
                      <a:lnTo>
                        <a:pt x="53" y="7"/>
                      </a:lnTo>
                      <a:lnTo>
                        <a:pt x="53" y="6"/>
                      </a:lnTo>
                      <a:lnTo>
                        <a:pt x="54" y="5"/>
                      </a:lnTo>
                      <a:lnTo>
                        <a:pt x="54" y="5"/>
                      </a:lnTo>
                      <a:lnTo>
                        <a:pt x="55" y="5"/>
                      </a:lnTo>
                      <a:lnTo>
                        <a:pt x="55" y="4"/>
                      </a:lnTo>
                      <a:lnTo>
                        <a:pt x="54" y="4"/>
                      </a:lnTo>
                      <a:lnTo>
                        <a:pt x="54" y="3"/>
                      </a:lnTo>
                      <a:lnTo>
                        <a:pt x="54" y="2"/>
                      </a:lnTo>
                      <a:lnTo>
                        <a:pt x="54" y="2"/>
                      </a:lnTo>
                      <a:lnTo>
                        <a:pt x="53" y="2"/>
                      </a:lnTo>
                      <a:lnTo>
                        <a:pt x="53" y="1"/>
                      </a:lnTo>
                      <a:lnTo>
                        <a:pt x="53" y="1"/>
                      </a:lnTo>
                      <a:lnTo>
                        <a:pt x="53" y="0"/>
                      </a:lnTo>
                      <a:lnTo>
                        <a:pt x="53" y="0"/>
                      </a:lnTo>
                      <a:lnTo>
                        <a:pt x="53" y="0"/>
                      </a:lnTo>
                      <a:lnTo>
                        <a:pt x="54"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69" name="Freeform 83">
                  <a:extLst>
                    <a:ext uri="{FF2B5EF4-FFF2-40B4-BE49-F238E27FC236}">
                      <a16:creationId xmlns:a16="http://schemas.microsoft.com/office/drawing/2014/main" xmlns="" id="{702847A1-C6D1-0235-157B-335C15E1B8FA}"/>
                    </a:ext>
                  </a:extLst>
                </p:cNvPr>
                <p:cNvSpPr>
                  <a:spLocks/>
                </p:cNvSpPr>
                <p:nvPr/>
              </p:nvSpPr>
              <p:spPr bwMode="auto">
                <a:xfrm>
                  <a:off x="3118" y="3690"/>
                  <a:ext cx="256" cy="69"/>
                </a:xfrm>
                <a:custGeom>
                  <a:avLst/>
                  <a:gdLst>
                    <a:gd name="T0" fmla="*/ 1 w 256"/>
                    <a:gd name="T1" fmla="*/ 63 h 69"/>
                    <a:gd name="T2" fmla="*/ 2 w 256"/>
                    <a:gd name="T3" fmla="*/ 55 h 69"/>
                    <a:gd name="T4" fmla="*/ 2 w 256"/>
                    <a:gd name="T5" fmla="*/ 46 h 69"/>
                    <a:gd name="T6" fmla="*/ 3 w 256"/>
                    <a:gd name="T7" fmla="*/ 38 h 69"/>
                    <a:gd name="T8" fmla="*/ 3 w 256"/>
                    <a:gd name="T9" fmla="*/ 29 h 69"/>
                    <a:gd name="T10" fmla="*/ 5 w 256"/>
                    <a:gd name="T11" fmla="*/ 22 h 69"/>
                    <a:gd name="T12" fmla="*/ 7 w 256"/>
                    <a:gd name="T13" fmla="*/ 17 h 69"/>
                    <a:gd name="T14" fmla="*/ 11 w 256"/>
                    <a:gd name="T15" fmla="*/ 20 h 69"/>
                    <a:gd name="T16" fmla="*/ 15 w 256"/>
                    <a:gd name="T17" fmla="*/ 21 h 69"/>
                    <a:gd name="T18" fmla="*/ 22 w 256"/>
                    <a:gd name="T19" fmla="*/ 23 h 69"/>
                    <a:gd name="T20" fmla="*/ 24 w 256"/>
                    <a:gd name="T21" fmla="*/ 23 h 69"/>
                    <a:gd name="T22" fmla="*/ 28 w 256"/>
                    <a:gd name="T23" fmla="*/ 21 h 69"/>
                    <a:gd name="T24" fmla="*/ 33 w 256"/>
                    <a:gd name="T25" fmla="*/ 23 h 69"/>
                    <a:gd name="T26" fmla="*/ 37 w 256"/>
                    <a:gd name="T27" fmla="*/ 29 h 69"/>
                    <a:gd name="T28" fmla="*/ 40 w 256"/>
                    <a:gd name="T29" fmla="*/ 32 h 69"/>
                    <a:gd name="T30" fmla="*/ 43 w 256"/>
                    <a:gd name="T31" fmla="*/ 32 h 69"/>
                    <a:gd name="T32" fmla="*/ 45 w 256"/>
                    <a:gd name="T33" fmla="*/ 36 h 69"/>
                    <a:gd name="T34" fmla="*/ 49 w 256"/>
                    <a:gd name="T35" fmla="*/ 35 h 69"/>
                    <a:gd name="T36" fmla="*/ 54 w 256"/>
                    <a:gd name="T37" fmla="*/ 32 h 69"/>
                    <a:gd name="T38" fmla="*/ 56 w 256"/>
                    <a:gd name="T39" fmla="*/ 37 h 69"/>
                    <a:gd name="T40" fmla="*/ 62 w 256"/>
                    <a:gd name="T41" fmla="*/ 38 h 69"/>
                    <a:gd name="T42" fmla="*/ 65 w 256"/>
                    <a:gd name="T43" fmla="*/ 40 h 69"/>
                    <a:gd name="T44" fmla="*/ 68 w 256"/>
                    <a:gd name="T45" fmla="*/ 38 h 69"/>
                    <a:gd name="T46" fmla="*/ 71 w 256"/>
                    <a:gd name="T47" fmla="*/ 46 h 69"/>
                    <a:gd name="T48" fmla="*/ 79 w 256"/>
                    <a:gd name="T49" fmla="*/ 47 h 69"/>
                    <a:gd name="T50" fmla="*/ 83 w 256"/>
                    <a:gd name="T51" fmla="*/ 50 h 69"/>
                    <a:gd name="T52" fmla="*/ 87 w 256"/>
                    <a:gd name="T53" fmla="*/ 56 h 69"/>
                    <a:gd name="T54" fmla="*/ 91 w 256"/>
                    <a:gd name="T55" fmla="*/ 55 h 69"/>
                    <a:gd name="T56" fmla="*/ 100 w 256"/>
                    <a:gd name="T57" fmla="*/ 55 h 69"/>
                    <a:gd name="T58" fmla="*/ 104 w 256"/>
                    <a:gd name="T59" fmla="*/ 46 h 69"/>
                    <a:gd name="T60" fmla="*/ 105 w 256"/>
                    <a:gd name="T61" fmla="*/ 38 h 69"/>
                    <a:gd name="T62" fmla="*/ 110 w 256"/>
                    <a:gd name="T63" fmla="*/ 30 h 69"/>
                    <a:gd name="T64" fmla="*/ 114 w 256"/>
                    <a:gd name="T65" fmla="*/ 23 h 69"/>
                    <a:gd name="T66" fmla="*/ 119 w 256"/>
                    <a:gd name="T67" fmla="*/ 14 h 69"/>
                    <a:gd name="T68" fmla="*/ 127 w 256"/>
                    <a:gd name="T69" fmla="*/ 13 h 69"/>
                    <a:gd name="T70" fmla="*/ 136 w 256"/>
                    <a:gd name="T71" fmla="*/ 17 h 69"/>
                    <a:gd name="T72" fmla="*/ 144 w 256"/>
                    <a:gd name="T73" fmla="*/ 23 h 69"/>
                    <a:gd name="T74" fmla="*/ 150 w 256"/>
                    <a:gd name="T75" fmla="*/ 27 h 69"/>
                    <a:gd name="T76" fmla="*/ 155 w 256"/>
                    <a:gd name="T77" fmla="*/ 34 h 69"/>
                    <a:gd name="T78" fmla="*/ 159 w 256"/>
                    <a:gd name="T79" fmla="*/ 41 h 69"/>
                    <a:gd name="T80" fmla="*/ 163 w 256"/>
                    <a:gd name="T81" fmla="*/ 49 h 69"/>
                    <a:gd name="T82" fmla="*/ 171 w 256"/>
                    <a:gd name="T83" fmla="*/ 55 h 69"/>
                    <a:gd name="T84" fmla="*/ 180 w 256"/>
                    <a:gd name="T85" fmla="*/ 52 h 69"/>
                    <a:gd name="T86" fmla="*/ 189 w 256"/>
                    <a:gd name="T87" fmla="*/ 52 h 69"/>
                    <a:gd name="T88" fmla="*/ 197 w 256"/>
                    <a:gd name="T89" fmla="*/ 55 h 69"/>
                    <a:gd name="T90" fmla="*/ 203 w 256"/>
                    <a:gd name="T91" fmla="*/ 61 h 69"/>
                    <a:gd name="T92" fmla="*/ 209 w 256"/>
                    <a:gd name="T93" fmla="*/ 66 h 69"/>
                    <a:gd name="T94" fmla="*/ 217 w 256"/>
                    <a:gd name="T95" fmla="*/ 66 h 69"/>
                    <a:gd name="T96" fmla="*/ 225 w 256"/>
                    <a:gd name="T97" fmla="*/ 64 h 69"/>
                    <a:gd name="T98" fmla="*/ 235 w 256"/>
                    <a:gd name="T99" fmla="*/ 65 h 69"/>
                    <a:gd name="T100" fmla="*/ 243 w 256"/>
                    <a:gd name="T101" fmla="*/ 68 h 69"/>
                    <a:gd name="T102" fmla="*/ 250 w 256"/>
                    <a:gd name="T103" fmla="*/ 62 h 69"/>
                    <a:gd name="T104" fmla="*/ 252 w 256"/>
                    <a:gd name="T105" fmla="*/ 52 h 69"/>
                    <a:gd name="T106" fmla="*/ 250 w 256"/>
                    <a:gd name="T107" fmla="*/ 44 h 69"/>
                    <a:gd name="T108" fmla="*/ 252 w 256"/>
                    <a:gd name="T109" fmla="*/ 37 h 69"/>
                    <a:gd name="T110" fmla="*/ 252 w 256"/>
                    <a:gd name="T111" fmla="*/ 31 h 69"/>
                    <a:gd name="T112" fmla="*/ 252 w 256"/>
                    <a:gd name="T113" fmla="*/ 23 h 69"/>
                    <a:gd name="T114" fmla="*/ 252 w 256"/>
                    <a:gd name="T115" fmla="*/ 17 h 69"/>
                    <a:gd name="T116" fmla="*/ 254 w 256"/>
                    <a:gd name="T117" fmla="*/ 11 h 69"/>
                    <a:gd name="T118" fmla="*/ 254 w 256"/>
                    <a:gd name="T119" fmla="*/ 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 h="69">
                      <a:moveTo>
                        <a:pt x="4" y="69"/>
                      </a:moveTo>
                      <a:lnTo>
                        <a:pt x="4" y="68"/>
                      </a:lnTo>
                      <a:lnTo>
                        <a:pt x="4" y="67"/>
                      </a:lnTo>
                      <a:lnTo>
                        <a:pt x="3" y="67"/>
                      </a:lnTo>
                      <a:lnTo>
                        <a:pt x="3" y="67"/>
                      </a:lnTo>
                      <a:lnTo>
                        <a:pt x="3" y="68"/>
                      </a:lnTo>
                      <a:lnTo>
                        <a:pt x="2" y="68"/>
                      </a:lnTo>
                      <a:lnTo>
                        <a:pt x="1" y="67"/>
                      </a:lnTo>
                      <a:lnTo>
                        <a:pt x="1" y="67"/>
                      </a:lnTo>
                      <a:lnTo>
                        <a:pt x="1" y="66"/>
                      </a:lnTo>
                      <a:lnTo>
                        <a:pt x="2" y="66"/>
                      </a:lnTo>
                      <a:lnTo>
                        <a:pt x="2" y="65"/>
                      </a:lnTo>
                      <a:lnTo>
                        <a:pt x="1" y="65"/>
                      </a:lnTo>
                      <a:lnTo>
                        <a:pt x="1" y="65"/>
                      </a:lnTo>
                      <a:lnTo>
                        <a:pt x="2" y="65"/>
                      </a:lnTo>
                      <a:lnTo>
                        <a:pt x="1" y="64"/>
                      </a:lnTo>
                      <a:lnTo>
                        <a:pt x="1" y="63"/>
                      </a:lnTo>
                      <a:lnTo>
                        <a:pt x="1" y="63"/>
                      </a:lnTo>
                      <a:lnTo>
                        <a:pt x="1" y="62"/>
                      </a:lnTo>
                      <a:lnTo>
                        <a:pt x="2" y="62"/>
                      </a:lnTo>
                      <a:lnTo>
                        <a:pt x="2" y="61"/>
                      </a:lnTo>
                      <a:lnTo>
                        <a:pt x="2" y="61"/>
                      </a:lnTo>
                      <a:lnTo>
                        <a:pt x="2" y="60"/>
                      </a:lnTo>
                      <a:lnTo>
                        <a:pt x="1" y="60"/>
                      </a:lnTo>
                      <a:lnTo>
                        <a:pt x="1" y="59"/>
                      </a:lnTo>
                      <a:lnTo>
                        <a:pt x="2" y="59"/>
                      </a:lnTo>
                      <a:lnTo>
                        <a:pt x="2" y="59"/>
                      </a:lnTo>
                      <a:lnTo>
                        <a:pt x="2" y="58"/>
                      </a:lnTo>
                      <a:lnTo>
                        <a:pt x="2" y="57"/>
                      </a:lnTo>
                      <a:lnTo>
                        <a:pt x="1" y="57"/>
                      </a:lnTo>
                      <a:lnTo>
                        <a:pt x="0" y="57"/>
                      </a:lnTo>
                      <a:lnTo>
                        <a:pt x="1" y="56"/>
                      </a:lnTo>
                      <a:lnTo>
                        <a:pt x="1" y="55"/>
                      </a:lnTo>
                      <a:lnTo>
                        <a:pt x="2" y="55"/>
                      </a:lnTo>
                      <a:lnTo>
                        <a:pt x="1" y="55"/>
                      </a:lnTo>
                      <a:lnTo>
                        <a:pt x="1" y="54"/>
                      </a:lnTo>
                      <a:lnTo>
                        <a:pt x="0" y="54"/>
                      </a:lnTo>
                      <a:lnTo>
                        <a:pt x="0" y="53"/>
                      </a:lnTo>
                      <a:lnTo>
                        <a:pt x="0" y="52"/>
                      </a:lnTo>
                      <a:lnTo>
                        <a:pt x="0" y="52"/>
                      </a:lnTo>
                      <a:lnTo>
                        <a:pt x="0" y="51"/>
                      </a:lnTo>
                      <a:lnTo>
                        <a:pt x="0" y="50"/>
                      </a:lnTo>
                      <a:lnTo>
                        <a:pt x="0" y="50"/>
                      </a:lnTo>
                      <a:lnTo>
                        <a:pt x="0" y="49"/>
                      </a:lnTo>
                      <a:lnTo>
                        <a:pt x="1" y="49"/>
                      </a:lnTo>
                      <a:lnTo>
                        <a:pt x="1" y="48"/>
                      </a:lnTo>
                      <a:lnTo>
                        <a:pt x="1" y="48"/>
                      </a:lnTo>
                      <a:lnTo>
                        <a:pt x="1" y="47"/>
                      </a:lnTo>
                      <a:lnTo>
                        <a:pt x="1" y="46"/>
                      </a:lnTo>
                      <a:lnTo>
                        <a:pt x="1" y="46"/>
                      </a:lnTo>
                      <a:lnTo>
                        <a:pt x="2" y="46"/>
                      </a:lnTo>
                      <a:lnTo>
                        <a:pt x="2" y="45"/>
                      </a:lnTo>
                      <a:lnTo>
                        <a:pt x="2" y="44"/>
                      </a:lnTo>
                      <a:lnTo>
                        <a:pt x="2" y="44"/>
                      </a:lnTo>
                      <a:lnTo>
                        <a:pt x="2" y="43"/>
                      </a:lnTo>
                      <a:lnTo>
                        <a:pt x="2" y="42"/>
                      </a:lnTo>
                      <a:lnTo>
                        <a:pt x="2" y="42"/>
                      </a:lnTo>
                      <a:lnTo>
                        <a:pt x="1" y="42"/>
                      </a:lnTo>
                      <a:lnTo>
                        <a:pt x="1" y="41"/>
                      </a:lnTo>
                      <a:lnTo>
                        <a:pt x="2" y="41"/>
                      </a:lnTo>
                      <a:lnTo>
                        <a:pt x="2" y="40"/>
                      </a:lnTo>
                      <a:lnTo>
                        <a:pt x="1" y="40"/>
                      </a:lnTo>
                      <a:lnTo>
                        <a:pt x="2" y="40"/>
                      </a:lnTo>
                      <a:lnTo>
                        <a:pt x="2" y="40"/>
                      </a:lnTo>
                      <a:lnTo>
                        <a:pt x="2" y="39"/>
                      </a:lnTo>
                      <a:lnTo>
                        <a:pt x="2" y="38"/>
                      </a:lnTo>
                      <a:lnTo>
                        <a:pt x="2" y="38"/>
                      </a:lnTo>
                      <a:lnTo>
                        <a:pt x="3" y="38"/>
                      </a:lnTo>
                      <a:lnTo>
                        <a:pt x="3" y="37"/>
                      </a:lnTo>
                      <a:lnTo>
                        <a:pt x="3" y="36"/>
                      </a:lnTo>
                      <a:lnTo>
                        <a:pt x="3" y="36"/>
                      </a:lnTo>
                      <a:lnTo>
                        <a:pt x="3" y="36"/>
                      </a:lnTo>
                      <a:lnTo>
                        <a:pt x="3" y="35"/>
                      </a:lnTo>
                      <a:lnTo>
                        <a:pt x="4" y="34"/>
                      </a:lnTo>
                      <a:lnTo>
                        <a:pt x="4" y="34"/>
                      </a:lnTo>
                      <a:lnTo>
                        <a:pt x="3" y="34"/>
                      </a:lnTo>
                      <a:lnTo>
                        <a:pt x="3" y="33"/>
                      </a:lnTo>
                      <a:lnTo>
                        <a:pt x="3" y="32"/>
                      </a:lnTo>
                      <a:lnTo>
                        <a:pt x="3" y="31"/>
                      </a:lnTo>
                      <a:lnTo>
                        <a:pt x="3" y="31"/>
                      </a:lnTo>
                      <a:lnTo>
                        <a:pt x="3" y="30"/>
                      </a:lnTo>
                      <a:lnTo>
                        <a:pt x="3" y="30"/>
                      </a:lnTo>
                      <a:lnTo>
                        <a:pt x="3" y="30"/>
                      </a:lnTo>
                      <a:lnTo>
                        <a:pt x="3" y="29"/>
                      </a:lnTo>
                      <a:lnTo>
                        <a:pt x="3" y="29"/>
                      </a:lnTo>
                      <a:lnTo>
                        <a:pt x="3" y="29"/>
                      </a:lnTo>
                      <a:lnTo>
                        <a:pt x="3" y="29"/>
                      </a:lnTo>
                      <a:lnTo>
                        <a:pt x="3" y="28"/>
                      </a:lnTo>
                      <a:lnTo>
                        <a:pt x="3" y="27"/>
                      </a:lnTo>
                      <a:lnTo>
                        <a:pt x="3" y="27"/>
                      </a:lnTo>
                      <a:lnTo>
                        <a:pt x="3" y="27"/>
                      </a:lnTo>
                      <a:lnTo>
                        <a:pt x="3" y="26"/>
                      </a:lnTo>
                      <a:lnTo>
                        <a:pt x="3" y="26"/>
                      </a:lnTo>
                      <a:lnTo>
                        <a:pt x="3" y="25"/>
                      </a:lnTo>
                      <a:lnTo>
                        <a:pt x="4" y="25"/>
                      </a:lnTo>
                      <a:lnTo>
                        <a:pt x="4" y="25"/>
                      </a:lnTo>
                      <a:lnTo>
                        <a:pt x="3" y="24"/>
                      </a:lnTo>
                      <a:lnTo>
                        <a:pt x="4" y="24"/>
                      </a:lnTo>
                      <a:lnTo>
                        <a:pt x="4" y="23"/>
                      </a:lnTo>
                      <a:lnTo>
                        <a:pt x="4" y="23"/>
                      </a:lnTo>
                      <a:lnTo>
                        <a:pt x="4" y="22"/>
                      </a:lnTo>
                      <a:lnTo>
                        <a:pt x="5" y="22"/>
                      </a:lnTo>
                      <a:lnTo>
                        <a:pt x="5" y="21"/>
                      </a:lnTo>
                      <a:lnTo>
                        <a:pt x="5" y="21"/>
                      </a:lnTo>
                      <a:lnTo>
                        <a:pt x="4" y="21"/>
                      </a:lnTo>
                      <a:lnTo>
                        <a:pt x="5" y="21"/>
                      </a:lnTo>
                      <a:lnTo>
                        <a:pt x="5" y="20"/>
                      </a:lnTo>
                      <a:lnTo>
                        <a:pt x="5" y="20"/>
                      </a:lnTo>
                      <a:lnTo>
                        <a:pt x="5" y="19"/>
                      </a:lnTo>
                      <a:lnTo>
                        <a:pt x="5" y="19"/>
                      </a:lnTo>
                      <a:lnTo>
                        <a:pt x="6" y="19"/>
                      </a:lnTo>
                      <a:lnTo>
                        <a:pt x="7" y="19"/>
                      </a:lnTo>
                      <a:lnTo>
                        <a:pt x="7" y="19"/>
                      </a:lnTo>
                      <a:lnTo>
                        <a:pt x="7" y="19"/>
                      </a:lnTo>
                      <a:lnTo>
                        <a:pt x="7" y="19"/>
                      </a:lnTo>
                      <a:lnTo>
                        <a:pt x="7" y="18"/>
                      </a:lnTo>
                      <a:lnTo>
                        <a:pt x="7" y="17"/>
                      </a:lnTo>
                      <a:lnTo>
                        <a:pt x="7" y="17"/>
                      </a:lnTo>
                      <a:lnTo>
                        <a:pt x="7" y="17"/>
                      </a:lnTo>
                      <a:lnTo>
                        <a:pt x="8" y="17"/>
                      </a:lnTo>
                      <a:lnTo>
                        <a:pt x="8" y="17"/>
                      </a:lnTo>
                      <a:lnTo>
                        <a:pt x="9" y="17"/>
                      </a:lnTo>
                      <a:lnTo>
                        <a:pt x="9" y="17"/>
                      </a:lnTo>
                      <a:lnTo>
                        <a:pt x="9" y="17"/>
                      </a:lnTo>
                      <a:lnTo>
                        <a:pt x="9" y="16"/>
                      </a:lnTo>
                      <a:lnTo>
                        <a:pt x="10" y="16"/>
                      </a:lnTo>
                      <a:lnTo>
                        <a:pt x="11" y="16"/>
                      </a:lnTo>
                      <a:lnTo>
                        <a:pt x="11" y="16"/>
                      </a:lnTo>
                      <a:lnTo>
                        <a:pt x="11" y="17"/>
                      </a:lnTo>
                      <a:lnTo>
                        <a:pt x="11" y="17"/>
                      </a:lnTo>
                      <a:lnTo>
                        <a:pt x="11" y="17"/>
                      </a:lnTo>
                      <a:lnTo>
                        <a:pt x="11" y="17"/>
                      </a:lnTo>
                      <a:lnTo>
                        <a:pt x="11" y="18"/>
                      </a:lnTo>
                      <a:lnTo>
                        <a:pt x="11" y="19"/>
                      </a:lnTo>
                      <a:lnTo>
                        <a:pt x="11" y="19"/>
                      </a:lnTo>
                      <a:lnTo>
                        <a:pt x="11" y="20"/>
                      </a:lnTo>
                      <a:lnTo>
                        <a:pt x="12" y="20"/>
                      </a:lnTo>
                      <a:lnTo>
                        <a:pt x="12" y="21"/>
                      </a:lnTo>
                      <a:lnTo>
                        <a:pt x="13" y="21"/>
                      </a:lnTo>
                      <a:lnTo>
                        <a:pt x="13" y="21"/>
                      </a:lnTo>
                      <a:lnTo>
                        <a:pt x="13" y="20"/>
                      </a:lnTo>
                      <a:lnTo>
                        <a:pt x="13" y="19"/>
                      </a:lnTo>
                      <a:lnTo>
                        <a:pt x="13" y="19"/>
                      </a:lnTo>
                      <a:lnTo>
                        <a:pt x="13" y="19"/>
                      </a:lnTo>
                      <a:lnTo>
                        <a:pt x="13" y="18"/>
                      </a:lnTo>
                      <a:lnTo>
                        <a:pt x="14" y="18"/>
                      </a:lnTo>
                      <a:lnTo>
                        <a:pt x="14" y="19"/>
                      </a:lnTo>
                      <a:lnTo>
                        <a:pt x="15" y="19"/>
                      </a:lnTo>
                      <a:lnTo>
                        <a:pt x="15" y="19"/>
                      </a:lnTo>
                      <a:lnTo>
                        <a:pt x="15" y="20"/>
                      </a:lnTo>
                      <a:lnTo>
                        <a:pt x="15" y="20"/>
                      </a:lnTo>
                      <a:lnTo>
                        <a:pt x="15" y="21"/>
                      </a:lnTo>
                      <a:lnTo>
                        <a:pt x="15" y="21"/>
                      </a:lnTo>
                      <a:lnTo>
                        <a:pt x="16" y="21"/>
                      </a:lnTo>
                      <a:lnTo>
                        <a:pt x="17" y="21"/>
                      </a:lnTo>
                      <a:lnTo>
                        <a:pt x="17" y="21"/>
                      </a:lnTo>
                      <a:lnTo>
                        <a:pt x="17" y="21"/>
                      </a:lnTo>
                      <a:lnTo>
                        <a:pt x="17" y="20"/>
                      </a:lnTo>
                      <a:lnTo>
                        <a:pt x="18" y="19"/>
                      </a:lnTo>
                      <a:lnTo>
                        <a:pt x="19" y="19"/>
                      </a:lnTo>
                      <a:lnTo>
                        <a:pt x="19" y="20"/>
                      </a:lnTo>
                      <a:lnTo>
                        <a:pt x="19" y="20"/>
                      </a:lnTo>
                      <a:lnTo>
                        <a:pt x="19" y="21"/>
                      </a:lnTo>
                      <a:lnTo>
                        <a:pt x="19" y="21"/>
                      </a:lnTo>
                      <a:lnTo>
                        <a:pt x="19" y="22"/>
                      </a:lnTo>
                      <a:lnTo>
                        <a:pt x="20" y="22"/>
                      </a:lnTo>
                      <a:lnTo>
                        <a:pt x="21" y="22"/>
                      </a:lnTo>
                      <a:lnTo>
                        <a:pt x="22" y="22"/>
                      </a:lnTo>
                      <a:lnTo>
                        <a:pt x="22" y="23"/>
                      </a:lnTo>
                      <a:lnTo>
                        <a:pt x="22" y="23"/>
                      </a:lnTo>
                      <a:lnTo>
                        <a:pt x="22" y="22"/>
                      </a:lnTo>
                      <a:lnTo>
                        <a:pt x="23" y="22"/>
                      </a:lnTo>
                      <a:lnTo>
                        <a:pt x="24" y="23"/>
                      </a:lnTo>
                      <a:lnTo>
                        <a:pt x="24" y="23"/>
                      </a:lnTo>
                      <a:lnTo>
                        <a:pt x="23" y="23"/>
                      </a:lnTo>
                      <a:lnTo>
                        <a:pt x="22" y="23"/>
                      </a:lnTo>
                      <a:lnTo>
                        <a:pt x="22" y="24"/>
                      </a:lnTo>
                      <a:lnTo>
                        <a:pt x="22" y="25"/>
                      </a:lnTo>
                      <a:lnTo>
                        <a:pt x="22" y="25"/>
                      </a:lnTo>
                      <a:lnTo>
                        <a:pt x="23" y="25"/>
                      </a:lnTo>
                      <a:lnTo>
                        <a:pt x="24" y="25"/>
                      </a:lnTo>
                      <a:lnTo>
                        <a:pt x="24" y="25"/>
                      </a:lnTo>
                      <a:lnTo>
                        <a:pt x="25" y="25"/>
                      </a:lnTo>
                      <a:lnTo>
                        <a:pt x="26" y="24"/>
                      </a:lnTo>
                      <a:lnTo>
                        <a:pt x="26" y="23"/>
                      </a:lnTo>
                      <a:lnTo>
                        <a:pt x="25" y="23"/>
                      </a:lnTo>
                      <a:lnTo>
                        <a:pt x="24" y="23"/>
                      </a:lnTo>
                      <a:lnTo>
                        <a:pt x="24" y="23"/>
                      </a:lnTo>
                      <a:lnTo>
                        <a:pt x="25" y="23"/>
                      </a:lnTo>
                      <a:lnTo>
                        <a:pt x="25" y="22"/>
                      </a:lnTo>
                      <a:lnTo>
                        <a:pt x="26" y="22"/>
                      </a:lnTo>
                      <a:lnTo>
                        <a:pt x="26" y="22"/>
                      </a:lnTo>
                      <a:lnTo>
                        <a:pt x="26" y="23"/>
                      </a:lnTo>
                      <a:lnTo>
                        <a:pt x="27" y="23"/>
                      </a:lnTo>
                      <a:lnTo>
                        <a:pt x="27" y="23"/>
                      </a:lnTo>
                      <a:lnTo>
                        <a:pt x="27" y="24"/>
                      </a:lnTo>
                      <a:lnTo>
                        <a:pt x="28" y="24"/>
                      </a:lnTo>
                      <a:lnTo>
                        <a:pt x="28" y="24"/>
                      </a:lnTo>
                      <a:lnTo>
                        <a:pt x="29" y="24"/>
                      </a:lnTo>
                      <a:lnTo>
                        <a:pt x="29" y="23"/>
                      </a:lnTo>
                      <a:lnTo>
                        <a:pt x="29" y="23"/>
                      </a:lnTo>
                      <a:lnTo>
                        <a:pt x="29" y="22"/>
                      </a:lnTo>
                      <a:lnTo>
                        <a:pt x="28" y="22"/>
                      </a:lnTo>
                      <a:lnTo>
                        <a:pt x="28" y="21"/>
                      </a:lnTo>
                      <a:lnTo>
                        <a:pt x="28" y="21"/>
                      </a:lnTo>
                      <a:lnTo>
                        <a:pt x="29" y="21"/>
                      </a:lnTo>
                      <a:lnTo>
                        <a:pt x="29" y="20"/>
                      </a:lnTo>
                      <a:lnTo>
                        <a:pt x="30" y="20"/>
                      </a:lnTo>
                      <a:lnTo>
                        <a:pt x="30" y="20"/>
                      </a:lnTo>
                      <a:lnTo>
                        <a:pt x="30" y="21"/>
                      </a:lnTo>
                      <a:lnTo>
                        <a:pt x="31" y="21"/>
                      </a:lnTo>
                      <a:lnTo>
                        <a:pt x="32" y="21"/>
                      </a:lnTo>
                      <a:lnTo>
                        <a:pt x="32" y="21"/>
                      </a:lnTo>
                      <a:lnTo>
                        <a:pt x="32" y="20"/>
                      </a:lnTo>
                      <a:lnTo>
                        <a:pt x="32" y="19"/>
                      </a:lnTo>
                      <a:lnTo>
                        <a:pt x="33" y="19"/>
                      </a:lnTo>
                      <a:lnTo>
                        <a:pt x="33" y="20"/>
                      </a:lnTo>
                      <a:lnTo>
                        <a:pt x="33" y="21"/>
                      </a:lnTo>
                      <a:lnTo>
                        <a:pt x="33" y="21"/>
                      </a:lnTo>
                      <a:lnTo>
                        <a:pt x="33" y="22"/>
                      </a:lnTo>
                      <a:lnTo>
                        <a:pt x="33" y="23"/>
                      </a:lnTo>
                      <a:lnTo>
                        <a:pt x="34" y="23"/>
                      </a:lnTo>
                      <a:lnTo>
                        <a:pt x="34" y="23"/>
                      </a:lnTo>
                      <a:lnTo>
                        <a:pt x="35" y="23"/>
                      </a:lnTo>
                      <a:lnTo>
                        <a:pt x="35" y="23"/>
                      </a:lnTo>
                      <a:lnTo>
                        <a:pt x="35" y="24"/>
                      </a:lnTo>
                      <a:lnTo>
                        <a:pt x="35" y="25"/>
                      </a:lnTo>
                      <a:lnTo>
                        <a:pt x="35" y="25"/>
                      </a:lnTo>
                      <a:lnTo>
                        <a:pt x="36" y="25"/>
                      </a:lnTo>
                      <a:lnTo>
                        <a:pt x="36" y="25"/>
                      </a:lnTo>
                      <a:lnTo>
                        <a:pt x="36" y="25"/>
                      </a:lnTo>
                      <a:lnTo>
                        <a:pt x="36" y="26"/>
                      </a:lnTo>
                      <a:lnTo>
                        <a:pt x="36" y="27"/>
                      </a:lnTo>
                      <a:lnTo>
                        <a:pt x="36" y="27"/>
                      </a:lnTo>
                      <a:lnTo>
                        <a:pt x="36" y="27"/>
                      </a:lnTo>
                      <a:lnTo>
                        <a:pt x="37" y="28"/>
                      </a:lnTo>
                      <a:lnTo>
                        <a:pt x="37" y="29"/>
                      </a:lnTo>
                      <a:lnTo>
                        <a:pt x="37" y="29"/>
                      </a:lnTo>
                      <a:lnTo>
                        <a:pt x="38" y="29"/>
                      </a:lnTo>
                      <a:lnTo>
                        <a:pt x="39" y="29"/>
                      </a:lnTo>
                      <a:lnTo>
                        <a:pt x="39" y="30"/>
                      </a:lnTo>
                      <a:lnTo>
                        <a:pt x="39" y="30"/>
                      </a:lnTo>
                      <a:lnTo>
                        <a:pt x="40" y="30"/>
                      </a:lnTo>
                      <a:lnTo>
                        <a:pt x="40" y="31"/>
                      </a:lnTo>
                      <a:lnTo>
                        <a:pt x="40" y="31"/>
                      </a:lnTo>
                      <a:lnTo>
                        <a:pt x="39" y="31"/>
                      </a:lnTo>
                      <a:lnTo>
                        <a:pt x="39" y="31"/>
                      </a:lnTo>
                      <a:lnTo>
                        <a:pt x="39" y="31"/>
                      </a:lnTo>
                      <a:lnTo>
                        <a:pt x="38" y="31"/>
                      </a:lnTo>
                      <a:lnTo>
                        <a:pt x="38" y="32"/>
                      </a:lnTo>
                      <a:lnTo>
                        <a:pt x="38" y="33"/>
                      </a:lnTo>
                      <a:lnTo>
                        <a:pt x="39" y="33"/>
                      </a:lnTo>
                      <a:lnTo>
                        <a:pt x="39" y="33"/>
                      </a:lnTo>
                      <a:lnTo>
                        <a:pt x="39" y="32"/>
                      </a:lnTo>
                      <a:lnTo>
                        <a:pt x="40" y="32"/>
                      </a:lnTo>
                      <a:lnTo>
                        <a:pt x="40" y="33"/>
                      </a:lnTo>
                      <a:lnTo>
                        <a:pt x="41" y="33"/>
                      </a:lnTo>
                      <a:lnTo>
                        <a:pt x="41" y="34"/>
                      </a:lnTo>
                      <a:lnTo>
                        <a:pt x="41" y="34"/>
                      </a:lnTo>
                      <a:lnTo>
                        <a:pt x="41" y="34"/>
                      </a:lnTo>
                      <a:lnTo>
                        <a:pt x="41" y="34"/>
                      </a:lnTo>
                      <a:lnTo>
                        <a:pt x="42" y="34"/>
                      </a:lnTo>
                      <a:lnTo>
                        <a:pt x="43" y="34"/>
                      </a:lnTo>
                      <a:lnTo>
                        <a:pt x="43" y="34"/>
                      </a:lnTo>
                      <a:lnTo>
                        <a:pt x="43" y="35"/>
                      </a:lnTo>
                      <a:lnTo>
                        <a:pt x="44" y="35"/>
                      </a:lnTo>
                      <a:lnTo>
                        <a:pt x="44" y="34"/>
                      </a:lnTo>
                      <a:lnTo>
                        <a:pt x="44" y="34"/>
                      </a:lnTo>
                      <a:lnTo>
                        <a:pt x="43" y="34"/>
                      </a:lnTo>
                      <a:lnTo>
                        <a:pt x="43" y="33"/>
                      </a:lnTo>
                      <a:lnTo>
                        <a:pt x="43" y="33"/>
                      </a:lnTo>
                      <a:lnTo>
                        <a:pt x="43" y="32"/>
                      </a:lnTo>
                      <a:lnTo>
                        <a:pt x="43" y="31"/>
                      </a:lnTo>
                      <a:lnTo>
                        <a:pt x="43" y="32"/>
                      </a:lnTo>
                      <a:lnTo>
                        <a:pt x="44" y="32"/>
                      </a:lnTo>
                      <a:lnTo>
                        <a:pt x="45" y="33"/>
                      </a:lnTo>
                      <a:lnTo>
                        <a:pt x="45" y="34"/>
                      </a:lnTo>
                      <a:lnTo>
                        <a:pt x="45" y="34"/>
                      </a:lnTo>
                      <a:lnTo>
                        <a:pt x="45" y="35"/>
                      </a:lnTo>
                      <a:lnTo>
                        <a:pt x="45" y="36"/>
                      </a:lnTo>
                      <a:lnTo>
                        <a:pt x="45" y="36"/>
                      </a:lnTo>
                      <a:lnTo>
                        <a:pt x="45" y="36"/>
                      </a:lnTo>
                      <a:lnTo>
                        <a:pt x="44" y="36"/>
                      </a:lnTo>
                      <a:lnTo>
                        <a:pt x="44" y="37"/>
                      </a:lnTo>
                      <a:lnTo>
                        <a:pt x="44" y="38"/>
                      </a:lnTo>
                      <a:lnTo>
                        <a:pt x="45" y="38"/>
                      </a:lnTo>
                      <a:lnTo>
                        <a:pt x="45" y="37"/>
                      </a:lnTo>
                      <a:lnTo>
                        <a:pt x="45" y="37"/>
                      </a:lnTo>
                      <a:lnTo>
                        <a:pt x="45" y="36"/>
                      </a:lnTo>
                      <a:lnTo>
                        <a:pt x="46" y="36"/>
                      </a:lnTo>
                      <a:lnTo>
                        <a:pt x="46" y="36"/>
                      </a:lnTo>
                      <a:lnTo>
                        <a:pt x="47" y="36"/>
                      </a:lnTo>
                      <a:lnTo>
                        <a:pt x="47" y="36"/>
                      </a:lnTo>
                      <a:lnTo>
                        <a:pt x="47" y="36"/>
                      </a:lnTo>
                      <a:lnTo>
                        <a:pt x="47" y="37"/>
                      </a:lnTo>
                      <a:lnTo>
                        <a:pt x="47" y="38"/>
                      </a:lnTo>
                      <a:lnTo>
                        <a:pt x="48" y="38"/>
                      </a:lnTo>
                      <a:lnTo>
                        <a:pt x="49" y="38"/>
                      </a:lnTo>
                      <a:lnTo>
                        <a:pt x="49" y="38"/>
                      </a:lnTo>
                      <a:lnTo>
                        <a:pt x="50" y="37"/>
                      </a:lnTo>
                      <a:lnTo>
                        <a:pt x="51" y="37"/>
                      </a:lnTo>
                      <a:lnTo>
                        <a:pt x="51" y="36"/>
                      </a:lnTo>
                      <a:lnTo>
                        <a:pt x="50" y="36"/>
                      </a:lnTo>
                      <a:lnTo>
                        <a:pt x="50" y="36"/>
                      </a:lnTo>
                      <a:lnTo>
                        <a:pt x="49" y="36"/>
                      </a:lnTo>
                      <a:lnTo>
                        <a:pt x="49" y="35"/>
                      </a:lnTo>
                      <a:lnTo>
                        <a:pt x="49" y="34"/>
                      </a:lnTo>
                      <a:lnTo>
                        <a:pt x="50" y="34"/>
                      </a:lnTo>
                      <a:lnTo>
                        <a:pt x="50" y="34"/>
                      </a:lnTo>
                      <a:lnTo>
                        <a:pt x="51" y="34"/>
                      </a:lnTo>
                      <a:lnTo>
                        <a:pt x="51" y="34"/>
                      </a:lnTo>
                      <a:lnTo>
                        <a:pt x="51" y="35"/>
                      </a:lnTo>
                      <a:lnTo>
                        <a:pt x="51" y="36"/>
                      </a:lnTo>
                      <a:lnTo>
                        <a:pt x="51" y="36"/>
                      </a:lnTo>
                      <a:lnTo>
                        <a:pt x="52" y="36"/>
                      </a:lnTo>
                      <a:lnTo>
                        <a:pt x="53" y="36"/>
                      </a:lnTo>
                      <a:lnTo>
                        <a:pt x="53" y="35"/>
                      </a:lnTo>
                      <a:lnTo>
                        <a:pt x="53" y="34"/>
                      </a:lnTo>
                      <a:lnTo>
                        <a:pt x="53" y="34"/>
                      </a:lnTo>
                      <a:lnTo>
                        <a:pt x="53" y="33"/>
                      </a:lnTo>
                      <a:lnTo>
                        <a:pt x="53" y="32"/>
                      </a:lnTo>
                      <a:lnTo>
                        <a:pt x="53" y="32"/>
                      </a:lnTo>
                      <a:lnTo>
                        <a:pt x="54" y="32"/>
                      </a:lnTo>
                      <a:lnTo>
                        <a:pt x="54" y="33"/>
                      </a:lnTo>
                      <a:lnTo>
                        <a:pt x="54" y="34"/>
                      </a:lnTo>
                      <a:lnTo>
                        <a:pt x="54" y="34"/>
                      </a:lnTo>
                      <a:lnTo>
                        <a:pt x="55" y="34"/>
                      </a:lnTo>
                      <a:lnTo>
                        <a:pt x="55" y="34"/>
                      </a:lnTo>
                      <a:lnTo>
                        <a:pt x="56" y="34"/>
                      </a:lnTo>
                      <a:lnTo>
                        <a:pt x="56" y="35"/>
                      </a:lnTo>
                      <a:lnTo>
                        <a:pt x="57" y="34"/>
                      </a:lnTo>
                      <a:lnTo>
                        <a:pt x="58" y="34"/>
                      </a:lnTo>
                      <a:lnTo>
                        <a:pt x="58" y="35"/>
                      </a:lnTo>
                      <a:lnTo>
                        <a:pt x="58" y="35"/>
                      </a:lnTo>
                      <a:lnTo>
                        <a:pt x="58" y="36"/>
                      </a:lnTo>
                      <a:lnTo>
                        <a:pt x="58" y="36"/>
                      </a:lnTo>
                      <a:lnTo>
                        <a:pt x="58" y="36"/>
                      </a:lnTo>
                      <a:lnTo>
                        <a:pt x="57" y="36"/>
                      </a:lnTo>
                      <a:lnTo>
                        <a:pt x="56" y="36"/>
                      </a:lnTo>
                      <a:lnTo>
                        <a:pt x="56" y="37"/>
                      </a:lnTo>
                      <a:lnTo>
                        <a:pt x="57" y="37"/>
                      </a:lnTo>
                      <a:lnTo>
                        <a:pt x="58" y="37"/>
                      </a:lnTo>
                      <a:lnTo>
                        <a:pt x="58" y="37"/>
                      </a:lnTo>
                      <a:lnTo>
                        <a:pt x="59" y="37"/>
                      </a:lnTo>
                      <a:lnTo>
                        <a:pt x="60" y="37"/>
                      </a:lnTo>
                      <a:lnTo>
                        <a:pt x="60" y="38"/>
                      </a:lnTo>
                      <a:lnTo>
                        <a:pt x="60" y="38"/>
                      </a:lnTo>
                      <a:lnTo>
                        <a:pt x="60" y="38"/>
                      </a:lnTo>
                      <a:lnTo>
                        <a:pt x="60" y="38"/>
                      </a:lnTo>
                      <a:lnTo>
                        <a:pt x="61" y="38"/>
                      </a:lnTo>
                      <a:lnTo>
                        <a:pt x="60" y="37"/>
                      </a:lnTo>
                      <a:lnTo>
                        <a:pt x="60" y="36"/>
                      </a:lnTo>
                      <a:lnTo>
                        <a:pt x="61" y="36"/>
                      </a:lnTo>
                      <a:lnTo>
                        <a:pt x="62" y="36"/>
                      </a:lnTo>
                      <a:lnTo>
                        <a:pt x="62" y="37"/>
                      </a:lnTo>
                      <a:lnTo>
                        <a:pt x="62" y="37"/>
                      </a:lnTo>
                      <a:lnTo>
                        <a:pt x="62" y="38"/>
                      </a:lnTo>
                      <a:lnTo>
                        <a:pt x="62" y="38"/>
                      </a:lnTo>
                      <a:lnTo>
                        <a:pt x="62" y="39"/>
                      </a:lnTo>
                      <a:lnTo>
                        <a:pt x="62" y="38"/>
                      </a:lnTo>
                      <a:lnTo>
                        <a:pt x="63" y="38"/>
                      </a:lnTo>
                      <a:lnTo>
                        <a:pt x="64" y="38"/>
                      </a:lnTo>
                      <a:lnTo>
                        <a:pt x="64" y="39"/>
                      </a:lnTo>
                      <a:lnTo>
                        <a:pt x="64" y="40"/>
                      </a:lnTo>
                      <a:lnTo>
                        <a:pt x="64" y="40"/>
                      </a:lnTo>
                      <a:lnTo>
                        <a:pt x="63" y="40"/>
                      </a:lnTo>
                      <a:lnTo>
                        <a:pt x="63" y="41"/>
                      </a:lnTo>
                      <a:lnTo>
                        <a:pt x="64" y="41"/>
                      </a:lnTo>
                      <a:lnTo>
                        <a:pt x="64" y="40"/>
                      </a:lnTo>
                      <a:lnTo>
                        <a:pt x="64" y="40"/>
                      </a:lnTo>
                      <a:lnTo>
                        <a:pt x="64" y="40"/>
                      </a:lnTo>
                      <a:lnTo>
                        <a:pt x="65" y="40"/>
                      </a:lnTo>
                      <a:lnTo>
                        <a:pt x="65" y="40"/>
                      </a:lnTo>
                      <a:lnTo>
                        <a:pt x="65" y="40"/>
                      </a:lnTo>
                      <a:lnTo>
                        <a:pt x="66" y="40"/>
                      </a:lnTo>
                      <a:lnTo>
                        <a:pt x="65" y="39"/>
                      </a:lnTo>
                      <a:lnTo>
                        <a:pt x="65" y="38"/>
                      </a:lnTo>
                      <a:lnTo>
                        <a:pt x="64" y="38"/>
                      </a:lnTo>
                      <a:lnTo>
                        <a:pt x="64" y="38"/>
                      </a:lnTo>
                      <a:lnTo>
                        <a:pt x="65" y="38"/>
                      </a:lnTo>
                      <a:lnTo>
                        <a:pt x="65" y="37"/>
                      </a:lnTo>
                      <a:lnTo>
                        <a:pt x="64" y="37"/>
                      </a:lnTo>
                      <a:lnTo>
                        <a:pt x="64" y="36"/>
                      </a:lnTo>
                      <a:lnTo>
                        <a:pt x="65" y="36"/>
                      </a:lnTo>
                      <a:lnTo>
                        <a:pt x="66" y="37"/>
                      </a:lnTo>
                      <a:lnTo>
                        <a:pt x="66" y="37"/>
                      </a:lnTo>
                      <a:lnTo>
                        <a:pt x="67" y="37"/>
                      </a:lnTo>
                      <a:lnTo>
                        <a:pt x="68" y="37"/>
                      </a:lnTo>
                      <a:lnTo>
                        <a:pt x="68" y="38"/>
                      </a:lnTo>
                      <a:lnTo>
                        <a:pt x="68" y="38"/>
                      </a:lnTo>
                      <a:lnTo>
                        <a:pt x="68" y="38"/>
                      </a:lnTo>
                      <a:lnTo>
                        <a:pt x="69" y="38"/>
                      </a:lnTo>
                      <a:lnTo>
                        <a:pt x="69" y="39"/>
                      </a:lnTo>
                      <a:lnTo>
                        <a:pt x="69" y="40"/>
                      </a:lnTo>
                      <a:lnTo>
                        <a:pt x="69" y="40"/>
                      </a:lnTo>
                      <a:lnTo>
                        <a:pt x="69" y="41"/>
                      </a:lnTo>
                      <a:lnTo>
                        <a:pt x="70" y="41"/>
                      </a:lnTo>
                      <a:lnTo>
                        <a:pt x="70" y="42"/>
                      </a:lnTo>
                      <a:lnTo>
                        <a:pt x="70" y="42"/>
                      </a:lnTo>
                      <a:lnTo>
                        <a:pt x="70" y="43"/>
                      </a:lnTo>
                      <a:lnTo>
                        <a:pt x="69" y="43"/>
                      </a:lnTo>
                      <a:lnTo>
                        <a:pt x="69" y="44"/>
                      </a:lnTo>
                      <a:lnTo>
                        <a:pt x="70" y="44"/>
                      </a:lnTo>
                      <a:lnTo>
                        <a:pt x="70" y="44"/>
                      </a:lnTo>
                      <a:lnTo>
                        <a:pt x="70" y="44"/>
                      </a:lnTo>
                      <a:lnTo>
                        <a:pt x="70" y="45"/>
                      </a:lnTo>
                      <a:lnTo>
                        <a:pt x="71" y="45"/>
                      </a:lnTo>
                      <a:lnTo>
                        <a:pt x="71" y="46"/>
                      </a:lnTo>
                      <a:lnTo>
                        <a:pt x="72" y="46"/>
                      </a:lnTo>
                      <a:lnTo>
                        <a:pt x="72" y="45"/>
                      </a:lnTo>
                      <a:lnTo>
                        <a:pt x="73" y="45"/>
                      </a:lnTo>
                      <a:lnTo>
                        <a:pt x="74" y="45"/>
                      </a:lnTo>
                      <a:lnTo>
                        <a:pt x="74" y="44"/>
                      </a:lnTo>
                      <a:lnTo>
                        <a:pt x="74" y="44"/>
                      </a:lnTo>
                      <a:lnTo>
                        <a:pt x="75" y="44"/>
                      </a:lnTo>
                      <a:lnTo>
                        <a:pt x="76" y="44"/>
                      </a:lnTo>
                      <a:lnTo>
                        <a:pt x="77" y="44"/>
                      </a:lnTo>
                      <a:lnTo>
                        <a:pt x="77" y="44"/>
                      </a:lnTo>
                      <a:lnTo>
                        <a:pt x="78" y="44"/>
                      </a:lnTo>
                      <a:lnTo>
                        <a:pt x="79" y="45"/>
                      </a:lnTo>
                      <a:lnTo>
                        <a:pt x="79" y="46"/>
                      </a:lnTo>
                      <a:lnTo>
                        <a:pt x="79" y="46"/>
                      </a:lnTo>
                      <a:lnTo>
                        <a:pt x="79" y="46"/>
                      </a:lnTo>
                      <a:lnTo>
                        <a:pt x="80" y="46"/>
                      </a:lnTo>
                      <a:lnTo>
                        <a:pt x="79" y="47"/>
                      </a:lnTo>
                      <a:lnTo>
                        <a:pt x="79" y="47"/>
                      </a:lnTo>
                      <a:lnTo>
                        <a:pt x="79" y="48"/>
                      </a:lnTo>
                      <a:lnTo>
                        <a:pt x="78" y="48"/>
                      </a:lnTo>
                      <a:lnTo>
                        <a:pt x="77" y="48"/>
                      </a:lnTo>
                      <a:lnTo>
                        <a:pt x="77" y="48"/>
                      </a:lnTo>
                      <a:lnTo>
                        <a:pt x="77" y="48"/>
                      </a:lnTo>
                      <a:lnTo>
                        <a:pt x="77" y="49"/>
                      </a:lnTo>
                      <a:lnTo>
                        <a:pt x="77" y="49"/>
                      </a:lnTo>
                      <a:lnTo>
                        <a:pt x="78" y="49"/>
                      </a:lnTo>
                      <a:lnTo>
                        <a:pt x="78" y="50"/>
                      </a:lnTo>
                      <a:lnTo>
                        <a:pt x="79" y="50"/>
                      </a:lnTo>
                      <a:lnTo>
                        <a:pt x="79" y="50"/>
                      </a:lnTo>
                      <a:lnTo>
                        <a:pt x="80" y="50"/>
                      </a:lnTo>
                      <a:lnTo>
                        <a:pt x="81" y="50"/>
                      </a:lnTo>
                      <a:lnTo>
                        <a:pt x="81" y="50"/>
                      </a:lnTo>
                      <a:lnTo>
                        <a:pt x="82" y="50"/>
                      </a:lnTo>
                      <a:lnTo>
                        <a:pt x="83" y="50"/>
                      </a:lnTo>
                      <a:lnTo>
                        <a:pt x="83" y="50"/>
                      </a:lnTo>
                      <a:lnTo>
                        <a:pt x="84" y="50"/>
                      </a:lnTo>
                      <a:lnTo>
                        <a:pt x="84" y="51"/>
                      </a:lnTo>
                      <a:lnTo>
                        <a:pt x="85" y="51"/>
                      </a:lnTo>
                      <a:lnTo>
                        <a:pt x="85" y="52"/>
                      </a:lnTo>
                      <a:lnTo>
                        <a:pt x="86" y="52"/>
                      </a:lnTo>
                      <a:lnTo>
                        <a:pt x="86" y="52"/>
                      </a:lnTo>
                      <a:lnTo>
                        <a:pt x="87" y="52"/>
                      </a:lnTo>
                      <a:lnTo>
                        <a:pt x="87" y="53"/>
                      </a:lnTo>
                      <a:lnTo>
                        <a:pt x="87" y="53"/>
                      </a:lnTo>
                      <a:lnTo>
                        <a:pt x="88" y="53"/>
                      </a:lnTo>
                      <a:lnTo>
                        <a:pt x="88" y="54"/>
                      </a:lnTo>
                      <a:lnTo>
                        <a:pt x="88" y="55"/>
                      </a:lnTo>
                      <a:lnTo>
                        <a:pt x="87" y="55"/>
                      </a:lnTo>
                      <a:lnTo>
                        <a:pt x="87" y="55"/>
                      </a:lnTo>
                      <a:lnTo>
                        <a:pt x="87" y="55"/>
                      </a:lnTo>
                      <a:lnTo>
                        <a:pt x="87" y="56"/>
                      </a:lnTo>
                      <a:lnTo>
                        <a:pt x="87" y="57"/>
                      </a:lnTo>
                      <a:lnTo>
                        <a:pt x="87" y="57"/>
                      </a:lnTo>
                      <a:lnTo>
                        <a:pt x="87" y="58"/>
                      </a:lnTo>
                      <a:lnTo>
                        <a:pt x="87" y="58"/>
                      </a:lnTo>
                      <a:lnTo>
                        <a:pt x="88" y="57"/>
                      </a:lnTo>
                      <a:lnTo>
                        <a:pt x="89" y="57"/>
                      </a:lnTo>
                      <a:lnTo>
                        <a:pt x="89" y="57"/>
                      </a:lnTo>
                      <a:lnTo>
                        <a:pt x="90" y="57"/>
                      </a:lnTo>
                      <a:lnTo>
                        <a:pt x="91" y="57"/>
                      </a:lnTo>
                      <a:lnTo>
                        <a:pt x="91" y="57"/>
                      </a:lnTo>
                      <a:lnTo>
                        <a:pt x="92" y="57"/>
                      </a:lnTo>
                      <a:lnTo>
                        <a:pt x="91" y="57"/>
                      </a:lnTo>
                      <a:lnTo>
                        <a:pt x="91" y="56"/>
                      </a:lnTo>
                      <a:lnTo>
                        <a:pt x="91" y="56"/>
                      </a:lnTo>
                      <a:lnTo>
                        <a:pt x="91" y="55"/>
                      </a:lnTo>
                      <a:lnTo>
                        <a:pt x="91" y="55"/>
                      </a:lnTo>
                      <a:lnTo>
                        <a:pt x="91" y="55"/>
                      </a:lnTo>
                      <a:lnTo>
                        <a:pt x="91" y="54"/>
                      </a:lnTo>
                      <a:lnTo>
                        <a:pt x="92" y="54"/>
                      </a:lnTo>
                      <a:lnTo>
                        <a:pt x="93" y="54"/>
                      </a:lnTo>
                      <a:lnTo>
                        <a:pt x="93" y="55"/>
                      </a:lnTo>
                      <a:lnTo>
                        <a:pt x="93" y="55"/>
                      </a:lnTo>
                      <a:lnTo>
                        <a:pt x="94" y="54"/>
                      </a:lnTo>
                      <a:lnTo>
                        <a:pt x="95" y="54"/>
                      </a:lnTo>
                      <a:lnTo>
                        <a:pt x="95" y="55"/>
                      </a:lnTo>
                      <a:lnTo>
                        <a:pt x="96" y="54"/>
                      </a:lnTo>
                      <a:lnTo>
                        <a:pt x="96" y="54"/>
                      </a:lnTo>
                      <a:lnTo>
                        <a:pt x="97" y="55"/>
                      </a:lnTo>
                      <a:lnTo>
                        <a:pt x="98" y="55"/>
                      </a:lnTo>
                      <a:lnTo>
                        <a:pt x="98" y="55"/>
                      </a:lnTo>
                      <a:lnTo>
                        <a:pt x="99" y="55"/>
                      </a:lnTo>
                      <a:lnTo>
                        <a:pt x="100" y="55"/>
                      </a:lnTo>
                      <a:lnTo>
                        <a:pt x="100" y="55"/>
                      </a:lnTo>
                      <a:lnTo>
                        <a:pt x="100" y="55"/>
                      </a:lnTo>
                      <a:lnTo>
                        <a:pt x="101" y="55"/>
                      </a:lnTo>
                      <a:lnTo>
                        <a:pt x="102" y="54"/>
                      </a:lnTo>
                      <a:lnTo>
                        <a:pt x="102" y="53"/>
                      </a:lnTo>
                      <a:lnTo>
                        <a:pt x="102" y="52"/>
                      </a:lnTo>
                      <a:lnTo>
                        <a:pt x="102" y="52"/>
                      </a:lnTo>
                      <a:lnTo>
                        <a:pt x="102" y="51"/>
                      </a:lnTo>
                      <a:lnTo>
                        <a:pt x="102" y="50"/>
                      </a:lnTo>
                      <a:lnTo>
                        <a:pt x="103" y="50"/>
                      </a:lnTo>
                      <a:lnTo>
                        <a:pt x="103" y="49"/>
                      </a:lnTo>
                      <a:lnTo>
                        <a:pt x="103" y="48"/>
                      </a:lnTo>
                      <a:lnTo>
                        <a:pt x="103" y="48"/>
                      </a:lnTo>
                      <a:lnTo>
                        <a:pt x="102" y="48"/>
                      </a:lnTo>
                      <a:lnTo>
                        <a:pt x="102" y="47"/>
                      </a:lnTo>
                      <a:lnTo>
                        <a:pt x="103" y="47"/>
                      </a:lnTo>
                      <a:lnTo>
                        <a:pt x="103" y="46"/>
                      </a:lnTo>
                      <a:lnTo>
                        <a:pt x="104" y="46"/>
                      </a:lnTo>
                      <a:lnTo>
                        <a:pt x="104" y="46"/>
                      </a:lnTo>
                      <a:lnTo>
                        <a:pt x="105" y="46"/>
                      </a:lnTo>
                      <a:lnTo>
                        <a:pt x="106" y="46"/>
                      </a:lnTo>
                      <a:lnTo>
                        <a:pt x="106" y="45"/>
                      </a:lnTo>
                      <a:lnTo>
                        <a:pt x="106" y="45"/>
                      </a:lnTo>
                      <a:lnTo>
                        <a:pt x="106" y="44"/>
                      </a:lnTo>
                      <a:lnTo>
                        <a:pt x="107" y="44"/>
                      </a:lnTo>
                      <a:lnTo>
                        <a:pt x="107" y="44"/>
                      </a:lnTo>
                      <a:lnTo>
                        <a:pt x="107" y="43"/>
                      </a:lnTo>
                      <a:lnTo>
                        <a:pt x="106" y="43"/>
                      </a:lnTo>
                      <a:lnTo>
                        <a:pt x="106" y="42"/>
                      </a:lnTo>
                      <a:lnTo>
                        <a:pt x="106" y="42"/>
                      </a:lnTo>
                      <a:lnTo>
                        <a:pt x="106" y="41"/>
                      </a:lnTo>
                      <a:lnTo>
                        <a:pt x="105" y="41"/>
                      </a:lnTo>
                      <a:lnTo>
                        <a:pt x="105" y="40"/>
                      </a:lnTo>
                      <a:lnTo>
                        <a:pt x="105" y="40"/>
                      </a:lnTo>
                      <a:lnTo>
                        <a:pt x="105" y="39"/>
                      </a:lnTo>
                      <a:lnTo>
                        <a:pt x="105" y="38"/>
                      </a:lnTo>
                      <a:lnTo>
                        <a:pt x="106" y="38"/>
                      </a:lnTo>
                      <a:lnTo>
                        <a:pt x="106" y="38"/>
                      </a:lnTo>
                      <a:lnTo>
                        <a:pt x="106" y="37"/>
                      </a:lnTo>
                      <a:lnTo>
                        <a:pt x="106" y="37"/>
                      </a:lnTo>
                      <a:lnTo>
                        <a:pt x="107" y="37"/>
                      </a:lnTo>
                      <a:lnTo>
                        <a:pt x="108" y="37"/>
                      </a:lnTo>
                      <a:lnTo>
                        <a:pt x="108" y="36"/>
                      </a:lnTo>
                      <a:lnTo>
                        <a:pt x="108" y="36"/>
                      </a:lnTo>
                      <a:lnTo>
                        <a:pt x="108" y="35"/>
                      </a:lnTo>
                      <a:lnTo>
                        <a:pt x="108" y="34"/>
                      </a:lnTo>
                      <a:lnTo>
                        <a:pt x="108" y="34"/>
                      </a:lnTo>
                      <a:lnTo>
                        <a:pt x="108" y="33"/>
                      </a:lnTo>
                      <a:lnTo>
                        <a:pt x="108" y="32"/>
                      </a:lnTo>
                      <a:lnTo>
                        <a:pt x="108" y="31"/>
                      </a:lnTo>
                      <a:lnTo>
                        <a:pt x="109" y="31"/>
                      </a:lnTo>
                      <a:lnTo>
                        <a:pt x="109" y="31"/>
                      </a:lnTo>
                      <a:lnTo>
                        <a:pt x="110" y="30"/>
                      </a:lnTo>
                      <a:lnTo>
                        <a:pt x="110" y="29"/>
                      </a:lnTo>
                      <a:lnTo>
                        <a:pt x="110" y="29"/>
                      </a:lnTo>
                      <a:lnTo>
                        <a:pt x="110" y="28"/>
                      </a:lnTo>
                      <a:lnTo>
                        <a:pt x="111" y="28"/>
                      </a:lnTo>
                      <a:lnTo>
                        <a:pt x="111" y="27"/>
                      </a:lnTo>
                      <a:lnTo>
                        <a:pt x="111" y="27"/>
                      </a:lnTo>
                      <a:lnTo>
                        <a:pt x="111" y="26"/>
                      </a:lnTo>
                      <a:lnTo>
                        <a:pt x="111" y="25"/>
                      </a:lnTo>
                      <a:lnTo>
                        <a:pt x="110" y="25"/>
                      </a:lnTo>
                      <a:lnTo>
                        <a:pt x="110" y="25"/>
                      </a:lnTo>
                      <a:lnTo>
                        <a:pt x="110" y="25"/>
                      </a:lnTo>
                      <a:lnTo>
                        <a:pt x="110" y="24"/>
                      </a:lnTo>
                      <a:lnTo>
                        <a:pt x="110" y="24"/>
                      </a:lnTo>
                      <a:lnTo>
                        <a:pt x="111" y="23"/>
                      </a:lnTo>
                      <a:lnTo>
                        <a:pt x="112" y="23"/>
                      </a:lnTo>
                      <a:lnTo>
                        <a:pt x="113" y="23"/>
                      </a:lnTo>
                      <a:lnTo>
                        <a:pt x="114" y="23"/>
                      </a:lnTo>
                      <a:lnTo>
                        <a:pt x="115" y="23"/>
                      </a:lnTo>
                      <a:lnTo>
                        <a:pt x="115" y="22"/>
                      </a:lnTo>
                      <a:lnTo>
                        <a:pt x="116" y="21"/>
                      </a:lnTo>
                      <a:lnTo>
                        <a:pt x="117" y="21"/>
                      </a:lnTo>
                      <a:lnTo>
                        <a:pt x="117" y="20"/>
                      </a:lnTo>
                      <a:lnTo>
                        <a:pt x="117" y="19"/>
                      </a:lnTo>
                      <a:lnTo>
                        <a:pt x="117" y="19"/>
                      </a:lnTo>
                      <a:lnTo>
                        <a:pt x="117" y="18"/>
                      </a:lnTo>
                      <a:lnTo>
                        <a:pt x="117" y="17"/>
                      </a:lnTo>
                      <a:lnTo>
                        <a:pt x="117" y="17"/>
                      </a:lnTo>
                      <a:lnTo>
                        <a:pt x="117" y="17"/>
                      </a:lnTo>
                      <a:lnTo>
                        <a:pt x="117" y="16"/>
                      </a:lnTo>
                      <a:lnTo>
                        <a:pt x="117" y="15"/>
                      </a:lnTo>
                      <a:lnTo>
                        <a:pt x="117" y="15"/>
                      </a:lnTo>
                      <a:lnTo>
                        <a:pt x="118" y="15"/>
                      </a:lnTo>
                      <a:lnTo>
                        <a:pt x="118" y="14"/>
                      </a:lnTo>
                      <a:lnTo>
                        <a:pt x="119" y="14"/>
                      </a:lnTo>
                      <a:lnTo>
                        <a:pt x="119" y="13"/>
                      </a:lnTo>
                      <a:lnTo>
                        <a:pt x="120" y="12"/>
                      </a:lnTo>
                      <a:lnTo>
                        <a:pt x="121" y="12"/>
                      </a:lnTo>
                      <a:lnTo>
                        <a:pt x="121" y="12"/>
                      </a:lnTo>
                      <a:lnTo>
                        <a:pt x="122" y="12"/>
                      </a:lnTo>
                      <a:lnTo>
                        <a:pt x="122" y="12"/>
                      </a:lnTo>
                      <a:lnTo>
                        <a:pt x="123" y="12"/>
                      </a:lnTo>
                      <a:lnTo>
                        <a:pt x="123" y="12"/>
                      </a:lnTo>
                      <a:lnTo>
                        <a:pt x="124" y="11"/>
                      </a:lnTo>
                      <a:lnTo>
                        <a:pt x="125" y="11"/>
                      </a:lnTo>
                      <a:lnTo>
                        <a:pt x="125" y="11"/>
                      </a:lnTo>
                      <a:lnTo>
                        <a:pt x="126" y="11"/>
                      </a:lnTo>
                      <a:lnTo>
                        <a:pt x="126" y="12"/>
                      </a:lnTo>
                      <a:lnTo>
                        <a:pt x="127" y="12"/>
                      </a:lnTo>
                      <a:lnTo>
                        <a:pt x="127" y="12"/>
                      </a:lnTo>
                      <a:lnTo>
                        <a:pt x="127" y="12"/>
                      </a:lnTo>
                      <a:lnTo>
                        <a:pt x="127" y="13"/>
                      </a:lnTo>
                      <a:lnTo>
                        <a:pt x="128" y="13"/>
                      </a:lnTo>
                      <a:lnTo>
                        <a:pt x="129" y="14"/>
                      </a:lnTo>
                      <a:lnTo>
                        <a:pt x="129" y="14"/>
                      </a:lnTo>
                      <a:lnTo>
                        <a:pt x="130" y="14"/>
                      </a:lnTo>
                      <a:lnTo>
                        <a:pt x="131" y="14"/>
                      </a:lnTo>
                      <a:lnTo>
                        <a:pt x="131" y="14"/>
                      </a:lnTo>
                      <a:lnTo>
                        <a:pt x="132" y="14"/>
                      </a:lnTo>
                      <a:lnTo>
                        <a:pt x="133" y="13"/>
                      </a:lnTo>
                      <a:lnTo>
                        <a:pt x="134" y="13"/>
                      </a:lnTo>
                      <a:lnTo>
                        <a:pt x="134" y="14"/>
                      </a:lnTo>
                      <a:lnTo>
                        <a:pt x="135" y="14"/>
                      </a:lnTo>
                      <a:lnTo>
                        <a:pt x="135" y="15"/>
                      </a:lnTo>
                      <a:lnTo>
                        <a:pt x="136" y="15"/>
                      </a:lnTo>
                      <a:lnTo>
                        <a:pt x="136" y="15"/>
                      </a:lnTo>
                      <a:lnTo>
                        <a:pt x="136" y="15"/>
                      </a:lnTo>
                      <a:lnTo>
                        <a:pt x="136" y="16"/>
                      </a:lnTo>
                      <a:lnTo>
                        <a:pt x="136" y="17"/>
                      </a:lnTo>
                      <a:lnTo>
                        <a:pt x="137" y="17"/>
                      </a:lnTo>
                      <a:lnTo>
                        <a:pt x="138" y="17"/>
                      </a:lnTo>
                      <a:lnTo>
                        <a:pt x="138" y="17"/>
                      </a:lnTo>
                      <a:lnTo>
                        <a:pt x="139" y="17"/>
                      </a:lnTo>
                      <a:lnTo>
                        <a:pt x="139" y="18"/>
                      </a:lnTo>
                      <a:lnTo>
                        <a:pt x="139" y="19"/>
                      </a:lnTo>
                      <a:lnTo>
                        <a:pt x="139" y="19"/>
                      </a:lnTo>
                      <a:lnTo>
                        <a:pt x="139" y="20"/>
                      </a:lnTo>
                      <a:lnTo>
                        <a:pt x="140" y="21"/>
                      </a:lnTo>
                      <a:lnTo>
                        <a:pt x="140" y="21"/>
                      </a:lnTo>
                      <a:lnTo>
                        <a:pt x="140" y="21"/>
                      </a:lnTo>
                      <a:lnTo>
                        <a:pt x="141" y="21"/>
                      </a:lnTo>
                      <a:lnTo>
                        <a:pt x="142" y="22"/>
                      </a:lnTo>
                      <a:lnTo>
                        <a:pt x="142" y="22"/>
                      </a:lnTo>
                      <a:lnTo>
                        <a:pt x="143" y="22"/>
                      </a:lnTo>
                      <a:lnTo>
                        <a:pt x="143" y="23"/>
                      </a:lnTo>
                      <a:lnTo>
                        <a:pt x="144" y="23"/>
                      </a:lnTo>
                      <a:lnTo>
                        <a:pt x="144" y="23"/>
                      </a:lnTo>
                      <a:lnTo>
                        <a:pt x="144" y="23"/>
                      </a:lnTo>
                      <a:lnTo>
                        <a:pt x="144" y="24"/>
                      </a:lnTo>
                      <a:lnTo>
                        <a:pt x="145" y="24"/>
                      </a:lnTo>
                      <a:lnTo>
                        <a:pt x="146" y="24"/>
                      </a:lnTo>
                      <a:lnTo>
                        <a:pt x="146" y="23"/>
                      </a:lnTo>
                      <a:lnTo>
                        <a:pt x="146" y="23"/>
                      </a:lnTo>
                      <a:lnTo>
                        <a:pt x="147" y="23"/>
                      </a:lnTo>
                      <a:lnTo>
                        <a:pt x="148" y="23"/>
                      </a:lnTo>
                      <a:lnTo>
                        <a:pt x="148" y="24"/>
                      </a:lnTo>
                      <a:lnTo>
                        <a:pt x="149" y="24"/>
                      </a:lnTo>
                      <a:lnTo>
                        <a:pt x="149" y="25"/>
                      </a:lnTo>
                      <a:lnTo>
                        <a:pt x="149" y="25"/>
                      </a:lnTo>
                      <a:lnTo>
                        <a:pt x="150" y="25"/>
                      </a:lnTo>
                      <a:lnTo>
                        <a:pt x="150" y="26"/>
                      </a:lnTo>
                      <a:lnTo>
                        <a:pt x="150" y="27"/>
                      </a:lnTo>
                      <a:lnTo>
                        <a:pt x="150" y="27"/>
                      </a:lnTo>
                      <a:lnTo>
                        <a:pt x="150" y="28"/>
                      </a:lnTo>
                      <a:lnTo>
                        <a:pt x="150" y="29"/>
                      </a:lnTo>
                      <a:lnTo>
                        <a:pt x="150" y="29"/>
                      </a:lnTo>
                      <a:lnTo>
                        <a:pt x="150" y="29"/>
                      </a:lnTo>
                      <a:lnTo>
                        <a:pt x="151" y="30"/>
                      </a:lnTo>
                      <a:lnTo>
                        <a:pt x="152" y="31"/>
                      </a:lnTo>
                      <a:lnTo>
                        <a:pt x="153" y="31"/>
                      </a:lnTo>
                      <a:lnTo>
                        <a:pt x="153" y="30"/>
                      </a:lnTo>
                      <a:lnTo>
                        <a:pt x="153" y="30"/>
                      </a:lnTo>
                      <a:lnTo>
                        <a:pt x="154" y="31"/>
                      </a:lnTo>
                      <a:lnTo>
                        <a:pt x="154" y="31"/>
                      </a:lnTo>
                      <a:lnTo>
                        <a:pt x="154" y="32"/>
                      </a:lnTo>
                      <a:lnTo>
                        <a:pt x="154" y="33"/>
                      </a:lnTo>
                      <a:lnTo>
                        <a:pt x="154" y="34"/>
                      </a:lnTo>
                      <a:lnTo>
                        <a:pt x="155" y="34"/>
                      </a:lnTo>
                      <a:lnTo>
                        <a:pt x="155" y="34"/>
                      </a:lnTo>
                      <a:lnTo>
                        <a:pt x="155" y="34"/>
                      </a:lnTo>
                      <a:lnTo>
                        <a:pt x="155" y="35"/>
                      </a:lnTo>
                      <a:lnTo>
                        <a:pt x="155" y="36"/>
                      </a:lnTo>
                      <a:lnTo>
                        <a:pt x="155" y="36"/>
                      </a:lnTo>
                      <a:lnTo>
                        <a:pt x="155" y="37"/>
                      </a:lnTo>
                      <a:lnTo>
                        <a:pt x="156" y="37"/>
                      </a:lnTo>
                      <a:lnTo>
                        <a:pt x="156" y="38"/>
                      </a:lnTo>
                      <a:lnTo>
                        <a:pt x="157" y="38"/>
                      </a:lnTo>
                      <a:lnTo>
                        <a:pt x="157" y="37"/>
                      </a:lnTo>
                      <a:lnTo>
                        <a:pt x="157" y="38"/>
                      </a:lnTo>
                      <a:lnTo>
                        <a:pt x="158" y="38"/>
                      </a:lnTo>
                      <a:lnTo>
                        <a:pt x="159" y="38"/>
                      </a:lnTo>
                      <a:lnTo>
                        <a:pt x="159" y="39"/>
                      </a:lnTo>
                      <a:lnTo>
                        <a:pt x="158" y="40"/>
                      </a:lnTo>
                      <a:lnTo>
                        <a:pt x="158" y="40"/>
                      </a:lnTo>
                      <a:lnTo>
                        <a:pt x="159" y="40"/>
                      </a:lnTo>
                      <a:lnTo>
                        <a:pt x="159" y="41"/>
                      </a:lnTo>
                      <a:lnTo>
                        <a:pt x="159" y="41"/>
                      </a:lnTo>
                      <a:lnTo>
                        <a:pt x="159" y="42"/>
                      </a:lnTo>
                      <a:lnTo>
                        <a:pt x="159" y="42"/>
                      </a:lnTo>
                      <a:lnTo>
                        <a:pt x="159" y="43"/>
                      </a:lnTo>
                      <a:lnTo>
                        <a:pt x="160" y="43"/>
                      </a:lnTo>
                      <a:lnTo>
                        <a:pt x="161" y="43"/>
                      </a:lnTo>
                      <a:lnTo>
                        <a:pt x="161" y="44"/>
                      </a:lnTo>
                      <a:lnTo>
                        <a:pt x="161" y="44"/>
                      </a:lnTo>
                      <a:lnTo>
                        <a:pt x="161" y="44"/>
                      </a:lnTo>
                      <a:lnTo>
                        <a:pt x="161" y="45"/>
                      </a:lnTo>
                      <a:lnTo>
                        <a:pt x="161" y="46"/>
                      </a:lnTo>
                      <a:lnTo>
                        <a:pt x="162" y="46"/>
                      </a:lnTo>
                      <a:lnTo>
                        <a:pt x="162" y="46"/>
                      </a:lnTo>
                      <a:lnTo>
                        <a:pt x="163" y="46"/>
                      </a:lnTo>
                      <a:lnTo>
                        <a:pt x="163" y="47"/>
                      </a:lnTo>
                      <a:lnTo>
                        <a:pt x="163" y="48"/>
                      </a:lnTo>
                      <a:lnTo>
                        <a:pt x="163" y="48"/>
                      </a:lnTo>
                      <a:lnTo>
                        <a:pt x="163" y="49"/>
                      </a:lnTo>
                      <a:lnTo>
                        <a:pt x="163" y="50"/>
                      </a:lnTo>
                      <a:lnTo>
                        <a:pt x="163" y="50"/>
                      </a:lnTo>
                      <a:lnTo>
                        <a:pt x="164" y="50"/>
                      </a:lnTo>
                      <a:lnTo>
                        <a:pt x="165" y="50"/>
                      </a:lnTo>
                      <a:lnTo>
                        <a:pt x="165" y="50"/>
                      </a:lnTo>
                      <a:lnTo>
                        <a:pt x="166" y="50"/>
                      </a:lnTo>
                      <a:lnTo>
                        <a:pt x="166" y="51"/>
                      </a:lnTo>
                      <a:lnTo>
                        <a:pt x="166" y="52"/>
                      </a:lnTo>
                      <a:lnTo>
                        <a:pt x="166" y="52"/>
                      </a:lnTo>
                      <a:lnTo>
                        <a:pt x="167" y="52"/>
                      </a:lnTo>
                      <a:lnTo>
                        <a:pt x="167" y="53"/>
                      </a:lnTo>
                      <a:lnTo>
                        <a:pt x="168" y="54"/>
                      </a:lnTo>
                      <a:lnTo>
                        <a:pt x="168" y="55"/>
                      </a:lnTo>
                      <a:lnTo>
                        <a:pt x="169" y="55"/>
                      </a:lnTo>
                      <a:lnTo>
                        <a:pt x="169" y="55"/>
                      </a:lnTo>
                      <a:lnTo>
                        <a:pt x="170" y="55"/>
                      </a:lnTo>
                      <a:lnTo>
                        <a:pt x="171" y="55"/>
                      </a:lnTo>
                      <a:lnTo>
                        <a:pt x="171" y="55"/>
                      </a:lnTo>
                      <a:lnTo>
                        <a:pt x="172" y="55"/>
                      </a:lnTo>
                      <a:lnTo>
                        <a:pt x="172" y="55"/>
                      </a:lnTo>
                      <a:lnTo>
                        <a:pt x="173" y="55"/>
                      </a:lnTo>
                      <a:lnTo>
                        <a:pt x="174" y="55"/>
                      </a:lnTo>
                      <a:lnTo>
                        <a:pt x="174" y="54"/>
                      </a:lnTo>
                      <a:lnTo>
                        <a:pt x="174" y="54"/>
                      </a:lnTo>
                      <a:lnTo>
                        <a:pt x="175" y="54"/>
                      </a:lnTo>
                      <a:lnTo>
                        <a:pt x="176" y="54"/>
                      </a:lnTo>
                      <a:lnTo>
                        <a:pt x="176" y="54"/>
                      </a:lnTo>
                      <a:lnTo>
                        <a:pt x="177" y="53"/>
                      </a:lnTo>
                      <a:lnTo>
                        <a:pt x="178" y="53"/>
                      </a:lnTo>
                      <a:lnTo>
                        <a:pt x="178" y="53"/>
                      </a:lnTo>
                      <a:lnTo>
                        <a:pt x="179" y="53"/>
                      </a:lnTo>
                      <a:lnTo>
                        <a:pt x="180" y="53"/>
                      </a:lnTo>
                      <a:lnTo>
                        <a:pt x="180" y="52"/>
                      </a:lnTo>
                      <a:lnTo>
                        <a:pt x="180" y="52"/>
                      </a:lnTo>
                      <a:lnTo>
                        <a:pt x="180" y="51"/>
                      </a:lnTo>
                      <a:lnTo>
                        <a:pt x="181" y="51"/>
                      </a:lnTo>
                      <a:lnTo>
                        <a:pt x="182" y="51"/>
                      </a:lnTo>
                      <a:lnTo>
                        <a:pt x="182" y="51"/>
                      </a:lnTo>
                      <a:lnTo>
                        <a:pt x="183" y="52"/>
                      </a:lnTo>
                      <a:lnTo>
                        <a:pt x="183" y="51"/>
                      </a:lnTo>
                      <a:lnTo>
                        <a:pt x="184" y="51"/>
                      </a:lnTo>
                      <a:lnTo>
                        <a:pt x="184" y="51"/>
                      </a:lnTo>
                      <a:lnTo>
                        <a:pt x="185" y="51"/>
                      </a:lnTo>
                      <a:lnTo>
                        <a:pt x="185" y="50"/>
                      </a:lnTo>
                      <a:lnTo>
                        <a:pt x="186" y="50"/>
                      </a:lnTo>
                      <a:lnTo>
                        <a:pt x="186" y="50"/>
                      </a:lnTo>
                      <a:lnTo>
                        <a:pt x="186" y="51"/>
                      </a:lnTo>
                      <a:lnTo>
                        <a:pt x="187" y="51"/>
                      </a:lnTo>
                      <a:lnTo>
                        <a:pt x="188" y="51"/>
                      </a:lnTo>
                      <a:lnTo>
                        <a:pt x="188" y="52"/>
                      </a:lnTo>
                      <a:lnTo>
                        <a:pt x="189" y="52"/>
                      </a:lnTo>
                      <a:lnTo>
                        <a:pt x="189" y="52"/>
                      </a:lnTo>
                      <a:lnTo>
                        <a:pt x="190" y="53"/>
                      </a:lnTo>
                      <a:lnTo>
                        <a:pt x="191" y="54"/>
                      </a:lnTo>
                      <a:lnTo>
                        <a:pt x="191" y="54"/>
                      </a:lnTo>
                      <a:lnTo>
                        <a:pt x="191" y="55"/>
                      </a:lnTo>
                      <a:lnTo>
                        <a:pt x="192" y="55"/>
                      </a:lnTo>
                      <a:lnTo>
                        <a:pt x="192" y="55"/>
                      </a:lnTo>
                      <a:lnTo>
                        <a:pt x="193" y="55"/>
                      </a:lnTo>
                      <a:lnTo>
                        <a:pt x="193" y="56"/>
                      </a:lnTo>
                      <a:lnTo>
                        <a:pt x="193" y="56"/>
                      </a:lnTo>
                      <a:lnTo>
                        <a:pt x="193" y="55"/>
                      </a:lnTo>
                      <a:lnTo>
                        <a:pt x="194" y="55"/>
                      </a:lnTo>
                      <a:lnTo>
                        <a:pt x="195" y="55"/>
                      </a:lnTo>
                      <a:lnTo>
                        <a:pt x="195" y="55"/>
                      </a:lnTo>
                      <a:lnTo>
                        <a:pt x="195" y="55"/>
                      </a:lnTo>
                      <a:lnTo>
                        <a:pt x="196" y="55"/>
                      </a:lnTo>
                      <a:lnTo>
                        <a:pt x="197" y="55"/>
                      </a:lnTo>
                      <a:lnTo>
                        <a:pt x="197" y="55"/>
                      </a:lnTo>
                      <a:lnTo>
                        <a:pt x="197" y="56"/>
                      </a:lnTo>
                      <a:lnTo>
                        <a:pt x="197" y="57"/>
                      </a:lnTo>
                      <a:lnTo>
                        <a:pt x="197" y="57"/>
                      </a:lnTo>
                      <a:lnTo>
                        <a:pt x="197" y="57"/>
                      </a:lnTo>
                      <a:lnTo>
                        <a:pt x="198" y="57"/>
                      </a:lnTo>
                      <a:lnTo>
                        <a:pt x="199" y="57"/>
                      </a:lnTo>
                      <a:lnTo>
                        <a:pt x="199" y="58"/>
                      </a:lnTo>
                      <a:lnTo>
                        <a:pt x="199" y="58"/>
                      </a:lnTo>
                      <a:lnTo>
                        <a:pt x="199" y="59"/>
                      </a:lnTo>
                      <a:lnTo>
                        <a:pt x="200" y="59"/>
                      </a:lnTo>
                      <a:lnTo>
                        <a:pt x="200" y="59"/>
                      </a:lnTo>
                      <a:lnTo>
                        <a:pt x="201" y="60"/>
                      </a:lnTo>
                      <a:lnTo>
                        <a:pt x="201" y="60"/>
                      </a:lnTo>
                      <a:lnTo>
                        <a:pt x="202" y="61"/>
                      </a:lnTo>
                      <a:lnTo>
                        <a:pt x="202" y="61"/>
                      </a:lnTo>
                      <a:lnTo>
                        <a:pt x="203" y="61"/>
                      </a:lnTo>
                      <a:lnTo>
                        <a:pt x="203" y="61"/>
                      </a:lnTo>
                      <a:lnTo>
                        <a:pt x="204" y="62"/>
                      </a:lnTo>
                      <a:lnTo>
                        <a:pt x="205" y="62"/>
                      </a:lnTo>
                      <a:lnTo>
                        <a:pt x="205" y="63"/>
                      </a:lnTo>
                      <a:lnTo>
                        <a:pt x="205" y="63"/>
                      </a:lnTo>
                      <a:lnTo>
                        <a:pt x="205" y="64"/>
                      </a:lnTo>
                      <a:lnTo>
                        <a:pt x="205" y="65"/>
                      </a:lnTo>
                      <a:lnTo>
                        <a:pt x="205" y="65"/>
                      </a:lnTo>
                      <a:lnTo>
                        <a:pt x="205" y="64"/>
                      </a:lnTo>
                      <a:lnTo>
                        <a:pt x="206" y="64"/>
                      </a:lnTo>
                      <a:lnTo>
                        <a:pt x="206" y="65"/>
                      </a:lnTo>
                      <a:lnTo>
                        <a:pt x="207" y="65"/>
                      </a:lnTo>
                      <a:lnTo>
                        <a:pt x="207" y="65"/>
                      </a:lnTo>
                      <a:lnTo>
                        <a:pt x="207" y="65"/>
                      </a:lnTo>
                      <a:lnTo>
                        <a:pt x="208" y="65"/>
                      </a:lnTo>
                      <a:lnTo>
                        <a:pt x="208" y="66"/>
                      </a:lnTo>
                      <a:lnTo>
                        <a:pt x="209" y="66"/>
                      </a:lnTo>
                      <a:lnTo>
                        <a:pt x="210" y="66"/>
                      </a:lnTo>
                      <a:lnTo>
                        <a:pt x="210" y="66"/>
                      </a:lnTo>
                      <a:lnTo>
                        <a:pt x="211" y="66"/>
                      </a:lnTo>
                      <a:lnTo>
                        <a:pt x="211" y="67"/>
                      </a:lnTo>
                      <a:lnTo>
                        <a:pt x="212" y="67"/>
                      </a:lnTo>
                      <a:lnTo>
                        <a:pt x="212" y="66"/>
                      </a:lnTo>
                      <a:lnTo>
                        <a:pt x="212" y="67"/>
                      </a:lnTo>
                      <a:lnTo>
                        <a:pt x="213" y="67"/>
                      </a:lnTo>
                      <a:lnTo>
                        <a:pt x="214" y="67"/>
                      </a:lnTo>
                      <a:lnTo>
                        <a:pt x="214" y="67"/>
                      </a:lnTo>
                      <a:lnTo>
                        <a:pt x="215" y="67"/>
                      </a:lnTo>
                      <a:lnTo>
                        <a:pt x="215" y="66"/>
                      </a:lnTo>
                      <a:lnTo>
                        <a:pt x="216" y="66"/>
                      </a:lnTo>
                      <a:lnTo>
                        <a:pt x="216" y="65"/>
                      </a:lnTo>
                      <a:lnTo>
                        <a:pt x="216" y="65"/>
                      </a:lnTo>
                      <a:lnTo>
                        <a:pt x="217" y="65"/>
                      </a:lnTo>
                      <a:lnTo>
                        <a:pt x="217" y="66"/>
                      </a:lnTo>
                      <a:lnTo>
                        <a:pt x="218" y="65"/>
                      </a:lnTo>
                      <a:lnTo>
                        <a:pt x="218" y="65"/>
                      </a:lnTo>
                      <a:lnTo>
                        <a:pt x="218" y="65"/>
                      </a:lnTo>
                      <a:lnTo>
                        <a:pt x="219" y="65"/>
                      </a:lnTo>
                      <a:lnTo>
                        <a:pt x="219" y="64"/>
                      </a:lnTo>
                      <a:lnTo>
                        <a:pt x="220" y="64"/>
                      </a:lnTo>
                      <a:lnTo>
                        <a:pt x="220" y="64"/>
                      </a:lnTo>
                      <a:lnTo>
                        <a:pt x="221" y="64"/>
                      </a:lnTo>
                      <a:lnTo>
                        <a:pt x="222" y="64"/>
                      </a:lnTo>
                      <a:lnTo>
                        <a:pt x="222" y="65"/>
                      </a:lnTo>
                      <a:lnTo>
                        <a:pt x="222" y="64"/>
                      </a:lnTo>
                      <a:lnTo>
                        <a:pt x="223" y="64"/>
                      </a:lnTo>
                      <a:lnTo>
                        <a:pt x="224" y="64"/>
                      </a:lnTo>
                      <a:lnTo>
                        <a:pt x="224" y="63"/>
                      </a:lnTo>
                      <a:lnTo>
                        <a:pt x="224" y="64"/>
                      </a:lnTo>
                      <a:lnTo>
                        <a:pt x="224" y="64"/>
                      </a:lnTo>
                      <a:lnTo>
                        <a:pt x="225" y="64"/>
                      </a:lnTo>
                      <a:lnTo>
                        <a:pt x="226" y="64"/>
                      </a:lnTo>
                      <a:lnTo>
                        <a:pt x="226" y="64"/>
                      </a:lnTo>
                      <a:lnTo>
                        <a:pt x="227" y="63"/>
                      </a:lnTo>
                      <a:lnTo>
                        <a:pt x="228" y="63"/>
                      </a:lnTo>
                      <a:lnTo>
                        <a:pt x="229" y="63"/>
                      </a:lnTo>
                      <a:lnTo>
                        <a:pt x="229" y="63"/>
                      </a:lnTo>
                      <a:lnTo>
                        <a:pt x="230" y="63"/>
                      </a:lnTo>
                      <a:lnTo>
                        <a:pt x="231" y="63"/>
                      </a:lnTo>
                      <a:lnTo>
                        <a:pt x="231" y="64"/>
                      </a:lnTo>
                      <a:lnTo>
                        <a:pt x="231" y="64"/>
                      </a:lnTo>
                      <a:lnTo>
                        <a:pt x="231" y="65"/>
                      </a:lnTo>
                      <a:lnTo>
                        <a:pt x="232" y="65"/>
                      </a:lnTo>
                      <a:lnTo>
                        <a:pt x="233" y="64"/>
                      </a:lnTo>
                      <a:lnTo>
                        <a:pt x="233" y="65"/>
                      </a:lnTo>
                      <a:lnTo>
                        <a:pt x="233" y="65"/>
                      </a:lnTo>
                      <a:lnTo>
                        <a:pt x="234" y="65"/>
                      </a:lnTo>
                      <a:lnTo>
                        <a:pt x="235" y="65"/>
                      </a:lnTo>
                      <a:lnTo>
                        <a:pt x="235" y="65"/>
                      </a:lnTo>
                      <a:lnTo>
                        <a:pt x="235" y="65"/>
                      </a:lnTo>
                      <a:lnTo>
                        <a:pt x="236" y="66"/>
                      </a:lnTo>
                      <a:lnTo>
                        <a:pt x="237" y="66"/>
                      </a:lnTo>
                      <a:lnTo>
                        <a:pt x="237" y="66"/>
                      </a:lnTo>
                      <a:lnTo>
                        <a:pt x="238" y="66"/>
                      </a:lnTo>
                      <a:lnTo>
                        <a:pt x="238" y="67"/>
                      </a:lnTo>
                      <a:lnTo>
                        <a:pt x="239" y="67"/>
                      </a:lnTo>
                      <a:lnTo>
                        <a:pt x="239" y="67"/>
                      </a:lnTo>
                      <a:lnTo>
                        <a:pt x="239" y="67"/>
                      </a:lnTo>
                      <a:lnTo>
                        <a:pt x="239" y="68"/>
                      </a:lnTo>
                      <a:lnTo>
                        <a:pt x="240" y="68"/>
                      </a:lnTo>
                      <a:lnTo>
                        <a:pt x="241" y="68"/>
                      </a:lnTo>
                      <a:lnTo>
                        <a:pt x="241" y="68"/>
                      </a:lnTo>
                      <a:lnTo>
                        <a:pt x="242" y="68"/>
                      </a:lnTo>
                      <a:lnTo>
                        <a:pt x="243" y="68"/>
                      </a:lnTo>
                      <a:lnTo>
                        <a:pt x="243" y="68"/>
                      </a:lnTo>
                      <a:lnTo>
                        <a:pt x="244" y="67"/>
                      </a:lnTo>
                      <a:lnTo>
                        <a:pt x="245" y="67"/>
                      </a:lnTo>
                      <a:lnTo>
                        <a:pt x="245" y="67"/>
                      </a:lnTo>
                      <a:lnTo>
                        <a:pt x="245" y="66"/>
                      </a:lnTo>
                      <a:lnTo>
                        <a:pt x="245" y="66"/>
                      </a:lnTo>
                      <a:lnTo>
                        <a:pt x="246" y="66"/>
                      </a:lnTo>
                      <a:lnTo>
                        <a:pt x="246" y="65"/>
                      </a:lnTo>
                      <a:lnTo>
                        <a:pt x="247" y="65"/>
                      </a:lnTo>
                      <a:lnTo>
                        <a:pt x="248" y="65"/>
                      </a:lnTo>
                      <a:lnTo>
                        <a:pt x="248" y="65"/>
                      </a:lnTo>
                      <a:lnTo>
                        <a:pt x="249" y="65"/>
                      </a:lnTo>
                      <a:lnTo>
                        <a:pt x="250" y="65"/>
                      </a:lnTo>
                      <a:lnTo>
                        <a:pt x="249" y="64"/>
                      </a:lnTo>
                      <a:lnTo>
                        <a:pt x="249" y="63"/>
                      </a:lnTo>
                      <a:lnTo>
                        <a:pt x="250" y="63"/>
                      </a:lnTo>
                      <a:lnTo>
                        <a:pt x="250" y="63"/>
                      </a:lnTo>
                      <a:lnTo>
                        <a:pt x="250" y="62"/>
                      </a:lnTo>
                      <a:lnTo>
                        <a:pt x="250" y="61"/>
                      </a:lnTo>
                      <a:lnTo>
                        <a:pt x="250" y="61"/>
                      </a:lnTo>
                      <a:lnTo>
                        <a:pt x="250" y="60"/>
                      </a:lnTo>
                      <a:lnTo>
                        <a:pt x="250" y="60"/>
                      </a:lnTo>
                      <a:lnTo>
                        <a:pt x="250" y="59"/>
                      </a:lnTo>
                      <a:lnTo>
                        <a:pt x="250" y="59"/>
                      </a:lnTo>
                      <a:lnTo>
                        <a:pt x="250" y="58"/>
                      </a:lnTo>
                      <a:lnTo>
                        <a:pt x="250" y="57"/>
                      </a:lnTo>
                      <a:lnTo>
                        <a:pt x="251" y="57"/>
                      </a:lnTo>
                      <a:lnTo>
                        <a:pt x="251" y="57"/>
                      </a:lnTo>
                      <a:lnTo>
                        <a:pt x="251" y="56"/>
                      </a:lnTo>
                      <a:lnTo>
                        <a:pt x="251" y="55"/>
                      </a:lnTo>
                      <a:lnTo>
                        <a:pt x="252" y="55"/>
                      </a:lnTo>
                      <a:lnTo>
                        <a:pt x="252" y="55"/>
                      </a:lnTo>
                      <a:lnTo>
                        <a:pt x="252" y="54"/>
                      </a:lnTo>
                      <a:lnTo>
                        <a:pt x="252" y="53"/>
                      </a:lnTo>
                      <a:lnTo>
                        <a:pt x="252" y="52"/>
                      </a:lnTo>
                      <a:lnTo>
                        <a:pt x="252" y="52"/>
                      </a:lnTo>
                      <a:lnTo>
                        <a:pt x="252" y="51"/>
                      </a:lnTo>
                      <a:lnTo>
                        <a:pt x="252" y="51"/>
                      </a:lnTo>
                      <a:lnTo>
                        <a:pt x="252" y="50"/>
                      </a:lnTo>
                      <a:lnTo>
                        <a:pt x="252" y="50"/>
                      </a:lnTo>
                      <a:lnTo>
                        <a:pt x="252" y="49"/>
                      </a:lnTo>
                      <a:lnTo>
                        <a:pt x="252" y="48"/>
                      </a:lnTo>
                      <a:lnTo>
                        <a:pt x="251" y="48"/>
                      </a:lnTo>
                      <a:lnTo>
                        <a:pt x="251" y="47"/>
                      </a:lnTo>
                      <a:lnTo>
                        <a:pt x="251" y="46"/>
                      </a:lnTo>
                      <a:lnTo>
                        <a:pt x="250" y="46"/>
                      </a:lnTo>
                      <a:lnTo>
                        <a:pt x="250" y="46"/>
                      </a:lnTo>
                      <a:lnTo>
                        <a:pt x="250" y="46"/>
                      </a:lnTo>
                      <a:lnTo>
                        <a:pt x="250" y="45"/>
                      </a:lnTo>
                      <a:lnTo>
                        <a:pt x="250" y="44"/>
                      </a:lnTo>
                      <a:lnTo>
                        <a:pt x="250" y="44"/>
                      </a:lnTo>
                      <a:lnTo>
                        <a:pt x="250" y="44"/>
                      </a:lnTo>
                      <a:lnTo>
                        <a:pt x="251" y="44"/>
                      </a:lnTo>
                      <a:lnTo>
                        <a:pt x="251" y="43"/>
                      </a:lnTo>
                      <a:lnTo>
                        <a:pt x="251" y="42"/>
                      </a:lnTo>
                      <a:lnTo>
                        <a:pt x="251" y="42"/>
                      </a:lnTo>
                      <a:lnTo>
                        <a:pt x="251" y="41"/>
                      </a:lnTo>
                      <a:lnTo>
                        <a:pt x="251" y="40"/>
                      </a:lnTo>
                      <a:lnTo>
                        <a:pt x="251" y="40"/>
                      </a:lnTo>
                      <a:lnTo>
                        <a:pt x="250" y="40"/>
                      </a:lnTo>
                      <a:lnTo>
                        <a:pt x="250" y="39"/>
                      </a:lnTo>
                      <a:lnTo>
                        <a:pt x="250" y="39"/>
                      </a:lnTo>
                      <a:lnTo>
                        <a:pt x="250" y="38"/>
                      </a:lnTo>
                      <a:lnTo>
                        <a:pt x="250" y="38"/>
                      </a:lnTo>
                      <a:lnTo>
                        <a:pt x="250" y="37"/>
                      </a:lnTo>
                      <a:lnTo>
                        <a:pt x="250" y="37"/>
                      </a:lnTo>
                      <a:lnTo>
                        <a:pt x="251" y="37"/>
                      </a:lnTo>
                      <a:lnTo>
                        <a:pt x="252" y="37"/>
                      </a:lnTo>
                      <a:lnTo>
                        <a:pt x="252" y="37"/>
                      </a:lnTo>
                      <a:lnTo>
                        <a:pt x="253" y="37"/>
                      </a:lnTo>
                      <a:lnTo>
                        <a:pt x="253" y="36"/>
                      </a:lnTo>
                      <a:lnTo>
                        <a:pt x="254" y="36"/>
                      </a:lnTo>
                      <a:lnTo>
                        <a:pt x="254" y="36"/>
                      </a:lnTo>
                      <a:lnTo>
                        <a:pt x="254" y="36"/>
                      </a:lnTo>
                      <a:lnTo>
                        <a:pt x="255" y="36"/>
                      </a:lnTo>
                      <a:lnTo>
                        <a:pt x="255" y="35"/>
                      </a:lnTo>
                      <a:lnTo>
                        <a:pt x="254" y="35"/>
                      </a:lnTo>
                      <a:lnTo>
                        <a:pt x="254" y="34"/>
                      </a:lnTo>
                      <a:lnTo>
                        <a:pt x="254" y="34"/>
                      </a:lnTo>
                      <a:lnTo>
                        <a:pt x="254" y="34"/>
                      </a:lnTo>
                      <a:lnTo>
                        <a:pt x="254" y="33"/>
                      </a:lnTo>
                      <a:lnTo>
                        <a:pt x="254" y="33"/>
                      </a:lnTo>
                      <a:lnTo>
                        <a:pt x="254" y="32"/>
                      </a:lnTo>
                      <a:lnTo>
                        <a:pt x="253" y="31"/>
                      </a:lnTo>
                      <a:lnTo>
                        <a:pt x="253" y="31"/>
                      </a:lnTo>
                      <a:lnTo>
                        <a:pt x="252" y="31"/>
                      </a:lnTo>
                      <a:lnTo>
                        <a:pt x="252" y="31"/>
                      </a:lnTo>
                      <a:lnTo>
                        <a:pt x="251" y="31"/>
                      </a:lnTo>
                      <a:lnTo>
                        <a:pt x="251" y="30"/>
                      </a:lnTo>
                      <a:lnTo>
                        <a:pt x="251" y="29"/>
                      </a:lnTo>
                      <a:lnTo>
                        <a:pt x="252" y="29"/>
                      </a:lnTo>
                      <a:lnTo>
                        <a:pt x="252" y="29"/>
                      </a:lnTo>
                      <a:lnTo>
                        <a:pt x="253" y="29"/>
                      </a:lnTo>
                      <a:lnTo>
                        <a:pt x="253" y="28"/>
                      </a:lnTo>
                      <a:lnTo>
                        <a:pt x="253" y="27"/>
                      </a:lnTo>
                      <a:lnTo>
                        <a:pt x="254" y="27"/>
                      </a:lnTo>
                      <a:lnTo>
                        <a:pt x="254" y="26"/>
                      </a:lnTo>
                      <a:lnTo>
                        <a:pt x="254" y="25"/>
                      </a:lnTo>
                      <a:lnTo>
                        <a:pt x="253" y="25"/>
                      </a:lnTo>
                      <a:lnTo>
                        <a:pt x="253" y="25"/>
                      </a:lnTo>
                      <a:lnTo>
                        <a:pt x="252" y="25"/>
                      </a:lnTo>
                      <a:lnTo>
                        <a:pt x="252" y="24"/>
                      </a:lnTo>
                      <a:lnTo>
                        <a:pt x="252" y="23"/>
                      </a:lnTo>
                      <a:lnTo>
                        <a:pt x="252" y="23"/>
                      </a:lnTo>
                      <a:lnTo>
                        <a:pt x="252" y="23"/>
                      </a:lnTo>
                      <a:lnTo>
                        <a:pt x="252" y="22"/>
                      </a:lnTo>
                      <a:lnTo>
                        <a:pt x="252" y="21"/>
                      </a:lnTo>
                      <a:lnTo>
                        <a:pt x="252" y="21"/>
                      </a:lnTo>
                      <a:lnTo>
                        <a:pt x="252" y="20"/>
                      </a:lnTo>
                      <a:lnTo>
                        <a:pt x="252" y="19"/>
                      </a:lnTo>
                      <a:lnTo>
                        <a:pt x="252" y="19"/>
                      </a:lnTo>
                      <a:lnTo>
                        <a:pt x="253" y="19"/>
                      </a:lnTo>
                      <a:lnTo>
                        <a:pt x="254" y="19"/>
                      </a:lnTo>
                      <a:lnTo>
                        <a:pt x="254" y="19"/>
                      </a:lnTo>
                      <a:lnTo>
                        <a:pt x="254" y="18"/>
                      </a:lnTo>
                      <a:lnTo>
                        <a:pt x="254" y="17"/>
                      </a:lnTo>
                      <a:lnTo>
                        <a:pt x="254" y="17"/>
                      </a:lnTo>
                      <a:lnTo>
                        <a:pt x="254" y="17"/>
                      </a:lnTo>
                      <a:lnTo>
                        <a:pt x="253" y="17"/>
                      </a:lnTo>
                      <a:lnTo>
                        <a:pt x="252" y="17"/>
                      </a:lnTo>
                      <a:lnTo>
                        <a:pt x="252" y="17"/>
                      </a:lnTo>
                      <a:lnTo>
                        <a:pt x="252" y="17"/>
                      </a:lnTo>
                      <a:lnTo>
                        <a:pt x="251" y="17"/>
                      </a:lnTo>
                      <a:lnTo>
                        <a:pt x="250" y="17"/>
                      </a:lnTo>
                      <a:lnTo>
                        <a:pt x="250" y="17"/>
                      </a:lnTo>
                      <a:lnTo>
                        <a:pt x="251" y="17"/>
                      </a:lnTo>
                      <a:lnTo>
                        <a:pt x="252" y="16"/>
                      </a:lnTo>
                      <a:lnTo>
                        <a:pt x="252" y="16"/>
                      </a:lnTo>
                      <a:lnTo>
                        <a:pt x="252" y="15"/>
                      </a:lnTo>
                      <a:lnTo>
                        <a:pt x="253" y="15"/>
                      </a:lnTo>
                      <a:lnTo>
                        <a:pt x="253" y="14"/>
                      </a:lnTo>
                      <a:lnTo>
                        <a:pt x="252" y="13"/>
                      </a:lnTo>
                      <a:lnTo>
                        <a:pt x="253" y="13"/>
                      </a:lnTo>
                      <a:lnTo>
                        <a:pt x="253" y="12"/>
                      </a:lnTo>
                      <a:lnTo>
                        <a:pt x="254" y="12"/>
                      </a:lnTo>
                      <a:lnTo>
                        <a:pt x="254" y="12"/>
                      </a:lnTo>
                      <a:lnTo>
                        <a:pt x="254" y="11"/>
                      </a:lnTo>
                      <a:lnTo>
                        <a:pt x="253" y="11"/>
                      </a:lnTo>
                      <a:lnTo>
                        <a:pt x="253" y="10"/>
                      </a:lnTo>
                      <a:lnTo>
                        <a:pt x="252" y="10"/>
                      </a:lnTo>
                      <a:lnTo>
                        <a:pt x="252" y="10"/>
                      </a:lnTo>
                      <a:lnTo>
                        <a:pt x="253" y="10"/>
                      </a:lnTo>
                      <a:lnTo>
                        <a:pt x="253" y="9"/>
                      </a:lnTo>
                      <a:lnTo>
                        <a:pt x="253" y="8"/>
                      </a:lnTo>
                      <a:lnTo>
                        <a:pt x="254" y="8"/>
                      </a:lnTo>
                      <a:lnTo>
                        <a:pt x="254" y="8"/>
                      </a:lnTo>
                      <a:lnTo>
                        <a:pt x="254" y="7"/>
                      </a:lnTo>
                      <a:lnTo>
                        <a:pt x="254" y="7"/>
                      </a:lnTo>
                      <a:lnTo>
                        <a:pt x="254" y="6"/>
                      </a:lnTo>
                      <a:lnTo>
                        <a:pt x="254" y="6"/>
                      </a:lnTo>
                      <a:lnTo>
                        <a:pt x="254" y="5"/>
                      </a:lnTo>
                      <a:lnTo>
                        <a:pt x="254" y="4"/>
                      </a:lnTo>
                      <a:lnTo>
                        <a:pt x="254" y="4"/>
                      </a:lnTo>
                      <a:lnTo>
                        <a:pt x="254" y="3"/>
                      </a:lnTo>
                      <a:lnTo>
                        <a:pt x="255" y="2"/>
                      </a:lnTo>
                      <a:lnTo>
                        <a:pt x="256" y="2"/>
                      </a:lnTo>
                      <a:lnTo>
                        <a:pt x="256" y="1"/>
                      </a:lnTo>
                      <a:lnTo>
                        <a:pt x="255"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sp>
              <p:nvSpPr>
                <p:cNvPr id="2070" name="Freeform 84">
                  <a:extLst>
                    <a:ext uri="{FF2B5EF4-FFF2-40B4-BE49-F238E27FC236}">
                      <a16:creationId xmlns:a16="http://schemas.microsoft.com/office/drawing/2014/main" xmlns="" id="{396B35B7-5E12-E626-4BB4-8F32A825466B}"/>
                    </a:ext>
                  </a:extLst>
                </p:cNvPr>
                <p:cNvSpPr>
                  <a:spLocks/>
                </p:cNvSpPr>
                <p:nvPr/>
              </p:nvSpPr>
              <p:spPr bwMode="auto">
                <a:xfrm>
                  <a:off x="3372" y="3688"/>
                  <a:ext cx="3" cy="2"/>
                </a:xfrm>
                <a:custGeom>
                  <a:avLst/>
                  <a:gdLst>
                    <a:gd name="T0" fmla="*/ 1 w 3"/>
                    <a:gd name="T1" fmla="*/ 2 h 2"/>
                    <a:gd name="T2" fmla="*/ 0 w 3"/>
                    <a:gd name="T3" fmla="*/ 2 h 2"/>
                    <a:gd name="T4" fmla="*/ 0 w 3"/>
                    <a:gd name="T5" fmla="*/ 1 h 2"/>
                    <a:gd name="T6" fmla="*/ 0 w 3"/>
                    <a:gd name="T7" fmla="*/ 0 h 2"/>
                    <a:gd name="T8" fmla="*/ 1 w 3"/>
                    <a:gd name="T9" fmla="*/ 0 h 2"/>
                    <a:gd name="T10" fmla="*/ 1 w 3"/>
                    <a:gd name="T11" fmla="*/ 0 h 2"/>
                    <a:gd name="T12" fmla="*/ 2 w 3"/>
                    <a:gd name="T13" fmla="*/ 0 h 2"/>
                    <a:gd name="T14" fmla="*/ 2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2"/>
                      </a:moveTo>
                      <a:lnTo>
                        <a:pt x="0" y="2"/>
                      </a:lnTo>
                      <a:lnTo>
                        <a:pt x="0" y="1"/>
                      </a:lnTo>
                      <a:lnTo>
                        <a:pt x="0" y="0"/>
                      </a:lnTo>
                      <a:lnTo>
                        <a:pt x="1" y="0"/>
                      </a:lnTo>
                      <a:lnTo>
                        <a:pt x="1" y="0"/>
                      </a:lnTo>
                      <a:lnTo>
                        <a:pt x="2" y="0"/>
                      </a:lnTo>
                      <a:lnTo>
                        <a:pt x="2" y="0"/>
                      </a:lnTo>
                      <a:lnTo>
                        <a:pt x="3" y="0"/>
                      </a:lnTo>
                    </a:path>
                  </a:pathLst>
                </a:custGeom>
                <a:noFill/>
                <a:ln w="3175">
                  <a:solidFill>
                    <a:srgbClr val="B3B3B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s-419" sz="700" b="1">
                    <a:latin typeface="Calibri Light" panose="020F0302020204030204" pitchFamily="34" charset="0"/>
                    <a:cs typeface="Calibri Light" panose="020F0302020204030204" pitchFamily="34" charset="0"/>
                  </a:endParaRPr>
                </a:p>
              </p:txBody>
            </p:sp>
          </p:grpSp>
          <p:grpSp>
            <p:nvGrpSpPr>
              <p:cNvPr id="2299" name="Admin 1 Text">
                <a:extLst>
                  <a:ext uri="{FF2B5EF4-FFF2-40B4-BE49-F238E27FC236}">
                    <a16:creationId xmlns:a16="http://schemas.microsoft.com/office/drawing/2014/main" xmlns="" id="{D3B04775-6851-F203-39BB-7280FD71790A}"/>
                  </a:ext>
                </a:extLst>
              </p:cNvPr>
              <p:cNvGrpSpPr>
                <a:grpSpLocks noChangeAspect="1"/>
              </p:cNvGrpSpPr>
              <p:nvPr/>
            </p:nvGrpSpPr>
            <p:grpSpPr bwMode="auto">
              <a:xfrm>
                <a:off x="3540126" y="1755775"/>
                <a:ext cx="3184526" cy="4624390"/>
                <a:chOff x="2230" y="1106"/>
                <a:chExt cx="2006" cy="2913"/>
              </a:xfrm>
            </p:grpSpPr>
            <p:sp>
              <p:nvSpPr>
                <p:cNvPr id="687" name="Beni">
                  <a:extLst>
                    <a:ext uri="{FF2B5EF4-FFF2-40B4-BE49-F238E27FC236}">
                      <a16:creationId xmlns:a16="http://schemas.microsoft.com/office/drawing/2014/main" xmlns="" id="{82EADA8C-C478-39FD-582E-2341041F5748}"/>
                    </a:ext>
                  </a:extLst>
                </p:cNvPr>
                <p:cNvSpPr>
                  <a:spLocks noChangeArrowheads="1"/>
                </p:cNvSpPr>
                <p:nvPr/>
              </p:nvSpPr>
              <p:spPr bwMode="auto">
                <a:xfrm>
                  <a:off x="2935" y="1798"/>
                  <a:ext cx="221"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solidFill>
                        <a:srgbClr val="686868"/>
                      </a:solidFill>
                      <a:latin typeface="Calibri Light" panose="020F0302020204030204" pitchFamily="34" charset="0"/>
                      <a:cs typeface="Calibri Light" panose="020F0302020204030204" pitchFamily="34" charset="0"/>
                    </a:rPr>
                    <a:t>Beni</a:t>
                  </a:r>
                  <a:endParaRPr lang="es-419" altLang="en-US" sz="900" b="1">
                    <a:latin typeface="Calibri Light" panose="020F0302020204030204" pitchFamily="34" charset="0"/>
                    <a:cs typeface="Calibri Light" panose="020F0302020204030204" pitchFamily="34" charset="0"/>
                  </a:endParaRPr>
                </a:p>
              </p:txBody>
            </p:sp>
            <p:sp>
              <p:nvSpPr>
                <p:cNvPr id="688" name="Santa Cruz">
                  <a:extLst>
                    <a:ext uri="{FF2B5EF4-FFF2-40B4-BE49-F238E27FC236}">
                      <a16:creationId xmlns:a16="http://schemas.microsoft.com/office/drawing/2014/main" xmlns="" id="{5F75137B-BBFC-3A7B-D0A8-F78BB1A1B9AC}"/>
                    </a:ext>
                  </a:extLst>
                </p:cNvPr>
                <p:cNvSpPr>
                  <a:spLocks noChangeArrowheads="1"/>
                </p:cNvSpPr>
                <p:nvPr/>
              </p:nvSpPr>
              <p:spPr bwMode="auto">
                <a:xfrm>
                  <a:off x="3709" y="2653"/>
                  <a:ext cx="527"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latin typeface="Calibri Light" panose="020F0302020204030204" pitchFamily="34" charset="0"/>
                      <a:cs typeface="Calibri Light" panose="020F0302020204030204" pitchFamily="34" charset="0"/>
                    </a:rPr>
                    <a:t>Santa Cruz</a:t>
                  </a:r>
                </a:p>
              </p:txBody>
            </p:sp>
            <p:sp>
              <p:nvSpPr>
                <p:cNvPr id="689" name="La Paz">
                  <a:extLst>
                    <a:ext uri="{FF2B5EF4-FFF2-40B4-BE49-F238E27FC236}">
                      <a16:creationId xmlns:a16="http://schemas.microsoft.com/office/drawing/2014/main" xmlns="" id="{546514DA-26B3-7D6E-7B48-F86A64D198BE}"/>
                    </a:ext>
                  </a:extLst>
                </p:cNvPr>
                <p:cNvSpPr>
                  <a:spLocks noChangeArrowheads="1"/>
                </p:cNvSpPr>
                <p:nvPr/>
              </p:nvSpPr>
              <p:spPr bwMode="auto">
                <a:xfrm>
                  <a:off x="2230" y="2282"/>
                  <a:ext cx="308"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latin typeface="Calibri Light" panose="020F0302020204030204" pitchFamily="34" charset="0"/>
                      <a:cs typeface="Calibri Light" panose="020F0302020204030204" pitchFamily="34" charset="0"/>
                    </a:rPr>
                    <a:t>La Paz</a:t>
                  </a:r>
                </a:p>
              </p:txBody>
            </p:sp>
            <p:sp>
              <p:nvSpPr>
                <p:cNvPr id="690" name="Potosí">
                  <a:extLst>
                    <a:ext uri="{FF2B5EF4-FFF2-40B4-BE49-F238E27FC236}">
                      <a16:creationId xmlns:a16="http://schemas.microsoft.com/office/drawing/2014/main" xmlns="" id="{46B7BC09-9DD5-EF64-E5C0-063757C86D00}"/>
                    </a:ext>
                  </a:extLst>
                </p:cNvPr>
                <p:cNvSpPr>
                  <a:spLocks noChangeArrowheads="1"/>
                </p:cNvSpPr>
                <p:nvPr/>
              </p:nvSpPr>
              <p:spPr bwMode="auto">
                <a:xfrm>
                  <a:off x="2627" y="3682"/>
                  <a:ext cx="308"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latin typeface="Calibri Light" panose="020F0302020204030204" pitchFamily="34" charset="0"/>
                      <a:cs typeface="Calibri Light" panose="020F0302020204030204" pitchFamily="34" charset="0"/>
                    </a:rPr>
                    <a:t>Potosí</a:t>
                  </a:r>
                </a:p>
              </p:txBody>
            </p:sp>
            <p:sp>
              <p:nvSpPr>
                <p:cNvPr id="691" name="Pando">
                  <a:extLst>
                    <a:ext uri="{FF2B5EF4-FFF2-40B4-BE49-F238E27FC236}">
                      <a16:creationId xmlns:a16="http://schemas.microsoft.com/office/drawing/2014/main" xmlns="" id="{EEE56508-DC96-7A83-D7D0-C51A8C167C2A}"/>
                    </a:ext>
                  </a:extLst>
                </p:cNvPr>
                <p:cNvSpPr>
                  <a:spLocks noChangeArrowheads="1"/>
                </p:cNvSpPr>
                <p:nvPr/>
              </p:nvSpPr>
              <p:spPr bwMode="auto">
                <a:xfrm>
                  <a:off x="2332" y="1106"/>
                  <a:ext cx="315"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solidFill>
                        <a:srgbClr val="686868"/>
                      </a:solidFill>
                      <a:latin typeface="Calibri Light" panose="020F0302020204030204" pitchFamily="34" charset="0"/>
                      <a:cs typeface="Calibri Light" panose="020F0302020204030204" pitchFamily="34" charset="0"/>
                    </a:rPr>
                    <a:t>Pando</a:t>
                  </a:r>
                  <a:endParaRPr lang="es-419" altLang="en-US" sz="900" b="1">
                    <a:latin typeface="Calibri Light" panose="020F0302020204030204" pitchFamily="34" charset="0"/>
                    <a:cs typeface="Calibri Light" panose="020F0302020204030204" pitchFamily="34" charset="0"/>
                  </a:endParaRPr>
                </a:p>
              </p:txBody>
            </p:sp>
            <p:sp>
              <p:nvSpPr>
                <p:cNvPr id="692" name="Oruro">
                  <a:extLst>
                    <a:ext uri="{FF2B5EF4-FFF2-40B4-BE49-F238E27FC236}">
                      <a16:creationId xmlns:a16="http://schemas.microsoft.com/office/drawing/2014/main" xmlns="" id="{9A973907-3B53-69DA-3E9B-E12CDFC497DA}"/>
                    </a:ext>
                  </a:extLst>
                </p:cNvPr>
                <p:cNvSpPr>
                  <a:spLocks noChangeArrowheads="1"/>
                </p:cNvSpPr>
                <p:nvPr/>
              </p:nvSpPr>
              <p:spPr bwMode="auto">
                <a:xfrm>
                  <a:off x="2337" y="3139"/>
                  <a:ext cx="294"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latin typeface="Calibri Light" panose="020F0302020204030204" pitchFamily="34" charset="0"/>
                      <a:cs typeface="Calibri Light" panose="020F0302020204030204" pitchFamily="34" charset="0"/>
                    </a:rPr>
                    <a:t>Oruro</a:t>
                  </a:r>
                </a:p>
              </p:txBody>
            </p:sp>
            <p:sp>
              <p:nvSpPr>
                <p:cNvPr id="693" name="Tarija">
                  <a:extLst>
                    <a:ext uri="{FF2B5EF4-FFF2-40B4-BE49-F238E27FC236}">
                      <a16:creationId xmlns:a16="http://schemas.microsoft.com/office/drawing/2014/main" xmlns="" id="{7CC123FE-32EA-6D47-0853-F44A1BEC86CD}"/>
                    </a:ext>
                  </a:extLst>
                </p:cNvPr>
                <p:cNvSpPr>
                  <a:spLocks noChangeArrowheads="1"/>
                </p:cNvSpPr>
                <p:nvPr/>
              </p:nvSpPr>
              <p:spPr bwMode="auto">
                <a:xfrm>
                  <a:off x="3324" y="3868"/>
                  <a:ext cx="273"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latin typeface="Calibri Light" panose="020F0302020204030204" pitchFamily="34" charset="0"/>
                      <a:cs typeface="Calibri Light" panose="020F0302020204030204" pitchFamily="34" charset="0"/>
                    </a:rPr>
                    <a:t>Tarija</a:t>
                  </a:r>
                </a:p>
              </p:txBody>
            </p:sp>
            <p:sp>
              <p:nvSpPr>
                <p:cNvPr id="694" name="Chuquisaca">
                  <a:extLst>
                    <a:ext uri="{FF2B5EF4-FFF2-40B4-BE49-F238E27FC236}">
                      <a16:creationId xmlns:a16="http://schemas.microsoft.com/office/drawing/2014/main" xmlns="" id="{F0909A7E-149C-678C-53B0-84D3BBDE873F}"/>
                    </a:ext>
                  </a:extLst>
                </p:cNvPr>
                <p:cNvSpPr>
                  <a:spLocks noChangeArrowheads="1"/>
                </p:cNvSpPr>
                <p:nvPr/>
              </p:nvSpPr>
              <p:spPr bwMode="auto">
                <a:xfrm>
                  <a:off x="3127" y="3545"/>
                  <a:ext cx="569"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900" b="1">
                      <a:solidFill>
                        <a:srgbClr val="686868"/>
                      </a:solidFill>
                      <a:latin typeface="Calibri Light" panose="020F0302020204030204" pitchFamily="34" charset="0"/>
                      <a:cs typeface="Calibri Light" panose="020F0302020204030204" pitchFamily="34" charset="0"/>
                    </a:rPr>
                    <a:t>Chuquisaca</a:t>
                  </a:r>
                  <a:endParaRPr lang="es-419" altLang="en-US" sz="900" b="1">
                    <a:latin typeface="Calibri Light" panose="020F0302020204030204" pitchFamily="34" charset="0"/>
                    <a:cs typeface="Calibri Light" panose="020F0302020204030204" pitchFamily="34" charset="0"/>
                  </a:endParaRPr>
                </a:p>
              </p:txBody>
            </p:sp>
            <p:sp>
              <p:nvSpPr>
                <p:cNvPr id="695" name="Cochabamba">
                  <a:extLst>
                    <a:ext uri="{FF2B5EF4-FFF2-40B4-BE49-F238E27FC236}">
                      <a16:creationId xmlns:a16="http://schemas.microsoft.com/office/drawing/2014/main" xmlns="" id="{6BA5E5C0-2678-5EF8-9E51-FF931B690C44}"/>
                    </a:ext>
                  </a:extLst>
                </p:cNvPr>
                <p:cNvSpPr>
                  <a:spLocks noChangeArrowheads="1"/>
                </p:cNvSpPr>
                <p:nvPr/>
              </p:nvSpPr>
              <p:spPr bwMode="auto">
                <a:xfrm>
                  <a:off x="2765" y="2491"/>
                  <a:ext cx="50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latin typeface="Calibri Light" panose="020F0302020204030204" pitchFamily="34" charset="0"/>
                      <a:cs typeface="Calibri Light" panose="020F0302020204030204" pitchFamily="34" charset="0"/>
                    </a:rPr>
                    <a:t>Cochabamba</a:t>
                  </a:r>
                </a:p>
              </p:txBody>
            </p:sp>
          </p:grpSp>
          <p:grpSp>
            <p:nvGrpSpPr>
              <p:cNvPr id="2300" name="Towns" hidden="1">
                <a:extLst>
                  <a:ext uri="{FF2B5EF4-FFF2-40B4-BE49-F238E27FC236}">
                    <a16:creationId xmlns:a16="http://schemas.microsoft.com/office/drawing/2014/main" xmlns="" id="{6F8D0568-9F7F-324D-2738-49F341F0DAFB}"/>
                  </a:ext>
                </a:extLst>
              </p:cNvPr>
              <p:cNvGrpSpPr>
                <a:grpSpLocks noChangeAspect="1"/>
              </p:cNvGrpSpPr>
              <p:nvPr/>
            </p:nvGrpSpPr>
            <p:grpSpPr bwMode="auto">
              <a:xfrm>
                <a:off x="3692525" y="1598613"/>
                <a:ext cx="5057775" cy="4689477"/>
                <a:chOff x="2326" y="1007"/>
                <a:chExt cx="3186" cy="2954"/>
              </a:xfrm>
            </p:grpSpPr>
            <p:sp>
              <p:nvSpPr>
                <p:cNvPr id="2301" name="point">
                  <a:extLst>
                    <a:ext uri="{FF2B5EF4-FFF2-40B4-BE49-F238E27FC236}">
                      <a16:creationId xmlns:a16="http://schemas.microsoft.com/office/drawing/2014/main" xmlns="" id="{598177D5-9555-42AA-AE1B-A84BB8EEFFDC}"/>
                    </a:ext>
                  </a:extLst>
                </p:cNvPr>
                <p:cNvSpPr>
                  <a:spLocks noChangeArrowheads="1"/>
                </p:cNvSpPr>
                <p:nvPr/>
              </p:nvSpPr>
              <p:spPr bwMode="auto">
                <a:xfrm>
                  <a:off x="2947" y="3332"/>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2302" name="point">
                  <a:extLst>
                    <a:ext uri="{FF2B5EF4-FFF2-40B4-BE49-F238E27FC236}">
                      <a16:creationId xmlns:a16="http://schemas.microsoft.com/office/drawing/2014/main" xmlns="" id="{D6A4692B-A025-8086-CFDE-74F4B5996B2D}"/>
                    </a:ext>
                  </a:extLst>
                </p:cNvPr>
                <p:cNvSpPr>
                  <a:spLocks noChangeArrowheads="1"/>
                </p:cNvSpPr>
                <p:nvPr/>
              </p:nvSpPr>
              <p:spPr bwMode="auto">
                <a:xfrm>
                  <a:off x="3013" y="3147"/>
                  <a:ext cx="32"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FFFFFF"/>
                      </a:solidFill>
                      <a:latin typeface="Calibri Light" panose="020F0302020204030204" pitchFamily="34" charset="0"/>
                      <a:cs typeface="Calibri Light" panose="020F0302020204030204" pitchFamily="34" charset="0"/>
                    </a:rPr>
                    <a:t>!</a:t>
                  </a:r>
                  <a:endParaRPr lang="es-419" altLang="en-US" sz="700" b="1">
                    <a:latin typeface="Calibri Light" panose="020F0302020204030204" pitchFamily="34" charset="0"/>
                    <a:cs typeface="Calibri Light" panose="020F0302020204030204" pitchFamily="34" charset="0"/>
                  </a:endParaRPr>
                </a:p>
              </p:txBody>
            </p:sp>
            <p:sp>
              <p:nvSpPr>
                <p:cNvPr id="2303" name="star">
                  <a:extLst>
                    <a:ext uri="{FF2B5EF4-FFF2-40B4-BE49-F238E27FC236}">
                      <a16:creationId xmlns:a16="http://schemas.microsoft.com/office/drawing/2014/main" xmlns="" id="{46AF41F0-D022-092B-FC2D-4CE53AF35DBE}"/>
                    </a:ext>
                  </a:extLst>
                </p:cNvPr>
                <p:cNvSpPr>
                  <a:spLocks noChangeArrowheads="1"/>
                </p:cNvSpPr>
                <p:nvPr/>
              </p:nvSpPr>
              <p:spPr bwMode="auto">
                <a:xfrm>
                  <a:off x="3013" y="3149"/>
                  <a:ext cx="3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t>
                  </a:r>
                  <a:endParaRPr lang="es-419" altLang="en-US" sz="700" b="1">
                    <a:latin typeface="Calibri Light" panose="020F0302020204030204" pitchFamily="34" charset="0"/>
                    <a:cs typeface="Calibri Light" panose="020F0302020204030204" pitchFamily="34" charset="0"/>
                  </a:endParaRPr>
                </a:p>
              </p:txBody>
            </p:sp>
            <p:sp>
              <p:nvSpPr>
                <p:cNvPr id="640" name="point">
                  <a:extLst>
                    <a:ext uri="{FF2B5EF4-FFF2-40B4-BE49-F238E27FC236}">
                      <a16:creationId xmlns:a16="http://schemas.microsoft.com/office/drawing/2014/main" xmlns="" id="{707012BC-52A5-4C93-C87C-5B78A5ECA005}"/>
                    </a:ext>
                  </a:extLst>
                </p:cNvPr>
                <p:cNvSpPr>
                  <a:spLocks noChangeArrowheads="1"/>
                </p:cNvSpPr>
                <p:nvPr/>
              </p:nvSpPr>
              <p:spPr bwMode="auto">
                <a:xfrm>
                  <a:off x="4949" y="3180"/>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1" name="point">
                  <a:extLst>
                    <a:ext uri="{FF2B5EF4-FFF2-40B4-BE49-F238E27FC236}">
                      <a16:creationId xmlns:a16="http://schemas.microsoft.com/office/drawing/2014/main" xmlns="" id="{51465941-3202-FF81-8CE1-7C84878BC53C}"/>
                    </a:ext>
                  </a:extLst>
                </p:cNvPr>
                <p:cNvSpPr>
                  <a:spLocks noChangeArrowheads="1"/>
                </p:cNvSpPr>
                <p:nvPr/>
              </p:nvSpPr>
              <p:spPr bwMode="auto">
                <a:xfrm>
                  <a:off x="2836" y="2751"/>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2" name="point">
                  <a:extLst>
                    <a:ext uri="{FF2B5EF4-FFF2-40B4-BE49-F238E27FC236}">
                      <a16:creationId xmlns:a16="http://schemas.microsoft.com/office/drawing/2014/main" xmlns="" id="{4A31A8DC-76EE-17D0-573E-EF9E6D151338}"/>
                    </a:ext>
                  </a:extLst>
                </p:cNvPr>
                <p:cNvSpPr>
                  <a:spLocks noChangeArrowheads="1"/>
                </p:cNvSpPr>
                <p:nvPr/>
              </p:nvSpPr>
              <p:spPr bwMode="auto">
                <a:xfrm>
                  <a:off x="3521" y="3769"/>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3" name="point">
                  <a:extLst>
                    <a:ext uri="{FF2B5EF4-FFF2-40B4-BE49-F238E27FC236}">
                      <a16:creationId xmlns:a16="http://schemas.microsoft.com/office/drawing/2014/main" xmlns="" id="{732C08C2-AFF8-658F-14C7-101C64EF0FA8}"/>
                    </a:ext>
                  </a:extLst>
                </p:cNvPr>
                <p:cNvSpPr>
                  <a:spLocks noChangeArrowheads="1"/>
                </p:cNvSpPr>
                <p:nvPr/>
              </p:nvSpPr>
              <p:spPr bwMode="auto">
                <a:xfrm>
                  <a:off x="2964" y="3823"/>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4" name="point">
                  <a:extLst>
                    <a:ext uri="{FF2B5EF4-FFF2-40B4-BE49-F238E27FC236}">
                      <a16:creationId xmlns:a16="http://schemas.microsoft.com/office/drawing/2014/main" xmlns="" id="{0E9CF6C4-1BEE-999A-2C7C-6979B06F3AA0}"/>
                    </a:ext>
                  </a:extLst>
                </p:cNvPr>
                <p:cNvSpPr>
                  <a:spLocks noChangeArrowheads="1"/>
                </p:cNvSpPr>
                <p:nvPr/>
              </p:nvSpPr>
              <p:spPr bwMode="auto">
                <a:xfrm>
                  <a:off x="2596" y="2909"/>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5" name="point">
                  <a:extLst>
                    <a:ext uri="{FF2B5EF4-FFF2-40B4-BE49-F238E27FC236}">
                      <a16:creationId xmlns:a16="http://schemas.microsoft.com/office/drawing/2014/main" xmlns="" id="{8B33BE1C-2360-AF8B-9B64-B9875E04F93F}"/>
                    </a:ext>
                  </a:extLst>
                </p:cNvPr>
                <p:cNvSpPr>
                  <a:spLocks noChangeArrowheads="1"/>
                </p:cNvSpPr>
                <p:nvPr/>
              </p:nvSpPr>
              <p:spPr bwMode="auto">
                <a:xfrm>
                  <a:off x="2469" y="1976"/>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6" name="point">
                  <a:extLst>
                    <a:ext uri="{FF2B5EF4-FFF2-40B4-BE49-F238E27FC236}">
                      <a16:creationId xmlns:a16="http://schemas.microsoft.com/office/drawing/2014/main" xmlns="" id="{0B37F532-D38B-1EEE-D908-3C0FDBA7EA08}"/>
                    </a:ext>
                  </a:extLst>
                </p:cNvPr>
                <p:cNvSpPr>
                  <a:spLocks noChangeArrowheads="1"/>
                </p:cNvSpPr>
                <p:nvPr/>
              </p:nvSpPr>
              <p:spPr bwMode="auto">
                <a:xfrm>
                  <a:off x="2834" y="1056"/>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7" name="point">
                  <a:extLst>
                    <a:ext uri="{FF2B5EF4-FFF2-40B4-BE49-F238E27FC236}">
                      <a16:creationId xmlns:a16="http://schemas.microsoft.com/office/drawing/2014/main" xmlns="" id="{4063659B-1666-A6F5-3FEF-B3D0522F4F99}"/>
                    </a:ext>
                  </a:extLst>
                </p:cNvPr>
                <p:cNvSpPr>
                  <a:spLocks noChangeArrowheads="1"/>
                </p:cNvSpPr>
                <p:nvPr/>
              </p:nvSpPr>
              <p:spPr bwMode="auto">
                <a:xfrm>
                  <a:off x="3592" y="2848"/>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48" name="point">
                  <a:extLst>
                    <a:ext uri="{FF2B5EF4-FFF2-40B4-BE49-F238E27FC236}">
                      <a16:creationId xmlns:a16="http://schemas.microsoft.com/office/drawing/2014/main" xmlns="" id="{A3959842-4668-3ED7-08FC-83471C9FAB47}"/>
                    </a:ext>
                  </a:extLst>
                </p:cNvPr>
                <p:cNvSpPr>
                  <a:spLocks noChangeArrowheads="1"/>
                </p:cNvSpPr>
                <p:nvPr/>
              </p:nvSpPr>
              <p:spPr bwMode="auto">
                <a:xfrm>
                  <a:off x="3022" y="1007"/>
                  <a:ext cx="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endParaRPr lang="es-419" altLang="en-US" sz="700" b="1">
                    <a:latin typeface="Calibri Light" panose="020F0302020204030204" pitchFamily="34" charset="0"/>
                    <a:cs typeface="Calibri Light" panose="020F0302020204030204" pitchFamily="34" charset="0"/>
                  </a:endParaRPr>
                </a:p>
              </p:txBody>
            </p:sp>
            <p:sp>
              <p:nvSpPr>
                <p:cNvPr id="649" name="point">
                  <a:extLst>
                    <a:ext uri="{FF2B5EF4-FFF2-40B4-BE49-F238E27FC236}">
                      <a16:creationId xmlns:a16="http://schemas.microsoft.com/office/drawing/2014/main" xmlns="" id="{8CCF3121-D964-3D00-3F8D-08D524095D56}"/>
                    </a:ext>
                  </a:extLst>
                </p:cNvPr>
                <p:cNvSpPr>
                  <a:spLocks noChangeArrowheads="1"/>
                </p:cNvSpPr>
                <p:nvPr/>
              </p:nvSpPr>
              <p:spPr bwMode="auto">
                <a:xfrm>
                  <a:off x="3508" y="3446"/>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0" name="point">
                  <a:extLst>
                    <a:ext uri="{FF2B5EF4-FFF2-40B4-BE49-F238E27FC236}">
                      <a16:creationId xmlns:a16="http://schemas.microsoft.com/office/drawing/2014/main" xmlns="" id="{A4D6881B-A882-970F-C76E-EA36B4BD357A}"/>
                    </a:ext>
                  </a:extLst>
                </p:cNvPr>
                <p:cNvSpPr>
                  <a:spLocks noChangeArrowheads="1"/>
                </p:cNvSpPr>
                <p:nvPr/>
              </p:nvSpPr>
              <p:spPr bwMode="auto">
                <a:xfrm>
                  <a:off x="2674" y="2081"/>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1" name="point">
                  <a:extLst>
                    <a:ext uri="{FF2B5EF4-FFF2-40B4-BE49-F238E27FC236}">
                      <a16:creationId xmlns:a16="http://schemas.microsoft.com/office/drawing/2014/main" xmlns="" id="{0F1D45F8-0D5A-9BA3-8A73-AE8525A693EE}"/>
                    </a:ext>
                  </a:extLst>
                </p:cNvPr>
                <p:cNvSpPr>
                  <a:spLocks noChangeArrowheads="1"/>
                </p:cNvSpPr>
                <p:nvPr/>
              </p:nvSpPr>
              <p:spPr bwMode="auto">
                <a:xfrm>
                  <a:off x="2467" y="2345"/>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2" name="point">
                  <a:extLst>
                    <a:ext uri="{FF2B5EF4-FFF2-40B4-BE49-F238E27FC236}">
                      <a16:creationId xmlns:a16="http://schemas.microsoft.com/office/drawing/2014/main" xmlns="" id="{EA925110-8787-BDEF-2A4B-032A41EB3556}"/>
                    </a:ext>
                  </a:extLst>
                </p:cNvPr>
                <p:cNvSpPr>
                  <a:spLocks noChangeArrowheads="1"/>
                </p:cNvSpPr>
                <p:nvPr/>
              </p:nvSpPr>
              <p:spPr bwMode="auto">
                <a:xfrm>
                  <a:off x="3414" y="2747"/>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3" name="point">
                  <a:extLst>
                    <a:ext uri="{FF2B5EF4-FFF2-40B4-BE49-F238E27FC236}">
                      <a16:creationId xmlns:a16="http://schemas.microsoft.com/office/drawing/2014/main" xmlns="" id="{F1614E16-C5A8-A8F0-DB9A-CA86033BF891}"/>
                    </a:ext>
                  </a:extLst>
                </p:cNvPr>
                <p:cNvSpPr>
                  <a:spLocks noChangeArrowheads="1"/>
                </p:cNvSpPr>
                <p:nvPr/>
              </p:nvSpPr>
              <p:spPr bwMode="auto">
                <a:xfrm>
                  <a:off x="3590" y="2349"/>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4" name="point">
                  <a:extLst>
                    <a:ext uri="{FF2B5EF4-FFF2-40B4-BE49-F238E27FC236}">
                      <a16:creationId xmlns:a16="http://schemas.microsoft.com/office/drawing/2014/main" xmlns="" id="{6EC51A36-0FBA-93DD-2E28-0274A95784A8}"/>
                    </a:ext>
                  </a:extLst>
                </p:cNvPr>
                <p:cNvSpPr>
                  <a:spLocks noChangeArrowheads="1"/>
                </p:cNvSpPr>
                <p:nvPr/>
              </p:nvSpPr>
              <p:spPr bwMode="auto">
                <a:xfrm>
                  <a:off x="2732" y="3026"/>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5" name="point">
                  <a:extLst>
                    <a:ext uri="{FF2B5EF4-FFF2-40B4-BE49-F238E27FC236}">
                      <a16:creationId xmlns:a16="http://schemas.microsoft.com/office/drawing/2014/main" xmlns="" id="{D38A14D9-3F05-A6FC-1405-ED4F4065269A}"/>
                    </a:ext>
                  </a:extLst>
                </p:cNvPr>
                <p:cNvSpPr>
                  <a:spLocks noChangeArrowheads="1"/>
                </p:cNvSpPr>
                <p:nvPr/>
              </p:nvSpPr>
              <p:spPr bwMode="auto">
                <a:xfrm>
                  <a:off x="3010" y="1782"/>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6" name="point">
                  <a:extLst>
                    <a:ext uri="{FF2B5EF4-FFF2-40B4-BE49-F238E27FC236}">
                      <a16:creationId xmlns:a16="http://schemas.microsoft.com/office/drawing/2014/main" xmlns="" id="{C6322A11-7409-AE73-AB22-9DDB98608026}"/>
                    </a:ext>
                  </a:extLst>
                </p:cNvPr>
                <p:cNvSpPr>
                  <a:spLocks noChangeArrowheads="1"/>
                </p:cNvSpPr>
                <p:nvPr/>
              </p:nvSpPr>
              <p:spPr bwMode="auto">
                <a:xfrm>
                  <a:off x="2686" y="3154"/>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7" name="point">
                  <a:extLst>
                    <a:ext uri="{FF2B5EF4-FFF2-40B4-BE49-F238E27FC236}">
                      <a16:creationId xmlns:a16="http://schemas.microsoft.com/office/drawing/2014/main" xmlns="" id="{235EC279-D87B-01F0-B98A-1326A9936748}"/>
                    </a:ext>
                  </a:extLst>
                </p:cNvPr>
                <p:cNvSpPr>
                  <a:spLocks noChangeArrowheads="1"/>
                </p:cNvSpPr>
                <p:nvPr/>
              </p:nvSpPr>
              <p:spPr bwMode="auto">
                <a:xfrm>
                  <a:off x="4210" y="2868"/>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8" name="point">
                  <a:extLst>
                    <a:ext uri="{FF2B5EF4-FFF2-40B4-BE49-F238E27FC236}">
                      <a16:creationId xmlns:a16="http://schemas.microsoft.com/office/drawing/2014/main" xmlns="" id="{0C4BB8AE-08B9-7CC3-B621-9E3D3B60C483}"/>
                    </a:ext>
                  </a:extLst>
                </p:cNvPr>
                <p:cNvSpPr>
                  <a:spLocks noChangeArrowheads="1"/>
                </p:cNvSpPr>
                <p:nvPr/>
              </p:nvSpPr>
              <p:spPr bwMode="auto">
                <a:xfrm>
                  <a:off x="3736" y="2617"/>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59" name="point">
                  <a:extLst>
                    <a:ext uri="{FF2B5EF4-FFF2-40B4-BE49-F238E27FC236}">
                      <a16:creationId xmlns:a16="http://schemas.microsoft.com/office/drawing/2014/main" xmlns="" id="{2FE489BC-7A96-543F-E216-BDAE809F0958}"/>
                    </a:ext>
                  </a:extLst>
                </p:cNvPr>
                <p:cNvSpPr>
                  <a:spLocks noChangeArrowheads="1"/>
                </p:cNvSpPr>
                <p:nvPr/>
              </p:nvSpPr>
              <p:spPr bwMode="auto">
                <a:xfrm>
                  <a:off x="2684" y="3568"/>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60" name="point">
                  <a:extLst>
                    <a:ext uri="{FF2B5EF4-FFF2-40B4-BE49-F238E27FC236}">
                      <a16:creationId xmlns:a16="http://schemas.microsoft.com/office/drawing/2014/main" xmlns="" id="{B3DE6C11-2AD1-C8E4-9367-E143FED31ECC}"/>
                    </a:ext>
                  </a:extLst>
                </p:cNvPr>
                <p:cNvSpPr>
                  <a:spLocks noChangeArrowheads="1"/>
                </p:cNvSpPr>
                <p:nvPr/>
              </p:nvSpPr>
              <p:spPr bwMode="auto">
                <a:xfrm>
                  <a:off x="4159" y="2477"/>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61" name="point">
                  <a:extLst>
                    <a:ext uri="{FF2B5EF4-FFF2-40B4-BE49-F238E27FC236}">
                      <a16:creationId xmlns:a16="http://schemas.microsoft.com/office/drawing/2014/main" xmlns="" id="{41476ED6-774E-51F5-1E03-762CAD6820BB}"/>
                    </a:ext>
                  </a:extLst>
                </p:cNvPr>
                <p:cNvSpPr>
                  <a:spLocks noChangeArrowheads="1"/>
                </p:cNvSpPr>
                <p:nvPr/>
              </p:nvSpPr>
              <p:spPr bwMode="auto">
                <a:xfrm>
                  <a:off x="2326" y="2524"/>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62" name="point">
                  <a:extLst>
                    <a:ext uri="{FF2B5EF4-FFF2-40B4-BE49-F238E27FC236}">
                      <a16:creationId xmlns:a16="http://schemas.microsoft.com/office/drawing/2014/main" xmlns="" id="{3AF97813-1B28-113B-20E7-598825D0A305}"/>
                    </a:ext>
                  </a:extLst>
                </p:cNvPr>
                <p:cNvSpPr>
                  <a:spLocks noChangeArrowheads="1"/>
                </p:cNvSpPr>
                <p:nvPr/>
              </p:nvSpPr>
              <p:spPr bwMode="auto">
                <a:xfrm>
                  <a:off x="3208" y="3843"/>
                  <a:ext cx="6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mp;</a:t>
                  </a:r>
                  <a:endParaRPr lang="es-419" altLang="en-US" sz="700" b="1">
                    <a:latin typeface="Calibri Light" panose="020F0302020204030204" pitchFamily="34" charset="0"/>
                    <a:cs typeface="Calibri Light" panose="020F0302020204030204" pitchFamily="34" charset="0"/>
                  </a:endParaRPr>
                </a:p>
              </p:txBody>
            </p:sp>
            <p:sp>
              <p:nvSpPr>
                <p:cNvPr id="663" name="Uyuni">
                  <a:extLst>
                    <a:ext uri="{FF2B5EF4-FFF2-40B4-BE49-F238E27FC236}">
                      <a16:creationId xmlns:a16="http://schemas.microsoft.com/office/drawing/2014/main" xmlns="" id="{2602091A-DBA6-649F-8D12-8408B5EAC67E}"/>
                    </a:ext>
                  </a:extLst>
                </p:cNvPr>
                <p:cNvSpPr>
                  <a:spLocks noChangeArrowheads="1"/>
                </p:cNvSpPr>
                <p:nvPr/>
              </p:nvSpPr>
              <p:spPr bwMode="auto">
                <a:xfrm>
                  <a:off x="2709" y="3521"/>
                  <a:ext cx="22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Uyuni</a:t>
                  </a:r>
                  <a:endParaRPr lang="es-419" altLang="en-US" sz="700" b="1">
                    <a:latin typeface="Calibri Light" panose="020F0302020204030204" pitchFamily="34" charset="0"/>
                    <a:cs typeface="Calibri Light" panose="020F0302020204030204" pitchFamily="34" charset="0"/>
                  </a:endParaRPr>
                </a:p>
              </p:txBody>
            </p:sp>
            <p:sp>
              <p:nvSpPr>
                <p:cNvPr id="664" name="Oruro">
                  <a:extLst>
                    <a:ext uri="{FF2B5EF4-FFF2-40B4-BE49-F238E27FC236}">
                      <a16:creationId xmlns:a16="http://schemas.microsoft.com/office/drawing/2014/main" xmlns="" id="{F5623484-1A41-92F8-B474-2CCB78CA4481}"/>
                    </a:ext>
                  </a:extLst>
                </p:cNvPr>
                <p:cNvSpPr>
                  <a:spLocks noChangeArrowheads="1"/>
                </p:cNvSpPr>
                <p:nvPr/>
              </p:nvSpPr>
              <p:spPr bwMode="auto">
                <a:xfrm>
                  <a:off x="2621" y="2861"/>
                  <a:ext cx="231"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Oruro</a:t>
                  </a:r>
                  <a:endParaRPr lang="es-419" altLang="en-US" sz="700" b="1">
                    <a:latin typeface="Calibri Light" panose="020F0302020204030204" pitchFamily="34" charset="0"/>
                    <a:cs typeface="Calibri Light" panose="020F0302020204030204" pitchFamily="34" charset="0"/>
                  </a:endParaRPr>
                </a:p>
              </p:txBody>
            </p:sp>
            <p:sp>
              <p:nvSpPr>
                <p:cNvPr id="665" name="Tarija">
                  <a:extLst>
                    <a:ext uri="{FF2B5EF4-FFF2-40B4-BE49-F238E27FC236}">
                      <a16:creationId xmlns:a16="http://schemas.microsoft.com/office/drawing/2014/main" xmlns="" id="{7C013CD6-5E4E-643A-408D-EE6EE5D6DA4B}"/>
                    </a:ext>
                  </a:extLst>
                </p:cNvPr>
                <p:cNvSpPr>
                  <a:spLocks noChangeArrowheads="1"/>
                </p:cNvSpPr>
                <p:nvPr/>
              </p:nvSpPr>
              <p:spPr bwMode="auto">
                <a:xfrm>
                  <a:off x="3232" y="3796"/>
                  <a:ext cx="21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Tarija</a:t>
                  </a:r>
                  <a:endParaRPr lang="es-419" altLang="en-US" sz="700" b="1">
                    <a:latin typeface="Calibri Light" panose="020F0302020204030204" pitchFamily="34" charset="0"/>
                    <a:cs typeface="Calibri Light" panose="020F0302020204030204" pitchFamily="34" charset="0"/>
                  </a:endParaRPr>
                </a:p>
              </p:txBody>
            </p:sp>
            <p:sp>
              <p:nvSpPr>
                <p:cNvPr id="666" name="La Paz">
                  <a:extLst>
                    <a:ext uri="{FF2B5EF4-FFF2-40B4-BE49-F238E27FC236}">
                      <a16:creationId xmlns:a16="http://schemas.microsoft.com/office/drawing/2014/main" xmlns="" id="{113B8C6F-5E81-2946-6CFE-45C48D2A0AF5}"/>
                    </a:ext>
                  </a:extLst>
                </p:cNvPr>
                <p:cNvSpPr>
                  <a:spLocks noChangeArrowheads="1"/>
                </p:cNvSpPr>
                <p:nvPr/>
              </p:nvSpPr>
              <p:spPr bwMode="auto">
                <a:xfrm>
                  <a:off x="2352" y="2476"/>
                  <a:ext cx="24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La Paz</a:t>
                  </a:r>
                  <a:endParaRPr lang="es-419" altLang="en-US" sz="700" b="1">
                    <a:latin typeface="Calibri Light" panose="020F0302020204030204" pitchFamily="34" charset="0"/>
                    <a:cs typeface="Calibri Light" panose="020F0302020204030204" pitchFamily="34" charset="0"/>
                  </a:endParaRPr>
                </a:p>
              </p:txBody>
            </p:sp>
            <p:sp>
              <p:nvSpPr>
                <p:cNvPr id="667" name="Camiri">
                  <a:extLst>
                    <a:ext uri="{FF2B5EF4-FFF2-40B4-BE49-F238E27FC236}">
                      <a16:creationId xmlns:a16="http://schemas.microsoft.com/office/drawing/2014/main" xmlns="" id="{F1A8749E-107A-4BF4-91F8-F23A1FFCBB04}"/>
                    </a:ext>
                  </a:extLst>
                </p:cNvPr>
                <p:cNvSpPr>
                  <a:spLocks noChangeArrowheads="1"/>
                </p:cNvSpPr>
                <p:nvPr/>
              </p:nvSpPr>
              <p:spPr bwMode="auto">
                <a:xfrm>
                  <a:off x="3533" y="3398"/>
                  <a:ext cx="24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Camiri</a:t>
                  </a:r>
                  <a:endParaRPr lang="es-419" altLang="en-US" sz="700" b="1">
                    <a:latin typeface="Calibri Light" panose="020F0302020204030204" pitchFamily="34" charset="0"/>
                    <a:cs typeface="Calibri Light" panose="020F0302020204030204" pitchFamily="34" charset="0"/>
                  </a:endParaRPr>
                </a:p>
              </p:txBody>
            </p:sp>
            <p:sp>
              <p:nvSpPr>
                <p:cNvPr id="668" name="Tupiza">
                  <a:extLst>
                    <a:ext uri="{FF2B5EF4-FFF2-40B4-BE49-F238E27FC236}">
                      <a16:creationId xmlns:a16="http://schemas.microsoft.com/office/drawing/2014/main" xmlns="" id="{01B65CD6-6BD5-3DB1-3569-34979EC26EC2}"/>
                    </a:ext>
                  </a:extLst>
                </p:cNvPr>
                <p:cNvSpPr>
                  <a:spLocks noChangeArrowheads="1"/>
                </p:cNvSpPr>
                <p:nvPr/>
              </p:nvSpPr>
              <p:spPr bwMode="auto">
                <a:xfrm>
                  <a:off x="2988" y="3775"/>
                  <a:ext cx="25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Tupiza</a:t>
                  </a:r>
                  <a:endParaRPr lang="es-419" altLang="en-US" sz="700" b="1">
                    <a:latin typeface="Calibri Light" panose="020F0302020204030204" pitchFamily="34" charset="0"/>
                    <a:cs typeface="Calibri Light" panose="020F0302020204030204" pitchFamily="34" charset="0"/>
                  </a:endParaRPr>
                </a:p>
              </p:txBody>
            </p:sp>
            <p:sp>
              <p:nvSpPr>
                <p:cNvPr id="669" name="Potosí">
                  <a:extLst>
                    <a:ext uri="{FF2B5EF4-FFF2-40B4-BE49-F238E27FC236}">
                      <a16:creationId xmlns:a16="http://schemas.microsoft.com/office/drawing/2014/main" xmlns="" id="{4AAAE764-A955-1936-38C0-C1D199DE20DE}"/>
                    </a:ext>
                  </a:extLst>
                </p:cNvPr>
                <p:cNvSpPr>
                  <a:spLocks noChangeArrowheads="1"/>
                </p:cNvSpPr>
                <p:nvPr/>
              </p:nvSpPr>
              <p:spPr bwMode="auto">
                <a:xfrm>
                  <a:off x="2973" y="3284"/>
                  <a:ext cx="24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Potosí</a:t>
                  </a:r>
                  <a:endParaRPr lang="es-419" altLang="en-US" sz="700" b="1">
                    <a:latin typeface="Calibri Light" panose="020F0302020204030204" pitchFamily="34" charset="0"/>
                    <a:cs typeface="Calibri Light" panose="020F0302020204030204" pitchFamily="34" charset="0"/>
                  </a:endParaRPr>
                </a:p>
              </p:txBody>
            </p:sp>
            <p:sp>
              <p:nvSpPr>
                <p:cNvPr id="670" name="Yapacaní">
                  <a:extLst>
                    <a:ext uri="{FF2B5EF4-FFF2-40B4-BE49-F238E27FC236}">
                      <a16:creationId xmlns:a16="http://schemas.microsoft.com/office/drawing/2014/main" xmlns="" id="{45F97F04-F6A1-2499-B208-5015EB8F4DFF}"/>
                    </a:ext>
                  </a:extLst>
                </p:cNvPr>
                <p:cNvSpPr>
                  <a:spLocks noChangeArrowheads="1"/>
                </p:cNvSpPr>
                <p:nvPr/>
              </p:nvSpPr>
              <p:spPr bwMode="auto">
                <a:xfrm>
                  <a:off x="3436" y="2700"/>
                  <a:ext cx="34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Yapacaní</a:t>
                  </a:r>
                  <a:endParaRPr lang="es-419" altLang="en-US" sz="700" b="1">
                    <a:latin typeface="Calibri Light" panose="020F0302020204030204" pitchFamily="34" charset="0"/>
                    <a:cs typeface="Calibri Light" panose="020F0302020204030204" pitchFamily="34" charset="0"/>
                  </a:endParaRPr>
                </a:p>
              </p:txBody>
            </p:sp>
            <p:sp>
              <p:nvSpPr>
                <p:cNvPr id="671" name="Caranavi">
                  <a:extLst>
                    <a:ext uri="{FF2B5EF4-FFF2-40B4-BE49-F238E27FC236}">
                      <a16:creationId xmlns:a16="http://schemas.microsoft.com/office/drawing/2014/main" xmlns="" id="{44D6B6E9-5550-FB81-5E93-E2867D625A91}"/>
                    </a:ext>
                  </a:extLst>
                </p:cNvPr>
                <p:cNvSpPr>
                  <a:spLocks noChangeArrowheads="1"/>
                </p:cNvSpPr>
                <p:nvPr/>
              </p:nvSpPr>
              <p:spPr bwMode="auto">
                <a:xfrm>
                  <a:off x="2491" y="2297"/>
                  <a:ext cx="33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Caranavi</a:t>
                  </a:r>
                  <a:endParaRPr lang="es-419" altLang="en-US" sz="700" b="1">
                    <a:latin typeface="Calibri Light" panose="020F0302020204030204" pitchFamily="34" charset="0"/>
                    <a:cs typeface="Calibri Light" panose="020F0302020204030204" pitchFamily="34" charset="0"/>
                  </a:endParaRPr>
                </a:p>
              </p:txBody>
            </p:sp>
            <p:sp>
              <p:nvSpPr>
                <p:cNvPr id="672" name="Llallagua">
                  <a:extLst>
                    <a:ext uri="{FF2B5EF4-FFF2-40B4-BE49-F238E27FC236}">
                      <a16:creationId xmlns:a16="http://schemas.microsoft.com/office/drawing/2014/main" xmlns="" id="{91800FD0-EEBA-DD64-5BBA-B44612F9D1B0}"/>
                    </a:ext>
                  </a:extLst>
                </p:cNvPr>
                <p:cNvSpPr>
                  <a:spLocks noChangeArrowheads="1"/>
                </p:cNvSpPr>
                <p:nvPr/>
              </p:nvSpPr>
              <p:spPr bwMode="auto">
                <a:xfrm>
                  <a:off x="2756" y="2979"/>
                  <a:ext cx="33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Llallagua</a:t>
                  </a:r>
                  <a:endParaRPr lang="es-419" altLang="en-US" sz="700" b="1">
                    <a:latin typeface="Calibri Light" panose="020F0302020204030204" pitchFamily="34" charset="0"/>
                    <a:cs typeface="Calibri Light" panose="020F0302020204030204" pitchFamily="34" charset="0"/>
                  </a:endParaRPr>
                </a:p>
              </p:txBody>
            </p:sp>
            <p:sp>
              <p:nvSpPr>
                <p:cNvPr id="673" name="San Borja">
                  <a:extLst>
                    <a:ext uri="{FF2B5EF4-FFF2-40B4-BE49-F238E27FC236}">
                      <a16:creationId xmlns:a16="http://schemas.microsoft.com/office/drawing/2014/main" xmlns="" id="{D5AD930F-21AC-013E-3991-AC6D13FF557E}"/>
                    </a:ext>
                  </a:extLst>
                </p:cNvPr>
                <p:cNvSpPr>
                  <a:spLocks noChangeArrowheads="1"/>
                </p:cNvSpPr>
                <p:nvPr/>
              </p:nvSpPr>
              <p:spPr bwMode="auto">
                <a:xfrm>
                  <a:off x="2697" y="2034"/>
                  <a:ext cx="36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 Borja</a:t>
                  </a:r>
                  <a:endParaRPr lang="es-419" altLang="en-US" sz="700" b="1">
                    <a:latin typeface="Calibri Light" panose="020F0302020204030204" pitchFamily="34" charset="0"/>
                    <a:cs typeface="Calibri Light" panose="020F0302020204030204" pitchFamily="34" charset="0"/>
                  </a:endParaRPr>
                </a:p>
              </p:txBody>
            </p:sp>
            <p:sp>
              <p:nvSpPr>
                <p:cNvPr id="674" name="Riberalta">
                  <a:extLst>
                    <a:ext uri="{FF2B5EF4-FFF2-40B4-BE49-F238E27FC236}">
                      <a16:creationId xmlns:a16="http://schemas.microsoft.com/office/drawing/2014/main" xmlns="" id="{84F326B1-2E42-38F2-ECA3-C86B635A00B8}"/>
                    </a:ext>
                  </a:extLst>
                </p:cNvPr>
                <p:cNvSpPr>
                  <a:spLocks noChangeArrowheads="1"/>
                </p:cNvSpPr>
                <p:nvPr/>
              </p:nvSpPr>
              <p:spPr bwMode="auto">
                <a:xfrm>
                  <a:off x="2619" y="1010"/>
                  <a:ext cx="34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Riberalta</a:t>
                  </a:r>
                  <a:endParaRPr lang="es-419" altLang="en-US" sz="700" b="1">
                    <a:latin typeface="Calibri Light" panose="020F0302020204030204" pitchFamily="34" charset="0"/>
                    <a:cs typeface="Calibri Light" panose="020F0302020204030204" pitchFamily="34" charset="0"/>
                  </a:endParaRPr>
                </a:p>
              </p:txBody>
            </p:sp>
            <p:sp>
              <p:nvSpPr>
                <p:cNvPr id="675" name="San Julián">
                  <a:extLst>
                    <a:ext uri="{FF2B5EF4-FFF2-40B4-BE49-F238E27FC236}">
                      <a16:creationId xmlns:a16="http://schemas.microsoft.com/office/drawing/2014/main" xmlns="" id="{C664F5B7-D3C9-1E48-BF03-9183AA7A345F}"/>
                    </a:ext>
                  </a:extLst>
                </p:cNvPr>
                <p:cNvSpPr>
                  <a:spLocks noChangeArrowheads="1"/>
                </p:cNvSpPr>
                <p:nvPr/>
              </p:nvSpPr>
              <p:spPr bwMode="auto">
                <a:xfrm>
                  <a:off x="3759" y="2569"/>
                  <a:ext cx="38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 Julián</a:t>
                  </a:r>
                  <a:endParaRPr lang="es-419" altLang="en-US" sz="700" b="1">
                    <a:latin typeface="Calibri Light" panose="020F0302020204030204" pitchFamily="34" charset="0"/>
                    <a:cs typeface="Calibri Light" panose="020F0302020204030204" pitchFamily="34" charset="0"/>
                  </a:endParaRPr>
                </a:p>
              </p:txBody>
            </p:sp>
            <p:sp>
              <p:nvSpPr>
                <p:cNvPr id="676" name="Challapata">
                  <a:extLst>
                    <a:ext uri="{FF2B5EF4-FFF2-40B4-BE49-F238E27FC236}">
                      <a16:creationId xmlns:a16="http://schemas.microsoft.com/office/drawing/2014/main" xmlns="" id="{539A2318-6FD3-7F63-C75E-C7369F63B776}"/>
                    </a:ext>
                  </a:extLst>
                </p:cNvPr>
                <p:cNvSpPr>
                  <a:spLocks noChangeArrowheads="1"/>
                </p:cNvSpPr>
                <p:nvPr/>
              </p:nvSpPr>
              <p:spPr bwMode="auto">
                <a:xfrm>
                  <a:off x="2709" y="3107"/>
                  <a:ext cx="408"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Challapata</a:t>
                  </a:r>
                  <a:endParaRPr lang="es-419" altLang="en-US" sz="700" b="1">
                    <a:latin typeface="Calibri Light" panose="020F0302020204030204" pitchFamily="34" charset="0"/>
                    <a:cs typeface="Calibri Light" panose="020F0302020204030204" pitchFamily="34" charset="0"/>
                  </a:endParaRPr>
                </a:p>
              </p:txBody>
            </p:sp>
            <p:sp>
              <p:nvSpPr>
                <p:cNvPr id="677" name="Cochabamba">
                  <a:extLst>
                    <a:ext uri="{FF2B5EF4-FFF2-40B4-BE49-F238E27FC236}">
                      <a16:creationId xmlns:a16="http://schemas.microsoft.com/office/drawing/2014/main" xmlns="" id="{350E41EF-F899-1EEA-B2A4-54B57F9850FB}"/>
                    </a:ext>
                  </a:extLst>
                </p:cNvPr>
                <p:cNvSpPr>
                  <a:spLocks noChangeArrowheads="1"/>
                </p:cNvSpPr>
                <p:nvPr/>
              </p:nvSpPr>
              <p:spPr bwMode="auto">
                <a:xfrm>
                  <a:off x="2507" y="2727"/>
                  <a:ext cx="50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Cochabamba</a:t>
                  </a:r>
                  <a:endParaRPr lang="es-419" altLang="en-US" sz="700" b="1">
                    <a:latin typeface="Calibri Light" panose="020F0302020204030204" pitchFamily="34" charset="0"/>
                    <a:cs typeface="Calibri Light" panose="020F0302020204030204" pitchFamily="34" charset="0"/>
                  </a:endParaRPr>
                </a:p>
              </p:txBody>
            </p:sp>
            <p:sp>
              <p:nvSpPr>
                <p:cNvPr id="678" name="Rurrenabaque">
                  <a:extLst>
                    <a:ext uri="{FF2B5EF4-FFF2-40B4-BE49-F238E27FC236}">
                      <a16:creationId xmlns:a16="http://schemas.microsoft.com/office/drawing/2014/main" xmlns="" id="{E551EA94-A7BF-4B51-B77F-AFFC29368474}"/>
                    </a:ext>
                  </a:extLst>
                </p:cNvPr>
                <p:cNvSpPr>
                  <a:spLocks noChangeArrowheads="1"/>
                </p:cNvSpPr>
                <p:nvPr/>
              </p:nvSpPr>
              <p:spPr bwMode="auto">
                <a:xfrm>
                  <a:off x="2489" y="1928"/>
                  <a:ext cx="55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Rurrenabaque</a:t>
                  </a:r>
                  <a:endParaRPr lang="es-419" altLang="en-US" sz="700" b="1">
                    <a:latin typeface="Calibri Light" panose="020F0302020204030204" pitchFamily="34" charset="0"/>
                    <a:cs typeface="Calibri Light" panose="020F0302020204030204" pitchFamily="34" charset="0"/>
                  </a:endParaRPr>
                </a:p>
              </p:txBody>
            </p:sp>
            <p:sp>
              <p:nvSpPr>
                <p:cNvPr id="679" name="Villa Montes">
                  <a:extLst>
                    <a:ext uri="{FF2B5EF4-FFF2-40B4-BE49-F238E27FC236}">
                      <a16:creationId xmlns:a16="http://schemas.microsoft.com/office/drawing/2014/main" xmlns="" id="{EAE9340D-00F9-8273-5F37-D1682E7B2151}"/>
                    </a:ext>
                  </a:extLst>
                </p:cNvPr>
                <p:cNvSpPr>
                  <a:spLocks noChangeArrowheads="1"/>
                </p:cNvSpPr>
                <p:nvPr/>
              </p:nvSpPr>
              <p:spPr bwMode="auto">
                <a:xfrm>
                  <a:off x="3542" y="3721"/>
                  <a:ext cx="48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Villa Montes</a:t>
                  </a:r>
                  <a:endParaRPr lang="es-419" altLang="en-US" sz="700" b="1">
                    <a:latin typeface="Calibri Light" panose="020F0302020204030204" pitchFamily="34" charset="0"/>
                    <a:cs typeface="Calibri Light" panose="020F0302020204030204" pitchFamily="34" charset="0"/>
                  </a:endParaRPr>
                </a:p>
              </p:txBody>
            </p:sp>
            <p:sp>
              <p:nvSpPr>
                <p:cNvPr id="680" name="Puerto Suárez">
                  <a:extLst>
                    <a:ext uri="{FF2B5EF4-FFF2-40B4-BE49-F238E27FC236}">
                      <a16:creationId xmlns:a16="http://schemas.microsoft.com/office/drawing/2014/main" xmlns="" id="{3D328E62-44DB-7CD0-0117-2DFC33829D3C}"/>
                    </a:ext>
                  </a:extLst>
                </p:cNvPr>
                <p:cNvSpPr>
                  <a:spLocks noChangeArrowheads="1"/>
                </p:cNvSpPr>
                <p:nvPr/>
              </p:nvSpPr>
              <p:spPr bwMode="auto">
                <a:xfrm>
                  <a:off x="4969" y="3132"/>
                  <a:ext cx="54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Puerto Suárez</a:t>
                  </a:r>
                  <a:endParaRPr lang="es-419" altLang="en-US" sz="700" b="1">
                    <a:latin typeface="Calibri Light" panose="020F0302020204030204" pitchFamily="34" charset="0"/>
                    <a:cs typeface="Calibri Light" panose="020F0302020204030204" pitchFamily="34" charset="0"/>
                  </a:endParaRPr>
                </a:p>
              </p:txBody>
            </p:sp>
            <p:sp>
              <p:nvSpPr>
                <p:cNvPr id="681" name="Santa Ana del Yacuma">
                  <a:extLst>
                    <a:ext uri="{FF2B5EF4-FFF2-40B4-BE49-F238E27FC236}">
                      <a16:creationId xmlns:a16="http://schemas.microsoft.com/office/drawing/2014/main" xmlns="" id="{5E127B29-22D8-620D-160C-94B72D9CBDDD}"/>
                    </a:ext>
                  </a:extLst>
                </p:cNvPr>
                <p:cNvSpPr>
                  <a:spLocks noChangeArrowheads="1"/>
                </p:cNvSpPr>
                <p:nvPr/>
              </p:nvSpPr>
              <p:spPr bwMode="auto">
                <a:xfrm>
                  <a:off x="3023" y="1735"/>
                  <a:ext cx="852"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ta Ana del Yacuma</a:t>
                  </a:r>
                  <a:endParaRPr lang="es-419" altLang="en-US" sz="700" b="1">
                    <a:latin typeface="Calibri Light" panose="020F0302020204030204" pitchFamily="34" charset="0"/>
                    <a:cs typeface="Calibri Light" panose="020F0302020204030204" pitchFamily="34" charset="0"/>
                  </a:endParaRPr>
                </a:p>
              </p:txBody>
            </p:sp>
            <p:sp>
              <p:nvSpPr>
                <p:cNvPr id="682" name="San José de Chiquitos">
                  <a:extLst>
                    <a:ext uri="{FF2B5EF4-FFF2-40B4-BE49-F238E27FC236}">
                      <a16:creationId xmlns:a16="http://schemas.microsoft.com/office/drawing/2014/main" xmlns="" id="{BEA5890B-AA0B-4169-2967-66248D96BB28}"/>
                    </a:ext>
                  </a:extLst>
                </p:cNvPr>
                <p:cNvSpPr>
                  <a:spLocks noChangeArrowheads="1"/>
                </p:cNvSpPr>
                <p:nvPr/>
              </p:nvSpPr>
              <p:spPr bwMode="auto">
                <a:xfrm>
                  <a:off x="4225" y="2821"/>
                  <a:ext cx="83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 José de Chiquitos</a:t>
                  </a:r>
                  <a:endParaRPr lang="es-419" altLang="en-US" sz="700" b="1">
                    <a:latin typeface="Calibri Light" panose="020F0302020204030204" pitchFamily="34" charset="0"/>
                    <a:cs typeface="Calibri Light" panose="020F0302020204030204" pitchFamily="34" charset="0"/>
                  </a:endParaRPr>
                </a:p>
              </p:txBody>
            </p:sp>
            <p:sp>
              <p:nvSpPr>
                <p:cNvPr id="683" name="Ascensión de Guarayos">
                  <a:extLst>
                    <a:ext uri="{FF2B5EF4-FFF2-40B4-BE49-F238E27FC236}">
                      <a16:creationId xmlns:a16="http://schemas.microsoft.com/office/drawing/2014/main" xmlns="" id="{8AB21BA8-FBFE-6FA9-2405-65288581D311}"/>
                    </a:ext>
                  </a:extLst>
                </p:cNvPr>
                <p:cNvSpPr>
                  <a:spLocks noChangeArrowheads="1"/>
                </p:cNvSpPr>
                <p:nvPr/>
              </p:nvSpPr>
              <p:spPr bwMode="auto">
                <a:xfrm>
                  <a:off x="3604" y="2301"/>
                  <a:ext cx="89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Ascensión de Guarayos</a:t>
                  </a:r>
                  <a:endParaRPr lang="es-419" altLang="en-US" sz="700" b="1">
                    <a:latin typeface="Calibri Light" panose="020F0302020204030204" pitchFamily="34" charset="0"/>
                    <a:cs typeface="Calibri Light" panose="020F0302020204030204" pitchFamily="34" charset="0"/>
                  </a:endParaRPr>
                </a:p>
              </p:txBody>
            </p:sp>
            <p:sp>
              <p:nvSpPr>
                <p:cNvPr id="684" name="San Ignacio de Velasco">
                  <a:extLst>
                    <a:ext uri="{FF2B5EF4-FFF2-40B4-BE49-F238E27FC236}">
                      <a16:creationId xmlns:a16="http://schemas.microsoft.com/office/drawing/2014/main" xmlns="" id="{F17CB63E-2F28-F788-2A9B-DFEE0B775024}"/>
                    </a:ext>
                  </a:extLst>
                </p:cNvPr>
                <p:cNvSpPr>
                  <a:spLocks noChangeArrowheads="1"/>
                </p:cNvSpPr>
                <p:nvPr/>
              </p:nvSpPr>
              <p:spPr bwMode="auto">
                <a:xfrm>
                  <a:off x="4173" y="2430"/>
                  <a:ext cx="872"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 Ignacio de Velasco</a:t>
                  </a:r>
                  <a:endParaRPr lang="es-419" altLang="en-US" sz="700" b="1">
                    <a:latin typeface="Calibri Light" panose="020F0302020204030204" pitchFamily="34" charset="0"/>
                    <a:cs typeface="Calibri Light" panose="020F0302020204030204" pitchFamily="34" charset="0"/>
                  </a:endParaRPr>
                </a:p>
              </p:txBody>
            </p:sp>
            <p:sp>
              <p:nvSpPr>
                <p:cNvPr id="685" name="Santa Cruz de la Sierra">
                  <a:extLst>
                    <a:ext uri="{FF2B5EF4-FFF2-40B4-BE49-F238E27FC236}">
                      <a16:creationId xmlns:a16="http://schemas.microsoft.com/office/drawing/2014/main" xmlns="" id="{A38EC4D1-47CC-4E72-0553-2B8412B2AA41}"/>
                    </a:ext>
                  </a:extLst>
                </p:cNvPr>
                <p:cNvSpPr>
                  <a:spLocks noChangeArrowheads="1"/>
                </p:cNvSpPr>
                <p:nvPr/>
              </p:nvSpPr>
              <p:spPr bwMode="auto">
                <a:xfrm>
                  <a:off x="3627" y="2865"/>
                  <a:ext cx="86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anta Cruz de la Sierra</a:t>
                  </a:r>
                  <a:endParaRPr lang="es-419" altLang="en-US" sz="700" b="1">
                    <a:latin typeface="Calibri Light" panose="020F0302020204030204" pitchFamily="34" charset="0"/>
                    <a:cs typeface="Calibri Light" panose="020F0302020204030204" pitchFamily="34" charset="0"/>
                  </a:endParaRPr>
                </a:p>
              </p:txBody>
            </p:sp>
            <p:sp>
              <p:nvSpPr>
                <p:cNvPr id="686" name="Sucre">
                  <a:extLst>
                    <a:ext uri="{FF2B5EF4-FFF2-40B4-BE49-F238E27FC236}">
                      <a16:creationId xmlns:a16="http://schemas.microsoft.com/office/drawing/2014/main" xmlns="" id="{270BE1EE-96EA-5D3C-EAEB-8CE49CC7E596}"/>
                    </a:ext>
                  </a:extLst>
                </p:cNvPr>
                <p:cNvSpPr>
                  <a:spLocks noChangeArrowheads="1"/>
                </p:cNvSpPr>
                <p:nvPr/>
              </p:nvSpPr>
              <p:spPr bwMode="auto">
                <a:xfrm>
                  <a:off x="3091" y="3139"/>
                  <a:ext cx="215"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29178"/>
                  <a:r>
                    <a:rPr lang="es-419" altLang="en-US" sz="700" b="1">
                      <a:solidFill>
                        <a:srgbClr val="000000"/>
                      </a:solidFill>
                      <a:latin typeface="Calibri Light" panose="020F0302020204030204" pitchFamily="34" charset="0"/>
                      <a:cs typeface="Calibri Light" panose="020F0302020204030204" pitchFamily="34" charset="0"/>
                    </a:rPr>
                    <a:t>Sucre</a:t>
                  </a:r>
                  <a:endParaRPr lang="es-419" altLang="en-US" sz="700" b="1">
                    <a:latin typeface="Calibri Light" panose="020F0302020204030204" pitchFamily="34" charset="0"/>
                    <a:cs typeface="Calibri Light" panose="020F0302020204030204" pitchFamily="34" charset="0"/>
                  </a:endParaRPr>
                </a:p>
              </p:txBody>
            </p:sp>
          </p:grpSp>
        </p:grpSp>
        <p:grpSp>
          <p:nvGrpSpPr>
            <p:cNvPr id="14" name="Group 712">
              <a:extLst>
                <a:ext uri="{FF2B5EF4-FFF2-40B4-BE49-F238E27FC236}">
                  <a16:creationId xmlns:a16="http://schemas.microsoft.com/office/drawing/2014/main" xmlns="" id="{3A6FAD23-D2D6-9958-B292-C1EFE29B8084}"/>
                </a:ext>
              </a:extLst>
            </p:cNvPr>
            <p:cNvGrpSpPr/>
            <p:nvPr/>
          </p:nvGrpSpPr>
          <p:grpSpPr>
            <a:xfrm>
              <a:off x="730324" y="2845132"/>
              <a:ext cx="2078849" cy="2001393"/>
              <a:chOff x="730324" y="2845132"/>
              <a:chExt cx="2078849" cy="2001393"/>
            </a:xfrm>
          </p:grpSpPr>
          <p:grpSp>
            <p:nvGrpSpPr>
              <p:cNvPr id="15" name="Graphic 4">
                <a:extLst>
                  <a:ext uri="{FF2B5EF4-FFF2-40B4-BE49-F238E27FC236}">
                    <a16:creationId xmlns:a16="http://schemas.microsoft.com/office/drawing/2014/main" xmlns="" id="{A63F1148-7872-3E12-72EC-3CFC24DA3787}"/>
                  </a:ext>
                </a:extLst>
              </p:cNvPr>
              <p:cNvGrpSpPr/>
              <p:nvPr/>
            </p:nvGrpSpPr>
            <p:grpSpPr>
              <a:xfrm>
                <a:off x="2430675" y="3999831"/>
                <a:ext cx="108000" cy="108000"/>
                <a:chOff x="5092779" y="1885990"/>
                <a:chExt cx="362309" cy="361971"/>
              </a:xfrm>
              <a:solidFill>
                <a:srgbClr val="9B6836"/>
              </a:solidFill>
            </p:grpSpPr>
            <p:sp>
              <p:nvSpPr>
                <p:cNvPr id="2286" name="Graphic 4">
                  <a:extLst>
                    <a:ext uri="{FF2B5EF4-FFF2-40B4-BE49-F238E27FC236}">
                      <a16:creationId xmlns:a16="http://schemas.microsoft.com/office/drawing/2014/main" xmlns="" id="{4CBE5B60-61A9-8FB4-ECC0-B6C96ADFC463}"/>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7" name="Graphic 4">
                  <a:extLst>
                    <a:ext uri="{FF2B5EF4-FFF2-40B4-BE49-F238E27FC236}">
                      <a16:creationId xmlns:a16="http://schemas.microsoft.com/office/drawing/2014/main" xmlns="" id="{66A24160-4A8E-86AA-AF39-4AC4B6A21781}"/>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8" name="Graphic 4">
                  <a:extLst>
                    <a:ext uri="{FF2B5EF4-FFF2-40B4-BE49-F238E27FC236}">
                      <a16:creationId xmlns:a16="http://schemas.microsoft.com/office/drawing/2014/main" xmlns="" id="{38FE62C0-20CE-146F-281C-243A2B46506C}"/>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9" name="Graphic 4">
                  <a:extLst>
                    <a:ext uri="{FF2B5EF4-FFF2-40B4-BE49-F238E27FC236}">
                      <a16:creationId xmlns:a16="http://schemas.microsoft.com/office/drawing/2014/main" xmlns="" id="{28C4685A-8D39-C19E-19A8-A6E195EA9459}"/>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16" name="Graphic 4">
                <a:extLst>
                  <a:ext uri="{FF2B5EF4-FFF2-40B4-BE49-F238E27FC236}">
                    <a16:creationId xmlns:a16="http://schemas.microsoft.com/office/drawing/2014/main" xmlns="" id="{2C05EDC6-1F77-890E-CA4B-C8839A9BF243}"/>
                  </a:ext>
                </a:extLst>
              </p:cNvPr>
              <p:cNvGrpSpPr/>
              <p:nvPr/>
            </p:nvGrpSpPr>
            <p:grpSpPr>
              <a:xfrm>
                <a:off x="818350" y="4073417"/>
                <a:ext cx="108000" cy="108000"/>
                <a:chOff x="5092779" y="1885990"/>
                <a:chExt cx="362309" cy="361971"/>
              </a:xfrm>
              <a:solidFill>
                <a:srgbClr val="9B6836"/>
              </a:solidFill>
            </p:grpSpPr>
            <p:sp>
              <p:nvSpPr>
                <p:cNvPr id="2282" name="Graphic 4">
                  <a:extLst>
                    <a:ext uri="{FF2B5EF4-FFF2-40B4-BE49-F238E27FC236}">
                      <a16:creationId xmlns:a16="http://schemas.microsoft.com/office/drawing/2014/main" xmlns="" id="{2D1751A5-E87C-1934-48BD-8C4D6301503C}"/>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3" name="Graphic 4">
                  <a:extLst>
                    <a:ext uri="{FF2B5EF4-FFF2-40B4-BE49-F238E27FC236}">
                      <a16:creationId xmlns:a16="http://schemas.microsoft.com/office/drawing/2014/main" xmlns="" id="{DF22EBC6-5BD5-0004-01EE-ED589F3F68F7}"/>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4" name="Graphic 4">
                  <a:extLst>
                    <a:ext uri="{FF2B5EF4-FFF2-40B4-BE49-F238E27FC236}">
                      <a16:creationId xmlns:a16="http://schemas.microsoft.com/office/drawing/2014/main" xmlns="" id="{36E50301-DA94-E74F-3906-E0F4BC25CE25}"/>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5" name="Graphic 4">
                  <a:extLst>
                    <a:ext uri="{FF2B5EF4-FFF2-40B4-BE49-F238E27FC236}">
                      <a16:creationId xmlns:a16="http://schemas.microsoft.com/office/drawing/2014/main" xmlns="" id="{546806D2-8BB3-4A1F-5CE4-E7DEFBE5A95C}"/>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17" name="Graphic 4">
                <a:extLst>
                  <a:ext uri="{FF2B5EF4-FFF2-40B4-BE49-F238E27FC236}">
                    <a16:creationId xmlns:a16="http://schemas.microsoft.com/office/drawing/2014/main" xmlns="" id="{70F7A980-724E-D84F-53DE-EE4DA6A28A01}"/>
                  </a:ext>
                </a:extLst>
              </p:cNvPr>
              <p:cNvGrpSpPr/>
              <p:nvPr/>
            </p:nvGrpSpPr>
            <p:grpSpPr>
              <a:xfrm>
                <a:off x="730324" y="3720327"/>
                <a:ext cx="108000" cy="108000"/>
                <a:chOff x="5092779" y="1885990"/>
                <a:chExt cx="362309" cy="361971"/>
              </a:xfrm>
              <a:solidFill>
                <a:srgbClr val="9B6836"/>
              </a:solidFill>
            </p:grpSpPr>
            <p:sp>
              <p:nvSpPr>
                <p:cNvPr id="2278" name="Graphic 4">
                  <a:extLst>
                    <a:ext uri="{FF2B5EF4-FFF2-40B4-BE49-F238E27FC236}">
                      <a16:creationId xmlns:a16="http://schemas.microsoft.com/office/drawing/2014/main" xmlns="" id="{40DD1341-7E2B-8691-EEA8-0BA75EC35835}"/>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9" name="Graphic 4">
                  <a:extLst>
                    <a:ext uri="{FF2B5EF4-FFF2-40B4-BE49-F238E27FC236}">
                      <a16:creationId xmlns:a16="http://schemas.microsoft.com/office/drawing/2014/main" xmlns="" id="{BED464F5-B12B-4279-534C-F5A7B9532FB5}"/>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0" name="Graphic 4">
                  <a:extLst>
                    <a:ext uri="{FF2B5EF4-FFF2-40B4-BE49-F238E27FC236}">
                      <a16:creationId xmlns:a16="http://schemas.microsoft.com/office/drawing/2014/main" xmlns="" id="{E6F3BD52-394E-2483-3B68-2E21062897C8}"/>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81" name="Graphic 4">
                  <a:extLst>
                    <a:ext uri="{FF2B5EF4-FFF2-40B4-BE49-F238E27FC236}">
                      <a16:creationId xmlns:a16="http://schemas.microsoft.com/office/drawing/2014/main" xmlns="" id="{8ED9D3F8-18DC-8D49-7933-26A24ED483A0}"/>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18" name="Graphic 4">
                <a:extLst>
                  <a:ext uri="{FF2B5EF4-FFF2-40B4-BE49-F238E27FC236}">
                    <a16:creationId xmlns:a16="http://schemas.microsoft.com/office/drawing/2014/main" xmlns="" id="{EE78751C-B5B2-4AB6-AA92-D48635DB914C}"/>
                  </a:ext>
                </a:extLst>
              </p:cNvPr>
              <p:cNvGrpSpPr/>
              <p:nvPr/>
            </p:nvGrpSpPr>
            <p:grpSpPr>
              <a:xfrm>
                <a:off x="1283626" y="3723550"/>
                <a:ext cx="108000" cy="108000"/>
                <a:chOff x="5092779" y="1885990"/>
                <a:chExt cx="362309" cy="361971"/>
              </a:xfrm>
              <a:solidFill>
                <a:srgbClr val="9B6836"/>
              </a:solidFill>
            </p:grpSpPr>
            <p:sp>
              <p:nvSpPr>
                <p:cNvPr id="2274" name="Graphic 4">
                  <a:extLst>
                    <a:ext uri="{FF2B5EF4-FFF2-40B4-BE49-F238E27FC236}">
                      <a16:creationId xmlns:a16="http://schemas.microsoft.com/office/drawing/2014/main" xmlns="" id="{B012EC1E-2315-6E0D-2E0B-91E6F6138542}"/>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5" name="Graphic 4">
                  <a:extLst>
                    <a:ext uri="{FF2B5EF4-FFF2-40B4-BE49-F238E27FC236}">
                      <a16:creationId xmlns:a16="http://schemas.microsoft.com/office/drawing/2014/main" xmlns="" id="{3054D8B2-105E-F161-7819-B827E1FC13FE}"/>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6" name="Graphic 4">
                  <a:extLst>
                    <a:ext uri="{FF2B5EF4-FFF2-40B4-BE49-F238E27FC236}">
                      <a16:creationId xmlns:a16="http://schemas.microsoft.com/office/drawing/2014/main" xmlns="" id="{9137A438-6863-71E3-C6F0-ECFCC092E186}"/>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7" name="Graphic 4">
                  <a:extLst>
                    <a:ext uri="{FF2B5EF4-FFF2-40B4-BE49-F238E27FC236}">
                      <a16:creationId xmlns:a16="http://schemas.microsoft.com/office/drawing/2014/main" xmlns="" id="{00896D0D-901A-214C-8C75-0D362DC7BCDB}"/>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19" name="Graphic 4">
                <a:extLst>
                  <a:ext uri="{FF2B5EF4-FFF2-40B4-BE49-F238E27FC236}">
                    <a16:creationId xmlns:a16="http://schemas.microsoft.com/office/drawing/2014/main" xmlns="" id="{A0674571-B5CA-444D-F564-61209C742111}"/>
                  </a:ext>
                </a:extLst>
              </p:cNvPr>
              <p:cNvGrpSpPr/>
              <p:nvPr/>
            </p:nvGrpSpPr>
            <p:grpSpPr>
              <a:xfrm>
                <a:off x="981603" y="4575905"/>
                <a:ext cx="108000" cy="108000"/>
                <a:chOff x="5092779" y="1885990"/>
                <a:chExt cx="362309" cy="361971"/>
              </a:xfrm>
              <a:solidFill>
                <a:srgbClr val="9B6836"/>
              </a:solidFill>
            </p:grpSpPr>
            <p:sp>
              <p:nvSpPr>
                <p:cNvPr id="2270" name="Graphic 4">
                  <a:extLst>
                    <a:ext uri="{FF2B5EF4-FFF2-40B4-BE49-F238E27FC236}">
                      <a16:creationId xmlns:a16="http://schemas.microsoft.com/office/drawing/2014/main" xmlns="" id="{DC8F18E5-6FA6-3B1C-E62A-283DB6E89EA8}"/>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1" name="Graphic 4">
                  <a:extLst>
                    <a:ext uri="{FF2B5EF4-FFF2-40B4-BE49-F238E27FC236}">
                      <a16:creationId xmlns:a16="http://schemas.microsoft.com/office/drawing/2014/main" xmlns="" id="{30014732-461B-7982-8F64-9D2EBB96E21A}"/>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2" name="Graphic 4">
                  <a:extLst>
                    <a:ext uri="{FF2B5EF4-FFF2-40B4-BE49-F238E27FC236}">
                      <a16:creationId xmlns:a16="http://schemas.microsoft.com/office/drawing/2014/main" xmlns="" id="{0AF7FC0D-24D8-D831-DC34-5922AC3016E4}"/>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73" name="Graphic 4">
                  <a:extLst>
                    <a:ext uri="{FF2B5EF4-FFF2-40B4-BE49-F238E27FC236}">
                      <a16:creationId xmlns:a16="http://schemas.microsoft.com/office/drawing/2014/main" xmlns="" id="{80D9304F-B3D2-894D-195C-292D5D57A3DB}"/>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0" name="Graphic 4">
                <a:extLst>
                  <a:ext uri="{FF2B5EF4-FFF2-40B4-BE49-F238E27FC236}">
                    <a16:creationId xmlns:a16="http://schemas.microsoft.com/office/drawing/2014/main" xmlns="" id="{CC7F36E0-D0EB-2C60-F22F-14058C5323A3}"/>
                  </a:ext>
                </a:extLst>
              </p:cNvPr>
              <p:cNvGrpSpPr/>
              <p:nvPr/>
            </p:nvGrpSpPr>
            <p:grpSpPr>
              <a:xfrm>
                <a:off x="1978899" y="4699301"/>
                <a:ext cx="108000" cy="108000"/>
                <a:chOff x="5092779" y="1885990"/>
                <a:chExt cx="362309" cy="361971"/>
              </a:xfrm>
              <a:solidFill>
                <a:srgbClr val="9B6836"/>
              </a:solidFill>
            </p:grpSpPr>
            <p:sp>
              <p:nvSpPr>
                <p:cNvPr id="2266" name="Graphic 4">
                  <a:extLst>
                    <a:ext uri="{FF2B5EF4-FFF2-40B4-BE49-F238E27FC236}">
                      <a16:creationId xmlns:a16="http://schemas.microsoft.com/office/drawing/2014/main" xmlns="" id="{11B23C5C-B9B2-14E6-8D75-2235D0EC64DB}"/>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7" name="Graphic 4">
                  <a:extLst>
                    <a:ext uri="{FF2B5EF4-FFF2-40B4-BE49-F238E27FC236}">
                      <a16:creationId xmlns:a16="http://schemas.microsoft.com/office/drawing/2014/main" xmlns="" id="{82FD19C1-F081-1C2C-C3C7-D14D1D3C6E94}"/>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8" name="Graphic 4">
                  <a:extLst>
                    <a:ext uri="{FF2B5EF4-FFF2-40B4-BE49-F238E27FC236}">
                      <a16:creationId xmlns:a16="http://schemas.microsoft.com/office/drawing/2014/main" xmlns="" id="{253B5F92-4A6D-6B05-BA52-DCDA22F16017}"/>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9" name="Graphic 4">
                  <a:extLst>
                    <a:ext uri="{FF2B5EF4-FFF2-40B4-BE49-F238E27FC236}">
                      <a16:creationId xmlns:a16="http://schemas.microsoft.com/office/drawing/2014/main" xmlns="" id="{13F4C74A-F099-1C44-4BBD-D51F47FBD7E9}"/>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1" name="Group 719">
                <a:extLst>
                  <a:ext uri="{FF2B5EF4-FFF2-40B4-BE49-F238E27FC236}">
                    <a16:creationId xmlns:a16="http://schemas.microsoft.com/office/drawing/2014/main" xmlns="" id="{DA9F8462-E2EE-3F0C-05C4-324E6BB73D0B}"/>
                  </a:ext>
                </a:extLst>
              </p:cNvPr>
              <p:cNvGrpSpPr/>
              <p:nvPr/>
            </p:nvGrpSpPr>
            <p:grpSpPr>
              <a:xfrm>
                <a:off x="2701173" y="3764131"/>
                <a:ext cx="108000" cy="108000"/>
                <a:chOff x="7354700" y="2479311"/>
                <a:chExt cx="362309" cy="361971"/>
              </a:xfrm>
              <a:solidFill>
                <a:srgbClr val="CB057C"/>
              </a:solidFill>
            </p:grpSpPr>
            <p:sp>
              <p:nvSpPr>
                <p:cNvPr id="2258" name="Graphic 4">
                  <a:extLst>
                    <a:ext uri="{FF2B5EF4-FFF2-40B4-BE49-F238E27FC236}">
                      <a16:creationId xmlns:a16="http://schemas.microsoft.com/office/drawing/2014/main" xmlns="" id="{94D95F00-D5DA-ACE5-0696-8F415EC527BF}"/>
                    </a:ext>
                  </a:extLst>
                </p:cNvPr>
                <p:cNvSpPr/>
                <p:nvPr/>
              </p:nvSpPr>
              <p:spPr>
                <a:xfrm>
                  <a:off x="7475470" y="2723818"/>
                  <a:ext cx="120769" cy="34473"/>
                </a:xfrm>
                <a:custGeom>
                  <a:avLst/>
                  <a:gdLst>
                    <a:gd name="connsiteX0" fmla="*/ 0 w 120769"/>
                    <a:gd name="connsiteY0" fmla="*/ 0 h 34473"/>
                    <a:gd name="connsiteX1" fmla="*/ 120770 w 120769"/>
                    <a:gd name="connsiteY1" fmla="*/ 0 h 34473"/>
                    <a:gd name="connsiteX2" fmla="*/ 120770 w 120769"/>
                    <a:gd name="connsiteY2" fmla="*/ 34474 h 34473"/>
                    <a:gd name="connsiteX3" fmla="*/ 0 w 120769"/>
                    <a:gd name="connsiteY3" fmla="*/ 34474 h 34473"/>
                  </a:gdLst>
                  <a:ahLst/>
                  <a:cxnLst>
                    <a:cxn ang="0">
                      <a:pos x="connsiteX0" y="connsiteY0"/>
                    </a:cxn>
                    <a:cxn ang="0">
                      <a:pos x="connsiteX1" y="connsiteY1"/>
                    </a:cxn>
                    <a:cxn ang="0">
                      <a:pos x="connsiteX2" y="connsiteY2"/>
                    </a:cxn>
                    <a:cxn ang="0">
                      <a:pos x="connsiteX3" y="connsiteY3"/>
                    </a:cxn>
                  </a:cxnLst>
                  <a:rect l="l" t="t" r="r" b="b"/>
                  <a:pathLst>
                    <a:path w="120769" h="34473">
                      <a:moveTo>
                        <a:pt x="0" y="0"/>
                      </a:moveTo>
                      <a:lnTo>
                        <a:pt x="120770" y="0"/>
                      </a:lnTo>
                      <a:lnTo>
                        <a:pt x="120770" y="34474"/>
                      </a:lnTo>
                      <a:lnTo>
                        <a:pt x="0" y="3447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9" name="Graphic 4">
                  <a:extLst>
                    <a:ext uri="{FF2B5EF4-FFF2-40B4-BE49-F238E27FC236}">
                      <a16:creationId xmlns:a16="http://schemas.microsoft.com/office/drawing/2014/main" xmlns="" id="{8AFF64FF-7B3B-D243-DDC9-0A057B880796}"/>
                    </a:ext>
                  </a:extLst>
                </p:cNvPr>
                <p:cNvSpPr/>
                <p:nvPr/>
              </p:nvSpPr>
              <p:spPr>
                <a:xfrm>
                  <a:off x="7522117" y="2648487"/>
                  <a:ext cx="30671" cy="40857"/>
                </a:xfrm>
                <a:custGeom>
                  <a:avLst/>
                  <a:gdLst>
                    <a:gd name="connsiteX0" fmla="*/ 9585 w 30671"/>
                    <a:gd name="connsiteY0" fmla="*/ 11491 h 40857"/>
                    <a:gd name="connsiteX1" fmla="*/ 5751 w 30671"/>
                    <a:gd name="connsiteY1" fmla="*/ 16598 h 40857"/>
                    <a:gd name="connsiteX2" fmla="*/ 0 w 30671"/>
                    <a:gd name="connsiteY2" fmla="*/ 25536 h 40857"/>
                    <a:gd name="connsiteX3" fmla="*/ 15336 w 30671"/>
                    <a:gd name="connsiteY3" fmla="*/ 40858 h 40857"/>
                    <a:gd name="connsiteX4" fmla="*/ 30672 w 30671"/>
                    <a:gd name="connsiteY4" fmla="*/ 25536 h 40857"/>
                    <a:gd name="connsiteX5" fmla="*/ 30672 w 30671"/>
                    <a:gd name="connsiteY5" fmla="*/ 25536 h 40857"/>
                    <a:gd name="connsiteX6" fmla="*/ 16614 w 30671"/>
                    <a:gd name="connsiteY6" fmla="*/ 0 h 40857"/>
                    <a:gd name="connsiteX7" fmla="*/ 9585 w 30671"/>
                    <a:gd name="connsiteY7" fmla="*/ 11491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40857">
                      <a:moveTo>
                        <a:pt x="9585" y="11491"/>
                      </a:moveTo>
                      <a:cubicBezTo>
                        <a:pt x="8307" y="13406"/>
                        <a:pt x="7029" y="14683"/>
                        <a:pt x="5751" y="16598"/>
                      </a:cubicBezTo>
                      <a:cubicBezTo>
                        <a:pt x="3195" y="19152"/>
                        <a:pt x="1278" y="22344"/>
                        <a:pt x="0" y="25536"/>
                      </a:cubicBezTo>
                      <a:cubicBezTo>
                        <a:pt x="0" y="33835"/>
                        <a:pt x="7029" y="40858"/>
                        <a:pt x="15336" y="40858"/>
                      </a:cubicBezTo>
                      <a:cubicBezTo>
                        <a:pt x="23643" y="40858"/>
                        <a:pt x="30672" y="33835"/>
                        <a:pt x="30672" y="25536"/>
                      </a:cubicBezTo>
                      <a:cubicBezTo>
                        <a:pt x="30672" y="25536"/>
                        <a:pt x="30672" y="25536"/>
                        <a:pt x="30672" y="25536"/>
                      </a:cubicBezTo>
                      <a:cubicBezTo>
                        <a:pt x="30672" y="17237"/>
                        <a:pt x="23004" y="7022"/>
                        <a:pt x="16614" y="0"/>
                      </a:cubicBezTo>
                      <a:cubicBezTo>
                        <a:pt x="14697" y="3830"/>
                        <a:pt x="12141" y="7661"/>
                        <a:pt x="9585" y="11491"/>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0" name="Graphic 4">
                  <a:extLst>
                    <a:ext uri="{FF2B5EF4-FFF2-40B4-BE49-F238E27FC236}">
                      <a16:creationId xmlns:a16="http://schemas.microsoft.com/office/drawing/2014/main" xmlns="" id="{31633A0B-0710-AB6A-8666-B1CE1AEA49A2}"/>
                    </a:ext>
                  </a:extLst>
                </p:cNvPr>
                <p:cNvSpPr/>
                <p:nvPr/>
              </p:nvSpPr>
              <p:spPr>
                <a:xfrm>
                  <a:off x="7475470" y="2623589"/>
                  <a:ext cx="120769" cy="87460"/>
                </a:xfrm>
                <a:custGeom>
                  <a:avLst/>
                  <a:gdLst>
                    <a:gd name="connsiteX0" fmla="*/ 0 w 120769"/>
                    <a:gd name="connsiteY0" fmla="*/ 0 h 87460"/>
                    <a:gd name="connsiteX1" fmla="*/ 0 w 120769"/>
                    <a:gd name="connsiteY1" fmla="*/ 87461 h 87460"/>
                    <a:gd name="connsiteX2" fmla="*/ 120770 w 120769"/>
                    <a:gd name="connsiteY2" fmla="*/ 87461 h 87460"/>
                    <a:gd name="connsiteX3" fmla="*/ 120770 w 120769"/>
                    <a:gd name="connsiteY3" fmla="*/ 0 h 87460"/>
                    <a:gd name="connsiteX4" fmla="*/ 0 w 120769"/>
                    <a:gd name="connsiteY4" fmla="*/ 0 h 87460"/>
                    <a:gd name="connsiteX5" fmla="*/ 61982 w 120769"/>
                    <a:gd name="connsiteY5" fmla="*/ 78523 h 87460"/>
                    <a:gd name="connsiteX6" fmla="*/ 33867 w 120769"/>
                    <a:gd name="connsiteY6" fmla="*/ 50434 h 87460"/>
                    <a:gd name="connsiteX7" fmla="*/ 42173 w 120769"/>
                    <a:gd name="connsiteY7" fmla="*/ 33835 h 87460"/>
                    <a:gd name="connsiteX8" fmla="*/ 45368 w 120769"/>
                    <a:gd name="connsiteY8" fmla="*/ 29367 h 87460"/>
                    <a:gd name="connsiteX9" fmla="*/ 56231 w 120769"/>
                    <a:gd name="connsiteY9" fmla="*/ 12130 h 87460"/>
                    <a:gd name="connsiteX10" fmla="*/ 60704 w 120769"/>
                    <a:gd name="connsiteY10" fmla="*/ 8938 h 87460"/>
                    <a:gd name="connsiteX11" fmla="*/ 65816 w 120769"/>
                    <a:gd name="connsiteY11" fmla="*/ 10215 h 87460"/>
                    <a:gd name="connsiteX12" fmla="*/ 90098 w 120769"/>
                    <a:gd name="connsiteY12" fmla="*/ 50434 h 87460"/>
                    <a:gd name="connsiteX13" fmla="*/ 61982 w 120769"/>
                    <a:gd name="connsiteY13" fmla="*/ 78523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769" h="87460">
                      <a:moveTo>
                        <a:pt x="0" y="0"/>
                      </a:moveTo>
                      <a:lnTo>
                        <a:pt x="0" y="87461"/>
                      </a:lnTo>
                      <a:lnTo>
                        <a:pt x="120770" y="87461"/>
                      </a:lnTo>
                      <a:lnTo>
                        <a:pt x="120770" y="0"/>
                      </a:lnTo>
                      <a:lnTo>
                        <a:pt x="0" y="0"/>
                      </a:lnTo>
                      <a:close/>
                      <a:moveTo>
                        <a:pt x="61982" y="78523"/>
                      </a:moveTo>
                      <a:cubicBezTo>
                        <a:pt x="46646" y="78523"/>
                        <a:pt x="33867" y="65755"/>
                        <a:pt x="33867" y="50434"/>
                      </a:cubicBezTo>
                      <a:cubicBezTo>
                        <a:pt x="34505" y="44050"/>
                        <a:pt x="37700" y="38304"/>
                        <a:pt x="42173" y="33835"/>
                      </a:cubicBezTo>
                      <a:lnTo>
                        <a:pt x="45368" y="29367"/>
                      </a:lnTo>
                      <a:cubicBezTo>
                        <a:pt x="51119" y="21067"/>
                        <a:pt x="56231" y="12768"/>
                        <a:pt x="56231" y="12130"/>
                      </a:cubicBezTo>
                      <a:cubicBezTo>
                        <a:pt x="57509" y="10215"/>
                        <a:pt x="58787" y="9576"/>
                        <a:pt x="60704" y="8938"/>
                      </a:cubicBezTo>
                      <a:cubicBezTo>
                        <a:pt x="62621" y="8938"/>
                        <a:pt x="64538" y="8938"/>
                        <a:pt x="65816" y="10215"/>
                      </a:cubicBezTo>
                      <a:cubicBezTo>
                        <a:pt x="68372" y="12130"/>
                        <a:pt x="90098" y="30643"/>
                        <a:pt x="90098" y="50434"/>
                      </a:cubicBezTo>
                      <a:cubicBezTo>
                        <a:pt x="90098" y="65755"/>
                        <a:pt x="77318" y="78523"/>
                        <a:pt x="61982" y="78523"/>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4" name="Graphic 4">
                  <a:extLst>
                    <a:ext uri="{FF2B5EF4-FFF2-40B4-BE49-F238E27FC236}">
                      <a16:creationId xmlns:a16="http://schemas.microsoft.com/office/drawing/2014/main" xmlns="" id="{90491A84-36C5-4C18-9373-B02F7E52855A}"/>
                    </a:ext>
                  </a:extLst>
                </p:cNvPr>
                <p:cNvSpPr/>
                <p:nvPr/>
              </p:nvSpPr>
              <p:spPr>
                <a:xfrm>
                  <a:off x="7354700" y="24793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24604 w 362309"/>
                    <a:gd name="connsiteY6" fmla="*/ 70224 h 361971"/>
                    <a:gd name="connsiteX7" fmla="*/ 146330 w 362309"/>
                    <a:gd name="connsiteY7" fmla="*/ 70224 h 361971"/>
                    <a:gd name="connsiteX8" fmla="*/ 152720 w 362309"/>
                    <a:gd name="connsiteY8" fmla="*/ 76608 h 361971"/>
                    <a:gd name="connsiteX9" fmla="*/ 146330 w 362309"/>
                    <a:gd name="connsiteY9" fmla="*/ 82992 h 361971"/>
                    <a:gd name="connsiteX10" fmla="*/ 124604 w 362309"/>
                    <a:gd name="connsiteY10" fmla="*/ 82992 h 361971"/>
                    <a:gd name="connsiteX11" fmla="*/ 118214 w 362309"/>
                    <a:gd name="connsiteY11" fmla="*/ 76608 h 361971"/>
                    <a:gd name="connsiteX12" fmla="*/ 124604 w 362309"/>
                    <a:gd name="connsiteY12" fmla="*/ 70224 h 361971"/>
                    <a:gd name="connsiteX13" fmla="*/ 258154 w 362309"/>
                    <a:gd name="connsiteY13" fmla="*/ 137894 h 361971"/>
                    <a:gd name="connsiteX14" fmla="*/ 254319 w 362309"/>
                    <a:gd name="connsiteY14" fmla="*/ 143640 h 361971"/>
                    <a:gd name="connsiteX15" fmla="*/ 254319 w 362309"/>
                    <a:gd name="connsiteY15" fmla="*/ 232377 h 361971"/>
                    <a:gd name="connsiteX16" fmla="*/ 257514 w 362309"/>
                    <a:gd name="connsiteY16" fmla="*/ 240676 h 361971"/>
                    <a:gd name="connsiteX17" fmla="*/ 254319 w 362309"/>
                    <a:gd name="connsiteY17" fmla="*/ 243868 h 361971"/>
                    <a:gd name="connsiteX18" fmla="*/ 254319 w 362309"/>
                    <a:gd name="connsiteY18" fmla="*/ 279618 h 361971"/>
                    <a:gd name="connsiteX19" fmla="*/ 258154 w 362309"/>
                    <a:gd name="connsiteY19" fmla="*/ 285364 h 361971"/>
                    <a:gd name="connsiteX20" fmla="*/ 251764 w 362309"/>
                    <a:gd name="connsiteY20" fmla="*/ 291748 h 361971"/>
                    <a:gd name="connsiteX21" fmla="*/ 111185 w 362309"/>
                    <a:gd name="connsiteY21" fmla="*/ 291748 h 361971"/>
                    <a:gd name="connsiteX22" fmla="*/ 104795 w 362309"/>
                    <a:gd name="connsiteY22" fmla="*/ 285364 h 361971"/>
                    <a:gd name="connsiteX23" fmla="*/ 108629 w 362309"/>
                    <a:gd name="connsiteY23" fmla="*/ 279618 h 361971"/>
                    <a:gd name="connsiteX24" fmla="*/ 108629 w 362309"/>
                    <a:gd name="connsiteY24" fmla="*/ 243230 h 361971"/>
                    <a:gd name="connsiteX25" fmla="*/ 106073 w 362309"/>
                    <a:gd name="connsiteY25" fmla="*/ 234292 h 361971"/>
                    <a:gd name="connsiteX26" fmla="*/ 108629 w 362309"/>
                    <a:gd name="connsiteY26" fmla="*/ 231738 h 361971"/>
                    <a:gd name="connsiteX27" fmla="*/ 108629 w 362309"/>
                    <a:gd name="connsiteY27" fmla="*/ 143640 h 361971"/>
                    <a:gd name="connsiteX28" fmla="*/ 104795 w 362309"/>
                    <a:gd name="connsiteY28" fmla="*/ 137894 h 361971"/>
                    <a:gd name="connsiteX29" fmla="*/ 108629 w 362309"/>
                    <a:gd name="connsiteY29" fmla="*/ 132149 h 361971"/>
                    <a:gd name="connsiteX30" fmla="*/ 108629 w 362309"/>
                    <a:gd name="connsiteY30" fmla="*/ 100229 h 361971"/>
                    <a:gd name="connsiteX31" fmla="*/ 104795 w 362309"/>
                    <a:gd name="connsiteY31" fmla="*/ 94483 h 361971"/>
                    <a:gd name="connsiteX32" fmla="*/ 111185 w 362309"/>
                    <a:gd name="connsiteY32" fmla="*/ 88099 h 361971"/>
                    <a:gd name="connsiteX33" fmla="*/ 251764 w 362309"/>
                    <a:gd name="connsiteY33" fmla="*/ 88099 h 361971"/>
                    <a:gd name="connsiteX34" fmla="*/ 258154 w 362309"/>
                    <a:gd name="connsiteY34" fmla="*/ 94483 h 361971"/>
                    <a:gd name="connsiteX35" fmla="*/ 254319 w 362309"/>
                    <a:gd name="connsiteY35" fmla="*/ 100229 h 361971"/>
                    <a:gd name="connsiteX36" fmla="*/ 254319 w 362309"/>
                    <a:gd name="connsiteY36" fmla="*/ 132149 h 361971"/>
                    <a:gd name="connsiteX37" fmla="*/ 258154 w 362309"/>
                    <a:gd name="connsiteY37" fmla="*/ 137894 h 361971"/>
                    <a:gd name="connsiteX38" fmla="*/ 258154 w 362309"/>
                    <a:gd name="connsiteY38" fmla="*/ 1378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124604" y="70224"/>
                      </a:moveTo>
                      <a:lnTo>
                        <a:pt x="146330" y="70224"/>
                      </a:lnTo>
                      <a:cubicBezTo>
                        <a:pt x="150164" y="70224"/>
                        <a:pt x="152720" y="72778"/>
                        <a:pt x="152720" y="76608"/>
                      </a:cubicBezTo>
                      <a:cubicBezTo>
                        <a:pt x="152720" y="80438"/>
                        <a:pt x="150164" y="82992"/>
                        <a:pt x="146330" y="82992"/>
                      </a:cubicBezTo>
                      <a:lnTo>
                        <a:pt x="124604" y="82992"/>
                      </a:lnTo>
                      <a:cubicBezTo>
                        <a:pt x="120770" y="82992"/>
                        <a:pt x="118214" y="80438"/>
                        <a:pt x="118214" y="76608"/>
                      </a:cubicBezTo>
                      <a:cubicBezTo>
                        <a:pt x="118214" y="72778"/>
                        <a:pt x="120770" y="70224"/>
                        <a:pt x="124604" y="70224"/>
                      </a:cubicBezTo>
                      <a:close/>
                      <a:moveTo>
                        <a:pt x="258154" y="137894"/>
                      </a:moveTo>
                      <a:cubicBezTo>
                        <a:pt x="258154" y="140448"/>
                        <a:pt x="256876" y="142363"/>
                        <a:pt x="254319" y="143640"/>
                      </a:cubicBezTo>
                      <a:lnTo>
                        <a:pt x="254319" y="232377"/>
                      </a:lnTo>
                      <a:cubicBezTo>
                        <a:pt x="257514" y="233654"/>
                        <a:pt x="258792" y="237484"/>
                        <a:pt x="257514" y="240676"/>
                      </a:cubicBezTo>
                      <a:cubicBezTo>
                        <a:pt x="256876" y="241953"/>
                        <a:pt x="255597" y="243230"/>
                        <a:pt x="254319" y="243868"/>
                      </a:cubicBezTo>
                      <a:lnTo>
                        <a:pt x="254319" y="279618"/>
                      </a:lnTo>
                      <a:cubicBezTo>
                        <a:pt x="256876" y="280895"/>
                        <a:pt x="258154" y="282810"/>
                        <a:pt x="258154" y="285364"/>
                      </a:cubicBezTo>
                      <a:cubicBezTo>
                        <a:pt x="258154" y="289194"/>
                        <a:pt x="255597" y="291748"/>
                        <a:pt x="251764" y="291748"/>
                      </a:cubicBezTo>
                      <a:lnTo>
                        <a:pt x="111185" y="291748"/>
                      </a:lnTo>
                      <a:cubicBezTo>
                        <a:pt x="107351" y="291748"/>
                        <a:pt x="104795" y="289194"/>
                        <a:pt x="104795" y="285364"/>
                      </a:cubicBezTo>
                      <a:cubicBezTo>
                        <a:pt x="104795" y="282810"/>
                        <a:pt x="106073" y="280895"/>
                        <a:pt x="108629" y="279618"/>
                      </a:cubicBezTo>
                      <a:lnTo>
                        <a:pt x="108629" y="243230"/>
                      </a:lnTo>
                      <a:cubicBezTo>
                        <a:pt x="105434" y="241314"/>
                        <a:pt x="104156" y="237484"/>
                        <a:pt x="106073" y="234292"/>
                      </a:cubicBezTo>
                      <a:cubicBezTo>
                        <a:pt x="106712" y="233015"/>
                        <a:pt x="107351" y="232377"/>
                        <a:pt x="108629" y="231738"/>
                      </a:cubicBezTo>
                      <a:lnTo>
                        <a:pt x="108629" y="143640"/>
                      </a:lnTo>
                      <a:cubicBezTo>
                        <a:pt x="106712" y="142363"/>
                        <a:pt x="104795" y="140448"/>
                        <a:pt x="104795" y="137894"/>
                      </a:cubicBezTo>
                      <a:cubicBezTo>
                        <a:pt x="104795" y="135341"/>
                        <a:pt x="106073" y="133425"/>
                        <a:pt x="108629" y="132149"/>
                      </a:cubicBezTo>
                      <a:lnTo>
                        <a:pt x="108629" y="100229"/>
                      </a:lnTo>
                      <a:cubicBezTo>
                        <a:pt x="106712" y="98952"/>
                        <a:pt x="104795" y="97037"/>
                        <a:pt x="104795" y="94483"/>
                      </a:cubicBezTo>
                      <a:cubicBezTo>
                        <a:pt x="104795" y="90653"/>
                        <a:pt x="107351" y="88099"/>
                        <a:pt x="111185" y="88099"/>
                      </a:cubicBezTo>
                      <a:lnTo>
                        <a:pt x="251764" y="88099"/>
                      </a:lnTo>
                      <a:cubicBezTo>
                        <a:pt x="255597" y="88099"/>
                        <a:pt x="258154" y="90653"/>
                        <a:pt x="258154" y="94483"/>
                      </a:cubicBezTo>
                      <a:cubicBezTo>
                        <a:pt x="258154" y="97037"/>
                        <a:pt x="256876" y="99590"/>
                        <a:pt x="254319" y="100229"/>
                      </a:cubicBezTo>
                      <a:lnTo>
                        <a:pt x="254319" y="132149"/>
                      </a:lnTo>
                      <a:cubicBezTo>
                        <a:pt x="256876" y="133425"/>
                        <a:pt x="258154" y="135341"/>
                        <a:pt x="258154" y="137894"/>
                      </a:cubicBezTo>
                      <a:lnTo>
                        <a:pt x="258154" y="13789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65" name="Graphic 4">
                  <a:extLst>
                    <a:ext uri="{FF2B5EF4-FFF2-40B4-BE49-F238E27FC236}">
                      <a16:creationId xmlns:a16="http://schemas.microsoft.com/office/drawing/2014/main" xmlns="" id="{EC528A3F-A3E0-03E8-484E-76849900817F}"/>
                    </a:ext>
                  </a:extLst>
                </p:cNvPr>
                <p:cNvSpPr/>
                <p:nvPr/>
              </p:nvSpPr>
              <p:spPr>
                <a:xfrm>
                  <a:off x="7475470" y="2580178"/>
                  <a:ext cx="120769" cy="30643"/>
                </a:xfrm>
                <a:custGeom>
                  <a:avLst/>
                  <a:gdLst>
                    <a:gd name="connsiteX0" fmla="*/ 0 w 120769"/>
                    <a:gd name="connsiteY0" fmla="*/ 0 h 30643"/>
                    <a:gd name="connsiteX1" fmla="*/ 120770 w 120769"/>
                    <a:gd name="connsiteY1" fmla="*/ 0 h 30643"/>
                    <a:gd name="connsiteX2" fmla="*/ 120770 w 120769"/>
                    <a:gd name="connsiteY2" fmla="*/ 30643 h 30643"/>
                    <a:gd name="connsiteX3" fmla="*/ 0 w 120769"/>
                    <a:gd name="connsiteY3" fmla="*/ 30643 h 30643"/>
                  </a:gdLst>
                  <a:ahLst/>
                  <a:cxnLst>
                    <a:cxn ang="0">
                      <a:pos x="connsiteX0" y="connsiteY0"/>
                    </a:cxn>
                    <a:cxn ang="0">
                      <a:pos x="connsiteX1" y="connsiteY1"/>
                    </a:cxn>
                    <a:cxn ang="0">
                      <a:pos x="connsiteX2" y="connsiteY2"/>
                    </a:cxn>
                    <a:cxn ang="0">
                      <a:pos x="connsiteX3" y="connsiteY3"/>
                    </a:cxn>
                  </a:cxnLst>
                  <a:rect l="l" t="t" r="r" b="b"/>
                  <a:pathLst>
                    <a:path w="120769" h="30643">
                      <a:moveTo>
                        <a:pt x="0" y="0"/>
                      </a:moveTo>
                      <a:lnTo>
                        <a:pt x="120770" y="0"/>
                      </a:lnTo>
                      <a:lnTo>
                        <a:pt x="120770" y="30643"/>
                      </a:lnTo>
                      <a:lnTo>
                        <a:pt x="0" y="3064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2" name="Graphic 4">
                <a:extLst>
                  <a:ext uri="{FF2B5EF4-FFF2-40B4-BE49-F238E27FC236}">
                    <a16:creationId xmlns:a16="http://schemas.microsoft.com/office/drawing/2014/main" xmlns="" id="{EE4703A3-AEC2-1B52-C6DB-2A80E61D4AFE}"/>
                  </a:ext>
                </a:extLst>
              </p:cNvPr>
              <p:cNvGrpSpPr/>
              <p:nvPr/>
            </p:nvGrpSpPr>
            <p:grpSpPr>
              <a:xfrm>
                <a:off x="2368670" y="3298139"/>
                <a:ext cx="108000" cy="108000"/>
                <a:chOff x="5092779" y="2855717"/>
                <a:chExt cx="362309" cy="361971"/>
              </a:xfrm>
              <a:solidFill>
                <a:srgbClr val="9DD4CF"/>
              </a:solidFill>
            </p:grpSpPr>
            <p:sp>
              <p:nvSpPr>
                <p:cNvPr id="2255" name="Graphic 4">
                  <a:extLst>
                    <a:ext uri="{FF2B5EF4-FFF2-40B4-BE49-F238E27FC236}">
                      <a16:creationId xmlns:a16="http://schemas.microsoft.com/office/drawing/2014/main" xmlns="" id="{8AB45E5B-2CA7-512E-5F8A-E3D32555896E}"/>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6" name="Graphic 4">
                  <a:extLst>
                    <a:ext uri="{FF2B5EF4-FFF2-40B4-BE49-F238E27FC236}">
                      <a16:creationId xmlns:a16="http://schemas.microsoft.com/office/drawing/2014/main" xmlns="" id="{FA99158A-0DB8-BA85-D9F7-9C0766EA77F1}"/>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7" name="Graphic 4">
                  <a:extLst>
                    <a:ext uri="{FF2B5EF4-FFF2-40B4-BE49-F238E27FC236}">
                      <a16:creationId xmlns:a16="http://schemas.microsoft.com/office/drawing/2014/main" xmlns="" id="{E630FB2F-D5EF-5719-709D-43EB70A687C3}"/>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3" name="Graphic 4">
                <a:extLst>
                  <a:ext uri="{FF2B5EF4-FFF2-40B4-BE49-F238E27FC236}">
                    <a16:creationId xmlns:a16="http://schemas.microsoft.com/office/drawing/2014/main" xmlns="" id="{097778DE-5E97-2B1F-4853-4346F8637D4B}"/>
                  </a:ext>
                </a:extLst>
              </p:cNvPr>
              <p:cNvGrpSpPr/>
              <p:nvPr/>
            </p:nvGrpSpPr>
            <p:grpSpPr>
              <a:xfrm>
                <a:off x="1994853" y="3585847"/>
                <a:ext cx="108000" cy="108000"/>
                <a:chOff x="6146480" y="1893013"/>
                <a:chExt cx="362309" cy="361971"/>
              </a:xfrm>
              <a:solidFill>
                <a:srgbClr val="012169"/>
              </a:solidFill>
            </p:grpSpPr>
            <p:sp>
              <p:nvSpPr>
                <p:cNvPr id="2250" name="Graphic 4">
                  <a:extLst>
                    <a:ext uri="{FF2B5EF4-FFF2-40B4-BE49-F238E27FC236}">
                      <a16:creationId xmlns:a16="http://schemas.microsoft.com/office/drawing/2014/main" xmlns="" id="{BF3647EA-2952-BAC2-DB5F-668CF6E7DE29}"/>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1" name="Graphic 4">
                  <a:extLst>
                    <a:ext uri="{FF2B5EF4-FFF2-40B4-BE49-F238E27FC236}">
                      <a16:creationId xmlns:a16="http://schemas.microsoft.com/office/drawing/2014/main" xmlns="" id="{E260C4C5-5297-3437-083E-05F4F8519081}"/>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2" name="Graphic 4">
                  <a:extLst>
                    <a:ext uri="{FF2B5EF4-FFF2-40B4-BE49-F238E27FC236}">
                      <a16:creationId xmlns:a16="http://schemas.microsoft.com/office/drawing/2014/main" xmlns="" id="{198A3E2E-80F7-BCEF-C5C8-7172337907AF}"/>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3" name="Graphic 4">
                  <a:extLst>
                    <a:ext uri="{FF2B5EF4-FFF2-40B4-BE49-F238E27FC236}">
                      <a16:creationId xmlns:a16="http://schemas.microsoft.com/office/drawing/2014/main" xmlns="" id="{81DD121B-6FCF-354E-38AC-3D9F7E11CAB2}"/>
                    </a:ext>
                  </a:extLst>
                </p:cNvPr>
                <p:cNvSpPr/>
                <p:nvPr/>
              </p:nvSpPr>
              <p:spPr>
                <a:xfrm>
                  <a:off x="6146480"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54" name="Graphic 4">
                  <a:extLst>
                    <a:ext uri="{FF2B5EF4-FFF2-40B4-BE49-F238E27FC236}">
                      <a16:creationId xmlns:a16="http://schemas.microsoft.com/office/drawing/2014/main" xmlns="" id="{DEDAC22A-886C-B587-4FAB-0EF642445A33}"/>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4" name="Graphic 4">
                <a:extLst>
                  <a:ext uri="{FF2B5EF4-FFF2-40B4-BE49-F238E27FC236}">
                    <a16:creationId xmlns:a16="http://schemas.microsoft.com/office/drawing/2014/main" xmlns="" id="{A587256B-C91C-7FB8-36CB-603680D6AF36}"/>
                  </a:ext>
                </a:extLst>
              </p:cNvPr>
              <p:cNvGrpSpPr/>
              <p:nvPr/>
            </p:nvGrpSpPr>
            <p:grpSpPr>
              <a:xfrm>
                <a:off x="948906" y="3570252"/>
                <a:ext cx="108000" cy="108000"/>
                <a:chOff x="6146480" y="1893013"/>
                <a:chExt cx="362309" cy="361971"/>
              </a:xfrm>
              <a:solidFill>
                <a:srgbClr val="012169"/>
              </a:solidFill>
            </p:grpSpPr>
            <p:sp>
              <p:nvSpPr>
                <p:cNvPr id="2245" name="Graphic 4">
                  <a:extLst>
                    <a:ext uri="{FF2B5EF4-FFF2-40B4-BE49-F238E27FC236}">
                      <a16:creationId xmlns:a16="http://schemas.microsoft.com/office/drawing/2014/main" xmlns="" id="{A82CBBCC-F171-983F-9CE4-26CC4F0BB5A6}"/>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6" name="Graphic 4">
                  <a:extLst>
                    <a:ext uri="{FF2B5EF4-FFF2-40B4-BE49-F238E27FC236}">
                      <a16:creationId xmlns:a16="http://schemas.microsoft.com/office/drawing/2014/main" xmlns="" id="{03CC421A-BC05-1373-044B-79E4A034CC0F}"/>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7" name="Graphic 4">
                  <a:extLst>
                    <a:ext uri="{FF2B5EF4-FFF2-40B4-BE49-F238E27FC236}">
                      <a16:creationId xmlns:a16="http://schemas.microsoft.com/office/drawing/2014/main" xmlns="" id="{D48AD665-74D3-4B4D-6A73-1B76A1771610}"/>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8" name="Graphic 4">
                  <a:extLst>
                    <a:ext uri="{FF2B5EF4-FFF2-40B4-BE49-F238E27FC236}">
                      <a16:creationId xmlns:a16="http://schemas.microsoft.com/office/drawing/2014/main" xmlns="" id="{5FBCF954-54BB-D2A4-DB5B-A9D216A53757}"/>
                    </a:ext>
                  </a:extLst>
                </p:cNvPr>
                <p:cNvSpPr/>
                <p:nvPr/>
              </p:nvSpPr>
              <p:spPr>
                <a:xfrm>
                  <a:off x="6146480"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9" name="Graphic 4">
                  <a:extLst>
                    <a:ext uri="{FF2B5EF4-FFF2-40B4-BE49-F238E27FC236}">
                      <a16:creationId xmlns:a16="http://schemas.microsoft.com/office/drawing/2014/main" xmlns="" id="{5D0DCB8C-5F81-2A2C-EBF4-EFD7F3D10D77}"/>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5" name="Graphic 4">
                <a:extLst>
                  <a:ext uri="{FF2B5EF4-FFF2-40B4-BE49-F238E27FC236}">
                    <a16:creationId xmlns:a16="http://schemas.microsoft.com/office/drawing/2014/main" xmlns="" id="{9ED5CE21-A466-2FA4-5022-6204D2AA100F}"/>
                  </a:ext>
                </a:extLst>
              </p:cNvPr>
              <p:cNvGrpSpPr/>
              <p:nvPr/>
            </p:nvGrpSpPr>
            <p:grpSpPr>
              <a:xfrm>
                <a:off x="1502830" y="3700694"/>
                <a:ext cx="108000" cy="108000"/>
                <a:chOff x="5092779" y="2855717"/>
                <a:chExt cx="362309" cy="361971"/>
              </a:xfrm>
              <a:solidFill>
                <a:srgbClr val="9DD4CF"/>
              </a:solidFill>
            </p:grpSpPr>
            <p:sp>
              <p:nvSpPr>
                <p:cNvPr id="2242" name="Graphic 4">
                  <a:extLst>
                    <a:ext uri="{FF2B5EF4-FFF2-40B4-BE49-F238E27FC236}">
                      <a16:creationId xmlns:a16="http://schemas.microsoft.com/office/drawing/2014/main" xmlns="" id="{17F9A2EF-4711-CA05-87B1-F56209B0F329}"/>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3" name="Graphic 4">
                  <a:extLst>
                    <a:ext uri="{FF2B5EF4-FFF2-40B4-BE49-F238E27FC236}">
                      <a16:creationId xmlns:a16="http://schemas.microsoft.com/office/drawing/2014/main" xmlns="" id="{184567CC-E771-85F1-09CF-3811EE83653D}"/>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4" name="Graphic 4">
                  <a:extLst>
                    <a:ext uri="{FF2B5EF4-FFF2-40B4-BE49-F238E27FC236}">
                      <a16:creationId xmlns:a16="http://schemas.microsoft.com/office/drawing/2014/main" xmlns="" id="{80201EE5-2418-FF5F-6B0B-47A058477C01}"/>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6" name="Graphic 4">
                <a:extLst>
                  <a:ext uri="{FF2B5EF4-FFF2-40B4-BE49-F238E27FC236}">
                    <a16:creationId xmlns:a16="http://schemas.microsoft.com/office/drawing/2014/main" xmlns="" id="{733B7E57-A6BE-8C83-793C-C5323A5162DF}"/>
                  </a:ext>
                </a:extLst>
              </p:cNvPr>
              <p:cNvGrpSpPr/>
              <p:nvPr/>
            </p:nvGrpSpPr>
            <p:grpSpPr>
              <a:xfrm>
                <a:off x="853729" y="3157042"/>
                <a:ext cx="108000" cy="108000"/>
                <a:chOff x="5092779" y="2855717"/>
                <a:chExt cx="362309" cy="361971"/>
              </a:xfrm>
              <a:solidFill>
                <a:srgbClr val="9DD4CF"/>
              </a:solidFill>
            </p:grpSpPr>
            <p:sp>
              <p:nvSpPr>
                <p:cNvPr id="63" name="Graphic 4">
                  <a:extLst>
                    <a:ext uri="{FF2B5EF4-FFF2-40B4-BE49-F238E27FC236}">
                      <a16:creationId xmlns:a16="http://schemas.microsoft.com/office/drawing/2014/main" xmlns="" id="{62A01769-7280-D1BE-7A39-E5DCDFE63731}"/>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0" name="Graphic 4">
                  <a:extLst>
                    <a:ext uri="{FF2B5EF4-FFF2-40B4-BE49-F238E27FC236}">
                      <a16:creationId xmlns:a16="http://schemas.microsoft.com/office/drawing/2014/main" xmlns="" id="{35F2309B-9505-76DD-5A88-75CF599DAFB2}"/>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2241" name="Graphic 4">
                  <a:extLst>
                    <a:ext uri="{FF2B5EF4-FFF2-40B4-BE49-F238E27FC236}">
                      <a16:creationId xmlns:a16="http://schemas.microsoft.com/office/drawing/2014/main" xmlns="" id="{29D4833E-D0B6-4067-680A-CB98D3867A50}"/>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7" name="Graphic 4">
                <a:extLst>
                  <a:ext uri="{FF2B5EF4-FFF2-40B4-BE49-F238E27FC236}">
                    <a16:creationId xmlns:a16="http://schemas.microsoft.com/office/drawing/2014/main" xmlns="" id="{4EA70A0D-9610-1F04-E4B2-7FB06033E0F7}"/>
                  </a:ext>
                </a:extLst>
              </p:cNvPr>
              <p:cNvGrpSpPr/>
              <p:nvPr/>
            </p:nvGrpSpPr>
            <p:grpSpPr>
              <a:xfrm>
                <a:off x="969701" y="3922185"/>
                <a:ext cx="108000" cy="108000"/>
                <a:chOff x="5092779" y="2855717"/>
                <a:chExt cx="362309" cy="361971"/>
              </a:xfrm>
              <a:solidFill>
                <a:srgbClr val="9DD4CF"/>
              </a:solidFill>
            </p:grpSpPr>
            <p:sp>
              <p:nvSpPr>
                <p:cNvPr id="60" name="Graphic 4">
                  <a:extLst>
                    <a:ext uri="{FF2B5EF4-FFF2-40B4-BE49-F238E27FC236}">
                      <a16:creationId xmlns:a16="http://schemas.microsoft.com/office/drawing/2014/main" xmlns="" id="{018674E0-C5EB-4750-14AD-32BBFCA5483F}"/>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61" name="Graphic 4">
                  <a:extLst>
                    <a:ext uri="{FF2B5EF4-FFF2-40B4-BE49-F238E27FC236}">
                      <a16:creationId xmlns:a16="http://schemas.microsoft.com/office/drawing/2014/main" xmlns="" id="{BC8AE37B-C382-EC36-3A21-01667F663D23}"/>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62" name="Graphic 4">
                  <a:extLst>
                    <a:ext uri="{FF2B5EF4-FFF2-40B4-BE49-F238E27FC236}">
                      <a16:creationId xmlns:a16="http://schemas.microsoft.com/office/drawing/2014/main" xmlns="" id="{A2BBA70B-7AD0-EB8D-7241-399F214F4242}"/>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8" name="Graphic 4">
                <a:extLst>
                  <a:ext uri="{FF2B5EF4-FFF2-40B4-BE49-F238E27FC236}">
                    <a16:creationId xmlns:a16="http://schemas.microsoft.com/office/drawing/2014/main" xmlns="" id="{A5F3F711-782A-3B2F-BC0C-A909EAFA52AA}"/>
                  </a:ext>
                </a:extLst>
              </p:cNvPr>
              <p:cNvGrpSpPr/>
              <p:nvPr/>
            </p:nvGrpSpPr>
            <p:grpSpPr>
              <a:xfrm>
                <a:off x="1245176" y="4461174"/>
                <a:ext cx="108000" cy="108000"/>
                <a:chOff x="5092779" y="2855717"/>
                <a:chExt cx="362309" cy="361971"/>
              </a:xfrm>
              <a:solidFill>
                <a:srgbClr val="9DD4CF"/>
              </a:solidFill>
            </p:grpSpPr>
            <p:sp>
              <p:nvSpPr>
                <p:cNvPr id="57" name="Graphic 4">
                  <a:extLst>
                    <a:ext uri="{FF2B5EF4-FFF2-40B4-BE49-F238E27FC236}">
                      <a16:creationId xmlns:a16="http://schemas.microsoft.com/office/drawing/2014/main" xmlns="" id="{6B2A0B30-C0A2-871A-5A78-4A441621107D}"/>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8" name="Graphic 4">
                  <a:extLst>
                    <a:ext uri="{FF2B5EF4-FFF2-40B4-BE49-F238E27FC236}">
                      <a16:creationId xmlns:a16="http://schemas.microsoft.com/office/drawing/2014/main" xmlns="" id="{406F7A20-8DFC-77C5-4E9F-12B0E660440C}"/>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9" name="Graphic 4">
                  <a:extLst>
                    <a:ext uri="{FF2B5EF4-FFF2-40B4-BE49-F238E27FC236}">
                      <a16:creationId xmlns:a16="http://schemas.microsoft.com/office/drawing/2014/main" xmlns="" id="{0CCA5453-676B-D30D-CF00-66B6E3CB3076}"/>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29" name="Graphic 4">
                <a:extLst>
                  <a:ext uri="{FF2B5EF4-FFF2-40B4-BE49-F238E27FC236}">
                    <a16:creationId xmlns:a16="http://schemas.microsoft.com/office/drawing/2014/main" xmlns="" id="{86F812DA-1EDC-9EB8-1358-4488915B1084}"/>
                  </a:ext>
                </a:extLst>
              </p:cNvPr>
              <p:cNvGrpSpPr/>
              <p:nvPr/>
            </p:nvGrpSpPr>
            <p:grpSpPr>
              <a:xfrm>
                <a:off x="1661764" y="4738525"/>
                <a:ext cx="108000" cy="108000"/>
                <a:chOff x="5092779" y="2855717"/>
                <a:chExt cx="362309" cy="361971"/>
              </a:xfrm>
              <a:solidFill>
                <a:srgbClr val="9DD4CF"/>
              </a:solidFill>
            </p:grpSpPr>
            <p:sp>
              <p:nvSpPr>
                <p:cNvPr id="54" name="Graphic 4">
                  <a:extLst>
                    <a:ext uri="{FF2B5EF4-FFF2-40B4-BE49-F238E27FC236}">
                      <a16:creationId xmlns:a16="http://schemas.microsoft.com/office/drawing/2014/main" xmlns="" id="{08552271-3535-0752-845D-845FEE11921F}"/>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5" name="Graphic 4">
                  <a:extLst>
                    <a:ext uri="{FF2B5EF4-FFF2-40B4-BE49-F238E27FC236}">
                      <a16:creationId xmlns:a16="http://schemas.microsoft.com/office/drawing/2014/main" xmlns="" id="{807FDF4B-F8BC-2460-7DB5-8F7BE8A4AF21}"/>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6" name="Graphic 4">
                  <a:extLst>
                    <a:ext uri="{FF2B5EF4-FFF2-40B4-BE49-F238E27FC236}">
                      <a16:creationId xmlns:a16="http://schemas.microsoft.com/office/drawing/2014/main" xmlns="" id="{9729304D-6CF0-62E5-7D9F-0EE5B2A3F7D7}"/>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30" name="Group 732">
                <a:extLst>
                  <a:ext uri="{FF2B5EF4-FFF2-40B4-BE49-F238E27FC236}">
                    <a16:creationId xmlns:a16="http://schemas.microsoft.com/office/drawing/2014/main" xmlns="" id="{CE0A9140-DF3B-BB0C-A1E0-9170F87DC08E}"/>
                  </a:ext>
                </a:extLst>
              </p:cNvPr>
              <p:cNvGrpSpPr/>
              <p:nvPr/>
            </p:nvGrpSpPr>
            <p:grpSpPr>
              <a:xfrm>
                <a:off x="876248" y="2845132"/>
                <a:ext cx="108000" cy="108000"/>
                <a:chOff x="7354700" y="2479311"/>
                <a:chExt cx="362309" cy="361971"/>
              </a:xfrm>
              <a:solidFill>
                <a:srgbClr val="CB057C"/>
              </a:solidFill>
            </p:grpSpPr>
            <p:sp>
              <p:nvSpPr>
                <p:cNvPr id="49" name="Graphic 4">
                  <a:extLst>
                    <a:ext uri="{FF2B5EF4-FFF2-40B4-BE49-F238E27FC236}">
                      <a16:creationId xmlns:a16="http://schemas.microsoft.com/office/drawing/2014/main" xmlns="" id="{62F23938-A4F5-BE0D-8667-0D3BA4368B12}"/>
                    </a:ext>
                  </a:extLst>
                </p:cNvPr>
                <p:cNvSpPr/>
                <p:nvPr/>
              </p:nvSpPr>
              <p:spPr>
                <a:xfrm>
                  <a:off x="7475470" y="2723818"/>
                  <a:ext cx="120769" cy="34473"/>
                </a:xfrm>
                <a:custGeom>
                  <a:avLst/>
                  <a:gdLst>
                    <a:gd name="connsiteX0" fmla="*/ 0 w 120769"/>
                    <a:gd name="connsiteY0" fmla="*/ 0 h 34473"/>
                    <a:gd name="connsiteX1" fmla="*/ 120770 w 120769"/>
                    <a:gd name="connsiteY1" fmla="*/ 0 h 34473"/>
                    <a:gd name="connsiteX2" fmla="*/ 120770 w 120769"/>
                    <a:gd name="connsiteY2" fmla="*/ 34474 h 34473"/>
                    <a:gd name="connsiteX3" fmla="*/ 0 w 120769"/>
                    <a:gd name="connsiteY3" fmla="*/ 34474 h 34473"/>
                  </a:gdLst>
                  <a:ahLst/>
                  <a:cxnLst>
                    <a:cxn ang="0">
                      <a:pos x="connsiteX0" y="connsiteY0"/>
                    </a:cxn>
                    <a:cxn ang="0">
                      <a:pos x="connsiteX1" y="connsiteY1"/>
                    </a:cxn>
                    <a:cxn ang="0">
                      <a:pos x="connsiteX2" y="connsiteY2"/>
                    </a:cxn>
                    <a:cxn ang="0">
                      <a:pos x="connsiteX3" y="connsiteY3"/>
                    </a:cxn>
                  </a:cxnLst>
                  <a:rect l="l" t="t" r="r" b="b"/>
                  <a:pathLst>
                    <a:path w="120769" h="34473">
                      <a:moveTo>
                        <a:pt x="0" y="0"/>
                      </a:moveTo>
                      <a:lnTo>
                        <a:pt x="120770" y="0"/>
                      </a:lnTo>
                      <a:lnTo>
                        <a:pt x="120770" y="34474"/>
                      </a:lnTo>
                      <a:lnTo>
                        <a:pt x="0" y="3447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0" name="Graphic 4">
                  <a:extLst>
                    <a:ext uri="{FF2B5EF4-FFF2-40B4-BE49-F238E27FC236}">
                      <a16:creationId xmlns:a16="http://schemas.microsoft.com/office/drawing/2014/main" xmlns="" id="{CBBF7ADE-8520-20DB-F761-6C933F215AA4}"/>
                    </a:ext>
                  </a:extLst>
                </p:cNvPr>
                <p:cNvSpPr/>
                <p:nvPr/>
              </p:nvSpPr>
              <p:spPr>
                <a:xfrm>
                  <a:off x="7522117" y="2648487"/>
                  <a:ext cx="30671" cy="40857"/>
                </a:xfrm>
                <a:custGeom>
                  <a:avLst/>
                  <a:gdLst>
                    <a:gd name="connsiteX0" fmla="*/ 9585 w 30671"/>
                    <a:gd name="connsiteY0" fmla="*/ 11491 h 40857"/>
                    <a:gd name="connsiteX1" fmla="*/ 5751 w 30671"/>
                    <a:gd name="connsiteY1" fmla="*/ 16598 h 40857"/>
                    <a:gd name="connsiteX2" fmla="*/ 0 w 30671"/>
                    <a:gd name="connsiteY2" fmla="*/ 25536 h 40857"/>
                    <a:gd name="connsiteX3" fmla="*/ 15336 w 30671"/>
                    <a:gd name="connsiteY3" fmla="*/ 40858 h 40857"/>
                    <a:gd name="connsiteX4" fmla="*/ 30672 w 30671"/>
                    <a:gd name="connsiteY4" fmla="*/ 25536 h 40857"/>
                    <a:gd name="connsiteX5" fmla="*/ 30672 w 30671"/>
                    <a:gd name="connsiteY5" fmla="*/ 25536 h 40857"/>
                    <a:gd name="connsiteX6" fmla="*/ 16614 w 30671"/>
                    <a:gd name="connsiteY6" fmla="*/ 0 h 40857"/>
                    <a:gd name="connsiteX7" fmla="*/ 9585 w 30671"/>
                    <a:gd name="connsiteY7" fmla="*/ 11491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40857">
                      <a:moveTo>
                        <a:pt x="9585" y="11491"/>
                      </a:moveTo>
                      <a:cubicBezTo>
                        <a:pt x="8307" y="13406"/>
                        <a:pt x="7029" y="14683"/>
                        <a:pt x="5751" y="16598"/>
                      </a:cubicBezTo>
                      <a:cubicBezTo>
                        <a:pt x="3195" y="19152"/>
                        <a:pt x="1278" y="22344"/>
                        <a:pt x="0" y="25536"/>
                      </a:cubicBezTo>
                      <a:cubicBezTo>
                        <a:pt x="0" y="33835"/>
                        <a:pt x="7029" y="40858"/>
                        <a:pt x="15336" y="40858"/>
                      </a:cubicBezTo>
                      <a:cubicBezTo>
                        <a:pt x="23643" y="40858"/>
                        <a:pt x="30672" y="33835"/>
                        <a:pt x="30672" y="25536"/>
                      </a:cubicBezTo>
                      <a:cubicBezTo>
                        <a:pt x="30672" y="25536"/>
                        <a:pt x="30672" y="25536"/>
                        <a:pt x="30672" y="25536"/>
                      </a:cubicBezTo>
                      <a:cubicBezTo>
                        <a:pt x="30672" y="17237"/>
                        <a:pt x="23004" y="7022"/>
                        <a:pt x="16614" y="0"/>
                      </a:cubicBezTo>
                      <a:cubicBezTo>
                        <a:pt x="14697" y="3830"/>
                        <a:pt x="12141" y="7661"/>
                        <a:pt x="9585" y="11491"/>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1" name="Graphic 4">
                  <a:extLst>
                    <a:ext uri="{FF2B5EF4-FFF2-40B4-BE49-F238E27FC236}">
                      <a16:creationId xmlns:a16="http://schemas.microsoft.com/office/drawing/2014/main" xmlns="" id="{7C57F354-19FA-6571-4DA5-270336C68E32}"/>
                    </a:ext>
                  </a:extLst>
                </p:cNvPr>
                <p:cNvSpPr/>
                <p:nvPr/>
              </p:nvSpPr>
              <p:spPr>
                <a:xfrm>
                  <a:off x="7475470" y="2623589"/>
                  <a:ext cx="120769" cy="87460"/>
                </a:xfrm>
                <a:custGeom>
                  <a:avLst/>
                  <a:gdLst>
                    <a:gd name="connsiteX0" fmla="*/ 0 w 120769"/>
                    <a:gd name="connsiteY0" fmla="*/ 0 h 87460"/>
                    <a:gd name="connsiteX1" fmla="*/ 0 w 120769"/>
                    <a:gd name="connsiteY1" fmla="*/ 87461 h 87460"/>
                    <a:gd name="connsiteX2" fmla="*/ 120770 w 120769"/>
                    <a:gd name="connsiteY2" fmla="*/ 87461 h 87460"/>
                    <a:gd name="connsiteX3" fmla="*/ 120770 w 120769"/>
                    <a:gd name="connsiteY3" fmla="*/ 0 h 87460"/>
                    <a:gd name="connsiteX4" fmla="*/ 0 w 120769"/>
                    <a:gd name="connsiteY4" fmla="*/ 0 h 87460"/>
                    <a:gd name="connsiteX5" fmla="*/ 61982 w 120769"/>
                    <a:gd name="connsiteY5" fmla="*/ 78523 h 87460"/>
                    <a:gd name="connsiteX6" fmla="*/ 33867 w 120769"/>
                    <a:gd name="connsiteY6" fmla="*/ 50434 h 87460"/>
                    <a:gd name="connsiteX7" fmla="*/ 42173 w 120769"/>
                    <a:gd name="connsiteY7" fmla="*/ 33835 h 87460"/>
                    <a:gd name="connsiteX8" fmla="*/ 45368 w 120769"/>
                    <a:gd name="connsiteY8" fmla="*/ 29367 h 87460"/>
                    <a:gd name="connsiteX9" fmla="*/ 56231 w 120769"/>
                    <a:gd name="connsiteY9" fmla="*/ 12130 h 87460"/>
                    <a:gd name="connsiteX10" fmla="*/ 60704 w 120769"/>
                    <a:gd name="connsiteY10" fmla="*/ 8938 h 87460"/>
                    <a:gd name="connsiteX11" fmla="*/ 65816 w 120769"/>
                    <a:gd name="connsiteY11" fmla="*/ 10215 h 87460"/>
                    <a:gd name="connsiteX12" fmla="*/ 90098 w 120769"/>
                    <a:gd name="connsiteY12" fmla="*/ 50434 h 87460"/>
                    <a:gd name="connsiteX13" fmla="*/ 61982 w 120769"/>
                    <a:gd name="connsiteY13" fmla="*/ 78523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769" h="87460">
                      <a:moveTo>
                        <a:pt x="0" y="0"/>
                      </a:moveTo>
                      <a:lnTo>
                        <a:pt x="0" y="87461"/>
                      </a:lnTo>
                      <a:lnTo>
                        <a:pt x="120770" y="87461"/>
                      </a:lnTo>
                      <a:lnTo>
                        <a:pt x="120770" y="0"/>
                      </a:lnTo>
                      <a:lnTo>
                        <a:pt x="0" y="0"/>
                      </a:lnTo>
                      <a:close/>
                      <a:moveTo>
                        <a:pt x="61982" y="78523"/>
                      </a:moveTo>
                      <a:cubicBezTo>
                        <a:pt x="46646" y="78523"/>
                        <a:pt x="33867" y="65755"/>
                        <a:pt x="33867" y="50434"/>
                      </a:cubicBezTo>
                      <a:cubicBezTo>
                        <a:pt x="34505" y="44050"/>
                        <a:pt x="37700" y="38304"/>
                        <a:pt x="42173" y="33835"/>
                      </a:cubicBezTo>
                      <a:lnTo>
                        <a:pt x="45368" y="29367"/>
                      </a:lnTo>
                      <a:cubicBezTo>
                        <a:pt x="51119" y="21067"/>
                        <a:pt x="56231" y="12768"/>
                        <a:pt x="56231" y="12130"/>
                      </a:cubicBezTo>
                      <a:cubicBezTo>
                        <a:pt x="57509" y="10215"/>
                        <a:pt x="58787" y="9576"/>
                        <a:pt x="60704" y="8938"/>
                      </a:cubicBezTo>
                      <a:cubicBezTo>
                        <a:pt x="62621" y="8938"/>
                        <a:pt x="64538" y="8938"/>
                        <a:pt x="65816" y="10215"/>
                      </a:cubicBezTo>
                      <a:cubicBezTo>
                        <a:pt x="68372" y="12130"/>
                        <a:pt x="90098" y="30643"/>
                        <a:pt x="90098" y="50434"/>
                      </a:cubicBezTo>
                      <a:cubicBezTo>
                        <a:pt x="90098" y="65755"/>
                        <a:pt x="77318" y="78523"/>
                        <a:pt x="61982" y="78523"/>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2" name="Graphic 4">
                  <a:extLst>
                    <a:ext uri="{FF2B5EF4-FFF2-40B4-BE49-F238E27FC236}">
                      <a16:creationId xmlns:a16="http://schemas.microsoft.com/office/drawing/2014/main" xmlns="" id="{AA16597F-897E-934E-BA4A-2A4E9993618F}"/>
                    </a:ext>
                  </a:extLst>
                </p:cNvPr>
                <p:cNvSpPr/>
                <p:nvPr/>
              </p:nvSpPr>
              <p:spPr>
                <a:xfrm>
                  <a:off x="7354700" y="24793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24604 w 362309"/>
                    <a:gd name="connsiteY6" fmla="*/ 70224 h 361971"/>
                    <a:gd name="connsiteX7" fmla="*/ 146330 w 362309"/>
                    <a:gd name="connsiteY7" fmla="*/ 70224 h 361971"/>
                    <a:gd name="connsiteX8" fmla="*/ 152720 w 362309"/>
                    <a:gd name="connsiteY8" fmla="*/ 76608 h 361971"/>
                    <a:gd name="connsiteX9" fmla="*/ 146330 w 362309"/>
                    <a:gd name="connsiteY9" fmla="*/ 82992 h 361971"/>
                    <a:gd name="connsiteX10" fmla="*/ 124604 w 362309"/>
                    <a:gd name="connsiteY10" fmla="*/ 82992 h 361971"/>
                    <a:gd name="connsiteX11" fmla="*/ 118214 w 362309"/>
                    <a:gd name="connsiteY11" fmla="*/ 76608 h 361971"/>
                    <a:gd name="connsiteX12" fmla="*/ 124604 w 362309"/>
                    <a:gd name="connsiteY12" fmla="*/ 70224 h 361971"/>
                    <a:gd name="connsiteX13" fmla="*/ 258154 w 362309"/>
                    <a:gd name="connsiteY13" fmla="*/ 137894 h 361971"/>
                    <a:gd name="connsiteX14" fmla="*/ 254319 w 362309"/>
                    <a:gd name="connsiteY14" fmla="*/ 143640 h 361971"/>
                    <a:gd name="connsiteX15" fmla="*/ 254319 w 362309"/>
                    <a:gd name="connsiteY15" fmla="*/ 232377 h 361971"/>
                    <a:gd name="connsiteX16" fmla="*/ 257514 w 362309"/>
                    <a:gd name="connsiteY16" fmla="*/ 240676 h 361971"/>
                    <a:gd name="connsiteX17" fmla="*/ 254319 w 362309"/>
                    <a:gd name="connsiteY17" fmla="*/ 243868 h 361971"/>
                    <a:gd name="connsiteX18" fmla="*/ 254319 w 362309"/>
                    <a:gd name="connsiteY18" fmla="*/ 279618 h 361971"/>
                    <a:gd name="connsiteX19" fmla="*/ 258154 w 362309"/>
                    <a:gd name="connsiteY19" fmla="*/ 285364 h 361971"/>
                    <a:gd name="connsiteX20" fmla="*/ 251764 w 362309"/>
                    <a:gd name="connsiteY20" fmla="*/ 291748 h 361971"/>
                    <a:gd name="connsiteX21" fmla="*/ 111185 w 362309"/>
                    <a:gd name="connsiteY21" fmla="*/ 291748 h 361971"/>
                    <a:gd name="connsiteX22" fmla="*/ 104795 w 362309"/>
                    <a:gd name="connsiteY22" fmla="*/ 285364 h 361971"/>
                    <a:gd name="connsiteX23" fmla="*/ 108629 w 362309"/>
                    <a:gd name="connsiteY23" fmla="*/ 279618 h 361971"/>
                    <a:gd name="connsiteX24" fmla="*/ 108629 w 362309"/>
                    <a:gd name="connsiteY24" fmla="*/ 243230 h 361971"/>
                    <a:gd name="connsiteX25" fmla="*/ 106073 w 362309"/>
                    <a:gd name="connsiteY25" fmla="*/ 234292 h 361971"/>
                    <a:gd name="connsiteX26" fmla="*/ 108629 w 362309"/>
                    <a:gd name="connsiteY26" fmla="*/ 231738 h 361971"/>
                    <a:gd name="connsiteX27" fmla="*/ 108629 w 362309"/>
                    <a:gd name="connsiteY27" fmla="*/ 143640 h 361971"/>
                    <a:gd name="connsiteX28" fmla="*/ 104795 w 362309"/>
                    <a:gd name="connsiteY28" fmla="*/ 137894 h 361971"/>
                    <a:gd name="connsiteX29" fmla="*/ 108629 w 362309"/>
                    <a:gd name="connsiteY29" fmla="*/ 132149 h 361971"/>
                    <a:gd name="connsiteX30" fmla="*/ 108629 w 362309"/>
                    <a:gd name="connsiteY30" fmla="*/ 100229 h 361971"/>
                    <a:gd name="connsiteX31" fmla="*/ 104795 w 362309"/>
                    <a:gd name="connsiteY31" fmla="*/ 94483 h 361971"/>
                    <a:gd name="connsiteX32" fmla="*/ 111185 w 362309"/>
                    <a:gd name="connsiteY32" fmla="*/ 88099 h 361971"/>
                    <a:gd name="connsiteX33" fmla="*/ 251764 w 362309"/>
                    <a:gd name="connsiteY33" fmla="*/ 88099 h 361971"/>
                    <a:gd name="connsiteX34" fmla="*/ 258154 w 362309"/>
                    <a:gd name="connsiteY34" fmla="*/ 94483 h 361971"/>
                    <a:gd name="connsiteX35" fmla="*/ 254319 w 362309"/>
                    <a:gd name="connsiteY35" fmla="*/ 100229 h 361971"/>
                    <a:gd name="connsiteX36" fmla="*/ 254319 w 362309"/>
                    <a:gd name="connsiteY36" fmla="*/ 132149 h 361971"/>
                    <a:gd name="connsiteX37" fmla="*/ 258154 w 362309"/>
                    <a:gd name="connsiteY37" fmla="*/ 137894 h 361971"/>
                    <a:gd name="connsiteX38" fmla="*/ 258154 w 362309"/>
                    <a:gd name="connsiteY38" fmla="*/ 1378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124604" y="70224"/>
                      </a:moveTo>
                      <a:lnTo>
                        <a:pt x="146330" y="70224"/>
                      </a:lnTo>
                      <a:cubicBezTo>
                        <a:pt x="150164" y="70224"/>
                        <a:pt x="152720" y="72778"/>
                        <a:pt x="152720" y="76608"/>
                      </a:cubicBezTo>
                      <a:cubicBezTo>
                        <a:pt x="152720" y="80438"/>
                        <a:pt x="150164" y="82992"/>
                        <a:pt x="146330" y="82992"/>
                      </a:cubicBezTo>
                      <a:lnTo>
                        <a:pt x="124604" y="82992"/>
                      </a:lnTo>
                      <a:cubicBezTo>
                        <a:pt x="120770" y="82992"/>
                        <a:pt x="118214" y="80438"/>
                        <a:pt x="118214" y="76608"/>
                      </a:cubicBezTo>
                      <a:cubicBezTo>
                        <a:pt x="118214" y="72778"/>
                        <a:pt x="120770" y="70224"/>
                        <a:pt x="124604" y="70224"/>
                      </a:cubicBezTo>
                      <a:close/>
                      <a:moveTo>
                        <a:pt x="258154" y="137894"/>
                      </a:moveTo>
                      <a:cubicBezTo>
                        <a:pt x="258154" y="140448"/>
                        <a:pt x="256876" y="142363"/>
                        <a:pt x="254319" y="143640"/>
                      </a:cubicBezTo>
                      <a:lnTo>
                        <a:pt x="254319" y="232377"/>
                      </a:lnTo>
                      <a:cubicBezTo>
                        <a:pt x="257514" y="233654"/>
                        <a:pt x="258792" y="237484"/>
                        <a:pt x="257514" y="240676"/>
                      </a:cubicBezTo>
                      <a:cubicBezTo>
                        <a:pt x="256876" y="241953"/>
                        <a:pt x="255597" y="243230"/>
                        <a:pt x="254319" y="243868"/>
                      </a:cubicBezTo>
                      <a:lnTo>
                        <a:pt x="254319" y="279618"/>
                      </a:lnTo>
                      <a:cubicBezTo>
                        <a:pt x="256876" y="280895"/>
                        <a:pt x="258154" y="282810"/>
                        <a:pt x="258154" y="285364"/>
                      </a:cubicBezTo>
                      <a:cubicBezTo>
                        <a:pt x="258154" y="289194"/>
                        <a:pt x="255597" y="291748"/>
                        <a:pt x="251764" y="291748"/>
                      </a:cubicBezTo>
                      <a:lnTo>
                        <a:pt x="111185" y="291748"/>
                      </a:lnTo>
                      <a:cubicBezTo>
                        <a:pt x="107351" y="291748"/>
                        <a:pt x="104795" y="289194"/>
                        <a:pt x="104795" y="285364"/>
                      </a:cubicBezTo>
                      <a:cubicBezTo>
                        <a:pt x="104795" y="282810"/>
                        <a:pt x="106073" y="280895"/>
                        <a:pt x="108629" y="279618"/>
                      </a:cubicBezTo>
                      <a:lnTo>
                        <a:pt x="108629" y="243230"/>
                      </a:lnTo>
                      <a:cubicBezTo>
                        <a:pt x="105434" y="241314"/>
                        <a:pt x="104156" y="237484"/>
                        <a:pt x="106073" y="234292"/>
                      </a:cubicBezTo>
                      <a:cubicBezTo>
                        <a:pt x="106712" y="233015"/>
                        <a:pt x="107351" y="232377"/>
                        <a:pt x="108629" y="231738"/>
                      </a:cubicBezTo>
                      <a:lnTo>
                        <a:pt x="108629" y="143640"/>
                      </a:lnTo>
                      <a:cubicBezTo>
                        <a:pt x="106712" y="142363"/>
                        <a:pt x="104795" y="140448"/>
                        <a:pt x="104795" y="137894"/>
                      </a:cubicBezTo>
                      <a:cubicBezTo>
                        <a:pt x="104795" y="135341"/>
                        <a:pt x="106073" y="133425"/>
                        <a:pt x="108629" y="132149"/>
                      </a:cubicBezTo>
                      <a:lnTo>
                        <a:pt x="108629" y="100229"/>
                      </a:lnTo>
                      <a:cubicBezTo>
                        <a:pt x="106712" y="98952"/>
                        <a:pt x="104795" y="97037"/>
                        <a:pt x="104795" y="94483"/>
                      </a:cubicBezTo>
                      <a:cubicBezTo>
                        <a:pt x="104795" y="90653"/>
                        <a:pt x="107351" y="88099"/>
                        <a:pt x="111185" y="88099"/>
                      </a:cubicBezTo>
                      <a:lnTo>
                        <a:pt x="251764" y="88099"/>
                      </a:lnTo>
                      <a:cubicBezTo>
                        <a:pt x="255597" y="88099"/>
                        <a:pt x="258154" y="90653"/>
                        <a:pt x="258154" y="94483"/>
                      </a:cubicBezTo>
                      <a:cubicBezTo>
                        <a:pt x="258154" y="97037"/>
                        <a:pt x="256876" y="99590"/>
                        <a:pt x="254319" y="100229"/>
                      </a:cubicBezTo>
                      <a:lnTo>
                        <a:pt x="254319" y="132149"/>
                      </a:lnTo>
                      <a:cubicBezTo>
                        <a:pt x="256876" y="133425"/>
                        <a:pt x="258154" y="135341"/>
                        <a:pt x="258154" y="137894"/>
                      </a:cubicBezTo>
                      <a:lnTo>
                        <a:pt x="258154" y="13789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53" name="Graphic 4">
                  <a:extLst>
                    <a:ext uri="{FF2B5EF4-FFF2-40B4-BE49-F238E27FC236}">
                      <a16:creationId xmlns:a16="http://schemas.microsoft.com/office/drawing/2014/main" xmlns="" id="{78857446-86DF-C0CE-3697-7C12DB8C9766}"/>
                    </a:ext>
                  </a:extLst>
                </p:cNvPr>
                <p:cNvSpPr/>
                <p:nvPr/>
              </p:nvSpPr>
              <p:spPr>
                <a:xfrm>
                  <a:off x="7475470" y="2580178"/>
                  <a:ext cx="120769" cy="30643"/>
                </a:xfrm>
                <a:custGeom>
                  <a:avLst/>
                  <a:gdLst>
                    <a:gd name="connsiteX0" fmla="*/ 0 w 120769"/>
                    <a:gd name="connsiteY0" fmla="*/ 0 h 30643"/>
                    <a:gd name="connsiteX1" fmla="*/ 120770 w 120769"/>
                    <a:gd name="connsiteY1" fmla="*/ 0 h 30643"/>
                    <a:gd name="connsiteX2" fmla="*/ 120770 w 120769"/>
                    <a:gd name="connsiteY2" fmla="*/ 30643 h 30643"/>
                    <a:gd name="connsiteX3" fmla="*/ 0 w 120769"/>
                    <a:gd name="connsiteY3" fmla="*/ 30643 h 30643"/>
                  </a:gdLst>
                  <a:ahLst/>
                  <a:cxnLst>
                    <a:cxn ang="0">
                      <a:pos x="connsiteX0" y="connsiteY0"/>
                    </a:cxn>
                    <a:cxn ang="0">
                      <a:pos x="connsiteX1" y="connsiteY1"/>
                    </a:cxn>
                    <a:cxn ang="0">
                      <a:pos x="connsiteX2" y="connsiteY2"/>
                    </a:cxn>
                    <a:cxn ang="0">
                      <a:pos x="connsiteX3" y="connsiteY3"/>
                    </a:cxn>
                  </a:cxnLst>
                  <a:rect l="l" t="t" r="r" b="b"/>
                  <a:pathLst>
                    <a:path w="120769" h="30643">
                      <a:moveTo>
                        <a:pt x="0" y="0"/>
                      </a:moveTo>
                      <a:lnTo>
                        <a:pt x="120770" y="0"/>
                      </a:lnTo>
                      <a:lnTo>
                        <a:pt x="120770" y="30643"/>
                      </a:lnTo>
                      <a:lnTo>
                        <a:pt x="0" y="3064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31" name="Group 733">
                <a:extLst>
                  <a:ext uri="{FF2B5EF4-FFF2-40B4-BE49-F238E27FC236}">
                    <a16:creationId xmlns:a16="http://schemas.microsoft.com/office/drawing/2014/main" xmlns="" id="{7E455B93-CBAC-CA6A-D541-030C57CAB68C}"/>
                  </a:ext>
                </a:extLst>
              </p:cNvPr>
              <p:cNvGrpSpPr/>
              <p:nvPr/>
            </p:nvGrpSpPr>
            <p:grpSpPr>
              <a:xfrm>
                <a:off x="1425625" y="3821313"/>
                <a:ext cx="108000" cy="108000"/>
                <a:chOff x="7354700" y="2479311"/>
                <a:chExt cx="362309" cy="361971"/>
              </a:xfrm>
              <a:solidFill>
                <a:srgbClr val="CB057C"/>
              </a:solidFill>
            </p:grpSpPr>
            <p:sp>
              <p:nvSpPr>
                <p:cNvPr id="44" name="Graphic 4">
                  <a:extLst>
                    <a:ext uri="{FF2B5EF4-FFF2-40B4-BE49-F238E27FC236}">
                      <a16:creationId xmlns:a16="http://schemas.microsoft.com/office/drawing/2014/main" xmlns="" id="{DE3C807A-9C2D-21DD-7D5D-C0D5A649B7D7}"/>
                    </a:ext>
                  </a:extLst>
                </p:cNvPr>
                <p:cNvSpPr/>
                <p:nvPr/>
              </p:nvSpPr>
              <p:spPr>
                <a:xfrm>
                  <a:off x="7475470" y="2723818"/>
                  <a:ext cx="120769" cy="34473"/>
                </a:xfrm>
                <a:custGeom>
                  <a:avLst/>
                  <a:gdLst>
                    <a:gd name="connsiteX0" fmla="*/ 0 w 120769"/>
                    <a:gd name="connsiteY0" fmla="*/ 0 h 34473"/>
                    <a:gd name="connsiteX1" fmla="*/ 120770 w 120769"/>
                    <a:gd name="connsiteY1" fmla="*/ 0 h 34473"/>
                    <a:gd name="connsiteX2" fmla="*/ 120770 w 120769"/>
                    <a:gd name="connsiteY2" fmla="*/ 34474 h 34473"/>
                    <a:gd name="connsiteX3" fmla="*/ 0 w 120769"/>
                    <a:gd name="connsiteY3" fmla="*/ 34474 h 34473"/>
                  </a:gdLst>
                  <a:ahLst/>
                  <a:cxnLst>
                    <a:cxn ang="0">
                      <a:pos x="connsiteX0" y="connsiteY0"/>
                    </a:cxn>
                    <a:cxn ang="0">
                      <a:pos x="connsiteX1" y="connsiteY1"/>
                    </a:cxn>
                    <a:cxn ang="0">
                      <a:pos x="connsiteX2" y="connsiteY2"/>
                    </a:cxn>
                    <a:cxn ang="0">
                      <a:pos x="connsiteX3" y="connsiteY3"/>
                    </a:cxn>
                  </a:cxnLst>
                  <a:rect l="l" t="t" r="r" b="b"/>
                  <a:pathLst>
                    <a:path w="120769" h="34473">
                      <a:moveTo>
                        <a:pt x="0" y="0"/>
                      </a:moveTo>
                      <a:lnTo>
                        <a:pt x="120770" y="0"/>
                      </a:lnTo>
                      <a:lnTo>
                        <a:pt x="120770" y="34474"/>
                      </a:lnTo>
                      <a:lnTo>
                        <a:pt x="0" y="3447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5" name="Graphic 4">
                  <a:extLst>
                    <a:ext uri="{FF2B5EF4-FFF2-40B4-BE49-F238E27FC236}">
                      <a16:creationId xmlns:a16="http://schemas.microsoft.com/office/drawing/2014/main" xmlns="" id="{D944F971-3228-2CD0-7282-5E1EFCFB05C7}"/>
                    </a:ext>
                  </a:extLst>
                </p:cNvPr>
                <p:cNvSpPr/>
                <p:nvPr/>
              </p:nvSpPr>
              <p:spPr>
                <a:xfrm>
                  <a:off x="7522117" y="2648487"/>
                  <a:ext cx="30671" cy="40857"/>
                </a:xfrm>
                <a:custGeom>
                  <a:avLst/>
                  <a:gdLst>
                    <a:gd name="connsiteX0" fmla="*/ 9585 w 30671"/>
                    <a:gd name="connsiteY0" fmla="*/ 11491 h 40857"/>
                    <a:gd name="connsiteX1" fmla="*/ 5751 w 30671"/>
                    <a:gd name="connsiteY1" fmla="*/ 16598 h 40857"/>
                    <a:gd name="connsiteX2" fmla="*/ 0 w 30671"/>
                    <a:gd name="connsiteY2" fmla="*/ 25536 h 40857"/>
                    <a:gd name="connsiteX3" fmla="*/ 15336 w 30671"/>
                    <a:gd name="connsiteY3" fmla="*/ 40858 h 40857"/>
                    <a:gd name="connsiteX4" fmla="*/ 30672 w 30671"/>
                    <a:gd name="connsiteY4" fmla="*/ 25536 h 40857"/>
                    <a:gd name="connsiteX5" fmla="*/ 30672 w 30671"/>
                    <a:gd name="connsiteY5" fmla="*/ 25536 h 40857"/>
                    <a:gd name="connsiteX6" fmla="*/ 16614 w 30671"/>
                    <a:gd name="connsiteY6" fmla="*/ 0 h 40857"/>
                    <a:gd name="connsiteX7" fmla="*/ 9585 w 30671"/>
                    <a:gd name="connsiteY7" fmla="*/ 11491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40857">
                      <a:moveTo>
                        <a:pt x="9585" y="11491"/>
                      </a:moveTo>
                      <a:cubicBezTo>
                        <a:pt x="8307" y="13406"/>
                        <a:pt x="7029" y="14683"/>
                        <a:pt x="5751" y="16598"/>
                      </a:cubicBezTo>
                      <a:cubicBezTo>
                        <a:pt x="3195" y="19152"/>
                        <a:pt x="1278" y="22344"/>
                        <a:pt x="0" y="25536"/>
                      </a:cubicBezTo>
                      <a:cubicBezTo>
                        <a:pt x="0" y="33835"/>
                        <a:pt x="7029" y="40858"/>
                        <a:pt x="15336" y="40858"/>
                      </a:cubicBezTo>
                      <a:cubicBezTo>
                        <a:pt x="23643" y="40858"/>
                        <a:pt x="30672" y="33835"/>
                        <a:pt x="30672" y="25536"/>
                      </a:cubicBezTo>
                      <a:cubicBezTo>
                        <a:pt x="30672" y="25536"/>
                        <a:pt x="30672" y="25536"/>
                        <a:pt x="30672" y="25536"/>
                      </a:cubicBezTo>
                      <a:cubicBezTo>
                        <a:pt x="30672" y="17237"/>
                        <a:pt x="23004" y="7022"/>
                        <a:pt x="16614" y="0"/>
                      </a:cubicBezTo>
                      <a:cubicBezTo>
                        <a:pt x="14697" y="3830"/>
                        <a:pt x="12141" y="7661"/>
                        <a:pt x="9585" y="11491"/>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6" name="Graphic 4">
                  <a:extLst>
                    <a:ext uri="{FF2B5EF4-FFF2-40B4-BE49-F238E27FC236}">
                      <a16:creationId xmlns:a16="http://schemas.microsoft.com/office/drawing/2014/main" xmlns="" id="{BC708D52-C404-E7EB-3A9C-F8605CE247A4}"/>
                    </a:ext>
                  </a:extLst>
                </p:cNvPr>
                <p:cNvSpPr/>
                <p:nvPr/>
              </p:nvSpPr>
              <p:spPr>
                <a:xfrm>
                  <a:off x="7475470" y="2623589"/>
                  <a:ext cx="120769" cy="87460"/>
                </a:xfrm>
                <a:custGeom>
                  <a:avLst/>
                  <a:gdLst>
                    <a:gd name="connsiteX0" fmla="*/ 0 w 120769"/>
                    <a:gd name="connsiteY0" fmla="*/ 0 h 87460"/>
                    <a:gd name="connsiteX1" fmla="*/ 0 w 120769"/>
                    <a:gd name="connsiteY1" fmla="*/ 87461 h 87460"/>
                    <a:gd name="connsiteX2" fmla="*/ 120770 w 120769"/>
                    <a:gd name="connsiteY2" fmla="*/ 87461 h 87460"/>
                    <a:gd name="connsiteX3" fmla="*/ 120770 w 120769"/>
                    <a:gd name="connsiteY3" fmla="*/ 0 h 87460"/>
                    <a:gd name="connsiteX4" fmla="*/ 0 w 120769"/>
                    <a:gd name="connsiteY4" fmla="*/ 0 h 87460"/>
                    <a:gd name="connsiteX5" fmla="*/ 61982 w 120769"/>
                    <a:gd name="connsiteY5" fmla="*/ 78523 h 87460"/>
                    <a:gd name="connsiteX6" fmla="*/ 33867 w 120769"/>
                    <a:gd name="connsiteY6" fmla="*/ 50434 h 87460"/>
                    <a:gd name="connsiteX7" fmla="*/ 42173 w 120769"/>
                    <a:gd name="connsiteY7" fmla="*/ 33835 h 87460"/>
                    <a:gd name="connsiteX8" fmla="*/ 45368 w 120769"/>
                    <a:gd name="connsiteY8" fmla="*/ 29367 h 87460"/>
                    <a:gd name="connsiteX9" fmla="*/ 56231 w 120769"/>
                    <a:gd name="connsiteY9" fmla="*/ 12130 h 87460"/>
                    <a:gd name="connsiteX10" fmla="*/ 60704 w 120769"/>
                    <a:gd name="connsiteY10" fmla="*/ 8938 h 87460"/>
                    <a:gd name="connsiteX11" fmla="*/ 65816 w 120769"/>
                    <a:gd name="connsiteY11" fmla="*/ 10215 h 87460"/>
                    <a:gd name="connsiteX12" fmla="*/ 90098 w 120769"/>
                    <a:gd name="connsiteY12" fmla="*/ 50434 h 87460"/>
                    <a:gd name="connsiteX13" fmla="*/ 61982 w 120769"/>
                    <a:gd name="connsiteY13" fmla="*/ 78523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769" h="87460">
                      <a:moveTo>
                        <a:pt x="0" y="0"/>
                      </a:moveTo>
                      <a:lnTo>
                        <a:pt x="0" y="87461"/>
                      </a:lnTo>
                      <a:lnTo>
                        <a:pt x="120770" y="87461"/>
                      </a:lnTo>
                      <a:lnTo>
                        <a:pt x="120770" y="0"/>
                      </a:lnTo>
                      <a:lnTo>
                        <a:pt x="0" y="0"/>
                      </a:lnTo>
                      <a:close/>
                      <a:moveTo>
                        <a:pt x="61982" y="78523"/>
                      </a:moveTo>
                      <a:cubicBezTo>
                        <a:pt x="46646" y="78523"/>
                        <a:pt x="33867" y="65755"/>
                        <a:pt x="33867" y="50434"/>
                      </a:cubicBezTo>
                      <a:cubicBezTo>
                        <a:pt x="34505" y="44050"/>
                        <a:pt x="37700" y="38304"/>
                        <a:pt x="42173" y="33835"/>
                      </a:cubicBezTo>
                      <a:lnTo>
                        <a:pt x="45368" y="29367"/>
                      </a:lnTo>
                      <a:cubicBezTo>
                        <a:pt x="51119" y="21067"/>
                        <a:pt x="56231" y="12768"/>
                        <a:pt x="56231" y="12130"/>
                      </a:cubicBezTo>
                      <a:cubicBezTo>
                        <a:pt x="57509" y="10215"/>
                        <a:pt x="58787" y="9576"/>
                        <a:pt x="60704" y="8938"/>
                      </a:cubicBezTo>
                      <a:cubicBezTo>
                        <a:pt x="62621" y="8938"/>
                        <a:pt x="64538" y="8938"/>
                        <a:pt x="65816" y="10215"/>
                      </a:cubicBezTo>
                      <a:cubicBezTo>
                        <a:pt x="68372" y="12130"/>
                        <a:pt x="90098" y="30643"/>
                        <a:pt x="90098" y="50434"/>
                      </a:cubicBezTo>
                      <a:cubicBezTo>
                        <a:pt x="90098" y="65755"/>
                        <a:pt x="77318" y="78523"/>
                        <a:pt x="61982" y="78523"/>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7" name="Graphic 4">
                  <a:extLst>
                    <a:ext uri="{FF2B5EF4-FFF2-40B4-BE49-F238E27FC236}">
                      <a16:creationId xmlns:a16="http://schemas.microsoft.com/office/drawing/2014/main" xmlns="" id="{1356E8A8-46C0-ADFC-653E-AA3F1169091D}"/>
                    </a:ext>
                  </a:extLst>
                </p:cNvPr>
                <p:cNvSpPr/>
                <p:nvPr/>
              </p:nvSpPr>
              <p:spPr>
                <a:xfrm>
                  <a:off x="7354700" y="24793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24604 w 362309"/>
                    <a:gd name="connsiteY6" fmla="*/ 70224 h 361971"/>
                    <a:gd name="connsiteX7" fmla="*/ 146330 w 362309"/>
                    <a:gd name="connsiteY7" fmla="*/ 70224 h 361971"/>
                    <a:gd name="connsiteX8" fmla="*/ 152720 w 362309"/>
                    <a:gd name="connsiteY8" fmla="*/ 76608 h 361971"/>
                    <a:gd name="connsiteX9" fmla="*/ 146330 w 362309"/>
                    <a:gd name="connsiteY9" fmla="*/ 82992 h 361971"/>
                    <a:gd name="connsiteX10" fmla="*/ 124604 w 362309"/>
                    <a:gd name="connsiteY10" fmla="*/ 82992 h 361971"/>
                    <a:gd name="connsiteX11" fmla="*/ 118214 w 362309"/>
                    <a:gd name="connsiteY11" fmla="*/ 76608 h 361971"/>
                    <a:gd name="connsiteX12" fmla="*/ 124604 w 362309"/>
                    <a:gd name="connsiteY12" fmla="*/ 70224 h 361971"/>
                    <a:gd name="connsiteX13" fmla="*/ 258154 w 362309"/>
                    <a:gd name="connsiteY13" fmla="*/ 137894 h 361971"/>
                    <a:gd name="connsiteX14" fmla="*/ 254319 w 362309"/>
                    <a:gd name="connsiteY14" fmla="*/ 143640 h 361971"/>
                    <a:gd name="connsiteX15" fmla="*/ 254319 w 362309"/>
                    <a:gd name="connsiteY15" fmla="*/ 232377 h 361971"/>
                    <a:gd name="connsiteX16" fmla="*/ 257514 w 362309"/>
                    <a:gd name="connsiteY16" fmla="*/ 240676 h 361971"/>
                    <a:gd name="connsiteX17" fmla="*/ 254319 w 362309"/>
                    <a:gd name="connsiteY17" fmla="*/ 243868 h 361971"/>
                    <a:gd name="connsiteX18" fmla="*/ 254319 w 362309"/>
                    <a:gd name="connsiteY18" fmla="*/ 279618 h 361971"/>
                    <a:gd name="connsiteX19" fmla="*/ 258154 w 362309"/>
                    <a:gd name="connsiteY19" fmla="*/ 285364 h 361971"/>
                    <a:gd name="connsiteX20" fmla="*/ 251764 w 362309"/>
                    <a:gd name="connsiteY20" fmla="*/ 291748 h 361971"/>
                    <a:gd name="connsiteX21" fmla="*/ 111185 w 362309"/>
                    <a:gd name="connsiteY21" fmla="*/ 291748 h 361971"/>
                    <a:gd name="connsiteX22" fmla="*/ 104795 w 362309"/>
                    <a:gd name="connsiteY22" fmla="*/ 285364 h 361971"/>
                    <a:gd name="connsiteX23" fmla="*/ 108629 w 362309"/>
                    <a:gd name="connsiteY23" fmla="*/ 279618 h 361971"/>
                    <a:gd name="connsiteX24" fmla="*/ 108629 w 362309"/>
                    <a:gd name="connsiteY24" fmla="*/ 243230 h 361971"/>
                    <a:gd name="connsiteX25" fmla="*/ 106073 w 362309"/>
                    <a:gd name="connsiteY25" fmla="*/ 234292 h 361971"/>
                    <a:gd name="connsiteX26" fmla="*/ 108629 w 362309"/>
                    <a:gd name="connsiteY26" fmla="*/ 231738 h 361971"/>
                    <a:gd name="connsiteX27" fmla="*/ 108629 w 362309"/>
                    <a:gd name="connsiteY27" fmla="*/ 143640 h 361971"/>
                    <a:gd name="connsiteX28" fmla="*/ 104795 w 362309"/>
                    <a:gd name="connsiteY28" fmla="*/ 137894 h 361971"/>
                    <a:gd name="connsiteX29" fmla="*/ 108629 w 362309"/>
                    <a:gd name="connsiteY29" fmla="*/ 132149 h 361971"/>
                    <a:gd name="connsiteX30" fmla="*/ 108629 w 362309"/>
                    <a:gd name="connsiteY30" fmla="*/ 100229 h 361971"/>
                    <a:gd name="connsiteX31" fmla="*/ 104795 w 362309"/>
                    <a:gd name="connsiteY31" fmla="*/ 94483 h 361971"/>
                    <a:gd name="connsiteX32" fmla="*/ 111185 w 362309"/>
                    <a:gd name="connsiteY32" fmla="*/ 88099 h 361971"/>
                    <a:gd name="connsiteX33" fmla="*/ 251764 w 362309"/>
                    <a:gd name="connsiteY33" fmla="*/ 88099 h 361971"/>
                    <a:gd name="connsiteX34" fmla="*/ 258154 w 362309"/>
                    <a:gd name="connsiteY34" fmla="*/ 94483 h 361971"/>
                    <a:gd name="connsiteX35" fmla="*/ 254319 w 362309"/>
                    <a:gd name="connsiteY35" fmla="*/ 100229 h 361971"/>
                    <a:gd name="connsiteX36" fmla="*/ 254319 w 362309"/>
                    <a:gd name="connsiteY36" fmla="*/ 132149 h 361971"/>
                    <a:gd name="connsiteX37" fmla="*/ 258154 w 362309"/>
                    <a:gd name="connsiteY37" fmla="*/ 137894 h 361971"/>
                    <a:gd name="connsiteX38" fmla="*/ 258154 w 362309"/>
                    <a:gd name="connsiteY38" fmla="*/ 1378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124604" y="70224"/>
                      </a:moveTo>
                      <a:lnTo>
                        <a:pt x="146330" y="70224"/>
                      </a:lnTo>
                      <a:cubicBezTo>
                        <a:pt x="150164" y="70224"/>
                        <a:pt x="152720" y="72778"/>
                        <a:pt x="152720" y="76608"/>
                      </a:cubicBezTo>
                      <a:cubicBezTo>
                        <a:pt x="152720" y="80438"/>
                        <a:pt x="150164" y="82992"/>
                        <a:pt x="146330" y="82992"/>
                      </a:cubicBezTo>
                      <a:lnTo>
                        <a:pt x="124604" y="82992"/>
                      </a:lnTo>
                      <a:cubicBezTo>
                        <a:pt x="120770" y="82992"/>
                        <a:pt x="118214" y="80438"/>
                        <a:pt x="118214" y="76608"/>
                      </a:cubicBezTo>
                      <a:cubicBezTo>
                        <a:pt x="118214" y="72778"/>
                        <a:pt x="120770" y="70224"/>
                        <a:pt x="124604" y="70224"/>
                      </a:cubicBezTo>
                      <a:close/>
                      <a:moveTo>
                        <a:pt x="258154" y="137894"/>
                      </a:moveTo>
                      <a:cubicBezTo>
                        <a:pt x="258154" y="140448"/>
                        <a:pt x="256876" y="142363"/>
                        <a:pt x="254319" y="143640"/>
                      </a:cubicBezTo>
                      <a:lnTo>
                        <a:pt x="254319" y="232377"/>
                      </a:lnTo>
                      <a:cubicBezTo>
                        <a:pt x="257514" y="233654"/>
                        <a:pt x="258792" y="237484"/>
                        <a:pt x="257514" y="240676"/>
                      </a:cubicBezTo>
                      <a:cubicBezTo>
                        <a:pt x="256876" y="241953"/>
                        <a:pt x="255597" y="243230"/>
                        <a:pt x="254319" y="243868"/>
                      </a:cubicBezTo>
                      <a:lnTo>
                        <a:pt x="254319" y="279618"/>
                      </a:lnTo>
                      <a:cubicBezTo>
                        <a:pt x="256876" y="280895"/>
                        <a:pt x="258154" y="282810"/>
                        <a:pt x="258154" y="285364"/>
                      </a:cubicBezTo>
                      <a:cubicBezTo>
                        <a:pt x="258154" y="289194"/>
                        <a:pt x="255597" y="291748"/>
                        <a:pt x="251764" y="291748"/>
                      </a:cubicBezTo>
                      <a:lnTo>
                        <a:pt x="111185" y="291748"/>
                      </a:lnTo>
                      <a:cubicBezTo>
                        <a:pt x="107351" y="291748"/>
                        <a:pt x="104795" y="289194"/>
                        <a:pt x="104795" y="285364"/>
                      </a:cubicBezTo>
                      <a:cubicBezTo>
                        <a:pt x="104795" y="282810"/>
                        <a:pt x="106073" y="280895"/>
                        <a:pt x="108629" y="279618"/>
                      </a:cubicBezTo>
                      <a:lnTo>
                        <a:pt x="108629" y="243230"/>
                      </a:lnTo>
                      <a:cubicBezTo>
                        <a:pt x="105434" y="241314"/>
                        <a:pt x="104156" y="237484"/>
                        <a:pt x="106073" y="234292"/>
                      </a:cubicBezTo>
                      <a:cubicBezTo>
                        <a:pt x="106712" y="233015"/>
                        <a:pt x="107351" y="232377"/>
                        <a:pt x="108629" y="231738"/>
                      </a:cubicBezTo>
                      <a:lnTo>
                        <a:pt x="108629" y="143640"/>
                      </a:lnTo>
                      <a:cubicBezTo>
                        <a:pt x="106712" y="142363"/>
                        <a:pt x="104795" y="140448"/>
                        <a:pt x="104795" y="137894"/>
                      </a:cubicBezTo>
                      <a:cubicBezTo>
                        <a:pt x="104795" y="135341"/>
                        <a:pt x="106073" y="133425"/>
                        <a:pt x="108629" y="132149"/>
                      </a:cubicBezTo>
                      <a:lnTo>
                        <a:pt x="108629" y="100229"/>
                      </a:lnTo>
                      <a:cubicBezTo>
                        <a:pt x="106712" y="98952"/>
                        <a:pt x="104795" y="97037"/>
                        <a:pt x="104795" y="94483"/>
                      </a:cubicBezTo>
                      <a:cubicBezTo>
                        <a:pt x="104795" y="90653"/>
                        <a:pt x="107351" y="88099"/>
                        <a:pt x="111185" y="88099"/>
                      </a:cubicBezTo>
                      <a:lnTo>
                        <a:pt x="251764" y="88099"/>
                      </a:lnTo>
                      <a:cubicBezTo>
                        <a:pt x="255597" y="88099"/>
                        <a:pt x="258154" y="90653"/>
                        <a:pt x="258154" y="94483"/>
                      </a:cubicBezTo>
                      <a:cubicBezTo>
                        <a:pt x="258154" y="97037"/>
                        <a:pt x="256876" y="99590"/>
                        <a:pt x="254319" y="100229"/>
                      </a:cubicBezTo>
                      <a:lnTo>
                        <a:pt x="254319" y="132149"/>
                      </a:lnTo>
                      <a:cubicBezTo>
                        <a:pt x="256876" y="133425"/>
                        <a:pt x="258154" y="135341"/>
                        <a:pt x="258154" y="137894"/>
                      </a:cubicBezTo>
                      <a:lnTo>
                        <a:pt x="258154" y="13789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8" name="Graphic 4">
                  <a:extLst>
                    <a:ext uri="{FF2B5EF4-FFF2-40B4-BE49-F238E27FC236}">
                      <a16:creationId xmlns:a16="http://schemas.microsoft.com/office/drawing/2014/main" xmlns="" id="{B2B94895-8D45-3852-14F9-AA0063671347}"/>
                    </a:ext>
                  </a:extLst>
                </p:cNvPr>
                <p:cNvSpPr/>
                <p:nvPr/>
              </p:nvSpPr>
              <p:spPr>
                <a:xfrm>
                  <a:off x="7475470" y="2580178"/>
                  <a:ext cx="120769" cy="30643"/>
                </a:xfrm>
                <a:custGeom>
                  <a:avLst/>
                  <a:gdLst>
                    <a:gd name="connsiteX0" fmla="*/ 0 w 120769"/>
                    <a:gd name="connsiteY0" fmla="*/ 0 h 30643"/>
                    <a:gd name="connsiteX1" fmla="*/ 120770 w 120769"/>
                    <a:gd name="connsiteY1" fmla="*/ 0 h 30643"/>
                    <a:gd name="connsiteX2" fmla="*/ 120770 w 120769"/>
                    <a:gd name="connsiteY2" fmla="*/ 30643 h 30643"/>
                    <a:gd name="connsiteX3" fmla="*/ 0 w 120769"/>
                    <a:gd name="connsiteY3" fmla="*/ 30643 h 30643"/>
                  </a:gdLst>
                  <a:ahLst/>
                  <a:cxnLst>
                    <a:cxn ang="0">
                      <a:pos x="connsiteX0" y="connsiteY0"/>
                    </a:cxn>
                    <a:cxn ang="0">
                      <a:pos x="connsiteX1" y="connsiteY1"/>
                    </a:cxn>
                    <a:cxn ang="0">
                      <a:pos x="connsiteX2" y="connsiteY2"/>
                    </a:cxn>
                    <a:cxn ang="0">
                      <a:pos x="connsiteX3" y="connsiteY3"/>
                    </a:cxn>
                  </a:cxnLst>
                  <a:rect l="l" t="t" r="r" b="b"/>
                  <a:pathLst>
                    <a:path w="120769" h="30643">
                      <a:moveTo>
                        <a:pt x="0" y="0"/>
                      </a:moveTo>
                      <a:lnTo>
                        <a:pt x="120770" y="0"/>
                      </a:lnTo>
                      <a:lnTo>
                        <a:pt x="120770" y="30643"/>
                      </a:lnTo>
                      <a:lnTo>
                        <a:pt x="0" y="3064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32" name="Graphic 4">
                <a:extLst>
                  <a:ext uri="{FF2B5EF4-FFF2-40B4-BE49-F238E27FC236}">
                    <a16:creationId xmlns:a16="http://schemas.microsoft.com/office/drawing/2014/main" xmlns="" id="{ABDC0A3D-FC3E-A084-D855-F8085C405382}"/>
                  </a:ext>
                </a:extLst>
              </p:cNvPr>
              <p:cNvGrpSpPr/>
              <p:nvPr/>
            </p:nvGrpSpPr>
            <p:grpSpPr>
              <a:xfrm>
                <a:off x="1590483" y="3932735"/>
                <a:ext cx="108000" cy="108000"/>
                <a:chOff x="6146480" y="1893013"/>
                <a:chExt cx="362309" cy="361971"/>
              </a:xfrm>
              <a:solidFill>
                <a:srgbClr val="012169"/>
              </a:solidFill>
            </p:grpSpPr>
            <p:sp>
              <p:nvSpPr>
                <p:cNvPr id="39" name="Graphic 4">
                  <a:extLst>
                    <a:ext uri="{FF2B5EF4-FFF2-40B4-BE49-F238E27FC236}">
                      <a16:creationId xmlns:a16="http://schemas.microsoft.com/office/drawing/2014/main" xmlns="" id="{0698D155-364E-DBBB-0D26-41D86696D014}"/>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0" name="Graphic 4">
                  <a:extLst>
                    <a:ext uri="{FF2B5EF4-FFF2-40B4-BE49-F238E27FC236}">
                      <a16:creationId xmlns:a16="http://schemas.microsoft.com/office/drawing/2014/main" xmlns="" id="{DAE4202B-522C-D630-E34A-361B1CA5D07A}"/>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1" name="Graphic 4">
                  <a:extLst>
                    <a:ext uri="{FF2B5EF4-FFF2-40B4-BE49-F238E27FC236}">
                      <a16:creationId xmlns:a16="http://schemas.microsoft.com/office/drawing/2014/main" xmlns="" id="{D68B4074-DEA2-2CD0-B018-E2742F92ECA1}"/>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2" name="Graphic 4">
                  <a:extLst>
                    <a:ext uri="{FF2B5EF4-FFF2-40B4-BE49-F238E27FC236}">
                      <a16:creationId xmlns:a16="http://schemas.microsoft.com/office/drawing/2014/main" xmlns="" id="{F43848CB-9F52-856E-D5A1-A1C51E93D8BE}"/>
                    </a:ext>
                  </a:extLst>
                </p:cNvPr>
                <p:cNvSpPr/>
                <p:nvPr/>
              </p:nvSpPr>
              <p:spPr>
                <a:xfrm>
                  <a:off x="6146480"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43" name="Graphic 4">
                  <a:extLst>
                    <a:ext uri="{FF2B5EF4-FFF2-40B4-BE49-F238E27FC236}">
                      <a16:creationId xmlns:a16="http://schemas.microsoft.com/office/drawing/2014/main" xmlns="" id="{5C884D14-D9DF-E926-9DAE-CA69157D9C1F}"/>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nvGrpSpPr>
              <p:cNvPr id="33" name="Graphic 4">
                <a:extLst>
                  <a:ext uri="{FF2B5EF4-FFF2-40B4-BE49-F238E27FC236}">
                    <a16:creationId xmlns:a16="http://schemas.microsoft.com/office/drawing/2014/main" xmlns="" id="{FF167B88-C53B-52E8-A430-26D078A6F19D}"/>
                  </a:ext>
                </a:extLst>
              </p:cNvPr>
              <p:cNvGrpSpPr/>
              <p:nvPr/>
            </p:nvGrpSpPr>
            <p:grpSpPr>
              <a:xfrm>
                <a:off x="1137783" y="4070529"/>
                <a:ext cx="108000" cy="108000"/>
                <a:chOff x="6146480" y="1893013"/>
                <a:chExt cx="362309" cy="361971"/>
              </a:xfrm>
              <a:solidFill>
                <a:srgbClr val="012169"/>
              </a:solidFill>
            </p:grpSpPr>
            <p:sp>
              <p:nvSpPr>
                <p:cNvPr id="34" name="Graphic 4">
                  <a:extLst>
                    <a:ext uri="{FF2B5EF4-FFF2-40B4-BE49-F238E27FC236}">
                      <a16:creationId xmlns:a16="http://schemas.microsoft.com/office/drawing/2014/main" xmlns="" id="{0968F630-B3E5-E9E3-52E7-7F1DBD0F3236}"/>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35" name="Graphic 4">
                  <a:extLst>
                    <a:ext uri="{FF2B5EF4-FFF2-40B4-BE49-F238E27FC236}">
                      <a16:creationId xmlns:a16="http://schemas.microsoft.com/office/drawing/2014/main" xmlns="" id="{9B4629F4-5D5E-0736-5FA4-8E6CDDF2D385}"/>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36" name="Graphic 4">
                  <a:extLst>
                    <a:ext uri="{FF2B5EF4-FFF2-40B4-BE49-F238E27FC236}">
                      <a16:creationId xmlns:a16="http://schemas.microsoft.com/office/drawing/2014/main" xmlns="" id="{B9950441-0DD3-90A7-522A-9C678C50E71D}"/>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37" name="Graphic 4">
                  <a:extLst>
                    <a:ext uri="{FF2B5EF4-FFF2-40B4-BE49-F238E27FC236}">
                      <a16:creationId xmlns:a16="http://schemas.microsoft.com/office/drawing/2014/main" xmlns="" id="{869EEB89-46A4-5501-913A-45902A29A49A}"/>
                    </a:ext>
                  </a:extLst>
                </p:cNvPr>
                <p:cNvSpPr/>
                <p:nvPr/>
              </p:nvSpPr>
              <p:spPr>
                <a:xfrm>
                  <a:off x="6146480"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sp>
              <p:nvSpPr>
                <p:cNvPr id="38" name="Graphic 4">
                  <a:extLst>
                    <a:ext uri="{FF2B5EF4-FFF2-40B4-BE49-F238E27FC236}">
                      <a16:creationId xmlns:a16="http://schemas.microsoft.com/office/drawing/2014/main" xmlns="" id="{48E33FCF-6A27-DA66-1C83-8F715887556D}"/>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419" sz="1400" b="1">
                    <a:latin typeface="Calibri Light" panose="020F0302020204030204" pitchFamily="34" charset="0"/>
                    <a:cs typeface="Calibri Light" panose="020F0302020204030204" pitchFamily="34" charset="0"/>
                  </a:endParaRPr>
                </a:p>
              </p:txBody>
            </p:sp>
          </p:grpSp>
        </p:grpSp>
      </p:grpSp>
      <p:grpSp>
        <p:nvGrpSpPr>
          <p:cNvPr id="2080" name="Group 2263">
            <a:extLst>
              <a:ext uri="{FF2B5EF4-FFF2-40B4-BE49-F238E27FC236}">
                <a16:creationId xmlns:a16="http://schemas.microsoft.com/office/drawing/2014/main" xmlns="" id="{CE9A058C-6534-50CA-2ED8-F3B6608FFC0C}"/>
              </a:ext>
            </a:extLst>
          </p:cNvPr>
          <p:cNvGrpSpPr/>
          <p:nvPr/>
        </p:nvGrpSpPr>
        <p:grpSpPr>
          <a:xfrm>
            <a:off x="3606502" y="4313290"/>
            <a:ext cx="1477636" cy="657279"/>
            <a:chOff x="2565534" y="4843103"/>
            <a:chExt cx="1477636" cy="657279"/>
          </a:xfrm>
        </p:grpSpPr>
        <p:sp>
          <p:nvSpPr>
            <p:cNvPr id="2081" name="Rectangle 2264">
              <a:extLst>
                <a:ext uri="{FF2B5EF4-FFF2-40B4-BE49-F238E27FC236}">
                  <a16:creationId xmlns:a16="http://schemas.microsoft.com/office/drawing/2014/main" xmlns="" id="{3EF55F8D-F03F-7545-8B69-C7FF14C374D3}"/>
                </a:ext>
              </a:extLst>
            </p:cNvPr>
            <p:cNvSpPr/>
            <p:nvPr/>
          </p:nvSpPr>
          <p:spPr bwMode="gray">
            <a:xfrm>
              <a:off x="2579557" y="4865638"/>
              <a:ext cx="156207" cy="116784"/>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200" b="1">
                <a:latin typeface="Calibri Light" panose="020F0302020204030204" pitchFamily="34" charset="0"/>
                <a:cs typeface="Calibri Light" panose="020F0302020204030204" pitchFamily="34" charset="0"/>
              </a:endParaRPr>
            </a:p>
          </p:txBody>
        </p:sp>
        <p:sp>
          <p:nvSpPr>
            <p:cNvPr id="2082" name="TextBox 2265">
              <a:extLst>
                <a:ext uri="{FF2B5EF4-FFF2-40B4-BE49-F238E27FC236}">
                  <a16:creationId xmlns:a16="http://schemas.microsoft.com/office/drawing/2014/main" xmlns="" id="{139D5014-1B0A-7150-0B51-46E8AF9D2B2C}"/>
                </a:ext>
              </a:extLst>
            </p:cNvPr>
            <p:cNvSpPr txBox="1"/>
            <p:nvPr/>
          </p:nvSpPr>
          <p:spPr>
            <a:xfrm>
              <a:off x="2793153" y="4843103"/>
              <a:ext cx="1243903" cy="184666"/>
            </a:xfrm>
            <a:prstGeom prst="rect">
              <a:avLst/>
            </a:prstGeom>
            <a:noFill/>
          </p:spPr>
          <p:txBody>
            <a:bodyPr wrap="square" lIns="0" tIns="0" rIns="0" bIns="0" rtlCol="0">
              <a:spAutoFit/>
            </a:bodyPr>
            <a:lstStyle/>
            <a:p>
              <a:pPr algn="l">
                <a:spcBef>
                  <a:spcPts val="600"/>
                </a:spcBef>
                <a:buSzPct val="100000"/>
              </a:pPr>
              <a:r>
                <a:rPr lang="es-419" sz="600">
                  <a:solidFill>
                    <a:srgbClr val="313131"/>
                  </a:solidFill>
                  <a:latin typeface="Calibri Light" panose="020F0302020204030204" pitchFamily="34" charset="0"/>
                  <a:cs typeface="Calibri Light" panose="020F0302020204030204" pitchFamily="34" charset="0"/>
                </a:rPr>
                <a:t>Departamentos identificados con una potencial demanda</a:t>
              </a:r>
            </a:p>
          </p:txBody>
        </p:sp>
        <p:grpSp>
          <p:nvGrpSpPr>
            <p:cNvPr id="2083" name="Graphic 4">
              <a:extLst>
                <a:ext uri="{FF2B5EF4-FFF2-40B4-BE49-F238E27FC236}">
                  <a16:creationId xmlns:a16="http://schemas.microsoft.com/office/drawing/2014/main" xmlns="" id="{20C95891-D79A-E640-E6C3-B429DBC7B645}"/>
                </a:ext>
              </a:extLst>
            </p:cNvPr>
            <p:cNvGrpSpPr/>
            <p:nvPr/>
          </p:nvGrpSpPr>
          <p:grpSpPr>
            <a:xfrm>
              <a:off x="2565534" y="5082682"/>
              <a:ext cx="180000" cy="180000"/>
              <a:chOff x="5092779" y="1885990"/>
              <a:chExt cx="362309" cy="361971"/>
            </a:xfrm>
            <a:solidFill>
              <a:srgbClr val="9B6836"/>
            </a:solidFill>
          </p:grpSpPr>
          <p:sp>
            <p:nvSpPr>
              <p:cNvPr id="2103" name="Graphic 4">
                <a:extLst>
                  <a:ext uri="{FF2B5EF4-FFF2-40B4-BE49-F238E27FC236}">
                    <a16:creationId xmlns:a16="http://schemas.microsoft.com/office/drawing/2014/main" xmlns="" id="{6FE21123-FA9E-AAA5-280D-EB902ED9546E}"/>
                  </a:ext>
                </a:extLst>
              </p:cNvPr>
              <p:cNvSpPr/>
              <p:nvPr/>
            </p:nvSpPr>
            <p:spPr>
              <a:xfrm>
                <a:off x="5234636" y="2038568"/>
                <a:ext cx="81152" cy="63201"/>
              </a:xfrm>
              <a:custGeom>
                <a:avLst/>
                <a:gdLst>
                  <a:gd name="connsiteX0" fmla="*/ 64538 w 81152"/>
                  <a:gd name="connsiteY0" fmla="*/ 8299 h 63201"/>
                  <a:gd name="connsiteX1" fmla="*/ 64538 w 81152"/>
                  <a:gd name="connsiteY1" fmla="*/ 0 h 63201"/>
                  <a:gd name="connsiteX2" fmla="*/ 15975 w 81152"/>
                  <a:gd name="connsiteY2" fmla="*/ 0 h 63201"/>
                  <a:gd name="connsiteX3" fmla="*/ 15975 w 81152"/>
                  <a:gd name="connsiteY3" fmla="*/ 8299 h 63201"/>
                  <a:gd name="connsiteX4" fmla="*/ 9585 w 81152"/>
                  <a:gd name="connsiteY4" fmla="*/ 14683 h 63201"/>
                  <a:gd name="connsiteX5" fmla="*/ 0 w 81152"/>
                  <a:gd name="connsiteY5" fmla="*/ 14683 h 63201"/>
                  <a:gd name="connsiteX6" fmla="*/ 0 w 81152"/>
                  <a:gd name="connsiteY6" fmla="*/ 63201 h 63201"/>
                  <a:gd name="connsiteX7" fmla="*/ 81152 w 81152"/>
                  <a:gd name="connsiteY7" fmla="*/ 63201 h 63201"/>
                  <a:gd name="connsiteX8" fmla="*/ 81152 w 81152"/>
                  <a:gd name="connsiteY8" fmla="*/ 14683 h 63201"/>
                  <a:gd name="connsiteX9" fmla="*/ 71567 w 81152"/>
                  <a:gd name="connsiteY9" fmla="*/ 14683 h 63201"/>
                  <a:gd name="connsiteX10" fmla="*/ 64538 w 81152"/>
                  <a:gd name="connsiteY10" fmla="*/ 8299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152" h="63201">
                    <a:moveTo>
                      <a:pt x="64538" y="8299"/>
                    </a:moveTo>
                    <a:lnTo>
                      <a:pt x="64538" y="0"/>
                    </a:lnTo>
                    <a:lnTo>
                      <a:pt x="15975" y="0"/>
                    </a:lnTo>
                    <a:lnTo>
                      <a:pt x="15975" y="8299"/>
                    </a:lnTo>
                    <a:cubicBezTo>
                      <a:pt x="15975" y="12130"/>
                      <a:pt x="13419" y="14683"/>
                      <a:pt x="9585" y="14683"/>
                    </a:cubicBezTo>
                    <a:lnTo>
                      <a:pt x="0" y="14683"/>
                    </a:lnTo>
                    <a:lnTo>
                      <a:pt x="0" y="63201"/>
                    </a:lnTo>
                    <a:lnTo>
                      <a:pt x="81152" y="63201"/>
                    </a:lnTo>
                    <a:lnTo>
                      <a:pt x="81152" y="14683"/>
                    </a:lnTo>
                    <a:lnTo>
                      <a:pt x="71567" y="14683"/>
                    </a:lnTo>
                    <a:cubicBezTo>
                      <a:pt x="67733" y="14683"/>
                      <a:pt x="64538" y="12130"/>
                      <a:pt x="64538" y="8299"/>
                    </a:cubicBezTo>
                    <a:close/>
                  </a:path>
                </a:pathLst>
              </a:custGeom>
              <a:grpFill/>
              <a:ln w="6390" cap="flat">
                <a:noFill/>
                <a:prstDash val="solid"/>
                <a:miter/>
              </a:ln>
            </p:spPr>
            <p:txBody>
              <a:bodyPr rtlCol="0" anchor="ctr"/>
              <a:lstStyle/>
              <a:p>
                <a:endParaRPr lang="es-419"/>
              </a:p>
            </p:txBody>
          </p:sp>
          <p:sp>
            <p:nvSpPr>
              <p:cNvPr id="2104" name="Graphic 4">
                <a:extLst>
                  <a:ext uri="{FF2B5EF4-FFF2-40B4-BE49-F238E27FC236}">
                    <a16:creationId xmlns:a16="http://schemas.microsoft.com/office/drawing/2014/main" xmlns="" id="{22E74B0D-94AB-DC7A-C8E7-64E90D322028}"/>
                  </a:ext>
                </a:extLst>
              </p:cNvPr>
              <p:cNvSpPr/>
              <p:nvPr/>
            </p:nvSpPr>
            <p:spPr>
              <a:xfrm>
                <a:off x="5327929" y="2061550"/>
                <a:ext cx="49841" cy="71500"/>
              </a:xfrm>
              <a:custGeom>
                <a:avLst/>
                <a:gdLst>
                  <a:gd name="connsiteX0" fmla="*/ 19170 w 49841"/>
                  <a:gd name="connsiteY0" fmla="*/ 1277 h 71500"/>
                  <a:gd name="connsiteX1" fmla="*/ 0 w 49841"/>
                  <a:gd name="connsiteY1" fmla="*/ 0 h 71500"/>
                  <a:gd name="connsiteX2" fmla="*/ 0 w 49841"/>
                  <a:gd name="connsiteY2" fmla="*/ 30643 h 71500"/>
                  <a:gd name="connsiteX3" fmla="*/ 14697 w 49841"/>
                  <a:gd name="connsiteY3" fmla="*/ 30643 h 71500"/>
                  <a:gd name="connsiteX4" fmla="*/ 26838 w 49841"/>
                  <a:gd name="connsiteY4" fmla="*/ 35750 h 71500"/>
                  <a:gd name="connsiteX5" fmla="*/ 32589 w 49841"/>
                  <a:gd name="connsiteY5" fmla="*/ 57456 h 71500"/>
                  <a:gd name="connsiteX6" fmla="*/ 32589 w 49841"/>
                  <a:gd name="connsiteY6" fmla="*/ 71501 h 71500"/>
                  <a:gd name="connsiteX7" fmla="*/ 49841 w 49841"/>
                  <a:gd name="connsiteY7" fmla="*/ 71501 h 71500"/>
                  <a:gd name="connsiteX8" fmla="*/ 48564 w 49841"/>
                  <a:gd name="connsiteY8" fmla="*/ 28090 h 71500"/>
                  <a:gd name="connsiteX9" fmla="*/ 19170 w 49841"/>
                  <a:gd name="connsiteY9" fmla="*/ 1277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41" h="71500">
                    <a:moveTo>
                      <a:pt x="19170" y="1277"/>
                    </a:moveTo>
                    <a:cubicBezTo>
                      <a:pt x="12780" y="638"/>
                      <a:pt x="6390" y="0"/>
                      <a:pt x="0" y="0"/>
                    </a:cubicBezTo>
                    <a:lnTo>
                      <a:pt x="0" y="30643"/>
                    </a:lnTo>
                    <a:lnTo>
                      <a:pt x="14697" y="30643"/>
                    </a:lnTo>
                    <a:cubicBezTo>
                      <a:pt x="19170" y="30643"/>
                      <a:pt x="23643" y="32558"/>
                      <a:pt x="26838" y="35750"/>
                    </a:cubicBezTo>
                    <a:cubicBezTo>
                      <a:pt x="31311" y="42134"/>
                      <a:pt x="33228" y="49795"/>
                      <a:pt x="32589" y="57456"/>
                    </a:cubicBezTo>
                    <a:lnTo>
                      <a:pt x="32589" y="71501"/>
                    </a:lnTo>
                    <a:lnTo>
                      <a:pt x="49841" y="71501"/>
                    </a:lnTo>
                    <a:cubicBezTo>
                      <a:pt x="49841" y="63202"/>
                      <a:pt x="49841" y="47242"/>
                      <a:pt x="48564" y="28090"/>
                    </a:cubicBezTo>
                    <a:cubicBezTo>
                      <a:pt x="47925" y="10214"/>
                      <a:pt x="31950" y="3830"/>
                      <a:pt x="19170" y="1277"/>
                    </a:cubicBezTo>
                    <a:close/>
                  </a:path>
                </a:pathLst>
              </a:custGeom>
              <a:grpFill/>
              <a:ln w="6390" cap="flat">
                <a:noFill/>
                <a:prstDash val="solid"/>
                <a:miter/>
              </a:ln>
            </p:spPr>
            <p:txBody>
              <a:bodyPr rtlCol="0" anchor="ctr"/>
              <a:lstStyle/>
              <a:p>
                <a:endParaRPr lang="es-419"/>
              </a:p>
            </p:txBody>
          </p:sp>
          <p:sp>
            <p:nvSpPr>
              <p:cNvPr id="2105" name="Graphic 4">
                <a:extLst>
                  <a:ext uri="{FF2B5EF4-FFF2-40B4-BE49-F238E27FC236}">
                    <a16:creationId xmlns:a16="http://schemas.microsoft.com/office/drawing/2014/main" xmlns="" id="{71BBCFA1-471B-B8FE-170B-E0AA4AF0D760}"/>
                  </a:ext>
                </a:extLst>
              </p:cNvPr>
              <p:cNvSpPr/>
              <p:nvPr/>
            </p:nvSpPr>
            <p:spPr>
              <a:xfrm>
                <a:off x="5170737" y="2060912"/>
                <a:ext cx="51758" cy="71500"/>
              </a:xfrm>
              <a:custGeom>
                <a:avLst/>
                <a:gdLst>
                  <a:gd name="connsiteX0" fmla="*/ 30033 w 51758"/>
                  <a:gd name="connsiteY0" fmla="*/ 1915 h 71500"/>
                  <a:gd name="connsiteX1" fmla="*/ 1278 w 51758"/>
                  <a:gd name="connsiteY1" fmla="*/ 28089 h 71500"/>
                  <a:gd name="connsiteX2" fmla="*/ 0 w 51758"/>
                  <a:gd name="connsiteY2" fmla="*/ 71500 h 71500"/>
                  <a:gd name="connsiteX3" fmla="*/ 17253 w 51758"/>
                  <a:gd name="connsiteY3" fmla="*/ 71500 h 71500"/>
                  <a:gd name="connsiteX4" fmla="*/ 17253 w 51758"/>
                  <a:gd name="connsiteY4" fmla="*/ 56817 h 71500"/>
                  <a:gd name="connsiteX5" fmla="*/ 23004 w 51758"/>
                  <a:gd name="connsiteY5" fmla="*/ 35750 h 71500"/>
                  <a:gd name="connsiteX6" fmla="*/ 34505 w 51758"/>
                  <a:gd name="connsiteY6" fmla="*/ 30643 h 71500"/>
                  <a:gd name="connsiteX7" fmla="*/ 51758 w 51758"/>
                  <a:gd name="connsiteY7" fmla="*/ 30643 h 71500"/>
                  <a:gd name="connsiteX8" fmla="*/ 51758 w 51758"/>
                  <a:gd name="connsiteY8" fmla="*/ 0 h 71500"/>
                  <a:gd name="connsiteX9" fmla="*/ 30033 w 51758"/>
                  <a:gd name="connsiteY9" fmla="*/ 1915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58" h="71500">
                    <a:moveTo>
                      <a:pt x="30033" y="1915"/>
                    </a:moveTo>
                    <a:cubicBezTo>
                      <a:pt x="17253" y="3830"/>
                      <a:pt x="1917" y="10214"/>
                      <a:pt x="1278" y="28089"/>
                    </a:cubicBezTo>
                    <a:cubicBezTo>
                      <a:pt x="0" y="47241"/>
                      <a:pt x="0" y="63201"/>
                      <a:pt x="0" y="71500"/>
                    </a:cubicBezTo>
                    <a:lnTo>
                      <a:pt x="17253" y="71500"/>
                    </a:lnTo>
                    <a:lnTo>
                      <a:pt x="17253" y="56817"/>
                    </a:lnTo>
                    <a:cubicBezTo>
                      <a:pt x="16614" y="49157"/>
                      <a:pt x="18531" y="42134"/>
                      <a:pt x="23004" y="35750"/>
                    </a:cubicBezTo>
                    <a:cubicBezTo>
                      <a:pt x="26199" y="32558"/>
                      <a:pt x="30033" y="30643"/>
                      <a:pt x="34505" y="30643"/>
                    </a:cubicBezTo>
                    <a:lnTo>
                      <a:pt x="51758" y="30643"/>
                    </a:lnTo>
                    <a:lnTo>
                      <a:pt x="51758" y="0"/>
                    </a:lnTo>
                    <a:cubicBezTo>
                      <a:pt x="44090" y="638"/>
                      <a:pt x="37062" y="1277"/>
                      <a:pt x="30033" y="1915"/>
                    </a:cubicBezTo>
                    <a:close/>
                  </a:path>
                </a:pathLst>
              </a:custGeom>
              <a:grpFill/>
              <a:ln w="6390" cap="flat">
                <a:noFill/>
                <a:prstDash val="solid"/>
                <a:miter/>
              </a:ln>
            </p:spPr>
            <p:txBody>
              <a:bodyPr rtlCol="0" anchor="ctr"/>
              <a:lstStyle/>
              <a:p>
                <a:endParaRPr lang="es-419"/>
              </a:p>
            </p:txBody>
          </p:sp>
          <p:sp>
            <p:nvSpPr>
              <p:cNvPr id="2106" name="Graphic 4">
                <a:extLst>
                  <a:ext uri="{FF2B5EF4-FFF2-40B4-BE49-F238E27FC236}">
                    <a16:creationId xmlns:a16="http://schemas.microsoft.com/office/drawing/2014/main" xmlns="" id="{F0306265-4B38-F68D-3224-D176B0B926CF}"/>
                  </a:ext>
                </a:extLst>
              </p:cNvPr>
              <p:cNvSpPr/>
              <p:nvPr/>
            </p:nvSpPr>
            <p:spPr>
              <a:xfrm>
                <a:off x="5092779" y="1885990"/>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8410 w 362309"/>
                  <a:gd name="connsiteY6" fmla="*/ 253444 h 361971"/>
                  <a:gd name="connsiteX7" fmla="*/ 292020 w 362309"/>
                  <a:gd name="connsiteY7" fmla="*/ 259828 h 361971"/>
                  <a:gd name="connsiteX8" fmla="*/ 261987 w 362309"/>
                  <a:gd name="connsiteY8" fmla="*/ 259828 h 361971"/>
                  <a:gd name="connsiteX9" fmla="*/ 255597 w 362309"/>
                  <a:gd name="connsiteY9" fmla="*/ 253444 h 361971"/>
                  <a:gd name="connsiteX10" fmla="*/ 255597 w 362309"/>
                  <a:gd name="connsiteY10" fmla="*/ 232377 h 361971"/>
                  <a:gd name="connsiteX11" fmla="*/ 253041 w 362309"/>
                  <a:gd name="connsiteY11" fmla="*/ 220247 h 361971"/>
                  <a:gd name="connsiteX12" fmla="*/ 250486 w 362309"/>
                  <a:gd name="connsiteY12" fmla="*/ 219609 h 361971"/>
                  <a:gd name="connsiteX13" fmla="*/ 235789 w 362309"/>
                  <a:gd name="connsiteY13" fmla="*/ 219609 h 361971"/>
                  <a:gd name="connsiteX14" fmla="*/ 235789 w 362309"/>
                  <a:gd name="connsiteY14" fmla="*/ 222801 h 361971"/>
                  <a:gd name="connsiteX15" fmla="*/ 229399 w 362309"/>
                  <a:gd name="connsiteY15" fmla="*/ 229185 h 361971"/>
                  <a:gd name="connsiteX16" fmla="*/ 135467 w 362309"/>
                  <a:gd name="connsiteY16" fmla="*/ 229185 h 361971"/>
                  <a:gd name="connsiteX17" fmla="*/ 129077 w 362309"/>
                  <a:gd name="connsiteY17" fmla="*/ 222801 h 361971"/>
                  <a:gd name="connsiteX18" fmla="*/ 129077 w 362309"/>
                  <a:gd name="connsiteY18" fmla="*/ 219609 h 361971"/>
                  <a:gd name="connsiteX19" fmla="*/ 111824 w 362309"/>
                  <a:gd name="connsiteY19" fmla="*/ 219609 h 361971"/>
                  <a:gd name="connsiteX20" fmla="*/ 109268 w 362309"/>
                  <a:gd name="connsiteY20" fmla="*/ 220247 h 361971"/>
                  <a:gd name="connsiteX21" fmla="*/ 106712 w 362309"/>
                  <a:gd name="connsiteY21" fmla="*/ 231739 h 361971"/>
                  <a:gd name="connsiteX22" fmla="*/ 106712 w 362309"/>
                  <a:gd name="connsiteY22" fmla="*/ 253444 h 361971"/>
                  <a:gd name="connsiteX23" fmla="*/ 100322 w 362309"/>
                  <a:gd name="connsiteY23" fmla="*/ 259828 h 361971"/>
                  <a:gd name="connsiteX24" fmla="*/ 70289 w 362309"/>
                  <a:gd name="connsiteY24" fmla="*/ 259828 h 361971"/>
                  <a:gd name="connsiteX25" fmla="*/ 63899 w 362309"/>
                  <a:gd name="connsiteY25" fmla="*/ 253444 h 361971"/>
                  <a:gd name="connsiteX26" fmla="*/ 65177 w 362309"/>
                  <a:gd name="connsiteY26" fmla="*/ 203011 h 361971"/>
                  <a:gd name="connsiteX27" fmla="*/ 104795 w 362309"/>
                  <a:gd name="connsiteY27" fmla="*/ 164707 h 361971"/>
                  <a:gd name="connsiteX28" fmla="*/ 127799 w 362309"/>
                  <a:gd name="connsiteY28" fmla="*/ 163430 h 361971"/>
                  <a:gd name="connsiteX29" fmla="*/ 127799 w 362309"/>
                  <a:gd name="connsiteY29" fmla="*/ 160876 h 361971"/>
                  <a:gd name="connsiteX30" fmla="*/ 134189 w 362309"/>
                  <a:gd name="connsiteY30" fmla="*/ 154492 h 361971"/>
                  <a:gd name="connsiteX31" fmla="*/ 143774 w 362309"/>
                  <a:gd name="connsiteY31" fmla="*/ 154492 h 361971"/>
                  <a:gd name="connsiteX32" fmla="*/ 143774 w 362309"/>
                  <a:gd name="connsiteY32" fmla="*/ 146193 h 361971"/>
                  <a:gd name="connsiteX33" fmla="*/ 150164 w 362309"/>
                  <a:gd name="connsiteY33" fmla="*/ 139809 h 361971"/>
                  <a:gd name="connsiteX34" fmla="*/ 174445 w 362309"/>
                  <a:gd name="connsiteY34" fmla="*/ 139809 h 361971"/>
                  <a:gd name="connsiteX35" fmla="*/ 174445 w 362309"/>
                  <a:gd name="connsiteY35" fmla="*/ 120019 h 361971"/>
                  <a:gd name="connsiteX36" fmla="*/ 144412 w 362309"/>
                  <a:gd name="connsiteY36" fmla="*/ 120019 h 361971"/>
                  <a:gd name="connsiteX37" fmla="*/ 139940 w 362309"/>
                  <a:gd name="connsiteY37" fmla="*/ 124488 h 361971"/>
                  <a:gd name="connsiteX38" fmla="*/ 133550 w 362309"/>
                  <a:gd name="connsiteY38" fmla="*/ 130872 h 361971"/>
                  <a:gd name="connsiteX39" fmla="*/ 127160 w 362309"/>
                  <a:gd name="connsiteY39" fmla="*/ 124488 h 361971"/>
                  <a:gd name="connsiteX40" fmla="*/ 144412 w 362309"/>
                  <a:gd name="connsiteY40" fmla="*/ 107251 h 361971"/>
                  <a:gd name="connsiteX41" fmla="*/ 174445 w 362309"/>
                  <a:gd name="connsiteY41" fmla="*/ 107251 h 361971"/>
                  <a:gd name="connsiteX42" fmla="*/ 174445 w 362309"/>
                  <a:gd name="connsiteY42" fmla="*/ 95121 h 361971"/>
                  <a:gd name="connsiteX43" fmla="*/ 180835 w 362309"/>
                  <a:gd name="connsiteY43" fmla="*/ 88738 h 361971"/>
                  <a:gd name="connsiteX44" fmla="*/ 187225 w 362309"/>
                  <a:gd name="connsiteY44" fmla="*/ 95121 h 361971"/>
                  <a:gd name="connsiteX45" fmla="*/ 187225 w 362309"/>
                  <a:gd name="connsiteY45" fmla="*/ 107251 h 361971"/>
                  <a:gd name="connsiteX46" fmla="*/ 217258 w 362309"/>
                  <a:gd name="connsiteY46" fmla="*/ 107251 h 361971"/>
                  <a:gd name="connsiteX47" fmla="*/ 234511 w 362309"/>
                  <a:gd name="connsiteY47" fmla="*/ 124488 h 361971"/>
                  <a:gd name="connsiteX48" fmla="*/ 228121 w 362309"/>
                  <a:gd name="connsiteY48" fmla="*/ 130872 h 361971"/>
                  <a:gd name="connsiteX49" fmla="*/ 221731 w 362309"/>
                  <a:gd name="connsiteY49" fmla="*/ 124488 h 361971"/>
                  <a:gd name="connsiteX50" fmla="*/ 217258 w 362309"/>
                  <a:gd name="connsiteY50" fmla="*/ 120019 h 361971"/>
                  <a:gd name="connsiteX51" fmla="*/ 187225 w 362309"/>
                  <a:gd name="connsiteY51" fmla="*/ 120019 h 361971"/>
                  <a:gd name="connsiteX52" fmla="*/ 187225 w 362309"/>
                  <a:gd name="connsiteY52" fmla="*/ 139809 h 361971"/>
                  <a:gd name="connsiteX53" fmla="*/ 211507 w 362309"/>
                  <a:gd name="connsiteY53" fmla="*/ 139809 h 361971"/>
                  <a:gd name="connsiteX54" fmla="*/ 217897 w 362309"/>
                  <a:gd name="connsiteY54" fmla="*/ 146193 h 361971"/>
                  <a:gd name="connsiteX55" fmla="*/ 217897 w 362309"/>
                  <a:gd name="connsiteY55" fmla="*/ 154492 h 361971"/>
                  <a:gd name="connsiteX56" fmla="*/ 227482 w 362309"/>
                  <a:gd name="connsiteY56" fmla="*/ 154492 h 361971"/>
                  <a:gd name="connsiteX57" fmla="*/ 233872 w 362309"/>
                  <a:gd name="connsiteY57" fmla="*/ 160876 h 361971"/>
                  <a:gd name="connsiteX58" fmla="*/ 233872 w 362309"/>
                  <a:gd name="connsiteY58" fmla="*/ 162792 h 361971"/>
                  <a:gd name="connsiteX59" fmla="*/ 254959 w 362309"/>
                  <a:gd name="connsiteY59" fmla="*/ 164068 h 361971"/>
                  <a:gd name="connsiteX60" fmla="*/ 295215 w 362309"/>
                  <a:gd name="connsiteY60" fmla="*/ 202372 h 361971"/>
                  <a:gd name="connsiteX61" fmla="*/ 298410 w 362309"/>
                  <a:gd name="connsiteY61" fmla="*/ 253444 h 361971"/>
                  <a:gd name="connsiteX62" fmla="*/ 298410 w 362309"/>
                  <a:gd name="connsiteY62"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8410" y="253444"/>
                    </a:moveTo>
                    <a:cubicBezTo>
                      <a:pt x="298410" y="257275"/>
                      <a:pt x="295854" y="259828"/>
                      <a:pt x="292020" y="259828"/>
                    </a:cubicBezTo>
                    <a:lnTo>
                      <a:pt x="261987" y="259828"/>
                    </a:lnTo>
                    <a:cubicBezTo>
                      <a:pt x="258154" y="259828"/>
                      <a:pt x="255597" y="257275"/>
                      <a:pt x="255597" y="253444"/>
                    </a:cubicBezTo>
                    <a:lnTo>
                      <a:pt x="255597" y="232377"/>
                    </a:lnTo>
                    <a:cubicBezTo>
                      <a:pt x="256236" y="227908"/>
                      <a:pt x="255597" y="224078"/>
                      <a:pt x="253041" y="220247"/>
                    </a:cubicBezTo>
                    <a:cubicBezTo>
                      <a:pt x="252403" y="219609"/>
                      <a:pt x="251124" y="218971"/>
                      <a:pt x="250486" y="219609"/>
                    </a:cubicBezTo>
                    <a:lnTo>
                      <a:pt x="235789" y="219609"/>
                    </a:lnTo>
                    <a:lnTo>
                      <a:pt x="235789" y="222801"/>
                    </a:lnTo>
                    <a:cubicBezTo>
                      <a:pt x="235789" y="226631"/>
                      <a:pt x="233233" y="229185"/>
                      <a:pt x="229399" y="229185"/>
                    </a:cubicBezTo>
                    <a:lnTo>
                      <a:pt x="135467" y="229185"/>
                    </a:lnTo>
                    <a:cubicBezTo>
                      <a:pt x="131633" y="229185"/>
                      <a:pt x="129077" y="226631"/>
                      <a:pt x="129077" y="222801"/>
                    </a:cubicBezTo>
                    <a:lnTo>
                      <a:pt x="129077" y="219609"/>
                    </a:lnTo>
                    <a:lnTo>
                      <a:pt x="111824" y="219609"/>
                    </a:lnTo>
                    <a:cubicBezTo>
                      <a:pt x="111185" y="219609"/>
                      <a:pt x="109907" y="219609"/>
                      <a:pt x="109268" y="220247"/>
                    </a:cubicBezTo>
                    <a:cubicBezTo>
                      <a:pt x="107351" y="224078"/>
                      <a:pt x="106712" y="227908"/>
                      <a:pt x="106712" y="231739"/>
                    </a:cubicBezTo>
                    <a:lnTo>
                      <a:pt x="106712" y="253444"/>
                    </a:lnTo>
                    <a:cubicBezTo>
                      <a:pt x="106712" y="257275"/>
                      <a:pt x="104156" y="259828"/>
                      <a:pt x="100322" y="259828"/>
                    </a:cubicBezTo>
                    <a:lnTo>
                      <a:pt x="70289" y="259828"/>
                    </a:lnTo>
                    <a:cubicBezTo>
                      <a:pt x="66456" y="259828"/>
                      <a:pt x="63899" y="257275"/>
                      <a:pt x="63899" y="253444"/>
                    </a:cubicBezTo>
                    <a:cubicBezTo>
                      <a:pt x="63899" y="253444"/>
                      <a:pt x="63899" y="231739"/>
                      <a:pt x="65177" y="203011"/>
                    </a:cubicBezTo>
                    <a:cubicBezTo>
                      <a:pt x="66456" y="182582"/>
                      <a:pt x="80513" y="168537"/>
                      <a:pt x="104795" y="164707"/>
                    </a:cubicBezTo>
                    <a:cubicBezTo>
                      <a:pt x="112463" y="164068"/>
                      <a:pt x="120131" y="163430"/>
                      <a:pt x="127799" y="163430"/>
                    </a:cubicBezTo>
                    <a:lnTo>
                      <a:pt x="127799" y="160876"/>
                    </a:lnTo>
                    <a:cubicBezTo>
                      <a:pt x="127799" y="157046"/>
                      <a:pt x="130355" y="154492"/>
                      <a:pt x="134189" y="154492"/>
                    </a:cubicBezTo>
                    <a:lnTo>
                      <a:pt x="143774" y="154492"/>
                    </a:lnTo>
                    <a:lnTo>
                      <a:pt x="143774" y="146193"/>
                    </a:lnTo>
                    <a:cubicBezTo>
                      <a:pt x="143774" y="142363"/>
                      <a:pt x="146330" y="139809"/>
                      <a:pt x="150164" y="139809"/>
                    </a:cubicBezTo>
                    <a:lnTo>
                      <a:pt x="174445" y="139809"/>
                    </a:lnTo>
                    <a:lnTo>
                      <a:pt x="174445" y="120019"/>
                    </a:lnTo>
                    <a:lnTo>
                      <a:pt x="144412" y="120019"/>
                    </a:lnTo>
                    <a:cubicBezTo>
                      <a:pt x="141857" y="120019"/>
                      <a:pt x="139940" y="121934"/>
                      <a:pt x="139940" y="124488"/>
                    </a:cubicBezTo>
                    <a:cubicBezTo>
                      <a:pt x="139940" y="128318"/>
                      <a:pt x="137384" y="130872"/>
                      <a:pt x="133550" y="130872"/>
                    </a:cubicBezTo>
                    <a:cubicBezTo>
                      <a:pt x="129716" y="130872"/>
                      <a:pt x="127160" y="128318"/>
                      <a:pt x="127160" y="124488"/>
                    </a:cubicBezTo>
                    <a:cubicBezTo>
                      <a:pt x="127160" y="114912"/>
                      <a:pt x="134828" y="107251"/>
                      <a:pt x="144412" y="107251"/>
                    </a:cubicBezTo>
                    <a:lnTo>
                      <a:pt x="174445" y="107251"/>
                    </a:lnTo>
                    <a:lnTo>
                      <a:pt x="174445" y="95121"/>
                    </a:lnTo>
                    <a:cubicBezTo>
                      <a:pt x="174445" y="91291"/>
                      <a:pt x="177001" y="88738"/>
                      <a:pt x="180835" y="88738"/>
                    </a:cubicBezTo>
                    <a:cubicBezTo>
                      <a:pt x="184669" y="88738"/>
                      <a:pt x="187225" y="91291"/>
                      <a:pt x="187225" y="95121"/>
                    </a:cubicBezTo>
                    <a:lnTo>
                      <a:pt x="187225" y="107251"/>
                    </a:lnTo>
                    <a:lnTo>
                      <a:pt x="217258" y="107251"/>
                    </a:lnTo>
                    <a:cubicBezTo>
                      <a:pt x="226843" y="107251"/>
                      <a:pt x="234511" y="114912"/>
                      <a:pt x="234511" y="124488"/>
                    </a:cubicBezTo>
                    <a:cubicBezTo>
                      <a:pt x="234511" y="128318"/>
                      <a:pt x="231955" y="130872"/>
                      <a:pt x="228121" y="130872"/>
                    </a:cubicBezTo>
                    <a:cubicBezTo>
                      <a:pt x="224287" y="130872"/>
                      <a:pt x="221731" y="128318"/>
                      <a:pt x="221731" y="124488"/>
                    </a:cubicBezTo>
                    <a:cubicBezTo>
                      <a:pt x="221731" y="121934"/>
                      <a:pt x="219814" y="120019"/>
                      <a:pt x="217258" y="120019"/>
                    </a:cubicBezTo>
                    <a:lnTo>
                      <a:pt x="187225" y="120019"/>
                    </a:lnTo>
                    <a:lnTo>
                      <a:pt x="187225" y="139809"/>
                    </a:lnTo>
                    <a:lnTo>
                      <a:pt x="211507" y="139809"/>
                    </a:lnTo>
                    <a:cubicBezTo>
                      <a:pt x="215341" y="139809"/>
                      <a:pt x="217897" y="142363"/>
                      <a:pt x="217897" y="146193"/>
                    </a:cubicBezTo>
                    <a:lnTo>
                      <a:pt x="217897" y="154492"/>
                    </a:lnTo>
                    <a:lnTo>
                      <a:pt x="227482" y="154492"/>
                    </a:lnTo>
                    <a:cubicBezTo>
                      <a:pt x="231316" y="154492"/>
                      <a:pt x="233872" y="157046"/>
                      <a:pt x="233872" y="160876"/>
                    </a:cubicBezTo>
                    <a:lnTo>
                      <a:pt x="233872" y="162792"/>
                    </a:lnTo>
                    <a:cubicBezTo>
                      <a:pt x="240901" y="162792"/>
                      <a:pt x="247929" y="163430"/>
                      <a:pt x="254959" y="164068"/>
                    </a:cubicBezTo>
                    <a:cubicBezTo>
                      <a:pt x="279240" y="167899"/>
                      <a:pt x="293937" y="181944"/>
                      <a:pt x="295215" y="202372"/>
                    </a:cubicBezTo>
                    <a:cubicBezTo>
                      <a:pt x="298410" y="231739"/>
                      <a:pt x="298410" y="253444"/>
                      <a:pt x="298410" y="253444"/>
                    </a:cubicBezTo>
                    <a:lnTo>
                      <a:pt x="298410" y="253444"/>
                    </a:lnTo>
                    <a:close/>
                  </a:path>
                </a:pathLst>
              </a:custGeom>
              <a:grpFill/>
              <a:ln w="6390" cap="flat">
                <a:noFill/>
                <a:prstDash val="solid"/>
                <a:miter/>
              </a:ln>
            </p:spPr>
            <p:txBody>
              <a:bodyPr rtlCol="0" anchor="ctr"/>
              <a:lstStyle/>
              <a:p>
                <a:endParaRPr lang="es-419"/>
              </a:p>
            </p:txBody>
          </p:sp>
        </p:grpSp>
        <p:grpSp>
          <p:nvGrpSpPr>
            <p:cNvPr id="2084" name="Graphic 4">
              <a:extLst>
                <a:ext uri="{FF2B5EF4-FFF2-40B4-BE49-F238E27FC236}">
                  <a16:creationId xmlns:a16="http://schemas.microsoft.com/office/drawing/2014/main" xmlns="" id="{16E4C332-4008-B239-B815-B9736D643B67}"/>
                </a:ext>
              </a:extLst>
            </p:cNvPr>
            <p:cNvGrpSpPr/>
            <p:nvPr/>
          </p:nvGrpSpPr>
          <p:grpSpPr>
            <a:xfrm>
              <a:off x="2574177" y="5297209"/>
              <a:ext cx="180000" cy="180000"/>
              <a:chOff x="6146480" y="1893014"/>
              <a:chExt cx="362309" cy="361971"/>
            </a:xfrm>
            <a:solidFill>
              <a:srgbClr val="012169"/>
            </a:solidFill>
          </p:grpSpPr>
          <p:sp>
            <p:nvSpPr>
              <p:cNvPr id="2098" name="Graphic 4">
                <a:extLst>
                  <a:ext uri="{FF2B5EF4-FFF2-40B4-BE49-F238E27FC236}">
                    <a16:creationId xmlns:a16="http://schemas.microsoft.com/office/drawing/2014/main" xmlns="" id="{604D0584-CFB6-FD8C-9D3D-B34EC710B5BF}"/>
                  </a:ext>
                </a:extLst>
              </p:cNvPr>
              <p:cNvSpPr/>
              <p:nvPr/>
            </p:nvSpPr>
            <p:spPr>
              <a:xfrm>
                <a:off x="6240412" y="2127943"/>
                <a:ext cx="23004" cy="18513"/>
              </a:xfrm>
              <a:custGeom>
                <a:avLst/>
                <a:gdLst>
                  <a:gd name="connsiteX0" fmla="*/ 0 w 23004"/>
                  <a:gd name="connsiteY0" fmla="*/ 18514 h 18513"/>
                  <a:gd name="connsiteX1" fmla="*/ 23004 w 23004"/>
                  <a:gd name="connsiteY1" fmla="*/ 18514 h 18513"/>
                  <a:gd name="connsiteX2" fmla="*/ 23004 w 23004"/>
                  <a:gd name="connsiteY2" fmla="*/ 5746 h 18513"/>
                  <a:gd name="connsiteX3" fmla="*/ 0 w 23004"/>
                  <a:gd name="connsiteY3" fmla="*/ 0 h 18513"/>
                  <a:gd name="connsiteX4" fmla="*/ 0 w 23004"/>
                  <a:gd name="connsiteY4" fmla="*/ 18514 h 1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 h="18513">
                    <a:moveTo>
                      <a:pt x="0" y="18514"/>
                    </a:moveTo>
                    <a:lnTo>
                      <a:pt x="23004" y="18514"/>
                    </a:lnTo>
                    <a:lnTo>
                      <a:pt x="23004" y="5746"/>
                    </a:lnTo>
                    <a:cubicBezTo>
                      <a:pt x="15336" y="4469"/>
                      <a:pt x="7029" y="2554"/>
                      <a:pt x="0" y="0"/>
                    </a:cubicBezTo>
                    <a:lnTo>
                      <a:pt x="0" y="18514"/>
                    </a:lnTo>
                    <a:close/>
                  </a:path>
                </a:pathLst>
              </a:custGeom>
              <a:grpFill/>
              <a:ln w="6390" cap="flat">
                <a:noFill/>
                <a:prstDash val="solid"/>
                <a:miter/>
              </a:ln>
            </p:spPr>
            <p:txBody>
              <a:bodyPr rtlCol="0" anchor="ctr"/>
              <a:lstStyle/>
              <a:p>
                <a:endParaRPr lang="es-419"/>
              </a:p>
            </p:txBody>
          </p:sp>
          <p:sp>
            <p:nvSpPr>
              <p:cNvPr id="2099" name="Graphic 4">
                <a:extLst>
                  <a:ext uri="{FF2B5EF4-FFF2-40B4-BE49-F238E27FC236}">
                    <a16:creationId xmlns:a16="http://schemas.microsoft.com/office/drawing/2014/main" xmlns="" id="{386D01F3-5833-E5EB-0FDA-ABB3FC5EEC74}"/>
                  </a:ext>
                </a:extLst>
              </p:cNvPr>
              <p:cNvSpPr/>
              <p:nvPr/>
            </p:nvSpPr>
            <p:spPr>
              <a:xfrm>
                <a:off x="6233999" y="2058996"/>
                <a:ext cx="187910" cy="66393"/>
              </a:xfrm>
              <a:custGeom>
                <a:avLst/>
                <a:gdLst>
                  <a:gd name="connsiteX0" fmla="*/ 187887 w 187910"/>
                  <a:gd name="connsiteY0" fmla="*/ 51710 h 66393"/>
                  <a:gd name="connsiteX1" fmla="*/ 187887 w 187910"/>
                  <a:gd name="connsiteY1" fmla="*/ 51072 h 66393"/>
                  <a:gd name="connsiteX2" fmla="*/ 187887 w 187910"/>
                  <a:gd name="connsiteY2" fmla="*/ 29366 h 66393"/>
                  <a:gd name="connsiteX3" fmla="*/ 159771 w 187910"/>
                  <a:gd name="connsiteY3" fmla="*/ 0 h 66393"/>
                  <a:gd name="connsiteX4" fmla="*/ 28139 w 187910"/>
                  <a:gd name="connsiteY4" fmla="*/ 0 h 66393"/>
                  <a:gd name="connsiteX5" fmla="*/ 23 w 187910"/>
                  <a:gd name="connsiteY5" fmla="*/ 29366 h 66393"/>
                  <a:gd name="connsiteX6" fmla="*/ 23 w 187910"/>
                  <a:gd name="connsiteY6" fmla="*/ 50433 h 66393"/>
                  <a:gd name="connsiteX7" fmla="*/ 97789 w 187910"/>
                  <a:gd name="connsiteY7" fmla="*/ 66393 h 66393"/>
                  <a:gd name="connsiteX8" fmla="*/ 187887 w 187910"/>
                  <a:gd name="connsiteY8" fmla="*/ 51710 h 66393"/>
                  <a:gd name="connsiteX9" fmla="*/ 28778 w 187910"/>
                  <a:gd name="connsiteY9" fmla="*/ 42773 h 66393"/>
                  <a:gd name="connsiteX10" fmla="*/ 15359 w 187910"/>
                  <a:gd name="connsiteY10" fmla="*/ 29366 h 66393"/>
                  <a:gd name="connsiteX11" fmla="*/ 28778 w 187910"/>
                  <a:gd name="connsiteY11" fmla="*/ 15960 h 66393"/>
                  <a:gd name="connsiteX12" fmla="*/ 42197 w 187910"/>
                  <a:gd name="connsiteY12" fmla="*/ 29366 h 66393"/>
                  <a:gd name="connsiteX13" fmla="*/ 28778 w 187910"/>
                  <a:gd name="connsiteY13" fmla="*/ 42773 h 66393"/>
                  <a:gd name="connsiteX14" fmla="*/ 28778 w 187910"/>
                  <a:gd name="connsiteY14" fmla="*/ 42773 h 66393"/>
                  <a:gd name="connsiteX15" fmla="*/ 28778 w 187910"/>
                  <a:gd name="connsiteY15" fmla="*/ 42773 h 66393"/>
                  <a:gd name="connsiteX16" fmla="*/ 115042 w 187910"/>
                  <a:gd name="connsiteY16" fmla="*/ 35750 h 66393"/>
                  <a:gd name="connsiteX17" fmla="*/ 71590 w 187910"/>
                  <a:gd name="connsiteY17" fmla="*/ 35750 h 66393"/>
                  <a:gd name="connsiteX18" fmla="*/ 65200 w 187910"/>
                  <a:gd name="connsiteY18" fmla="*/ 29366 h 66393"/>
                  <a:gd name="connsiteX19" fmla="*/ 71590 w 187910"/>
                  <a:gd name="connsiteY19" fmla="*/ 22982 h 66393"/>
                  <a:gd name="connsiteX20" fmla="*/ 115042 w 187910"/>
                  <a:gd name="connsiteY20" fmla="*/ 22982 h 66393"/>
                  <a:gd name="connsiteX21" fmla="*/ 121432 w 187910"/>
                  <a:gd name="connsiteY21" fmla="*/ 29366 h 66393"/>
                  <a:gd name="connsiteX22" fmla="*/ 115042 w 187910"/>
                  <a:gd name="connsiteY22" fmla="*/ 35750 h 66393"/>
                  <a:gd name="connsiteX23" fmla="*/ 158494 w 187910"/>
                  <a:gd name="connsiteY23" fmla="*/ 42773 h 66393"/>
                  <a:gd name="connsiteX24" fmla="*/ 145075 w 187910"/>
                  <a:gd name="connsiteY24" fmla="*/ 29366 h 66393"/>
                  <a:gd name="connsiteX25" fmla="*/ 158494 w 187910"/>
                  <a:gd name="connsiteY25" fmla="*/ 15960 h 66393"/>
                  <a:gd name="connsiteX26" fmla="*/ 171912 w 187910"/>
                  <a:gd name="connsiteY26" fmla="*/ 29366 h 66393"/>
                  <a:gd name="connsiteX27" fmla="*/ 171912 w 187910"/>
                  <a:gd name="connsiteY27" fmla="*/ 29366 h 66393"/>
                  <a:gd name="connsiteX28" fmla="*/ 158494 w 187910"/>
                  <a:gd name="connsiteY28" fmla="*/ 42773 h 66393"/>
                  <a:gd name="connsiteX29" fmla="*/ 158494 w 187910"/>
                  <a:gd name="connsiteY29" fmla="*/ 42773 h 66393"/>
                  <a:gd name="connsiteX30" fmla="*/ 158494 w 187910"/>
                  <a:gd name="connsiteY30" fmla="*/ 42773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910" h="66393">
                    <a:moveTo>
                      <a:pt x="187887" y="51710"/>
                    </a:moveTo>
                    <a:cubicBezTo>
                      <a:pt x="187887" y="51710"/>
                      <a:pt x="187887" y="51072"/>
                      <a:pt x="187887" y="51072"/>
                    </a:cubicBezTo>
                    <a:lnTo>
                      <a:pt x="187887" y="29366"/>
                    </a:lnTo>
                    <a:cubicBezTo>
                      <a:pt x="188526" y="13406"/>
                      <a:pt x="175746" y="0"/>
                      <a:pt x="159771" y="0"/>
                    </a:cubicBezTo>
                    <a:lnTo>
                      <a:pt x="28139" y="0"/>
                    </a:lnTo>
                    <a:cubicBezTo>
                      <a:pt x="12164" y="638"/>
                      <a:pt x="-616" y="13406"/>
                      <a:pt x="23" y="29366"/>
                    </a:cubicBezTo>
                    <a:lnTo>
                      <a:pt x="23" y="50433"/>
                    </a:lnTo>
                    <a:cubicBezTo>
                      <a:pt x="1301" y="52349"/>
                      <a:pt x="13442" y="66393"/>
                      <a:pt x="97789" y="66393"/>
                    </a:cubicBezTo>
                    <a:cubicBezTo>
                      <a:pt x="177024" y="65755"/>
                      <a:pt x="186609" y="53625"/>
                      <a:pt x="187887" y="51710"/>
                    </a:cubicBezTo>
                    <a:close/>
                    <a:moveTo>
                      <a:pt x="28778" y="42773"/>
                    </a:moveTo>
                    <a:cubicBezTo>
                      <a:pt x="21110" y="42773"/>
                      <a:pt x="15359" y="37027"/>
                      <a:pt x="15359" y="29366"/>
                    </a:cubicBezTo>
                    <a:cubicBezTo>
                      <a:pt x="15359" y="21706"/>
                      <a:pt x="21110" y="15960"/>
                      <a:pt x="28778" y="15960"/>
                    </a:cubicBezTo>
                    <a:cubicBezTo>
                      <a:pt x="36446" y="15960"/>
                      <a:pt x="42197" y="21706"/>
                      <a:pt x="42197" y="29366"/>
                    </a:cubicBezTo>
                    <a:cubicBezTo>
                      <a:pt x="42197" y="36389"/>
                      <a:pt x="36446" y="42773"/>
                      <a:pt x="28778" y="42773"/>
                    </a:cubicBezTo>
                    <a:cubicBezTo>
                      <a:pt x="28778" y="42773"/>
                      <a:pt x="28778" y="42773"/>
                      <a:pt x="28778" y="42773"/>
                    </a:cubicBezTo>
                    <a:lnTo>
                      <a:pt x="28778" y="42773"/>
                    </a:lnTo>
                    <a:close/>
                    <a:moveTo>
                      <a:pt x="115042" y="35750"/>
                    </a:moveTo>
                    <a:lnTo>
                      <a:pt x="71590" y="35750"/>
                    </a:lnTo>
                    <a:cubicBezTo>
                      <a:pt x="67757" y="35750"/>
                      <a:pt x="65200" y="33197"/>
                      <a:pt x="65200" y="29366"/>
                    </a:cubicBezTo>
                    <a:cubicBezTo>
                      <a:pt x="65200" y="25536"/>
                      <a:pt x="67757" y="22982"/>
                      <a:pt x="71590" y="22982"/>
                    </a:cubicBezTo>
                    <a:lnTo>
                      <a:pt x="115042" y="22982"/>
                    </a:lnTo>
                    <a:cubicBezTo>
                      <a:pt x="118876" y="22982"/>
                      <a:pt x="121432" y="25536"/>
                      <a:pt x="121432" y="29366"/>
                    </a:cubicBezTo>
                    <a:cubicBezTo>
                      <a:pt x="121432" y="33197"/>
                      <a:pt x="118876" y="35750"/>
                      <a:pt x="115042" y="35750"/>
                    </a:cubicBezTo>
                    <a:close/>
                    <a:moveTo>
                      <a:pt x="158494" y="42773"/>
                    </a:moveTo>
                    <a:cubicBezTo>
                      <a:pt x="150826" y="42773"/>
                      <a:pt x="145075" y="37027"/>
                      <a:pt x="145075" y="29366"/>
                    </a:cubicBezTo>
                    <a:cubicBezTo>
                      <a:pt x="145075" y="21706"/>
                      <a:pt x="150826" y="15960"/>
                      <a:pt x="158494" y="15960"/>
                    </a:cubicBezTo>
                    <a:cubicBezTo>
                      <a:pt x="166161" y="15960"/>
                      <a:pt x="171912" y="21706"/>
                      <a:pt x="171912" y="29366"/>
                    </a:cubicBezTo>
                    <a:cubicBezTo>
                      <a:pt x="171912" y="29366"/>
                      <a:pt x="171912" y="29366"/>
                      <a:pt x="171912" y="29366"/>
                    </a:cubicBezTo>
                    <a:cubicBezTo>
                      <a:pt x="171912" y="36389"/>
                      <a:pt x="165522" y="42773"/>
                      <a:pt x="158494" y="42773"/>
                    </a:cubicBezTo>
                    <a:cubicBezTo>
                      <a:pt x="158494" y="42773"/>
                      <a:pt x="158494" y="42773"/>
                      <a:pt x="158494" y="42773"/>
                    </a:cubicBezTo>
                    <a:lnTo>
                      <a:pt x="158494" y="42773"/>
                    </a:lnTo>
                    <a:close/>
                  </a:path>
                </a:pathLst>
              </a:custGeom>
              <a:grpFill/>
              <a:ln w="6390" cap="flat">
                <a:noFill/>
                <a:prstDash val="solid"/>
                <a:miter/>
              </a:ln>
            </p:spPr>
            <p:txBody>
              <a:bodyPr rtlCol="0" anchor="ctr"/>
              <a:lstStyle/>
              <a:p>
                <a:endParaRPr lang="es-419"/>
              </a:p>
            </p:txBody>
          </p:sp>
          <p:sp>
            <p:nvSpPr>
              <p:cNvPr id="2100" name="Graphic 4">
                <a:extLst>
                  <a:ext uri="{FF2B5EF4-FFF2-40B4-BE49-F238E27FC236}">
                    <a16:creationId xmlns:a16="http://schemas.microsoft.com/office/drawing/2014/main" xmlns="" id="{BA5C741F-29EA-D19A-5C07-7AF635C3FCA0}"/>
                  </a:ext>
                </a:extLst>
              </p:cNvPr>
              <p:cNvSpPr/>
              <p:nvPr/>
            </p:nvSpPr>
            <p:spPr>
              <a:xfrm>
                <a:off x="6264055" y="2001541"/>
                <a:ext cx="126520" cy="44687"/>
              </a:xfrm>
              <a:custGeom>
                <a:avLst/>
                <a:gdLst>
                  <a:gd name="connsiteX0" fmla="*/ 126521 w 126520"/>
                  <a:gd name="connsiteY0" fmla="*/ 44688 h 44687"/>
                  <a:gd name="connsiteX1" fmla="*/ 115019 w 126520"/>
                  <a:gd name="connsiteY1" fmla="*/ 10853 h 44687"/>
                  <a:gd name="connsiteX2" fmla="*/ 99044 w 126520"/>
                  <a:gd name="connsiteY2" fmla="*/ 0 h 44687"/>
                  <a:gd name="connsiteX3" fmla="*/ 27477 w 126520"/>
                  <a:gd name="connsiteY3" fmla="*/ 0 h 44687"/>
                  <a:gd name="connsiteX4" fmla="*/ 11502 w 126520"/>
                  <a:gd name="connsiteY4" fmla="*/ 10853 h 44687"/>
                  <a:gd name="connsiteX5" fmla="*/ 0 w 126520"/>
                  <a:gd name="connsiteY5" fmla="*/ 44688 h 44687"/>
                  <a:gd name="connsiteX6" fmla="*/ 126521 w 126520"/>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520" h="44687">
                    <a:moveTo>
                      <a:pt x="126521" y="44688"/>
                    </a:moveTo>
                    <a:lnTo>
                      <a:pt x="115019" y="10853"/>
                    </a:lnTo>
                    <a:cubicBezTo>
                      <a:pt x="111824" y="5107"/>
                      <a:pt x="106073" y="1277"/>
                      <a:pt x="99044" y="0"/>
                    </a:cubicBezTo>
                    <a:lnTo>
                      <a:pt x="27477" y="0"/>
                    </a:lnTo>
                    <a:cubicBezTo>
                      <a:pt x="21087" y="638"/>
                      <a:pt x="14697" y="4469"/>
                      <a:pt x="11502" y="10853"/>
                    </a:cubicBezTo>
                    <a:lnTo>
                      <a:pt x="0" y="44688"/>
                    </a:lnTo>
                    <a:lnTo>
                      <a:pt x="126521" y="44688"/>
                    </a:lnTo>
                    <a:close/>
                  </a:path>
                </a:pathLst>
              </a:custGeom>
              <a:grpFill/>
              <a:ln w="6390" cap="flat">
                <a:noFill/>
                <a:prstDash val="solid"/>
                <a:miter/>
              </a:ln>
            </p:spPr>
            <p:txBody>
              <a:bodyPr rtlCol="0" anchor="ctr"/>
              <a:lstStyle/>
              <a:p>
                <a:endParaRPr lang="es-419"/>
              </a:p>
            </p:txBody>
          </p:sp>
          <p:sp>
            <p:nvSpPr>
              <p:cNvPr id="2101" name="Graphic 4">
                <a:extLst>
                  <a:ext uri="{FF2B5EF4-FFF2-40B4-BE49-F238E27FC236}">
                    <a16:creationId xmlns:a16="http://schemas.microsoft.com/office/drawing/2014/main" xmlns="" id="{A47FBB12-1291-BFA9-AE90-9D6F50561C75}"/>
                  </a:ext>
                </a:extLst>
              </p:cNvPr>
              <p:cNvSpPr/>
              <p:nvPr/>
            </p:nvSpPr>
            <p:spPr>
              <a:xfrm>
                <a:off x="6146480" y="1893014"/>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285630 w 362309"/>
                  <a:gd name="connsiteY7" fmla="*/ 225355 h 361971"/>
                  <a:gd name="connsiteX8" fmla="*/ 280518 w 362309"/>
                  <a:gd name="connsiteY8" fmla="*/ 230462 h 361971"/>
                  <a:gd name="connsiteX9" fmla="*/ 280518 w 362309"/>
                  <a:gd name="connsiteY9" fmla="*/ 231739 h 361971"/>
                  <a:gd name="connsiteX10" fmla="*/ 280518 w 362309"/>
                  <a:gd name="connsiteY10" fmla="*/ 260467 h 361971"/>
                  <a:gd name="connsiteX11" fmla="*/ 274128 w 362309"/>
                  <a:gd name="connsiteY11" fmla="*/ 266851 h 361971"/>
                  <a:gd name="connsiteX12" fmla="*/ 238345 w 362309"/>
                  <a:gd name="connsiteY12" fmla="*/ 266851 h 361971"/>
                  <a:gd name="connsiteX13" fmla="*/ 231955 w 362309"/>
                  <a:gd name="connsiteY13" fmla="*/ 260467 h 361971"/>
                  <a:gd name="connsiteX14" fmla="*/ 231955 w 362309"/>
                  <a:gd name="connsiteY14" fmla="*/ 243230 h 361971"/>
                  <a:gd name="connsiteX15" fmla="*/ 184030 w 362309"/>
                  <a:gd name="connsiteY15" fmla="*/ 245145 h 361971"/>
                  <a:gd name="connsiteX16" fmla="*/ 129716 w 362309"/>
                  <a:gd name="connsiteY16" fmla="*/ 242591 h 361971"/>
                  <a:gd name="connsiteX17" fmla="*/ 129716 w 362309"/>
                  <a:gd name="connsiteY17" fmla="*/ 260467 h 361971"/>
                  <a:gd name="connsiteX18" fmla="*/ 123326 w 362309"/>
                  <a:gd name="connsiteY18" fmla="*/ 266851 h 361971"/>
                  <a:gd name="connsiteX19" fmla="*/ 87542 w 362309"/>
                  <a:gd name="connsiteY19" fmla="*/ 266851 h 361971"/>
                  <a:gd name="connsiteX20" fmla="*/ 81152 w 362309"/>
                  <a:gd name="connsiteY20" fmla="*/ 260467 h 361971"/>
                  <a:gd name="connsiteX21" fmla="*/ 81152 w 362309"/>
                  <a:gd name="connsiteY21" fmla="*/ 231739 h 361971"/>
                  <a:gd name="connsiteX22" fmla="*/ 81791 w 362309"/>
                  <a:gd name="connsiteY22" fmla="*/ 229185 h 361971"/>
                  <a:gd name="connsiteX23" fmla="*/ 77957 w 362309"/>
                  <a:gd name="connsiteY23" fmla="*/ 225993 h 361971"/>
                  <a:gd name="connsiteX24" fmla="*/ 74123 w 362309"/>
                  <a:gd name="connsiteY24" fmla="*/ 217055 h 361971"/>
                  <a:gd name="connsiteX25" fmla="*/ 74123 w 362309"/>
                  <a:gd name="connsiteY25" fmla="*/ 195988 h 361971"/>
                  <a:gd name="connsiteX26" fmla="*/ 104156 w 362309"/>
                  <a:gd name="connsiteY26" fmla="*/ 155131 h 361971"/>
                  <a:gd name="connsiteX27" fmla="*/ 105434 w 362309"/>
                  <a:gd name="connsiteY27" fmla="*/ 151939 h 361971"/>
                  <a:gd name="connsiteX28" fmla="*/ 95210 w 362309"/>
                  <a:gd name="connsiteY28" fmla="*/ 151939 h 361971"/>
                  <a:gd name="connsiteX29" fmla="*/ 88820 w 362309"/>
                  <a:gd name="connsiteY29" fmla="*/ 145555 h 361971"/>
                  <a:gd name="connsiteX30" fmla="*/ 95210 w 362309"/>
                  <a:gd name="connsiteY30" fmla="*/ 139171 h 361971"/>
                  <a:gd name="connsiteX31" fmla="*/ 109907 w 362309"/>
                  <a:gd name="connsiteY31" fmla="*/ 139171 h 361971"/>
                  <a:gd name="connsiteX32" fmla="*/ 118214 w 362309"/>
                  <a:gd name="connsiteY32" fmla="*/ 114912 h 361971"/>
                  <a:gd name="connsiteX33" fmla="*/ 118853 w 362309"/>
                  <a:gd name="connsiteY33" fmla="*/ 114273 h 361971"/>
                  <a:gd name="connsiteX34" fmla="*/ 146329 w 362309"/>
                  <a:gd name="connsiteY34" fmla="*/ 96398 h 361971"/>
                  <a:gd name="connsiteX35" fmla="*/ 217897 w 362309"/>
                  <a:gd name="connsiteY35" fmla="*/ 96398 h 361971"/>
                  <a:gd name="connsiteX36" fmla="*/ 245373 w 362309"/>
                  <a:gd name="connsiteY36" fmla="*/ 114273 h 361971"/>
                  <a:gd name="connsiteX37" fmla="*/ 246013 w 362309"/>
                  <a:gd name="connsiteY37" fmla="*/ 114912 h 361971"/>
                  <a:gd name="connsiteX38" fmla="*/ 254319 w 362309"/>
                  <a:gd name="connsiteY38" fmla="*/ 139171 h 361971"/>
                  <a:gd name="connsiteX39" fmla="*/ 269016 w 362309"/>
                  <a:gd name="connsiteY39" fmla="*/ 139171 h 361971"/>
                  <a:gd name="connsiteX40" fmla="*/ 275406 w 362309"/>
                  <a:gd name="connsiteY40" fmla="*/ 145555 h 361971"/>
                  <a:gd name="connsiteX41" fmla="*/ 269016 w 362309"/>
                  <a:gd name="connsiteY41" fmla="*/ 151939 h 361971"/>
                  <a:gd name="connsiteX42" fmla="*/ 258792 w 362309"/>
                  <a:gd name="connsiteY42" fmla="*/ 151939 h 361971"/>
                  <a:gd name="connsiteX43" fmla="*/ 260070 w 362309"/>
                  <a:gd name="connsiteY43" fmla="*/ 155131 h 361971"/>
                  <a:gd name="connsiteX44" fmla="*/ 290103 w 362309"/>
                  <a:gd name="connsiteY44" fmla="*/ 195988 h 361971"/>
                  <a:gd name="connsiteX45" fmla="*/ 290103 w 362309"/>
                  <a:gd name="connsiteY45" fmla="*/ 217055 h 361971"/>
                  <a:gd name="connsiteX46" fmla="*/ 285630 w 362309"/>
                  <a:gd name="connsiteY46" fmla="*/ 22535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lnTo>
                      <a:pt x="181474" y="0"/>
                    </a:lnTo>
                    <a:close/>
                    <a:moveTo>
                      <a:pt x="285630" y="225355"/>
                    </a:moveTo>
                    <a:cubicBezTo>
                      <a:pt x="284352" y="227270"/>
                      <a:pt x="282435" y="229185"/>
                      <a:pt x="280518" y="230462"/>
                    </a:cubicBezTo>
                    <a:cubicBezTo>
                      <a:pt x="280518" y="231100"/>
                      <a:pt x="280518" y="231100"/>
                      <a:pt x="280518" y="231739"/>
                    </a:cubicBezTo>
                    <a:lnTo>
                      <a:pt x="280518" y="260467"/>
                    </a:lnTo>
                    <a:cubicBezTo>
                      <a:pt x="280518" y="264297"/>
                      <a:pt x="277962" y="266851"/>
                      <a:pt x="274128" y="266851"/>
                    </a:cubicBezTo>
                    <a:lnTo>
                      <a:pt x="238345" y="266851"/>
                    </a:lnTo>
                    <a:cubicBezTo>
                      <a:pt x="234510" y="266851"/>
                      <a:pt x="231955" y="264297"/>
                      <a:pt x="231955" y="260467"/>
                    </a:cubicBezTo>
                    <a:lnTo>
                      <a:pt x="231955" y="243230"/>
                    </a:lnTo>
                    <a:cubicBezTo>
                      <a:pt x="218536" y="244507"/>
                      <a:pt x="202561" y="245145"/>
                      <a:pt x="184030" y="245145"/>
                    </a:cubicBezTo>
                    <a:cubicBezTo>
                      <a:pt x="165499" y="245145"/>
                      <a:pt x="147607" y="244507"/>
                      <a:pt x="129716" y="242591"/>
                    </a:cubicBezTo>
                    <a:lnTo>
                      <a:pt x="129716" y="260467"/>
                    </a:lnTo>
                    <a:cubicBezTo>
                      <a:pt x="129716" y="264297"/>
                      <a:pt x="127160" y="266851"/>
                      <a:pt x="123326" y="266851"/>
                    </a:cubicBezTo>
                    <a:lnTo>
                      <a:pt x="87542" y="266851"/>
                    </a:lnTo>
                    <a:cubicBezTo>
                      <a:pt x="83708" y="266851"/>
                      <a:pt x="81152" y="264297"/>
                      <a:pt x="81152" y="260467"/>
                    </a:cubicBezTo>
                    <a:lnTo>
                      <a:pt x="81152" y="231739"/>
                    </a:lnTo>
                    <a:cubicBezTo>
                      <a:pt x="81152" y="231100"/>
                      <a:pt x="81152" y="229823"/>
                      <a:pt x="81791" y="229185"/>
                    </a:cubicBezTo>
                    <a:cubicBezTo>
                      <a:pt x="80513" y="228547"/>
                      <a:pt x="79235" y="227270"/>
                      <a:pt x="77957" y="225993"/>
                    </a:cubicBezTo>
                    <a:cubicBezTo>
                      <a:pt x="75401" y="223439"/>
                      <a:pt x="74123" y="220247"/>
                      <a:pt x="74123" y="217055"/>
                    </a:cubicBezTo>
                    <a:lnTo>
                      <a:pt x="74123" y="195988"/>
                    </a:lnTo>
                    <a:cubicBezTo>
                      <a:pt x="74123" y="177475"/>
                      <a:pt x="86264" y="160876"/>
                      <a:pt x="104156" y="155131"/>
                    </a:cubicBezTo>
                    <a:lnTo>
                      <a:pt x="105434" y="151939"/>
                    </a:lnTo>
                    <a:lnTo>
                      <a:pt x="95210" y="151939"/>
                    </a:lnTo>
                    <a:cubicBezTo>
                      <a:pt x="91376" y="151939"/>
                      <a:pt x="88820" y="149385"/>
                      <a:pt x="88820" y="145555"/>
                    </a:cubicBezTo>
                    <a:cubicBezTo>
                      <a:pt x="88820" y="141724"/>
                      <a:pt x="91376" y="139171"/>
                      <a:pt x="95210" y="139171"/>
                    </a:cubicBezTo>
                    <a:lnTo>
                      <a:pt x="109907" y="139171"/>
                    </a:lnTo>
                    <a:lnTo>
                      <a:pt x="118214" y="114912"/>
                    </a:lnTo>
                    <a:lnTo>
                      <a:pt x="118853" y="114273"/>
                    </a:lnTo>
                    <a:cubicBezTo>
                      <a:pt x="119492" y="113635"/>
                      <a:pt x="128438" y="96398"/>
                      <a:pt x="146329" y="96398"/>
                    </a:cubicBezTo>
                    <a:lnTo>
                      <a:pt x="217897" y="96398"/>
                    </a:lnTo>
                    <a:cubicBezTo>
                      <a:pt x="235788" y="96398"/>
                      <a:pt x="244735" y="113635"/>
                      <a:pt x="245373" y="114273"/>
                    </a:cubicBezTo>
                    <a:lnTo>
                      <a:pt x="246013" y="114912"/>
                    </a:lnTo>
                    <a:lnTo>
                      <a:pt x="254319" y="139171"/>
                    </a:lnTo>
                    <a:lnTo>
                      <a:pt x="269016" y="139171"/>
                    </a:lnTo>
                    <a:cubicBezTo>
                      <a:pt x="272850" y="139171"/>
                      <a:pt x="275406" y="141724"/>
                      <a:pt x="275406" y="145555"/>
                    </a:cubicBezTo>
                    <a:cubicBezTo>
                      <a:pt x="275406" y="149385"/>
                      <a:pt x="272850" y="151939"/>
                      <a:pt x="269016" y="151939"/>
                    </a:cubicBezTo>
                    <a:lnTo>
                      <a:pt x="258792" y="151939"/>
                    </a:lnTo>
                    <a:lnTo>
                      <a:pt x="260070" y="155131"/>
                    </a:lnTo>
                    <a:cubicBezTo>
                      <a:pt x="277962" y="160238"/>
                      <a:pt x="290103" y="176836"/>
                      <a:pt x="290103" y="195988"/>
                    </a:cubicBezTo>
                    <a:lnTo>
                      <a:pt x="290103" y="217055"/>
                    </a:lnTo>
                    <a:cubicBezTo>
                      <a:pt x="288825" y="219609"/>
                      <a:pt x="287547" y="222801"/>
                      <a:pt x="285630" y="225355"/>
                    </a:cubicBezTo>
                    <a:close/>
                  </a:path>
                </a:pathLst>
              </a:custGeom>
              <a:grpFill/>
              <a:ln w="6390" cap="flat">
                <a:noFill/>
                <a:prstDash val="solid"/>
                <a:miter/>
              </a:ln>
            </p:spPr>
            <p:txBody>
              <a:bodyPr rtlCol="0" anchor="ctr"/>
              <a:lstStyle/>
              <a:p>
                <a:endParaRPr lang="es-419"/>
              </a:p>
            </p:txBody>
          </p:sp>
          <p:sp>
            <p:nvSpPr>
              <p:cNvPr id="2102" name="Graphic 4">
                <a:extLst>
                  <a:ext uri="{FF2B5EF4-FFF2-40B4-BE49-F238E27FC236}">
                    <a16:creationId xmlns:a16="http://schemas.microsoft.com/office/drawing/2014/main" xmlns="" id="{68432EE5-8616-213A-07F5-54512E44000D}"/>
                  </a:ext>
                </a:extLst>
              </p:cNvPr>
              <p:cNvSpPr/>
              <p:nvPr/>
            </p:nvSpPr>
            <p:spPr>
              <a:xfrm>
                <a:off x="6391215" y="2129220"/>
                <a:ext cx="23003" cy="17236"/>
              </a:xfrm>
              <a:custGeom>
                <a:avLst/>
                <a:gdLst>
                  <a:gd name="connsiteX0" fmla="*/ 0 w 23003"/>
                  <a:gd name="connsiteY0" fmla="*/ 17237 h 17236"/>
                  <a:gd name="connsiteX1" fmla="*/ 23004 w 23003"/>
                  <a:gd name="connsiteY1" fmla="*/ 17237 h 17236"/>
                  <a:gd name="connsiteX2" fmla="*/ 23004 w 23003"/>
                  <a:gd name="connsiteY2" fmla="*/ 0 h 17236"/>
                  <a:gd name="connsiteX3" fmla="*/ 0 w 23003"/>
                  <a:gd name="connsiteY3" fmla="*/ 5107 h 17236"/>
                  <a:gd name="connsiteX4" fmla="*/ 0 w 23003"/>
                  <a:gd name="connsiteY4" fmla="*/ 17237 h 1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3" h="17236">
                    <a:moveTo>
                      <a:pt x="0" y="17237"/>
                    </a:moveTo>
                    <a:lnTo>
                      <a:pt x="23004" y="17237"/>
                    </a:lnTo>
                    <a:lnTo>
                      <a:pt x="23004" y="0"/>
                    </a:lnTo>
                    <a:cubicBezTo>
                      <a:pt x="15336" y="2554"/>
                      <a:pt x="7668" y="3830"/>
                      <a:pt x="0" y="5107"/>
                    </a:cubicBezTo>
                    <a:lnTo>
                      <a:pt x="0" y="17237"/>
                    </a:lnTo>
                    <a:close/>
                  </a:path>
                </a:pathLst>
              </a:custGeom>
              <a:grpFill/>
              <a:ln w="6390" cap="flat">
                <a:noFill/>
                <a:prstDash val="solid"/>
                <a:miter/>
              </a:ln>
            </p:spPr>
            <p:txBody>
              <a:bodyPr rtlCol="0" anchor="ctr"/>
              <a:lstStyle/>
              <a:p>
                <a:endParaRPr lang="es-419"/>
              </a:p>
            </p:txBody>
          </p:sp>
        </p:grpSp>
        <p:grpSp>
          <p:nvGrpSpPr>
            <p:cNvPr id="2085" name="Graphic 4">
              <a:extLst>
                <a:ext uri="{FF2B5EF4-FFF2-40B4-BE49-F238E27FC236}">
                  <a16:creationId xmlns:a16="http://schemas.microsoft.com/office/drawing/2014/main" xmlns="" id="{4BA8F6E8-25C5-C448-5447-613D9A0AA5B7}"/>
                </a:ext>
              </a:extLst>
            </p:cNvPr>
            <p:cNvGrpSpPr/>
            <p:nvPr/>
          </p:nvGrpSpPr>
          <p:grpSpPr>
            <a:xfrm>
              <a:off x="3357353" y="5082682"/>
              <a:ext cx="180000" cy="180000"/>
              <a:chOff x="5092779" y="2855717"/>
              <a:chExt cx="362309" cy="361971"/>
            </a:xfrm>
            <a:solidFill>
              <a:srgbClr val="9DD4CF"/>
            </a:solidFill>
          </p:grpSpPr>
          <p:sp>
            <p:nvSpPr>
              <p:cNvPr id="2095" name="Graphic 4">
                <a:extLst>
                  <a:ext uri="{FF2B5EF4-FFF2-40B4-BE49-F238E27FC236}">
                    <a16:creationId xmlns:a16="http://schemas.microsoft.com/office/drawing/2014/main" xmlns="" id="{D0D61D56-3C00-E4B8-F2E0-CDEE807AB85A}"/>
                  </a:ext>
                </a:extLst>
              </p:cNvPr>
              <p:cNvSpPr/>
              <p:nvPr/>
            </p:nvSpPr>
            <p:spPr>
              <a:xfrm>
                <a:off x="5092779"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7990 w 362309"/>
                  <a:gd name="connsiteY6" fmla="*/ 109804 h 361971"/>
                  <a:gd name="connsiteX7" fmla="*/ 130994 w 362309"/>
                  <a:gd name="connsiteY7" fmla="*/ 85545 h 361971"/>
                  <a:gd name="connsiteX8" fmla="*/ 139940 w 362309"/>
                  <a:gd name="connsiteY8" fmla="*/ 85545 h 361971"/>
                  <a:gd name="connsiteX9" fmla="*/ 139940 w 362309"/>
                  <a:gd name="connsiteY9" fmla="*/ 94483 h 361971"/>
                  <a:gd name="connsiteX10" fmla="*/ 116936 w 362309"/>
                  <a:gd name="connsiteY10" fmla="*/ 118742 h 361971"/>
                  <a:gd name="connsiteX11" fmla="*/ 112463 w 362309"/>
                  <a:gd name="connsiteY11" fmla="*/ 120657 h 361971"/>
                  <a:gd name="connsiteX12" fmla="*/ 106073 w 362309"/>
                  <a:gd name="connsiteY12" fmla="*/ 114273 h 361971"/>
                  <a:gd name="connsiteX13" fmla="*/ 107990 w 362309"/>
                  <a:gd name="connsiteY13" fmla="*/ 109804 h 361971"/>
                  <a:gd name="connsiteX14" fmla="*/ 107990 w 362309"/>
                  <a:gd name="connsiteY14" fmla="*/ 109804 h 361971"/>
                  <a:gd name="connsiteX15" fmla="*/ 256876 w 362309"/>
                  <a:gd name="connsiteY15" fmla="*/ 273873 h 361971"/>
                  <a:gd name="connsiteX16" fmla="*/ 250486 w 362309"/>
                  <a:gd name="connsiteY16" fmla="*/ 280257 h 361971"/>
                  <a:gd name="connsiteX17" fmla="*/ 117575 w 362309"/>
                  <a:gd name="connsiteY17" fmla="*/ 280257 h 361971"/>
                  <a:gd name="connsiteX18" fmla="*/ 111185 w 362309"/>
                  <a:gd name="connsiteY18" fmla="*/ 273873 h 361971"/>
                  <a:gd name="connsiteX19" fmla="*/ 111185 w 362309"/>
                  <a:gd name="connsiteY19" fmla="*/ 144278 h 361971"/>
                  <a:gd name="connsiteX20" fmla="*/ 113102 w 362309"/>
                  <a:gd name="connsiteY20" fmla="*/ 139809 h 361971"/>
                  <a:gd name="connsiteX21" fmla="*/ 164221 w 362309"/>
                  <a:gd name="connsiteY21" fmla="*/ 82992 h 361971"/>
                  <a:gd name="connsiteX22" fmla="*/ 169333 w 362309"/>
                  <a:gd name="connsiteY22" fmla="*/ 81076 h 361971"/>
                  <a:gd name="connsiteX23" fmla="*/ 251124 w 362309"/>
                  <a:gd name="connsiteY23" fmla="*/ 81076 h 361971"/>
                  <a:gd name="connsiteX24" fmla="*/ 257514 w 362309"/>
                  <a:gd name="connsiteY24" fmla="*/ 87460 h 361971"/>
                  <a:gd name="connsiteX25" fmla="*/ 256876 w 362309"/>
                  <a:gd name="connsiteY25" fmla="*/ 27387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07990" y="109804"/>
                    </a:moveTo>
                    <a:lnTo>
                      <a:pt x="130994" y="85545"/>
                    </a:lnTo>
                    <a:cubicBezTo>
                      <a:pt x="133550" y="82992"/>
                      <a:pt x="137384" y="82992"/>
                      <a:pt x="139940" y="85545"/>
                    </a:cubicBezTo>
                    <a:cubicBezTo>
                      <a:pt x="142496" y="88099"/>
                      <a:pt x="142496" y="91929"/>
                      <a:pt x="139940" y="94483"/>
                    </a:cubicBezTo>
                    <a:lnTo>
                      <a:pt x="116936" y="118742"/>
                    </a:lnTo>
                    <a:cubicBezTo>
                      <a:pt x="115658" y="120019"/>
                      <a:pt x="114380" y="120657"/>
                      <a:pt x="112463" y="120657"/>
                    </a:cubicBezTo>
                    <a:cubicBezTo>
                      <a:pt x="108629" y="120657"/>
                      <a:pt x="106073" y="117465"/>
                      <a:pt x="106073" y="114273"/>
                    </a:cubicBezTo>
                    <a:cubicBezTo>
                      <a:pt x="106073" y="112996"/>
                      <a:pt x="106712" y="111081"/>
                      <a:pt x="107990" y="109804"/>
                    </a:cubicBezTo>
                    <a:lnTo>
                      <a:pt x="107990" y="109804"/>
                    </a:lnTo>
                    <a:close/>
                    <a:moveTo>
                      <a:pt x="256876" y="273873"/>
                    </a:moveTo>
                    <a:cubicBezTo>
                      <a:pt x="256876" y="277703"/>
                      <a:pt x="254319" y="280257"/>
                      <a:pt x="250486" y="280257"/>
                    </a:cubicBezTo>
                    <a:lnTo>
                      <a:pt x="117575" y="280257"/>
                    </a:lnTo>
                    <a:cubicBezTo>
                      <a:pt x="113741" y="280257"/>
                      <a:pt x="111185" y="277703"/>
                      <a:pt x="111185" y="273873"/>
                    </a:cubicBezTo>
                    <a:lnTo>
                      <a:pt x="111185" y="144278"/>
                    </a:lnTo>
                    <a:cubicBezTo>
                      <a:pt x="111185" y="143001"/>
                      <a:pt x="111824" y="141086"/>
                      <a:pt x="113102" y="139809"/>
                    </a:cubicBezTo>
                    <a:lnTo>
                      <a:pt x="164221" y="82992"/>
                    </a:lnTo>
                    <a:cubicBezTo>
                      <a:pt x="165500" y="81715"/>
                      <a:pt x="167416" y="81076"/>
                      <a:pt x="169333" y="81076"/>
                    </a:cubicBezTo>
                    <a:lnTo>
                      <a:pt x="251124" y="81076"/>
                    </a:lnTo>
                    <a:cubicBezTo>
                      <a:pt x="254959" y="81076"/>
                      <a:pt x="257514" y="83630"/>
                      <a:pt x="257514" y="87460"/>
                    </a:cubicBezTo>
                    <a:lnTo>
                      <a:pt x="256876" y="273873"/>
                    </a:lnTo>
                    <a:close/>
                  </a:path>
                </a:pathLst>
              </a:custGeom>
              <a:grpFill/>
              <a:ln w="6390" cap="flat">
                <a:noFill/>
                <a:prstDash val="solid"/>
                <a:miter/>
              </a:ln>
            </p:spPr>
            <p:txBody>
              <a:bodyPr rtlCol="0" anchor="ctr"/>
              <a:lstStyle/>
              <a:p>
                <a:endParaRPr lang="es-419"/>
              </a:p>
            </p:txBody>
          </p:sp>
          <p:sp>
            <p:nvSpPr>
              <p:cNvPr id="2096" name="Graphic 4">
                <a:extLst>
                  <a:ext uri="{FF2B5EF4-FFF2-40B4-BE49-F238E27FC236}">
                    <a16:creationId xmlns:a16="http://schemas.microsoft.com/office/drawing/2014/main" xmlns="" id="{E86F98F6-9483-7E77-EE2B-8BB222A97D71}"/>
                  </a:ext>
                </a:extLst>
              </p:cNvPr>
              <p:cNvSpPr/>
              <p:nvPr/>
            </p:nvSpPr>
            <p:spPr>
              <a:xfrm>
                <a:off x="5257001" y="3027447"/>
                <a:ext cx="43451" cy="57455"/>
              </a:xfrm>
              <a:custGeom>
                <a:avLst/>
                <a:gdLst>
                  <a:gd name="connsiteX0" fmla="*/ 12780 w 43451"/>
                  <a:gd name="connsiteY0" fmla="*/ 16598 h 57455"/>
                  <a:gd name="connsiteX1" fmla="*/ 7668 w 43451"/>
                  <a:gd name="connsiteY1" fmla="*/ 22982 h 57455"/>
                  <a:gd name="connsiteX2" fmla="*/ 0 w 43451"/>
                  <a:gd name="connsiteY2" fmla="*/ 35750 h 57455"/>
                  <a:gd name="connsiteX3" fmla="*/ 21726 w 43451"/>
                  <a:gd name="connsiteY3" fmla="*/ 57456 h 57455"/>
                  <a:gd name="connsiteX4" fmla="*/ 43451 w 43451"/>
                  <a:gd name="connsiteY4" fmla="*/ 35750 h 57455"/>
                  <a:gd name="connsiteX5" fmla="*/ 43451 w 43451"/>
                  <a:gd name="connsiteY5" fmla="*/ 35750 h 57455"/>
                  <a:gd name="connsiteX6" fmla="*/ 23004 w 43451"/>
                  <a:gd name="connsiteY6" fmla="*/ 0 h 57455"/>
                  <a:gd name="connsiteX7" fmla="*/ 12780 w 43451"/>
                  <a:gd name="connsiteY7" fmla="*/ 1659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1" h="57455">
                    <a:moveTo>
                      <a:pt x="12780" y="16598"/>
                    </a:moveTo>
                    <a:cubicBezTo>
                      <a:pt x="11502" y="19152"/>
                      <a:pt x="9585" y="21067"/>
                      <a:pt x="7668" y="22982"/>
                    </a:cubicBezTo>
                    <a:cubicBezTo>
                      <a:pt x="4473" y="26813"/>
                      <a:pt x="1278" y="31281"/>
                      <a:pt x="0" y="35750"/>
                    </a:cubicBezTo>
                    <a:cubicBezTo>
                      <a:pt x="0" y="47880"/>
                      <a:pt x="9585" y="57456"/>
                      <a:pt x="21726" y="57456"/>
                    </a:cubicBezTo>
                    <a:cubicBezTo>
                      <a:pt x="33867" y="57456"/>
                      <a:pt x="43451" y="47880"/>
                      <a:pt x="43451" y="35750"/>
                    </a:cubicBezTo>
                    <a:cubicBezTo>
                      <a:pt x="43451" y="35750"/>
                      <a:pt x="43451" y="35750"/>
                      <a:pt x="43451" y="35750"/>
                    </a:cubicBezTo>
                    <a:cubicBezTo>
                      <a:pt x="43451" y="22982"/>
                      <a:pt x="31310" y="8938"/>
                      <a:pt x="23004" y="0"/>
                    </a:cubicBezTo>
                    <a:cubicBezTo>
                      <a:pt x="20448" y="5107"/>
                      <a:pt x="17253" y="10853"/>
                      <a:pt x="12780" y="16598"/>
                    </a:cubicBezTo>
                    <a:close/>
                  </a:path>
                </a:pathLst>
              </a:custGeom>
              <a:grpFill/>
              <a:ln w="6390" cap="flat">
                <a:noFill/>
                <a:prstDash val="solid"/>
                <a:miter/>
              </a:ln>
            </p:spPr>
            <p:txBody>
              <a:bodyPr rtlCol="0" anchor="ctr"/>
              <a:lstStyle/>
              <a:p>
                <a:endParaRPr lang="es-419"/>
              </a:p>
            </p:txBody>
          </p:sp>
          <p:sp>
            <p:nvSpPr>
              <p:cNvPr id="2097" name="Graphic 4">
                <a:extLst>
                  <a:ext uri="{FF2B5EF4-FFF2-40B4-BE49-F238E27FC236}">
                    <a16:creationId xmlns:a16="http://schemas.microsoft.com/office/drawing/2014/main" xmlns="" id="{3870563C-C420-4B5E-7770-5DA6AC170103}"/>
                  </a:ext>
                </a:extLst>
              </p:cNvPr>
              <p:cNvSpPr/>
              <p:nvPr/>
            </p:nvSpPr>
            <p:spPr>
              <a:xfrm>
                <a:off x="5216744" y="2949562"/>
                <a:ext cx="120130" cy="173644"/>
              </a:xfrm>
              <a:custGeom>
                <a:avLst/>
                <a:gdLst>
                  <a:gd name="connsiteX0" fmla="*/ 0 w 120130"/>
                  <a:gd name="connsiteY0" fmla="*/ 52987 h 173644"/>
                  <a:gd name="connsiteX1" fmla="*/ 0 w 120130"/>
                  <a:gd name="connsiteY1" fmla="*/ 173644 h 173644"/>
                  <a:gd name="connsiteX2" fmla="*/ 120131 w 120130"/>
                  <a:gd name="connsiteY2" fmla="*/ 173644 h 173644"/>
                  <a:gd name="connsiteX3" fmla="*/ 120131 w 120130"/>
                  <a:gd name="connsiteY3" fmla="*/ 0 h 173644"/>
                  <a:gd name="connsiteX4" fmla="*/ 47285 w 120130"/>
                  <a:gd name="connsiteY4" fmla="*/ 0 h 173644"/>
                  <a:gd name="connsiteX5" fmla="*/ 0 w 120130"/>
                  <a:gd name="connsiteY5" fmla="*/ 52987 h 173644"/>
                  <a:gd name="connsiteX6" fmla="*/ 61982 w 120130"/>
                  <a:gd name="connsiteY6" fmla="*/ 148747 h 173644"/>
                  <a:gd name="connsiteX7" fmla="*/ 27477 w 120130"/>
                  <a:gd name="connsiteY7" fmla="*/ 114273 h 173644"/>
                  <a:gd name="connsiteX8" fmla="*/ 37700 w 120130"/>
                  <a:gd name="connsiteY8" fmla="*/ 93845 h 173644"/>
                  <a:gd name="connsiteX9" fmla="*/ 42173 w 120130"/>
                  <a:gd name="connsiteY9" fmla="*/ 87461 h 173644"/>
                  <a:gd name="connsiteX10" fmla="*/ 56231 w 120130"/>
                  <a:gd name="connsiteY10" fmla="*/ 65117 h 173644"/>
                  <a:gd name="connsiteX11" fmla="*/ 60704 w 120130"/>
                  <a:gd name="connsiteY11" fmla="*/ 61925 h 173644"/>
                  <a:gd name="connsiteX12" fmla="*/ 65816 w 120130"/>
                  <a:gd name="connsiteY12" fmla="*/ 63201 h 173644"/>
                  <a:gd name="connsiteX13" fmla="*/ 96488 w 120130"/>
                  <a:gd name="connsiteY13" fmla="*/ 113635 h 173644"/>
                  <a:gd name="connsiteX14" fmla="*/ 61982 w 120130"/>
                  <a:gd name="connsiteY14" fmla="*/ 148747 h 173644"/>
                  <a:gd name="connsiteX15" fmla="*/ 61982 w 120130"/>
                  <a:gd name="connsiteY15" fmla="*/ 148747 h 173644"/>
                  <a:gd name="connsiteX16" fmla="*/ 61982 w 120130"/>
                  <a:gd name="connsiteY16" fmla="*/ 148747 h 173644"/>
                  <a:gd name="connsiteX17" fmla="*/ 61982 w 120130"/>
                  <a:gd name="connsiteY17" fmla="*/ 13406 h 173644"/>
                  <a:gd name="connsiteX18" fmla="*/ 104795 w 120130"/>
                  <a:gd name="connsiteY18" fmla="*/ 13406 h 173644"/>
                  <a:gd name="connsiteX19" fmla="*/ 111185 w 120130"/>
                  <a:gd name="connsiteY19" fmla="*/ 19790 h 173644"/>
                  <a:gd name="connsiteX20" fmla="*/ 104795 w 120130"/>
                  <a:gd name="connsiteY20" fmla="*/ 26174 h 173644"/>
                  <a:gd name="connsiteX21" fmla="*/ 61982 w 120130"/>
                  <a:gd name="connsiteY21" fmla="*/ 26174 h 173644"/>
                  <a:gd name="connsiteX22" fmla="*/ 55592 w 120130"/>
                  <a:gd name="connsiteY22" fmla="*/ 19790 h 173644"/>
                  <a:gd name="connsiteX23" fmla="*/ 61982 w 120130"/>
                  <a:gd name="connsiteY23" fmla="*/ 13406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130" h="173644">
                    <a:moveTo>
                      <a:pt x="0" y="52987"/>
                    </a:moveTo>
                    <a:lnTo>
                      <a:pt x="0" y="173644"/>
                    </a:lnTo>
                    <a:lnTo>
                      <a:pt x="120131" y="173644"/>
                    </a:lnTo>
                    <a:lnTo>
                      <a:pt x="120131" y="0"/>
                    </a:lnTo>
                    <a:lnTo>
                      <a:pt x="47285" y="0"/>
                    </a:lnTo>
                    <a:lnTo>
                      <a:pt x="0" y="52987"/>
                    </a:lnTo>
                    <a:close/>
                    <a:moveTo>
                      <a:pt x="61982" y="148747"/>
                    </a:moveTo>
                    <a:cubicBezTo>
                      <a:pt x="42812" y="148747"/>
                      <a:pt x="27477" y="133425"/>
                      <a:pt x="27477" y="114273"/>
                    </a:cubicBezTo>
                    <a:cubicBezTo>
                      <a:pt x="27477" y="107251"/>
                      <a:pt x="32589" y="100867"/>
                      <a:pt x="37700" y="93845"/>
                    </a:cubicBezTo>
                    <a:cubicBezTo>
                      <a:pt x="38978" y="91929"/>
                      <a:pt x="40895" y="90014"/>
                      <a:pt x="42173" y="87461"/>
                    </a:cubicBezTo>
                    <a:cubicBezTo>
                      <a:pt x="49841" y="76608"/>
                      <a:pt x="56231" y="65755"/>
                      <a:pt x="56231" y="65117"/>
                    </a:cubicBezTo>
                    <a:cubicBezTo>
                      <a:pt x="56870" y="63201"/>
                      <a:pt x="58787" y="62563"/>
                      <a:pt x="60704" y="61925"/>
                    </a:cubicBezTo>
                    <a:cubicBezTo>
                      <a:pt x="62621" y="61286"/>
                      <a:pt x="64538" y="61925"/>
                      <a:pt x="65816" y="63201"/>
                    </a:cubicBezTo>
                    <a:cubicBezTo>
                      <a:pt x="67094" y="64478"/>
                      <a:pt x="96488" y="88737"/>
                      <a:pt x="96488" y="113635"/>
                    </a:cubicBezTo>
                    <a:cubicBezTo>
                      <a:pt x="97127" y="132787"/>
                      <a:pt x="81152" y="148747"/>
                      <a:pt x="61982" y="148747"/>
                    </a:cubicBezTo>
                    <a:cubicBezTo>
                      <a:pt x="62621" y="148747"/>
                      <a:pt x="61982" y="148747"/>
                      <a:pt x="61982" y="148747"/>
                    </a:cubicBezTo>
                    <a:lnTo>
                      <a:pt x="61982" y="148747"/>
                    </a:lnTo>
                    <a:close/>
                    <a:moveTo>
                      <a:pt x="61982" y="13406"/>
                    </a:moveTo>
                    <a:lnTo>
                      <a:pt x="104795" y="13406"/>
                    </a:lnTo>
                    <a:cubicBezTo>
                      <a:pt x="108629" y="13406"/>
                      <a:pt x="111185" y="15960"/>
                      <a:pt x="111185" y="19790"/>
                    </a:cubicBezTo>
                    <a:cubicBezTo>
                      <a:pt x="111185" y="23621"/>
                      <a:pt x="108629" y="26174"/>
                      <a:pt x="104795" y="26174"/>
                    </a:cubicBezTo>
                    <a:lnTo>
                      <a:pt x="61982" y="26174"/>
                    </a:lnTo>
                    <a:cubicBezTo>
                      <a:pt x="58148" y="26174"/>
                      <a:pt x="55592" y="23621"/>
                      <a:pt x="55592" y="19790"/>
                    </a:cubicBezTo>
                    <a:cubicBezTo>
                      <a:pt x="55592" y="15960"/>
                      <a:pt x="58787" y="13406"/>
                      <a:pt x="61982" y="13406"/>
                    </a:cubicBezTo>
                    <a:close/>
                  </a:path>
                </a:pathLst>
              </a:custGeom>
              <a:grpFill/>
              <a:ln w="6390" cap="flat">
                <a:noFill/>
                <a:prstDash val="solid"/>
                <a:miter/>
              </a:ln>
            </p:spPr>
            <p:txBody>
              <a:bodyPr rtlCol="0" anchor="ctr"/>
              <a:lstStyle/>
              <a:p>
                <a:endParaRPr lang="es-419"/>
              </a:p>
            </p:txBody>
          </p:sp>
        </p:grpSp>
        <p:grpSp>
          <p:nvGrpSpPr>
            <p:cNvPr id="2086" name="Group 2269">
              <a:extLst>
                <a:ext uri="{FF2B5EF4-FFF2-40B4-BE49-F238E27FC236}">
                  <a16:creationId xmlns:a16="http://schemas.microsoft.com/office/drawing/2014/main" xmlns="" id="{AA59C450-3D69-B086-EA96-43EAB52D433D}"/>
                </a:ext>
              </a:extLst>
            </p:cNvPr>
            <p:cNvGrpSpPr/>
            <p:nvPr/>
          </p:nvGrpSpPr>
          <p:grpSpPr>
            <a:xfrm>
              <a:off x="3357353" y="5320382"/>
              <a:ext cx="180000" cy="180000"/>
              <a:chOff x="7354700" y="2479311"/>
              <a:chExt cx="362309" cy="361971"/>
            </a:xfrm>
            <a:solidFill>
              <a:srgbClr val="CB057C"/>
            </a:solidFill>
          </p:grpSpPr>
          <p:sp>
            <p:nvSpPr>
              <p:cNvPr id="2090" name="Graphic 4">
                <a:extLst>
                  <a:ext uri="{FF2B5EF4-FFF2-40B4-BE49-F238E27FC236}">
                    <a16:creationId xmlns:a16="http://schemas.microsoft.com/office/drawing/2014/main" xmlns="" id="{E14EAA62-E1F2-703F-5F0B-8EF917792966}"/>
                  </a:ext>
                </a:extLst>
              </p:cNvPr>
              <p:cNvSpPr/>
              <p:nvPr/>
            </p:nvSpPr>
            <p:spPr>
              <a:xfrm>
                <a:off x="7475470" y="2723818"/>
                <a:ext cx="120769" cy="34473"/>
              </a:xfrm>
              <a:custGeom>
                <a:avLst/>
                <a:gdLst>
                  <a:gd name="connsiteX0" fmla="*/ 0 w 120769"/>
                  <a:gd name="connsiteY0" fmla="*/ 0 h 34473"/>
                  <a:gd name="connsiteX1" fmla="*/ 120770 w 120769"/>
                  <a:gd name="connsiteY1" fmla="*/ 0 h 34473"/>
                  <a:gd name="connsiteX2" fmla="*/ 120770 w 120769"/>
                  <a:gd name="connsiteY2" fmla="*/ 34474 h 34473"/>
                  <a:gd name="connsiteX3" fmla="*/ 0 w 120769"/>
                  <a:gd name="connsiteY3" fmla="*/ 34474 h 34473"/>
                </a:gdLst>
                <a:ahLst/>
                <a:cxnLst>
                  <a:cxn ang="0">
                    <a:pos x="connsiteX0" y="connsiteY0"/>
                  </a:cxn>
                  <a:cxn ang="0">
                    <a:pos x="connsiteX1" y="connsiteY1"/>
                  </a:cxn>
                  <a:cxn ang="0">
                    <a:pos x="connsiteX2" y="connsiteY2"/>
                  </a:cxn>
                  <a:cxn ang="0">
                    <a:pos x="connsiteX3" y="connsiteY3"/>
                  </a:cxn>
                </a:cxnLst>
                <a:rect l="l" t="t" r="r" b="b"/>
                <a:pathLst>
                  <a:path w="120769" h="34473">
                    <a:moveTo>
                      <a:pt x="0" y="0"/>
                    </a:moveTo>
                    <a:lnTo>
                      <a:pt x="120770" y="0"/>
                    </a:lnTo>
                    <a:lnTo>
                      <a:pt x="120770" y="34474"/>
                    </a:lnTo>
                    <a:lnTo>
                      <a:pt x="0" y="34474"/>
                    </a:lnTo>
                    <a:close/>
                  </a:path>
                </a:pathLst>
              </a:custGeom>
              <a:grpFill/>
              <a:ln w="6390" cap="flat">
                <a:noFill/>
                <a:prstDash val="solid"/>
                <a:miter/>
              </a:ln>
            </p:spPr>
            <p:txBody>
              <a:bodyPr rtlCol="0" anchor="ctr"/>
              <a:lstStyle/>
              <a:p>
                <a:endParaRPr lang="es-419"/>
              </a:p>
            </p:txBody>
          </p:sp>
          <p:sp>
            <p:nvSpPr>
              <p:cNvPr id="2091" name="Graphic 4">
                <a:extLst>
                  <a:ext uri="{FF2B5EF4-FFF2-40B4-BE49-F238E27FC236}">
                    <a16:creationId xmlns:a16="http://schemas.microsoft.com/office/drawing/2014/main" xmlns="" id="{F710EAAE-14C8-D000-6067-59A78D3DA34F}"/>
                  </a:ext>
                </a:extLst>
              </p:cNvPr>
              <p:cNvSpPr/>
              <p:nvPr/>
            </p:nvSpPr>
            <p:spPr>
              <a:xfrm>
                <a:off x="7522117" y="2648487"/>
                <a:ext cx="30671" cy="40857"/>
              </a:xfrm>
              <a:custGeom>
                <a:avLst/>
                <a:gdLst>
                  <a:gd name="connsiteX0" fmla="*/ 9585 w 30671"/>
                  <a:gd name="connsiteY0" fmla="*/ 11491 h 40857"/>
                  <a:gd name="connsiteX1" fmla="*/ 5751 w 30671"/>
                  <a:gd name="connsiteY1" fmla="*/ 16598 h 40857"/>
                  <a:gd name="connsiteX2" fmla="*/ 0 w 30671"/>
                  <a:gd name="connsiteY2" fmla="*/ 25536 h 40857"/>
                  <a:gd name="connsiteX3" fmla="*/ 15336 w 30671"/>
                  <a:gd name="connsiteY3" fmla="*/ 40858 h 40857"/>
                  <a:gd name="connsiteX4" fmla="*/ 30672 w 30671"/>
                  <a:gd name="connsiteY4" fmla="*/ 25536 h 40857"/>
                  <a:gd name="connsiteX5" fmla="*/ 30672 w 30671"/>
                  <a:gd name="connsiteY5" fmla="*/ 25536 h 40857"/>
                  <a:gd name="connsiteX6" fmla="*/ 16614 w 30671"/>
                  <a:gd name="connsiteY6" fmla="*/ 0 h 40857"/>
                  <a:gd name="connsiteX7" fmla="*/ 9585 w 30671"/>
                  <a:gd name="connsiteY7" fmla="*/ 11491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40857">
                    <a:moveTo>
                      <a:pt x="9585" y="11491"/>
                    </a:moveTo>
                    <a:cubicBezTo>
                      <a:pt x="8307" y="13406"/>
                      <a:pt x="7029" y="14683"/>
                      <a:pt x="5751" y="16598"/>
                    </a:cubicBezTo>
                    <a:cubicBezTo>
                      <a:pt x="3195" y="19152"/>
                      <a:pt x="1278" y="22344"/>
                      <a:pt x="0" y="25536"/>
                    </a:cubicBezTo>
                    <a:cubicBezTo>
                      <a:pt x="0" y="33835"/>
                      <a:pt x="7029" y="40858"/>
                      <a:pt x="15336" y="40858"/>
                    </a:cubicBezTo>
                    <a:cubicBezTo>
                      <a:pt x="23643" y="40858"/>
                      <a:pt x="30672" y="33835"/>
                      <a:pt x="30672" y="25536"/>
                    </a:cubicBezTo>
                    <a:cubicBezTo>
                      <a:pt x="30672" y="25536"/>
                      <a:pt x="30672" y="25536"/>
                      <a:pt x="30672" y="25536"/>
                    </a:cubicBezTo>
                    <a:cubicBezTo>
                      <a:pt x="30672" y="17237"/>
                      <a:pt x="23004" y="7022"/>
                      <a:pt x="16614" y="0"/>
                    </a:cubicBezTo>
                    <a:cubicBezTo>
                      <a:pt x="14697" y="3830"/>
                      <a:pt x="12141" y="7661"/>
                      <a:pt x="9585" y="11491"/>
                    </a:cubicBezTo>
                    <a:close/>
                  </a:path>
                </a:pathLst>
              </a:custGeom>
              <a:grpFill/>
              <a:ln w="6390" cap="flat">
                <a:noFill/>
                <a:prstDash val="solid"/>
                <a:miter/>
              </a:ln>
            </p:spPr>
            <p:txBody>
              <a:bodyPr rtlCol="0" anchor="ctr"/>
              <a:lstStyle/>
              <a:p>
                <a:endParaRPr lang="es-419"/>
              </a:p>
            </p:txBody>
          </p:sp>
          <p:sp>
            <p:nvSpPr>
              <p:cNvPr id="2092" name="Graphic 4">
                <a:extLst>
                  <a:ext uri="{FF2B5EF4-FFF2-40B4-BE49-F238E27FC236}">
                    <a16:creationId xmlns:a16="http://schemas.microsoft.com/office/drawing/2014/main" xmlns="" id="{CDDC1293-6661-5482-A05E-8929D9B79945}"/>
                  </a:ext>
                </a:extLst>
              </p:cNvPr>
              <p:cNvSpPr/>
              <p:nvPr/>
            </p:nvSpPr>
            <p:spPr>
              <a:xfrm>
                <a:off x="7475470" y="2623589"/>
                <a:ext cx="120769" cy="87460"/>
              </a:xfrm>
              <a:custGeom>
                <a:avLst/>
                <a:gdLst>
                  <a:gd name="connsiteX0" fmla="*/ 0 w 120769"/>
                  <a:gd name="connsiteY0" fmla="*/ 0 h 87460"/>
                  <a:gd name="connsiteX1" fmla="*/ 0 w 120769"/>
                  <a:gd name="connsiteY1" fmla="*/ 87461 h 87460"/>
                  <a:gd name="connsiteX2" fmla="*/ 120770 w 120769"/>
                  <a:gd name="connsiteY2" fmla="*/ 87461 h 87460"/>
                  <a:gd name="connsiteX3" fmla="*/ 120770 w 120769"/>
                  <a:gd name="connsiteY3" fmla="*/ 0 h 87460"/>
                  <a:gd name="connsiteX4" fmla="*/ 0 w 120769"/>
                  <a:gd name="connsiteY4" fmla="*/ 0 h 87460"/>
                  <a:gd name="connsiteX5" fmla="*/ 61982 w 120769"/>
                  <a:gd name="connsiteY5" fmla="*/ 78523 h 87460"/>
                  <a:gd name="connsiteX6" fmla="*/ 33867 w 120769"/>
                  <a:gd name="connsiteY6" fmla="*/ 50434 h 87460"/>
                  <a:gd name="connsiteX7" fmla="*/ 42173 w 120769"/>
                  <a:gd name="connsiteY7" fmla="*/ 33835 h 87460"/>
                  <a:gd name="connsiteX8" fmla="*/ 45368 w 120769"/>
                  <a:gd name="connsiteY8" fmla="*/ 29367 h 87460"/>
                  <a:gd name="connsiteX9" fmla="*/ 56231 w 120769"/>
                  <a:gd name="connsiteY9" fmla="*/ 12130 h 87460"/>
                  <a:gd name="connsiteX10" fmla="*/ 60704 w 120769"/>
                  <a:gd name="connsiteY10" fmla="*/ 8938 h 87460"/>
                  <a:gd name="connsiteX11" fmla="*/ 65816 w 120769"/>
                  <a:gd name="connsiteY11" fmla="*/ 10215 h 87460"/>
                  <a:gd name="connsiteX12" fmla="*/ 90098 w 120769"/>
                  <a:gd name="connsiteY12" fmla="*/ 50434 h 87460"/>
                  <a:gd name="connsiteX13" fmla="*/ 61982 w 120769"/>
                  <a:gd name="connsiteY13" fmla="*/ 78523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769" h="87460">
                    <a:moveTo>
                      <a:pt x="0" y="0"/>
                    </a:moveTo>
                    <a:lnTo>
                      <a:pt x="0" y="87461"/>
                    </a:lnTo>
                    <a:lnTo>
                      <a:pt x="120770" y="87461"/>
                    </a:lnTo>
                    <a:lnTo>
                      <a:pt x="120770" y="0"/>
                    </a:lnTo>
                    <a:lnTo>
                      <a:pt x="0" y="0"/>
                    </a:lnTo>
                    <a:close/>
                    <a:moveTo>
                      <a:pt x="61982" y="78523"/>
                    </a:moveTo>
                    <a:cubicBezTo>
                      <a:pt x="46646" y="78523"/>
                      <a:pt x="33867" y="65755"/>
                      <a:pt x="33867" y="50434"/>
                    </a:cubicBezTo>
                    <a:cubicBezTo>
                      <a:pt x="34505" y="44050"/>
                      <a:pt x="37700" y="38304"/>
                      <a:pt x="42173" y="33835"/>
                    </a:cubicBezTo>
                    <a:lnTo>
                      <a:pt x="45368" y="29367"/>
                    </a:lnTo>
                    <a:cubicBezTo>
                      <a:pt x="51119" y="21067"/>
                      <a:pt x="56231" y="12768"/>
                      <a:pt x="56231" y="12130"/>
                    </a:cubicBezTo>
                    <a:cubicBezTo>
                      <a:pt x="57509" y="10215"/>
                      <a:pt x="58787" y="9576"/>
                      <a:pt x="60704" y="8938"/>
                    </a:cubicBezTo>
                    <a:cubicBezTo>
                      <a:pt x="62621" y="8938"/>
                      <a:pt x="64538" y="8938"/>
                      <a:pt x="65816" y="10215"/>
                    </a:cubicBezTo>
                    <a:cubicBezTo>
                      <a:pt x="68372" y="12130"/>
                      <a:pt x="90098" y="30643"/>
                      <a:pt x="90098" y="50434"/>
                    </a:cubicBezTo>
                    <a:cubicBezTo>
                      <a:pt x="90098" y="65755"/>
                      <a:pt x="77318" y="78523"/>
                      <a:pt x="61982" y="78523"/>
                    </a:cubicBezTo>
                    <a:close/>
                  </a:path>
                </a:pathLst>
              </a:custGeom>
              <a:grpFill/>
              <a:ln w="6390" cap="flat">
                <a:noFill/>
                <a:prstDash val="solid"/>
                <a:miter/>
              </a:ln>
            </p:spPr>
            <p:txBody>
              <a:bodyPr rtlCol="0" anchor="ctr"/>
              <a:lstStyle/>
              <a:p>
                <a:endParaRPr lang="es-419"/>
              </a:p>
            </p:txBody>
          </p:sp>
          <p:sp>
            <p:nvSpPr>
              <p:cNvPr id="2093" name="Graphic 4">
                <a:extLst>
                  <a:ext uri="{FF2B5EF4-FFF2-40B4-BE49-F238E27FC236}">
                    <a16:creationId xmlns:a16="http://schemas.microsoft.com/office/drawing/2014/main" xmlns="" id="{E3650E5A-1B05-C00B-60B2-37E9D94AAC22}"/>
                  </a:ext>
                </a:extLst>
              </p:cNvPr>
              <p:cNvSpPr/>
              <p:nvPr/>
            </p:nvSpPr>
            <p:spPr>
              <a:xfrm>
                <a:off x="7354700" y="2479311"/>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24604 w 362309"/>
                  <a:gd name="connsiteY6" fmla="*/ 70224 h 361971"/>
                  <a:gd name="connsiteX7" fmla="*/ 146330 w 362309"/>
                  <a:gd name="connsiteY7" fmla="*/ 70224 h 361971"/>
                  <a:gd name="connsiteX8" fmla="*/ 152720 w 362309"/>
                  <a:gd name="connsiteY8" fmla="*/ 76608 h 361971"/>
                  <a:gd name="connsiteX9" fmla="*/ 146330 w 362309"/>
                  <a:gd name="connsiteY9" fmla="*/ 82992 h 361971"/>
                  <a:gd name="connsiteX10" fmla="*/ 124604 w 362309"/>
                  <a:gd name="connsiteY10" fmla="*/ 82992 h 361971"/>
                  <a:gd name="connsiteX11" fmla="*/ 118214 w 362309"/>
                  <a:gd name="connsiteY11" fmla="*/ 76608 h 361971"/>
                  <a:gd name="connsiteX12" fmla="*/ 124604 w 362309"/>
                  <a:gd name="connsiteY12" fmla="*/ 70224 h 361971"/>
                  <a:gd name="connsiteX13" fmla="*/ 258154 w 362309"/>
                  <a:gd name="connsiteY13" fmla="*/ 137894 h 361971"/>
                  <a:gd name="connsiteX14" fmla="*/ 254319 w 362309"/>
                  <a:gd name="connsiteY14" fmla="*/ 143640 h 361971"/>
                  <a:gd name="connsiteX15" fmla="*/ 254319 w 362309"/>
                  <a:gd name="connsiteY15" fmla="*/ 232377 h 361971"/>
                  <a:gd name="connsiteX16" fmla="*/ 257514 w 362309"/>
                  <a:gd name="connsiteY16" fmla="*/ 240676 h 361971"/>
                  <a:gd name="connsiteX17" fmla="*/ 254319 w 362309"/>
                  <a:gd name="connsiteY17" fmla="*/ 243868 h 361971"/>
                  <a:gd name="connsiteX18" fmla="*/ 254319 w 362309"/>
                  <a:gd name="connsiteY18" fmla="*/ 279618 h 361971"/>
                  <a:gd name="connsiteX19" fmla="*/ 258154 w 362309"/>
                  <a:gd name="connsiteY19" fmla="*/ 285364 h 361971"/>
                  <a:gd name="connsiteX20" fmla="*/ 251764 w 362309"/>
                  <a:gd name="connsiteY20" fmla="*/ 291748 h 361971"/>
                  <a:gd name="connsiteX21" fmla="*/ 111185 w 362309"/>
                  <a:gd name="connsiteY21" fmla="*/ 291748 h 361971"/>
                  <a:gd name="connsiteX22" fmla="*/ 104795 w 362309"/>
                  <a:gd name="connsiteY22" fmla="*/ 285364 h 361971"/>
                  <a:gd name="connsiteX23" fmla="*/ 108629 w 362309"/>
                  <a:gd name="connsiteY23" fmla="*/ 279618 h 361971"/>
                  <a:gd name="connsiteX24" fmla="*/ 108629 w 362309"/>
                  <a:gd name="connsiteY24" fmla="*/ 243230 h 361971"/>
                  <a:gd name="connsiteX25" fmla="*/ 106073 w 362309"/>
                  <a:gd name="connsiteY25" fmla="*/ 234292 h 361971"/>
                  <a:gd name="connsiteX26" fmla="*/ 108629 w 362309"/>
                  <a:gd name="connsiteY26" fmla="*/ 231738 h 361971"/>
                  <a:gd name="connsiteX27" fmla="*/ 108629 w 362309"/>
                  <a:gd name="connsiteY27" fmla="*/ 143640 h 361971"/>
                  <a:gd name="connsiteX28" fmla="*/ 104795 w 362309"/>
                  <a:gd name="connsiteY28" fmla="*/ 137894 h 361971"/>
                  <a:gd name="connsiteX29" fmla="*/ 108629 w 362309"/>
                  <a:gd name="connsiteY29" fmla="*/ 132149 h 361971"/>
                  <a:gd name="connsiteX30" fmla="*/ 108629 w 362309"/>
                  <a:gd name="connsiteY30" fmla="*/ 100229 h 361971"/>
                  <a:gd name="connsiteX31" fmla="*/ 104795 w 362309"/>
                  <a:gd name="connsiteY31" fmla="*/ 94483 h 361971"/>
                  <a:gd name="connsiteX32" fmla="*/ 111185 w 362309"/>
                  <a:gd name="connsiteY32" fmla="*/ 88099 h 361971"/>
                  <a:gd name="connsiteX33" fmla="*/ 251764 w 362309"/>
                  <a:gd name="connsiteY33" fmla="*/ 88099 h 361971"/>
                  <a:gd name="connsiteX34" fmla="*/ 258154 w 362309"/>
                  <a:gd name="connsiteY34" fmla="*/ 94483 h 361971"/>
                  <a:gd name="connsiteX35" fmla="*/ 254319 w 362309"/>
                  <a:gd name="connsiteY35" fmla="*/ 100229 h 361971"/>
                  <a:gd name="connsiteX36" fmla="*/ 254319 w 362309"/>
                  <a:gd name="connsiteY36" fmla="*/ 132149 h 361971"/>
                  <a:gd name="connsiteX37" fmla="*/ 258154 w 362309"/>
                  <a:gd name="connsiteY37" fmla="*/ 137894 h 361971"/>
                  <a:gd name="connsiteX38" fmla="*/ 258154 w 362309"/>
                  <a:gd name="connsiteY38" fmla="*/ 1378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close/>
                    <a:moveTo>
                      <a:pt x="124604" y="70224"/>
                    </a:moveTo>
                    <a:lnTo>
                      <a:pt x="146330" y="70224"/>
                    </a:lnTo>
                    <a:cubicBezTo>
                      <a:pt x="150164" y="70224"/>
                      <a:pt x="152720" y="72778"/>
                      <a:pt x="152720" y="76608"/>
                    </a:cubicBezTo>
                    <a:cubicBezTo>
                      <a:pt x="152720" y="80438"/>
                      <a:pt x="150164" y="82992"/>
                      <a:pt x="146330" y="82992"/>
                    </a:cubicBezTo>
                    <a:lnTo>
                      <a:pt x="124604" y="82992"/>
                    </a:lnTo>
                    <a:cubicBezTo>
                      <a:pt x="120770" y="82992"/>
                      <a:pt x="118214" y="80438"/>
                      <a:pt x="118214" y="76608"/>
                    </a:cubicBezTo>
                    <a:cubicBezTo>
                      <a:pt x="118214" y="72778"/>
                      <a:pt x="120770" y="70224"/>
                      <a:pt x="124604" y="70224"/>
                    </a:cubicBezTo>
                    <a:close/>
                    <a:moveTo>
                      <a:pt x="258154" y="137894"/>
                    </a:moveTo>
                    <a:cubicBezTo>
                      <a:pt x="258154" y="140448"/>
                      <a:pt x="256876" y="142363"/>
                      <a:pt x="254319" y="143640"/>
                    </a:cubicBezTo>
                    <a:lnTo>
                      <a:pt x="254319" y="232377"/>
                    </a:lnTo>
                    <a:cubicBezTo>
                      <a:pt x="257514" y="233654"/>
                      <a:pt x="258792" y="237484"/>
                      <a:pt x="257514" y="240676"/>
                    </a:cubicBezTo>
                    <a:cubicBezTo>
                      <a:pt x="256876" y="241953"/>
                      <a:pt x="255597" y="243230"/>
                      <a:pt x="254319" y="243868"/>
                    </a:cubicBezTo>
                    <a:lnTo>
                      <a:pt x="254319" y="279618"/>
                    </a:lnTo>
                    <a:cubicBezTo>
                      <a:pt x="256876" y="280895"/>
                      <a:pt x="258154" y="282810"/>
                      <a:pt x="258154" y="285364"/>
                    </a:cubicBezTo>
                    <a:cubicBezTo>
                      <a:pt x="258154" y="289194"/>
                      <a:pt x="255597" y="291748"/>
                      <a:pt x="251764" y="291748"/>
                    </a:cubicBezTo>
                    <a:lnTo>
                      <a:pt x="111185" y="291748"/>
                    </a:lnTo>
                    <a:cubicBezTo>
                      <a:pt x="107351" y="291748"/>
                      <a:pt x="104795" y="289194"/>
                      <a:pt x="104795" y="285364"/>
                    </a:cubicBezTo>
                    <a:cubicBezTo>
                      <a:pt x="104795" y="282810"/>
                      <a:pt x="106073" y="280895"/>
                      <a:pt x="108629" y="279618"/>
                    </a:cubicBezTo>
                    <a:lnTo>
                      <a:pt x="108629" y="243230"/>
                    </a:lnTo>
                    <a:cubicBezTo>
                      <a:pt x="105434" y="241314"/>
                      <a:pt x="104156" y="237484"/>
                      <a:pt x="106073" y="234292"/>
                    </a:cubicBezTo>
                    <a:cubicBezTo>
                      <a:pt x="106712" y="233015"/>
                      <a:pt x="107351" y="232377"/>
                      <a:pt x="108629" y="231738"/>
                    </a:cubicBezTo>
                    <a:lnTo>
                      <a:pt x="108629" y="143640"/>
                    </a:lnTo>
                    <a:cubicBezTo>
                      <a:pt x="106712" y="142363"/>
                      <a:pt x="104795" y="140448"/>
                      <a:pt x="104795" y="137894"/>
                    </a:cubicBezTo>
                    <a:cubicBezTo>
                      <a:pt x="104795" y="135341"/>
                      <a:pt x="106073" y="133425"/>
                      <a:pt x="108629" y="132149"/>
                    </a:cubicBezTo>
                    <a:lnTo>
                      <a:pt x="108629" y="100229"/>
                    </a:lnTo>
                    <a:cubicBezTo>
                      <a:pt x="106712" y="98952"/>
                      <a:pt x="104795" y="97037"/>
                      <a:pt x="104795" y="94483"/>
                    </a:cubicBezTo>
                    <a:cubicBezTo>
                      <a:pt x="104795" y="90653"/>
                      <a:pt x="107351" y="88099"/>
                      <a:pt x="111185" y="88099"/>
                    </a:cubicBezTo>
                    <a:lnTo>
                      <a:pt x="251764" y="88099"/>
                    </a:lnTo>
                    <a:cubicBezTo>
                      <a:pt x="255597" y="88099"/>
                      <a:pt x="258154" y="90653"/>
                      <a:pt x="258154" y="94483"/>
                    </a:cubicBezTo>
                    <a:cubicBezTo>
                      <a:pt x="258154" y="97037"/>
                      <a:pt x="256876" y="99590"/>
                      <a:pt x="254319" y="100229"/>
                    </a:cubicBezTo>
                    <a:lnTo>
                      <a:pt x="254319" y="132149"/>
                    </a:lnTo>
                    <a:cubicBezTo>
                      <a:pt x="256876" y="133425"/>
                      <a:pt x="258154" y="135341"/>
                      <a:pt x="258154" y="137894"/>
                    </a:cubicBezTo>
                    <a:lnTo>
                      <a:pt x="258154" y="137894"/>
                    </a:lnTo>
                    <a:close/>
                  </a:path>
                </a:pathLst>
              </a:custGeom>
              <a:grpFill/>
              <a:ln w="6390" cap="flat">
                <a:noFill/>
                <a:prstDash val="solid"/>
                <a:miter/>
              </a:ln>
            </p:spPr>
            <p:txBody>
              <a:bodyPr rtlCol="0" anchor="ctr"/>
              <a:lstStyle/>
              <a:p>
                <a:endParaRPr lang="es-419"/>
              </a:p>
            </p:txBody>
          </p:sp>
          <p:sp>
            <p:nvSpPr>
              <p:cNvPr id="2094" name="Graphic 4">
                <a:extLst>
                  <a:ext uri="{FF2B5EF4-FFF2-40B4-BE49-F238E27FC236}">
                    <a16:creationId xmlns:a16="http://schemas.microsoft.com/office/drawing/2014/main" xmlns="" id="{59DB7E2D-5198-0AC2-767B-290A86292534}"/>
                  </a:ext>
                </a:extLst>
              </p:cNvPr>
              <p:cNvSpPr/>
              <p:nvPr/>
            </p:nvSpPr>
            <p:spPr>
              <a:xfrm>
                <a:off x="7475470" y="2580178"/>
                <a:ext cx="120769" cy="30643"/>
              </a:xfrm>
              <a:custGeom>
                <a:avLst/>
                <a:gdLst>
                  <a:gd name="connsiteX0" fmla="*/ 0 w 120769"/>
                  <a:gd name="connsiteY0" fmla="*/ 0 h 30643"/>
                  <a:gd name="connsiteX1" fmla="*/ 120770 w 120769"/>
                  <a:gd name="connsiteY1" fmla="*/ 0 h 30643"/>
                  <a:gd name="connsiteX2" fmla="*/ 120770 w 120769"/>
                  <a:gd name="connsiteY2" fmla="*/ 30643 h 30643"/>
                  <a:gd name="connsiteX3" fmla="*/ 0 w 120769"/>
                  <a:gd name="connsiteY3" fmla="*/ 30643 h 30643"/>
                </a:gdLst>
                <a:ahLst/>
                <a:cxnLst>
                  <a:cxn ang="0">
                    <a:pos x="connsiteX0" y="connsiteY0"/>
                  </a:cxn>
                  <a:cxn ang="0">
                    <a:pos x="connsiteX1" y="connsiteY1"/>
                  </a:cxn>
                  <a:cxn ang="0">
                    <a:pos x="connsiteX2" y="connsiteY2"/>
                  </a:cxn>
                  <a:cxn ang="0">
                    <a:pos x="connsiteX3" y="connsiteY3"/>
                  </a:cxn>
                </a:cxnLst>
                <a:rect l="l" t="t" r="r" b="b"/>
                <a:pathLst>
                  <a:path w="120769" h="30643">
                    <a:moveTo>
                      <a:pt x="0" y="0"/>
                    </a:moveTo>
                    <a:lnTo>
                      <a:pt x="120770" y="0"/>
                    </a:lnTo>
                    <a:lnTo>
                      <a:pt x="120770" y="30643"/>
                    </a:lnTo>
                    <a:lnTo>
                      <a:pt x="0" y="30643"/>
                    </a:lnTo>
                    <a:close/>
                  </a:path>
                </a:pathLst>
              </a:custGeom>
              <a:grpFill/>
              <a:ln w="6390" cap="flat">
                <a:noFill/>
                <a:prstDash val="solid"/>
                <a:miter/>
              </a:ln>
            </p:spPr>
            <p:txBody>
              <a:bodyPr rtlCol="0" anchor="ctr"/>
              <a:lstStyle/>
              <a:p>
                <a:endParaRPr lang="es-419"/>
              </a:p>
            </p:txBody>
          </p:sp>
        </p:grpSp>
        <p:sp>
          <p:nvSpPr>
            <p:cNvPr id="2087" name="TextBox 2270">
              <a:extLst>
                <a:ext uri="{FF2B5EF4-FFF2-40B4-BE49-F238E27FC236}">
                  <a16:creationId xmlns:a16="http://schemas.microsoft.com/office/drawing/2014/main" xmlns="" id="{3ED60A1C-42F3-B849-F013-1066C4E97651}"/>
                </a:ext>
              </a:extLst>
            </p:cNvPr>
            <p:cNvSpPr txBox="1"/>
            <p:nvPr/>
          </p:nvSpPr>
          <p:spPr>
            <a:xfrm>
              <a:off x="2793153" y="5100528"/>
              <a:ext cx="466485" cy="92333"/>
            </a:xfrm>
            <a:prstGeom prst="rect">
              <a:avLst/>
            </a:prstGeom>
            <a:noFill/>
          </p:spPr>
          <p:txBody>
            <a:bodyPr wrap="square" lIns="0" tIns="0" rIns="0" bIns="0" rtlCol="0">
              <a:spAutoFit/>
            </a:bodyPr>
            <a:lstStyle/>
            <a:p>
              <a:pPr algn="l">
                <a:spcBef>
                  <a:spcPts val="600"/>
                </a:spcBef>
                <a:buSzPct val="100000"/>
              </a:pPr>
              <a:r>
                <a:rPr lang="es-419" sz="600">
                  <a:solidFill>
                    <a:srgbClr val="313131"/>
                  </a:solidFill>
                  <a:latin typeface="Calibri Light" panose="020F0302020204030204" pitchFamily="34" charset="0"/>
                  <a:cs typeface="Calibri Light" panose="020F0302020204030204" pitchFamily="34" charset="0"/>
                </a:rPr>
                <a:t>Gas Natural</a:t>
              </a:r>
            </a:p>
          </p:txBody>
        </p:sp>
        <p:sp>
          <p:nvSpPr>
            <p:cNvPr id="2088" name="TextBox 2271">
              <a:extLst>
                <a:ext uri="{FF2B5EF4-FFF2-40B4-BE49-F238E27FC236}">
                  <a16:creationId xmlns:a16="http://schemas.microsoft.com/office/drawing/2014/main" xmlns="" id="{944FD460-187E-8C5D-00B2-3000132176C9}"/>
                </a:ext>
              </a:extLst>
            </p:cNvPr>
            <p:cNvSpPr txBox="1"/>
            <p:nvPr/>
          </p:nvSpPr>
          <p:spPr>
            <a:xfrm>
              <a:off x="3576685" y="5100528"/>
              <a:ext cx="466485" cy="92333"/>
            </a:xfrm>
            <a:prstGeom prst="rect">
              <a:avLst/>
            </a:prstGeom>
            <a:noFill/>
          </p:spPr>
          <p:txBody>
            <a:bodyPr wrap="square" lIns="0" tIns="0" rIns="0" bIns="0" rtlCol="0">
              <a:spAutoFit/>
            </a:bodyPr>
            <a:lstStyle/>
            <a:p>
              <a:pPr algn="l">
                <a:spcBef>
                  <a:spcPts val="600"/>
                </a:spcBef>
                <a:buSzPct val="100000"/>
              </a:pPr>
              <a:r>
                <a:rPr lang="es-419" sz="600">
                  <a:solidFill>
                    <a:srgbClr val="313131"/>
                  </a:solidFill>
                  <a:latin typeface="Calibri Light" panose="020F0302020204030204" pitchFamily="34" charset="0"/>
                  <a:cs typeface="Calibri Light" panose="020F0302020204030204" pitchFamily="34" charset="0"/>
                </a:rPr>
                <a:t>Diésel</a:t>
              </a:r>
            </a:p>
          </p:txBody>
        </p:sp>
        <p:sp>
          <p:nvSpPr>
            <p:cNvPr id="2089" name="TextBox 2272">
              <a:extLst>
                <a:ext uri="{FF2B5EF4-FFF2-40B4-BE49-F238E27FC236}">
                  <a16:creationId xmlns:a16="http://schemas.microsoft.com/office/drawing/2014/main" xmlns="" id="{71AF33C2-BEAD-7089-43D6-7EF368A644B9}"/>
                </a:ext>
              </a:extLst>
            </p:cNvPr>
            <p:cNvSpPr txBox="1"/>
            <p:nvPr/>
          </p:nvSpPr>
          <p:spPr>
            <a:xfrm>
              <a:off x="3576685" y="5366780"/>
              <a:ext cx="466485" cy="92333"/>
            </a:xfrm>
            <a:prstGeom prst="rect">
              <a:avLst/>
            </a:prstGeom>
            <a:noFill/>
          </p:spPr>
          <p:txBody>
            <a:bodyPr wrap="square" lIns="0" tIns="0" rIns="0" bIns="0" rtlCol="0">
              <a:spAutoFit/>
            </a:bodyPr>
            <a:lstStyle/>
            <a:p>
              <a:pPr algn="l">
                <a:spcBef>
                  <a:spcPts val="600"/>
                </a:spcBef>
                <a:buSzPct val="100000"/>
              </a:pPr>
              <a:r>
                <a:rPr lang="es-419" sz="600">
                  <a:solidFill>
                    <a:srgbClr val="313131"/>
                  </a:solidFill>
                  <a:latin typeface="Calibri Light" panose="020F0302020204030204" pitchFamily="34" charset="0"/>
                  <a:cs typeface="Calibri Light" panose="020F0302020204030204" pitchFamily="34" charset="0"/>
                </a:rPr>
                <a:t>Gasolina</a:t>
              </a:r>
            </a:p>
          </p:txBody>
        </p:sp>
      </p:grpSp>
    </p:spTree>
    <p:extLst>
      <p:ext uri="{BB962C8B-B14F-4D97-AF65-F5344CB8AC3E}">
        <p14:creationId xmlns:p14="http://schemas.microsoft.com/office/powerpoint/2010/main" val="30362069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xmlns="" id="{47BF59E2-5126-0AD1-75F3-E955B7F90881}"/>
              </a:ext>
            </a:extLst>
          </p:cNvPr>
          <p:cNvSpPr/>
          <p:nvPr/>
        </p:nvSpPr>
        <p:spPr bwMode="gray">
          <a:xfrm>
            <a:off x="-1057067" y="755017"/>
            <a:ext cx="11806313" cy="657692"/>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1A80EE2E-7927-4351-BBDC-3CAD663723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39" imgW="395" imgH="396" progId="TCLayout.ActiveDocument.1">
                  <p:embed/>
                </p:oleObj>
              </mc:Choice>
              <mc:Fallback>
                <p:oleObj name="think-cell Slide" r:id="rId39" imgW="395" imgH="396" progId="TCLayout.ActiveDocument.1">
                  <p:embed/>
                  <p:pic>
                    <p:nvPicPr>
                      <p:cNvPr id="12" name="Object 11" hidden="1">
                        <a:extLst>
                          <a:ext uri="{FF2B5EF4-FFF2-40B4-BE49-F238E27FC236}">
                            <a16:creationId xmlns:a16="http://schemas.microsoft.com/office/drawing/2014/main" xmlns="" id="{1A80EE2E-7927-4351-BBDC-3CAD663723AD}"/>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BBE6F9A9-C097-4F4A-8B1A-231629093A49}"/>
              </a:ext>
            </a:extLst>
          </p:cNvPr>
          <p:cNvSpPr>
            <a:spLocks noGrp="1"/>
          </p:cNvSpPr>
          <p:nvPr>
            <p:ph type="sldNum" sz="quarter" idx="4"/>
          </p:nvPr>
        </p:nvSpPr>
        <p:spPr/>
        <p:txBody>
          <a:bodyPr/>
          <a:lstStyle/>
          <a:p>
            <a:fld id="{A8E5AD78-C39A-47FF-83FF-0E69177E1F7C}" type="slidenum">
              <a:rPr lang="es-BO" noProof="0" smtClean="0"/>
              <a:pPr/>
              <a:t>6</a:t>
            </a:fld>
            <a:endParaRPr lang="es-BO" noProof="0" dirty="0"/>
          </a:p>
        </p:txBody>
      </p:sp>
      <p:sp>
        <p:nvSpPr>
          <p:cNvPr id="11" name="Title 2">
            <a:extLst>
              <a:ext uri="{FF2B5EF4-FFF2-40B4-BE49-F238E27FC236}">
                <a16:creationId xmlns:a16="http://schemas.microsoft.com/office/drawing/2014/main" xmlns="" id="{31740E28-CE8D-154E-EA18-5D51FFFC1698}"/>
              </a:ext>
            </a:extLst>
          </p:cNvPr>
          <p:cNvSpPr>
            <a:spLocks noGrp="1"/>
          </p:cNvSpPr>
          <p:nvPr>
            <p:ph type="title"/>
          </p:nvPr>
        </p:nvSpPr>
        <p:spPr/>
        <p:txBody>
          <a:bodyPr vert="horz"/>
          <a:lstStyle/>
          <a:p>
            <a:r>
              <a:rPr lang="es-BO" noProof="0" dirty="0"/>
              <a:t>Hoja de Ruta y estrategia Nacional| Reducción de emisiones de GEI </a:t>
            </a:r>
          </a:p>
        </p:txBody>
      </p:sp>
      <p:sp>
        <p:nvSpPr>
          <p:cNvPr id="4" name="Text Placeholder 3">
            <a:extLst>
              <a:ext uri="{FF2B5EF4-FFF2-40B4-BE49-F238E27FC236}">
                <a16:creationId xmlns:a16="http://schemas.microsoft.com/office/drawing/2014/main" xmlns="" id="{8459939A-CF18-4DAA-9E5A-9252C9BD0084}"/>
              </a:ext>
            </a:extLst>
          </p:cNvPr>
          <p:cNvSpPr>
            <a:spLocks noGrp="1"/>
          </p:cNvSpPr>
          <p:nvPr>
            <p:ph type="body" sz="quarter" idx="13"/>
          </p:nvPr>
        </p:nvSpPr>
        <p:spPr>
          <a:xfrm>
            <a:off x="515938" y="671200"/>
            <a:ext cx="11160125" cy="719137"/>
          </a:xfrm>
        </p:spPr>
        <p:txBody>
          <a:bodyPr anchor="ctr"/>
          <a:lstStyle/>
          <a:p>
            <a:r>
              <a:rPr lang="es-BO" noProof="0" dirty="0">
                <a:solidFill>
                  <a:schemeClr val="bg1"/>
                </a:solidFill>
              </a:rPr>
              <a:t>Impacto climático del hidrógeno </a:t>
            </a:r>
            <a:r>
              <a:rPr lang="es-BO" dirty="0">
                <a:solidFill>
                  <a:schemeClr val="bg1"/>
                </a:solidFill>
              </a:rPr>
              <a:t>v</a:t>
            </a:r>
            <a:r>
              <a:rPr lang="es-BO" noProof="0" dirty="0" err="1">
                <a:solidFill>
                  <a:schemeClr val="bg1"/>
                </a:solidFill>
              </a:rPr>
              <a:t>erde</a:t>
            </a:r>
            <a:r>
              <a:rPr lang="es-BO" noProof="0" dirty="0">
                <a:solidFill>
                  <a:schemeClr val="bg1"/>
                </a:solidFill>
              </a:rPr>
              <a:t>: reducción de emisiones para 2030, 2040 y 2050</a:t>
            </a:r>
          </a:p>
        </p:txBody>
      </p:sp>
      <p:sp>
        <p:nvSpPr>
          <p:cNvPr id="10" name="Text Placeholder 9">
            <a:extLst>
              <a:ext uri="{FF2B5EF4-FFF2-40B4-BE49-F238E27FC236}">
                <a16:creationId xmlns:a16="http://schemas.microsoft.com/office/drawing/2014/main" xmlns="" id="{0CBE1639-D426-20B6-ED48-43276E4DCC21}"/>
              </a:ext>
            </a:extLst>
          </p:cNvPr>
          <p:cNvSpPr>
            <a:spLocks noGrp="1"/>
          </p:cNvSpPr>
          <p:nvPr>
            <p:ph type="body" sz="quarter" idx="14"/>
          </p:nvPr>
        </p:nvSpPr>
        <p:spPr>
          <a:xfrm>
            <a:off x="515937" y="6104154"/>
            <a:ext cx="11160125" cy="307777"/>
          </a:xfrm>
        </p:spPr>
        <p:txBody>
          <a:bodyPr/>
          <a:lstStyle/>
          <a:p>
            <a:r>
              <a:rPr lang="es-BO" noProof="0" dirty="0"/>
              <a:t>Fuente: Elaboración propia</a:t>
            </a:r>
          </a:p>
          <a:p>
            <a:endParaRPr lang="es-BO" noProof="0" dirty="0"/>
          </a:p>
        </p:txBody>
      </p:sp>
      <p:sp>
        <p:nvSpPr>
          <p:cNvPr id="13" name="TextBox 12">
            <a:extLst>
              <a:ext uri="{FF2B5EF4-FFF2-40B4-BE49-F238E27FC236}">
                <a16:creationId xmlns:a16="http://schemas.microsoft.com/office/drawing/2014/main" xmlns="" id="{7BE371C6-F458-135B-75B5-1747588B98C4}"/>
              </a:ext>
            </a:extLst>
          </p:cNvPr>
          <p:cNvSpPr txBox="1"/>
          <p:nvPr/>
        </p:nvSpPr>
        <p:spPr>
          <a:xfrm>
            <a:off x="1172875" y="1665324"/>
            <a:ext cx="5020885" cy="430887"/>
          </a:xfrm>
          <a:prstGeom prst="rect">
            <a:avLst/>
          </a:prstGeom>
          <a:noFill/>
        </p:spPr>
        <p:txBody>
          <a:bodyPr wrap="square" lIns="0" tIns="0" rIns="0" bIns="0" rtlCol="0">
            <a:spAutoFit/>
          </a:bodyPr>
          <a:lstStyle/>
          <a:p>
            <a:pPr>
              <a:buSzPct val="100000"/>
            </a:pPr>
            <a:r>
              <a:rPr lang="es-BO" sz="1400" b="1" noProof="0" dirty="0">
                <a:solidFill>
                  <a:schemeClr val="accent3"/>
                </a:solidFill>
                <a:latin typeface="Calibri Light" panose="020F0302020204030204" pitchFamily="34" charset="0"/>
                <a:cs typeface="Calibri Light" panose="020F0302020204030204" pitchFamily="34" charset="0"/>
              </a:rPr>
              <a:t>Estimación de reducción de CO</a:t>
            </a:r>
            <a:r>
              <a:rPr lang="es-BO" sz="1200" b="1" baseline="-25000" noProof="0" dirty="0">
                <a:solidFill>
                  <a:schemeClr val="accent3"/>
                </a:solidFill>
                <a:latin typeface="Calibri Light" panose="020F0302020204030204" pitchFamily="34" charset="0"/>
                <a:cs typeface="Calibri Light" panose="020F0302020204030204" pitchFamily="34" charset="0"/>
              </a:rPr>
              <a:t>2</a:t>
            </a:r>
            <a:r>
              <a:rPr lang="es-BO" sz="1400" b="1" noProof="0" dirty="0">
                <a:solidFill>
                  <a:schemeClr val="accent3"/>
                </a:solidFill>
                <a:latin typeface="Calibri Light" panose="020F0302020204030204" pitchFamily="34" charset="0"/>
                <a:cs typeface="Calibri Light" panose="020F0302020204030204" pitchFamily="34" charset="0"/>
              </a:rPr>
              <a:t> equivalente del total de demanda por atender proyectada</a:t>
            </a:r>
          </a:p>
        </p:txBody>
      </p:sp>
      <p:cxnSp>
        <p:nvCxnSpPr>
          <p:cNvPr id="15" name="Straight Connector 14">
            <a:extLst>
              <a:ext uri="{FF2B5EF4-FFF2-40B4-BE49-F238E27FC236}">
                <a16:creationId xmlns:a16="http://schemas.microsoft.com/office/drawing/2014/main" xmlns="" id="{A730A1D8-4595-5641-5D6A-B9553B645C27}"/>
              </a:ext>
            </a:extLst>
          </p:cNvPr>
          <p:cNvCxnSpPr/>
          <p:nvPr>
            <p:custDataLst>
              <p:tags r:id="rId3"/>
            </p:custDataLst>
          </p:nvPr>
        </p:nvCxnSpPr>
        <p:spPr bwMode="auto">
          <a:xfrm>
            <a:off x="2003743" y="3554541"/>
            <a:ext cx="2127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7FEBEE03-60A9-03A5-21A0-6A47B0FE8B6C}"/>
              </a:ext>
            </a:extLst>
          </p:cNvPr>
          <p:cNvCxnSpPr/>
          <p:nvPr>
            <p:custDataLst>
              <p:tags r:id="rId4"/>
            </p:custDataLst>
          </p:nvPr>
        </p:nvCxnSpPr>
        <p:spPr bwMode="auto">
          <a:xfrm>
            <a:off x="2483168" y="3572004"/>
            <a:ext cx="2127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2" name="Chart 51">
            <a:extLst>
              <a:ext uri="{FF2B5EF4-FFF2-40B4-BE49-F238E27FC236}">
                <a16:creationId xmlns:a16="http://schemas.microsoft.com/office/drawing/2014/main" xmlns="" id="{3155933C-9E1A-BDA7-82D7-8873D504217B}"/>
              </a:ext>
            </a:extLst>
          </p:cNvPr>
          <p:cNvGraphicFramePr/>
          <p:nvPr>
            <p:custDataLst>
              <p:tags r:id="rId5"/>
            </p:custDataLst>
            <p:extLst>
              <p:ext uri="{D42A27DB-BD31-4B8C-83A1-F6EECF244321}">
                <p14:modId xmlns:p14="http://schemas.microsoft.com/office/powerpoint/2010/main" val="251197847"/>
              </p:ext>
            </p:extLst>
          </p:nvPr>
        </p:nvGraphicFramePr>
        <p:xfrm>
          <a:off x="1267143" y="2833816"/>
          <a:ext cx="1885950" cy="1692275"/>
        </p:xfrm>
        <a:graphic>
          <a:graphicData uri="http://schemas.openxmlformats.org/drawingml/2006/chart">
            <c:chart xmlns:c="http://schemas.openxmlformats.org/drawingml/2006/chart" xmlns:r="http://schemas.openxmlformats.org/officeDocument/2006/relationships" r:id="rId41"/>
          </a:graphicData>
        </a:graphic>
      </p:graphicFrame>
      <p:sp>
        <p:nvSpPr>
          <p:cNvPr id="19" name="Text Placeholder 2">
            <a:extLst>
              <a:ext uri="{FF2B5EF4-FFF2-40B4-BE49-F238E27FC236}">
                <a16:creationId xmlns:a16="http://schemas.microsoft.com/office/drawing/2014/main" xmlns="" id="{12CCAE16-C928-1E6A-4072-4428E718360F}"/>
              </a:ext>
            </a:extLst>
          </p:cNvPr>
          <p:cNvSpPr>
            <a:spLocks noGrp="1"/>
          </p:cNvSpPr>
          <p:nvPr>
            <p:custDataLst>
              <p:tags r:id="rId6"/>
            </p:custDataLst>
          </p:nvPr>
        </p:nvSpPr>
        <p:spPr bwMode="auto">
          <a:xfrm>
            <a:off x="1132205" y="2921129"/>
            <a:ext cx="136525" cy="151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BO" sz="1000" noProof="0" dirty="0">
                <a:effectLst/>
                <a:sym typeface="Calibri Light" panose="020F0302020204030204" pitchFamily="34" charset="0"/>
              </a:rPr>
              <a:t>Millones de toneladas C02 </a:t>
            </a:r>
            <a:r>
              <a:rPr lang="es-BO" sz="1000" noProof="0" dirty="0" err="1">
                <a:effectLst/>
                <a:sym typeface="Calibri Light" panose="020F0302020204030204" pitchFamily="34" charset="0"/>
              </a:rPr>
              <a:t>eq</a:t>
            </a:r>
            <a:endParaRPr lang="es-BO" sz="1000" noProof="0" dirty="0">
              <a:sym typeface="Calibri Light" panose="020F0302020204030204" pitchFamily="34" charset="0"/>
            </a:endParaRPr>
          </a:p>
        </p:txBody>
      </p:sp>
      <p:sp>
        <p:nvSpPr>
          <p:cNvPr id="20" name="Text Placeholder 2">
            <a:extLst>
              <a:ext uri="{FF2B5EF4-FFF2-40B4-BE49-F238E27FC236}">
                <a16:creationId xmlns:a16="http://schemas.microsoft.com/office/drawing/2014/main" xmlns="" id="{F4D5B883-007D-E903-DE89-E5B188C89C1E}"/>
              </a:ext>
            </a:extLst>
          </p:cNvPr>
          <p:cNvSpPr>
            <a:spLocks noGrp="1"/>
          </p:cNvSpPr>
          <p:nvPr>
            <p:custDataLst>
              <p:tags r:id="rId7"/>
            </p:custDataLst>
          </p:nvPr>
        </p:nvSpPr>
        <p:spPr bwMode="auto">
          <a:xfrm>
            <a:off x="1622743" y="4430841"/>
            <a:ext cx="493713" cy="476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BO" sz="700" noProof="0" dirty="0">
                <a:sym typeface="Calibri Light" panose="020F0302020204030204" pitchFamily="34" charset="0"/>
              </a:rPr>
              <a:t>Emisiones estimadas  </a:t>
            </a:r>
            <a:fld id="{ABD6CDB1-1EA5-4B2F-8FEA-4351AD6EA14A}" type="datetime' '">
              <a:rPr lang="es-BO" sz="700" noProof="0" smtClean="0"/>
              <a:pPr/>
              <a:t> </a:t>
            </a:fld>
            <a:r>
              <a:rPr lang="es-BO" sz="700" noProof="0" dirty="0"/>
              <a:t/>
            </a:r>
            <a:br>
              <a:rPr lang="es-BO" sz="700" noProof="0" dirty="0"/>
            </a:br>
            <a:r>
              <a:rPr lang="es-BO" sz="700" noProof="0" dirty="0">
                <a:sym typeface="Calibri Light" panose="020F0302020204030204" pitchFamily="34" charset="0"/>
              </a:rPr>
              <a:t>de los combustibles proyectados</a:t>
            </a:r>
          </a:p>
        </p:txBody>
      </p:sp>
      <p:sp>
        <p:nvSpPr>
          <p:cNvPr id="22" name="Text Placeholder 2">
            <a:extLst>
              <a:ext uri="{FF2B5EF4-FFF2-40B4-BE49-F238E27FC236}">
                <a16:creationId xmlns:a16="http://schemas.microsoft.com/office/drawing/2014/main" xmlns="" id="{C11D458B-B8A3-7746-CD00-BF401297CF78}"/>
              </a:ext>
            </a:extLst>
          </p:cNvPr>
          <p:cNvSpPr>
            <a:spLocks noGrp="1"/>
          </p:cNvSpPr>
          <p:nvPr>
            <p:custDataLst>
              <p:tags r:id="rId8"/>
            </p:custDataLst>
          </p:nvPr>
        </p:nvSpPr>
        <p:spPr bwMode="auto">
          <a:xfrm>
            <a:off x="2137093" y="4430841"/>
            <a:ext cx="427038" cy="666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F3CBA8-0163-4839-90FC-346485BD0070}" type="datetime'''''R''e''''''du''''''cció''''n esti''mad''a po''r H2''''V'">
              <a:rPr lang="es-BO" sz="700" noProof="0" smtClean="0">
                <a:sym typeface="Calibri Light" panose="020F0302020204030204" pitchFamily="34" charset="0"/>
              </a:rPr>
              <a:pPr/>
              <a:t>Reducción estimada por H2V</a:t>
            </a:fld>
            <a:r>
              <a:rPr lang="es-BO" sz="700" noProof="0" dirty="0">
                <a:sym typeface="Calibri Light" panose="020F0302020204030204" pitchFamily="34" charset="0"/>
              </a:rPr>
              <a:t> </a:t>
            </a:r>
            <a:fld id="{B4AF1C72-76DC-4E48-8EA8-CFA7C4771E39}" type="datetime' '">
              <a:rPr lang="es-BO" sz="700" noProof="0" smtClean="0"/>
              <a:pPr/>
              <a:t> </a:t>
            </a:fld>
            <a:r>
              <a:rPr lang="es-BO" sz="700" noProof="0" dirty="0"/>
              <a:t/>
            </a:r>
            <a:br>
              <a:rPr lang="es-BO" sz="700" noProof="0" dirty="0"/>
            </a:br>
            <a:r>
              <a:rPr lang="es-BO" sz="700" noProof="0" dirty="0">
                <a:sym typeface="Calibri Light" panose="020F0302020204030204" pitchFamily="34" charset="0"/>
              </a:rPr>
              <a:t>del total de consumo proyectado</a:t>
            </a:r>
            <a:endParaRPr lang="es-BO" sz="600" noProof="0" dirty="0">
              <a:sym typeface="Calibri Light" panose="020F0302020204030204" pitchFamily="34" charset="0"/>
            </a:endParaRPr>
          </a:p>
          <a:p>
            <a:pPr marL="0" lvl="0" indent="0" algn="ctr">
              <a:spcBef>
                <a:spcPct val="0"/>
              </a:spcBef>
              <a:spcAft>
                <a:spcPct val="0"/>
              </a:spcAft>
              <a:buNone/>
            </a:pPr>
            <a:endParaRPr lang="es-BO" sz="700" noProof="0" dirty="0">
              <a:sym typeface="Calibri Light" panose="020F0302020204030204" pitchFamily="34" charset="0"/>
            </a:endParaRPr>
          </a:p>
        </p:txBody>
      </p:sp>
      <p:sp>
        <p:nvSpPr>
          <p:cNvPr id="25" name="Text Placeholder 2">
            <a:extLst>
              <a:ext uri="{FF2B5EF4-FFF2-40B4-BE49-F238E27FC236}">
                <a16:creationId xmlns:a16="http://schemas.microsoft.com/office/drawing/2014/main" xmlns="" id="{F86D4F5A-0287-2059-E10F-D276ABC5FD16}"/>
              </a:ext>
            </a:extLst>
          </p:cNvPr>
          <p:cNvSpPr>
            <a:spLocks noGrp="1"/>
          </p:cNvSpPr>
          <p:nvPr>
            <p:custDataLst>
              <p:tags r:id="rId9"/>
            </p:custDataLst>
          </p:nvPr>
        </p:nvSpPr>
        <p:spPr bwMode="auto">
          <a:xfrm>
            <a:off x="2638743" y="4430841"/>
            <a:ext cx="381000"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B4E560-FF1E-4974-90DB-6038112C841D}" type="datetime'Em''ision''''e''s'''' es''t''''''im''adas'''''' 2''030'''''''">
              <a:rPr lang="es-BO" sz="700" noProof="0" smtClean="0">
                <a:sym typeface="Calibri Light" panose="020F0302020204030204" pitchFamily="34" charset="0"/>
              </a:rPr>
              <a:pPr/>
              <a:t>Emisiones estimadas 2030</a:t>
            </a:fld>
            <a:endParaRPr lang="es-BO" sz="700" noProof="0" dirty="0">
              <a:sym typeface="Calibri Light" panose="020F0302020204030204" pitchFamily="34" charset="0"/>
            </a:endParaRPr>
          </a:p>
        </p:txBody>
      </p:sp>
      <p:sp>
        <p:nvSpPr>
          <p:cNvPr id="28" name="Text Placeholder 2">
            <a:extLst>
              <a:ext uri="{FF2B5EF4-FFF2-40B4-BE49-F238E27FC236}">
                <a16:creationId xmlns:a16="http://schemas.microsoft.com/office/drawing/2014/main" xmlns="" id="{C3D3C5CD-EDB5-3D45-1CFF-AC962B34436E}"/>
              </a:ext>
            </a:extLst>
          </p:cNvPr>
          <p:cNvSpPr>
            <a:spLocks noGrp="1"/>
          </p:cNvSpPr>
          <p:nvPr>
            <p:custDataLst>
              <p:tags r:id="rId10"/>
            </p:custDataLst>
          </p:nvPr>
        </p:nvSpPr>
        <p:spPr bwMode="gray">
          <a:xfrm>
            <a:off x="1702118" y="3392616"/>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9C069D-5CE3-4630-BD37-F7AF5B8EAB91}" type="datetime'20'''''''''',''''6''''''''''''''''''''''''''''''''''''''''8'''">
              <a:rPr lang="es-BO" sz="1000" noProof="0" smtClean="0">
                <a:sym typeface="Calibri Light" panose="020F0302020204030204" pitchFamily="34" charset="0"/>
              </a:rPr>
              <a:pPr/>
              <a:t>20,68</a:t>
            </a:fld>
            <a:endParaRPr lang="es-BO" sz="1000" noProof="0" dirty="0">
              <a:sym typeface="Calibri Light" panose="020F0302020204030204" pitchFamily="34" charset="0"/>
            </a:endParaRPr>
          </a:p>
        </p:txBody>
      </p:sp>
      <p:sp>
        <p:nvSpPr>
          <p:cNvPr id="26" name="Text Placeholder 2">
            <a:extLst>
              <a:ext uri="{FF2B5EF4-FFF2-40B4-BE49-F238E27FC236}">
                <a16:creationId xmlns:a16="http://schemas.microsoft.com/office/drawing/2014/main" xmlns="" id="{A9C80A6B-49FB-B178-3DBB-1A76F5C8EF14}"/>
              </a:ext>
            </a:extLst>
          </p:cNvPr>
          <p:cNvSpPr>
            <a:spLocks noGrp="1"/>
          </p:cNvSpPr>
          <p:nvPr>
            <p:custDataLst>
              <p:tags r:id="rId11"/>
            </p:custDataLst>
          </p:nvPr>
        </p:nvSpPr>
        <p:spPr bwMode="gray">
          <a:xfrm>
            <a:off x="2216468" y="3392616"/>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ADDA24-D515-45E5-921D-19CF4C55BDB8}" type="datetime'''''''''''''''''''0,''''''''''''''''''''43'''''''''">
              <a:rPr lang="es-BO" sz="1000" noProof="0" smtClean="0">
                <a:sym typeface="Calibri Light" panose="020F0302020204030204" pitchFamily="34" charset="0"/>
              </a:rPr>
              <a:pPr/>
              <a:t>0,43</a:t>
            </a:fld>
            <a:endParaRPr lang="es-BO" sz="1000" noProof="0" dirty="0">
              <a:sym typeface="Calibri Light" panose="020F0302020204030204" pitchFamily="34" charset="0"/>
            </a:endParaRPr>
          </a:p>
        </p:txBody>
      </p:sp>
      <p:sp>
        <p:nvSpPr>
          <p:cNvPr id="29" name="Text Placeholder 2">
            <a:extLst>
              <a:ext uri="{FF2B5EF4-FFF2-40B4-BE49-F238E27FC236}">
                <a16:creationId xmlns:a16="http://schemas.microsoft.com/office/drawing/2014/main" xmlns="" id="{B95C364F-DE92-594D-87DC-4E2671D3B16E}"/>
              </a:ext>
            </a:extLst>
          </p:cNvPr>
          <p:cNvSpPr>
            <a:spLocks noGrp="1"/>
          </p:cNvSpPr>
          <p:nvPr>
            <p:custDataLst>
              <p:tags r:id="rId12"/>
            </p:custDataLst>
          </p:nvPr>
        </p:nvSpPr>
        <p:spPr bwMode="gray">
          <a:xfrm>
            <a:off x="2662555" y="3410079"/>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EDB180-0B08-4FB8-968E-04BAC041485D}" type="datetime'''2''''''''''''0'''''''''''''''''''''',''2''''''6'''">
              <a:rPr lang="es-BO" sz="1000" noProof="0" smtClean="0">
                <a:sym typeface="Calibri Light" panose="020F0302020204030204" pitchFamily="34" charset="0"/>
              </a:rPr>
              <a:pPr/>
              <a:t>20,26</a:t>
            </a:fld>
            <a:endParaRPr lang="es-BO" sz="1000" noProof="0" dirty="0">
              <a:sym typeface="Calibri Light" panose="020F0302020204030204" pitchFamily="34" charset="0"/>
            </a:endParaRPr>
          </a:p>
        </p:txBody>
      </p:sp>
      <p:cxnSp>
        <p:nvCxnSpPr>
          <p:cNvPr id="30" name="Straight Connector 29">
            <a:extLst>
              <a:ext uri="{FF2B5EF4-FFF2-40B4-BE49-F238E27FC236}">
                <a16:creationId xmlns:a16="http://schemas.microsoft.com/office/drawing/2014/main" xmlns="" id="{E7616A20-C767-8889-EFA6-44266C785474}"/>
              </a:ext>
            </a:extLst>
          </p:cNvPr>
          <p:cNvCxnSpPr/>
          <p:nvPr>
            <p:custDataLst>
              <p:tags r:id="rId13"/>
            </p:custDataLst>
          </p:nvPr>
        </p:nvCxnSpPr>
        <p:spPr bwMode="auto">
          <a:xfrm>
            <a:off x="3575368" y="3321179"/>
            <a:ext cx="1968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xmlns="" id="{F8387692-C4B4-1AC2-E9B1-845B695C237C}"/>
              </a:ext>
            </a:extLst>
          </p:cNvPr>
          <p:cNvCxnSpPr/>
          <p:nvPr>
            <p:custDataLst>
              <p:tags r:id="rId14"/>
            </p:custDataLst>
          </p:nvPr>
        </p:nvCxnSpPr>
        <p:spPr bwMode="auto">
          <a:xfrm>
            <a:off x="4021455" y="3462466"/>
            <a:ext cx="1968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3" name="Chart 52">
            <a:extLst>
              <a:ext uri="{FF2B5EF4-FFF2-40B4-BE49-F238E27FC236}">
                <a16:creationId xmlns:a16="http://schemas.microsoft.com/office/drawing/2014/main" xmlns="" id="{C910210A-67E5-0642-8C40-5A9979DE392E}"/>
              </a:ext>
            </a:extLst>
          </p:cNvPr>
          <p:cNvGraphicFramePr/>
          <p:nvPr>
            <p:custDataLst>
              <p:tags r:id="rId15"/>
            </p:custDataLst>
            <p:extLst>
              <p:ext uri="{D42A27DB-BD31-4B8C-83A1-F6EECF244321}">
                <p14:modId xmlns:p14="http://schemas.microsoft.com/office/powerpoint/2010/main" val="2901816629"/>
              </p:ext>
            </p:extLst>
          </p:nvPr>
        </p:nvGraphicFramePr>
        <p:xfrm>
          <a:off x="3145155" y="2906841"/>
          <a:ext cx="1503363" cy="1546225"/>
        </p:xfrm>
        <a:graphic>
          <a:graphicData uri="http://schemas.openxmlformats.org/drawingml/2006/chart">
            <c:chart xmlns:c="http://schemas.openxmlformats.org/drawingml/2006/chart" xmlns:r="http://schemas.openxmlformats.org/officeDocument/2006/relationships" r:id="rId42"/>
          </a:graphicData>
        </a:graphic>
      </p:graphicFrame>
      <p:sp>
        <p:nvSpPr>
          <p:cNvPr id="39" name="Text Placeholder 2">
            <a:extLst>
              <a:ext uri="{FF2B5EF4-FFF2-40B4-BE49-F238E27FC236}">
                <a16:creationId xmlns:a16="http://schemas.microsoft.com/office/drawing/2014/main" xmlns="" id="{B11313C2-5374-823E-AC9A-8607D5499931}"/>
              </a:ext>
            </a:extLst>
          </p:cNvPr>
          <p:cNvSpPr>
            <a:spLocks noGrp="1"/>
          </p:cNvSpPr>
          <p:nvPr>
            <p:custDataLst>
              <p:tags r:id="rId16"/>
            </p:custDataLst>
          </p:nvPr>
        </p:nvSpPr>
        <p:spPr bwMode="auto">
          <a:xfrm>
            <a:off x="3203893" y="4430841"/>
            <a:ext cx="493713"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BO" sz="700" noProof="0" dirty="0">
                <a:sym typeface="Calibri Light" panose="020F0302020204030204" pitchFamily="34" charset="0"/>
              </a:rPr>
              <a:t>Emisiones estimadas  </a:t>
            </a:r>
            <a:fld id="{E69053E0-5E09-4C6F-8EE3-3C742F8FB101}" type="datetime' '">
              <a:rPr lang="es-BO" sz="700" noProof="0" smtClean="0"/>
              <a:pPr/>
              <a:t> </a:t>
            </a:fld>
            <a:r>
              <a:rPr lang="es-BO" sz="700" noProof="0" dirty="0"/>
              <a:t/>
            </a:r>
            <a:br>
              <a:rPr lang="es-BO" sz="700" noProof="0" dirty="0"/>
            </a:br>
            <a:r>
              <a:rPr lang="es-BO" sz="700" noProof="0" dirty="0">
                <a:sym typeface="Calibri Light" panose="020F0302020204030204" pitchFamily="34" charset="0"/>
              </a:rPr>
              <a:t>de los combustibles proyectados</a:t>
            </a:r>
            <a:endParaRPr lang="es-BO" sz="600" noProof="0" dirty="0">
              <a:sym typeface="Calibri Light" panose="020F0302020204030204" pitchFamily="34" charset="0"/>
            </a:endParaRPr>
          </a:p>
          <a:p>
            <a:pPr marL="0" lvl="0" indent="0" algn="ctr">
              <a:spcBef>
                <a:spcPct val="0"/>
              </a:spcBef>
              <a:spcAft>
                <a:spcPct val="0"/>
              </a:spcAft>
              <a:buNone/>
            </a:pPr>
            <a:endParaRPr lang="es-BO" sz="700" noProof="0" dirty="0">
              <a:sym typeface="Calibri Light" panose="020F0302020204030204" pitchFamily="34" charset="0"/>
            </a:endParaRPr>
          </a:p>
        </p:txBody>
      </p:sp>
      <p:sp>
        <p:nvSpPr>
          <p:cNvPr id="44" name="Text Placeholder 2">
            <a:extLst>
              <a:ext uri="{FF2B5EF4-FFF2-40B4-BE49-F238E27FC236}">
                <a16:creationId xmlns:a16="http://schemas.microsoft.com/office/drawing/2014/main" xmlns="" id="{76D1902C-779E-9F14-E5DA-E8C6547A2978}"/>
              </a:ext>
            </a:extLst>
          </p:cNvPr>
          <p:cNvSpPr>
            <a:spLocks noGrp="1"/>
          </p:cNvSpPr>
          <p:nvPr>
            <p:custDataLst>
              <p:tags r:id="rId17"/>
            </p:custDataLst>
          </p:nvPr>
        </p:nvSpPr>
        <p:spPr bwMode="auto">
          <a:xfrm>
            <a:off x="3683318" y="4430841"/>
            <a:ext cx="427038"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90BEE4-D88F-475B-8C65-921AB39FF6AE}" type="datetime'''Reducción'''' ''e''st''''ima''''''d''a'' por H''''''2''V'">
              <a:rPr lang="es-BO" sz="700" noProof="0" smtClean="0">
                <a:sym typeface="Calibri Light" panose="020F0302020204030204" pitchFamily="34" charset="0"/>
              </a:rPr>
              <a:pPr/>
              <a:t>Reducción estimada por H2V</a:t>
            </a:fld>
            <a:r>
              <a:rPr lang="es-BO" sz="700" noProof="0" dirty="0">
                <a:sym typeface="Calibri Light" panose="020F0302020204030204" pitchFamily="34" charset="0"/>
              </a:rPr>
              <a:t> </a:t>
            </a:r>
            <a:fld id="{B4298B2F-8388-4F87-A886-FD934AAEFAA7}" type="datetime' '">
              <a:rPr lang="es-BO" sz="700" noProof="0" smtClean="0"/>
              <a:pPr/>
              <a:t> </a:t>
            </a:fld>
            <a:r>
              <a:rPr lang="es-BO" sz="700" noProof="0" dirty="0"/>
              <a:t/>
            </a:r>
            <a:br>
              <a:rPr lang="es-BO" sz="700" noProof="0" dirty="0"/>
            </a:br>
            <a:r>
              <a:rPr lang="es-BO" sz="700" noProof="0" dirty="0">
                <a:sym typeface="Calibri Light" panose="020F0302020204030204" pitchFamily="34" charset="0"/>
              </a:rPr>
              <a:t>del total de consumo proyectado</a:t>
            </a:r>
          </a:p>
        </p:txBody>
      </p:sp>
      <p:sp>
        <p:nvSpPr>
          <p:cNvPr id="46" name="Text Placeholder 2">
            <a:extLst>
              <a:ext uri="{FF2B5EF4-FFF2-40B4-BE49-F238E27FC236}">
                <a16:creationId xmlns:a16="http://schemas.microsoft.com/office/drawing/2014/main" xmlns="" id="{3DADEFE3-9E48-CB58-CC32-D9E51197AF9A}"/>
              </a:ext>
            </a:extLst>
          </p:cNvPr>
          <p:cNvSpPr>
            <a:spLocks noGrp="1"/>
          </p:cNvSpPr>
          <p:nvPr>
            <p:custDataLst>
              <p:tags r:id="rId18"/>
            </p:custDataLst>
          </p:nvPr>
        </p:nvSpPr>
        <p:spPr bwMode="auto">
          <a:xfrm>
            <a:off x="4151630" y="4430841"/>
            <a:ext cx="381000"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BO" sz="700" noProof="0" dirty="0">
                <a:sym typeface="Calibri Light" panose="020F0302020204030204" pitchFamily="34" charset="0"/>
              </a:rPr>
              <a:t>Emisiones estimadas 2040</a:t>
            </a:r>
          </a:p>
        </p:txBody>
      </p:sp>
      <p:sp>
        <p:nvSpPr>
          <p:cNvPr id="48" name="Text Placeholder 2">
            <a:extLst>
              <a:ext uri="{FF2B5EF4-FFF2-40B4-BE49-F238E27FC236}">
                <a16:creationId xmlns:a16="http://schemas.microsoft.com/office/drawing/2014/main" xmlns="" id="{B0C50B07-1893-265A-ECCD-9872518B43D3}"/>
              </a:ext>
            </a:extLst>
          </p:cNvPr>
          <p:cNvSpPr>
            <a:spLocks noGrp="1"/>
          </p:cNvSpPr>
          <p:nvPr>
            <p:custDataLst>
              <p:tags r:id="rId19"/>
            </p:custDataLst>
          </p:nvPr>
        </p:nvSpPr>
        <p:spPr bwMode="gray">
          <a:xfrm>
            <a:off x="3283268" y="3159254"/>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431B6-A1B9-4309-A44E-B0CC83ABC448}" type="datetime'''''''2''6'',''''''''''''60'''''''''''''''''''">
              <a:rPr lang="es-BO" sz="1000" noProof="0" smtClean="0">
                <a:sym typeface="Calibri Light" panose="020F0302020204030204" pitchFamily="34" charset="0"/>
              </a:rPr>
              <a:pPr/>
              <a:t>26,60</a:t>
            </a:fld>
            <a:endParaRPr lang="es-BO" sz="1000" noProof="0" dirty="0">
              <a:sym typeface="Calibri Light" panose="020F0302020204030204" pitchFamily="34" charset="0"/>
            </a:endParaRPr>
          </a:p>
        </p:txBody>
      </p:sp>
      <p:sp>
        <p:nvSpPr>
          <p:cNvPr id="47" name="Text Placeholder 2">
            <a:extLst>
              <a:ext uri="{FF2B5EF4-FFF2-40B4-BE49-F238E27FC236}">
                <a16:creationId xmlns:a16="http://schemas.microsoft.com/office/drawing/2014/main" xmlns="" id="{972FF55D-8644-E48A-C054-61507641C850}"/>
              </a:ext>
            </a:extLst>
          </p:cNvPr>
          <p:cNvSpPr>
            <a:spLocks noGrp="1"/>
          </p:cNvSpPr>
          <p:nvPr>
            <p:custDataLst>
              <p:tags r:id="rId20"/>
            </p:custDataLst>
          </p:nvPr>
        </p:nvSpPr>
        <p:spPr bwMode="gray">
          <a:xfrm>
            <a:off x="3762693" y="3159254"/>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AE448D-B243-453B-91CD-50548E4D7BB0}" type="datetime'''3'''''''',''''5''''''''''''''''''''7'''''">
              <a:rPr lang="es-BO" sz="1000" noProof="0" smtClean="0">
                <a:sym typeface="Calibri Light" panose="020F0302020204030204" pitchFamily="34" charset="0"/>
              </a:rPr>
              <a:pPr/>
              <a:t>3,57</a:t>
            </a:fld>
            <a:endParaRPr lang="es-BO" sz="1000" noProof="0" dirty="0">
              <a:sym typeface="Calibri Light" panose="020F0302020204030204" pitchFamily="34" charset="0"/>
            </a:endParaRPr>
          </a:p>
        </p:txBody>
      </p:sp>
      <p:sp>
        <p:nvSpPr>
          <p:cNvPr id="49" name="Text Placeholder 2">
            <a:extLst>
              <a:ext uri="{FF2B5EF4-FFF2-40B4-BE49-F238E27FC236}">
                <a16:creationId xmlns:a16="http://schemas.microsoft.com/office/drawing/2014/main" xmlns="" id="{6E61A314-F383-5BA2-DF7D-9138751753BB}"/>
              </a:ext>
            </a:extLst>
          </p:cNvPr>
          <p:cNvSpPr>
            <a:spLocks noGrp="1"/>
          </p:cNvSpPr>
          <p:nvPr>
            <p:custDataLst>
              <p:tags r:id="rId21"/>
            </p:custDataLst>
          </p:nvPr>
        </p:nvSpPr>
        <p:spPr bwMode="gray">
          <a:xfrm>
            <a:off x="4175443" y="3300541"/>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660A06-CE61-4B50-8228-92741795A3E0}" type="datetime'''''''''2''''''''3,''''''''''''''''''03'''''''''''''''''">
              <a:rPr lang="es-BO" sz="1000" noProof="0" smtClean="0">
                <a:sym typeface="Calibri Light" panose="020F0302020204030204" pitchFamily="34" charset="0"/>
              </a:rPr>
              <a:pPr/>
              <a:t>23,03</a:t>
            </a:fld>
            <a:endParaRPr lang="es-BO" sz="1000" noProof="0" dirty="0">
              <a:sym typeface="Calibri Light" panose="020F0302020204030204" pitchFamily="34" charset="0"/>
            </a:endParaRPr>
          </a:p>
        </p:txBody>
      </p:sp>
      <p:cxnSp>
        <p:nvCxnSpPr>
          <p:cNvPr id="50" name="Straight Connector 49">
            <a:extLst>
              <a:ext uri="{FF2B5EF4-FFF2-40B4-BE49-F238E27FC236}">
                <a16:creationId xmlns:a16="http://schemas.microsoft.com/office/drawing/2014/main" xmlns="" id="{D71566EF-1F16-E162-EA17-4F8C665BB98B}"/>
              </a:ext>
            </a:extLst>
          </p:cNvPr>
          <p:cNvCxnSpPr/>
          <p:nvPr>
            <p:custDataLst>
              <p:tags r:id="rId22"/>
            </p:custDataLst>
          </p:nvPr>
        </p:nvCxnSpPr>
        <p:spPr bwMode="auto">
          <a:xfrm>
            <a:off x="5118418" y="3083054"/>
            <a:ext cx="2238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xmlns="" id="{74DCC056-3292-3862-A09B-55786ED81B9E}"/>
              </a:ext>
            </a:extLst>
          </p:cNvPr>
          <p:cNvCxnSpPr/>
          <p:nvPr>
            <p:custDataLst>
              <p:tags r:id="rId23"/>
            </p:custDataLst>
          </p:nvPr>
        </p:nvCxnSpPr>
        <p:spPr bwMode="auto">
          <a:xfrm>
            <a:off x="5624830" y="3486279"/>
            <a:ext cx="2254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4" name="Chart 53">
            <a:extLst>
              <a:ext uri="{FF2B5EF4-FFF2-40B4-BE49-F238E27FC236}">
                <a16:creationId xmlns:a16="http://schemas.microsoft.com/office/drawing/2014/main" xmlns="" id="{98478BAF-FD77-8F51-E6C1-C211367D2775}"/>
              </a:ext>
            </a:extLst>
          </p:cNvPr>
          <p:cNvGraphicFramePr/>
          <p:nvPr>
            <p:custDataLst>
              <p:tags r:id="rId24"/>
            </p:custDataLst>
            <p:extLst>
              <p:ext uri="{D42A27DB-BD31-4B8C-83A1-F6EECF244321}">
                <p14:modId xmlns:p14="http://schemas.microsoft.com/office/powerpoint/2010/main" val="682245180"/>
              </p:ext>
            </p:extLst>
          </p:nvPr>
        </p:nvGraphicFramePr>
        <p:xfrm>
          <a:off x="4640580" y="2906841"/>
          <a:ext cx="1687513" cy="1546225"/>
        </p:xfrm>
        <a:graphic>
          <a:graphicData uri="http://schemas.openxmlformats.org/drawingml/2006/chart">
            <c:chart xmlns:c="http://schemas.openxmlformats.org/drawingml/2006/chart" xmlns:r="http://schemas.openxmlformats.org/officeDocument/2006/relationships" r:id="rId43"/>
          </a:graphicData>
        </a:graphic>
      </p:graphicFrame>
      <p:sp>
        <p:nvSpPr>
          <p:cNvPr id="61" name="Text Placeholder 2">
            <a:extLst>
              <a:ext uri="{FF2B5EF4-FFF2-40B4-BE49-F238E27FC236}">
                <a16:creationId xmlns:a16="http://schemas.microsoft.com/office/drawing/2014/main" xmlns="" id="{54DB1A44-B94C-5797-3F46-DA8BF6402055}"/>
              </a:ext>
            </a:extLst>
          </p:cNvPr>
          <p:cNvSpPr>
            <a:spLocks noGrp="1"/>
          </p:cNvSpPr>
          <p:nvPr>
            <p:custDataLst>
              <p:tags r:id="rId25"/>
            </p:custDataLst>
          </p:nvPr>
        </p:nvSpPr>
        <p:spPr bwMode="auto">
          <a:xfrm>
            <a:off x="4731068" y="4430841"/>
            <a:ext cx="493713"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BO" sz="700" noProof="0" dirty="0">
                <a:sym typeface="Calibri Light" panose="020F0302020204030204" pitchFamily="34" charset="0"/>
              </a:rPr>
              <a:t>Emisiones estimadas  </a:t>
            </a:r>
            <a:fld id="{4B99FD3F-8B19-4470-9313-51CB7B5A8230}" type="datetime' '">
              <a:rPr lang="es-BO" sz="700" noProof="0" smtClean="0"/>
              <a:pPr/>
              <a:t> </a:t>
            </a:fld>
            <a:r>
              <a:rPr lang="es-BO" sz="700" noProof="0" dirty="0"/>
              <a:t/>
            </a:r>
            <a:br>
              <a:rPr lang="es-BO" sz="700" noProof="0" dirty="0"/>
            </a:br>
            <a:r>
              <a:rPr lang="es-BO" sz="700" noProof="0" dirty="0">
                <a:sym typeface="Calibri Light" panose="020F0302020204030204" pitchFamily="34" charset="0"/>
              </a:rPr>
              <a:t>de los combustibles proyectados</a:t>
            </a:r>
            <a:endParaRPr lang="es-BO" sz="600" noProof="0" dirty="0">
              <a:sym typeface="Calibri Light" panose="020F0302020204030204" pitchFamily="34" charset="0"/>
            </a:endParaRPr>
          </a:p>
          <a:p>
            <a:pPr marL="0" lvl="0" indent="0" algn="ctr">
              <a:spcBef>
                <a:spcPct val="0"/>
              </a:spcBef>
              <a:spcAft>
                <a:spcPct val="0"/>
              </a:spcAft>
              <a:buNone/>
            </a:pPr>
            <a:endParaRPr lang="es-BO" sz="700" noProof="0" dirty="0">
              <a:sym typeface="Calibri Light" panose="020F0302020204030204" pitchFamily="34" charset="0"/>
            </a:endParaRPr>
          </a:p>
        </p:txBody>
      </p:sp>
      <p:sp>
        <p:nvSpPr>
          <p:cNvPr id="62" name="Text Placeholder 2">
            <a:extLst>
              <a:ext uri="{FF2B5EF4-FFF2-40B4-BE49-F238E27FC236}">
                <a16:creationId xmlns:a16="http://schemas.microsoft.com/office/drawing/2014/main" xmlns="" id="{461E9D2D-06BA-D99B-439C-398ED08AE5AA}"/>
              </a:ext>
            </a:extLst>
          </p:cNvPr>
          <p:cNvSpPr>
            <a:spLocks noGrp="1"/>
          </p:cNvSpPr>
          <p:nvPr>
            <p:custDataLst>
              <p:tags r:id="rId26"/>
            </p:custDataLst>
          </p:nvPr>
        </p:nvSpPr>
        <p:spPr bwMode="auto">
          <a:xfrm>
            <a:off x="5237480" y="4430841"/>
            <a:ext cx="492125"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CE4160-6347-4D0C-AAFD-724B8E81DF79}" type="datetime'''''R''e''''''du''''''cció''''n esti''mad''a po''r H2''''V'">
              <a:rPr lang="es-BO" sz="700" noProof="0" smtClean="0">
                <a:sym typeface="Calibri Light" panose="020F0302020204030204" pitchFamily="34" charset="0"/>
              </a:rPr>
              <a:pPr/>
              <a:t>Reducción estimada por H2V</a:t>
            </a:fld>
            <a:r>
              <a:rPr lang="es-BO" sz="700" noProof="0" dirty="0">
                <a:sym typeface="Calibri Light" panose="020F0302020204030204" pitchFamily="34" charset="0"/>
              </a:rPr>
              <a:t> del total de consumo proyectado</a:t>
            </a:r>
            <a:endParaRPr lang="es-BO" sz="600" noProof="0" dirty="0">
              <a:sym typeface="Calibri Light" panose="020F0302020204030204" pitchFamily="34" charset="0"/>
            </a:endParaRPr>
          </a:p>
          <a:p>
            <a:pPr marL="0" lvl="0" indent="0" algn="ctr">
              <a:spcBef>
                <a:spcPct val="0"/>
              </a:spcBef>
              <a:spcAft>
                <a:spcPct val="0"/>
              </a:spcAft>
              <a:buNone/>
            </a:pPr>
            <a:endParaRPr lang="es-BO" sz="700" noProof="0" dirty="0">
              <a:sym typeface="Calibri Light" panose="020F0302020204030204" pitchFamily="34" charset="0"/>
            </a:endParaRPr>
          </a:p>
        </p:txBody>
      </p:sp>
      <p:sp>
        <p:nvSpPr>
          <p:cNvPr id="63" name="Text Placeholder 2">
            <a:extLst>
              <a:ext uri="{FF2B5EF4-FFF2-40B4-BE49-F238E27FC236}">
                <a16:creationId xmlns:a16="http://schemas.microsoft.com/office/drawing/2014/main" xmlns="" id="{8D3735E4-5625-F5C2-8B29-AC41EB27C101}"/>
              </a:ext>
            </a:extLst>
          </p:cNvPr>
          <p:cNvSpPr>
            <a:spLocks noGrp="1"/>
          </p:cNvSpPr>
          <p:nvPr>
            <p:custDataLst>
              <p:tags r:id="rId27"/>
            </p:custDataLst>
          </p:nvPr>
        </p:nvSpPr>
        <p:spPr bwMode="auto">
          <a:xfrm>
            <a:off x="5801043" y="4430841"/>
            <a:ext cx="381000"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BO" sz="700" noProof="0" dirty="0">
                <a:sym typeface="Calibri Light" panose="020F0302020204030204" pitchFamily="34" charset="0"/>
              </a:rPr>
              <a:t>Emisiones estimadas 2050</a:t>
            </a:r>
          </a:p>
        </p:txBody>
      </p:sp>
      <p:sp>
        <p:nvSpPr>
          <p:cNvPr id="129" name="Text Placeholder 2">
            <a:extLst>
              <a:ext uri="{FF2B5EF4-FFF2-40B4-BE49-F238E27FC236}">
                <a16:creationId xmlns:a16="http://schemas.microsoft.com/office/drawing/2014/main" xmlns="" id="{0349C68C-201D-D738-8931-B106FF119544}"/>
              </a:ext>
            </a:extLst>
          </p:cNvPr>
          <p:cNvSpPr>
            <a:spLocks noGrp="1"/>
          </p:cNvSpPr>
          <p:nvPr>
            <p:custDataLst>
              <p:tags r:id="rId28"/>
            </p:custDataLst>
          </p:nvPr>
        </p:nvSpPr>
        <p:spPr bwMode="gray">
          <a:xfrm>
            <a:off x="4810443" y="2921129"/>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9120E03-0B6F-4612-A77E-BC63C7C31A52}" type="datetime'''''''''3''2'''''''',''''''''''''''''''''''6''''''''''''4'''">
              <a:rPr lang="es-BO" sz="1000" noProof="0" smtClean="0">
                <a:sym typeface="Calibri Light" panose="020F0302020204030204" pitchFamily="34" charset="0"/>
              </a:rPr>
              <a:pPr/>
              <a:t>32,64</a:t>
            </a:fld>
            <a:endParaRPr lang="es-BO" sz="1000" noProof="0" dirty="0">
              <a:sym typeface="Calibri Light" panose="020F0302020204030204" pitchFamily="34" charset="0"/>
            </a:endParaRPr>
          </a:p>
        </p:txBody>
      </p:sp>
      <p:sp>
        <p:nvSpPr>
          <p:cNvPr id="128" name="Text Placeholder 2">
            <a:extLst>
              <a:ext uri="{FF2B5EF4-FFF2-40B4-BE49-F238E27FC236}">
                <a16:creationId xmlns:a16="http://schemas.microsoft.com/office/drawing/2014/main" xmlns="" id="{39D871FE-63B4-D483-0E4B-CC58B3546543}"/>
              </a:ext>
            </a:extLst>
          </p:cNvPr>
          <p:cNvSpPr>
            <a:spLocks noGrp="1"/>
          </p:cNvSpPr>
          <p:nvPr>
            <p:custDataLst>
              <p:tags r:id="rId29"/>
            </p:custDataLst>
          </p:nvPr>
        </p:nvSpPr>
        <p:spPr bwMode="gray">
          <a:xfrm>
            <a:off x="5316855" y="2921129"/>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ABE510-1834-4782-A531-F0BDD9E6FF29}" type="datetime'1''''''''''''''''''''''0'''''''''''''''',2''''''''''''2'''''">
              <a:rPr lang="es-BO" sz="1000" noProof="0" smtClean="0">
                <a:sym typeface="Calibri Light" panose="020F0302020204030204" pitchFamily="34" charset="0"/>
              </a:rPr>
              <a:pPr/>
              <a:t>10,22</a:t>
            </a:fld>
            <a:endParaRPr lang="es-BO" sz="1000" noProof="0" dirty="0">
              <a:sym typeface="Calibri Light" panose="020F0302020204030204" pitchFamily="34" charset="0"/>
            </a:endParaRPr>
          </a:p>
        </p:txBody>
      </p:sp>
      <p:sp>
        <p:nvSpPr>
          <p:cNvPr id="130" name="Text Placeholder 2">
            <a:extLst>
              <a:ext uri="{FF2B5EF4-FFF2-40B4-BE49-F238E27FC236}">
                <a16:creationId xmlns:a16="http://schemas.microsoft.com/office/drawing/2014/main" xmlns="" id="{9247C00F-99B9-8364-514D-570343079C37}"/>
              </a:ext>
            </a:extLst>
          </p:cNvPr>
          <p:cNvSpPr>
            <a:spLocks noGrp="1"/>
          </p:cNvSpPr>
          <p:nvPr>
            <p:custDataLst>
              <p:tags r:id="rId30"/>
            </p:custDataLst>
          </p:nvPr>
        </p:nvSpPr>
        <p:spPr bwMode="gray">
          <a:xfrm>
            <a:off x="5824855" y="3324354"/>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FFB4C0-6AAD-4B44-8459-1A646F0015DE}" type="datetime'''''''''''''''2''''''''''''2'',4''''''''2'''''''''''''''''''''">
              <a:rPr lang="es-BO" sz="1000" noProof="0" smtClean="0">
                <a:sym typeface="Calibri Light" panose="020F0302020204030204" pitchFamily="34" charset="0"/>
              </a:rPr>
              <a:pPr/>
              <a:t>22,42</a:t>
            </a:fld>
            <a:endParaRPr lang="es-BO" sz="1000" noProof="0" dirty="0">
              <a:sym typeface="Calibri Light" panose="020F0302020204030204" pitchFamily="34" charset="0"/>
            </a:endParaRPr>
          </a:p>
        </p:txBody>
      </p:sp>
      <p:sp>
        <p:nvSpPr>
          <p:cNvPr id="131" name="Rectangle 130">
            <a:extLst>
              <a:ext uri="{FF2B5EF4-FFF2-40B4-BE49-F238E27FC236}">
                <a16:creationId xmlns:a16="http://schemas.microsoft.com/office/drawing/2014/main" xmlns="" id="{CB3B9946-64B3-D33A-4F4B-E00D177AECF7}"/>
              </a:ext>
            </a:extLst>
          </p:cNvPr>
          <p:cNvSpPr/>
          <p:nvPr>
            <p:custDataLst>
              <p:tags r:id="rId31"/>
            </p:custDataLst>
          </p:nvPr>
        </p:nvSpPr>
        <p:spPr bwMode="auto">
          <a:xfrm>
            <a:off x="1679893" y="5203954"/>
            <a:ext cx="179388" cy="133350"/>
          </a:xfrm>
          <a:prstGeom prst="rect">
            <a:avLst/>
          </a:prstGeom>
          <a:solidFill>
            <a:srgbClr val="9B683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BO" noProof="0" dirty="0"/>
          </a:p>
        </p:txBody>
      </p:sp>
      <p:sp>
        <p:nvSpPr>
          <p:cNvPr id="132" name="Rectangle 131">
            <a:extLst>
              <a:ext uri="{FF2B5EF4-FFF2-40B4-BE49-F238E27FC236}">
                <a16:creationId xmlns:a16="http://schemas.microsoft.com/office/drawing/2014/main" xmlns="" id="{04DFB3DE-BFDC-386B-CAA0-D24A531B5666}"/>
              </a:ext>
            </a:extLst>
          </p:cNvPr>
          <p:cNvSpPr/>
          <p:nvPr>
            <p:custDataLst>
              <p:tags r:id="rId32"/>
            </p:custDataLst>
          </p:nvPr>
        </p:nvSpPr>
        <p:spPr bwMode="auto">
          <a:xfrm>
            <a:off x="2627630" y="5203954"/>
            <a:ext cx="179388" cy="133350"/>
          </a:xfrm>
          <a:prstGeom prst="rect">
            <a:avLst/>
          </a:prstGeom>
          <a:solidFill>
            <a:srgbClr val="A3D7D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BO" noProof="0" dirty="0"/>
          </a:p>
        </p:txBody>
      </p:sp>
      <p:sp>
        <p:nvSpPr>
          <p:cNvPr id="133" name="Rectangle 132">
            <a:extLst>
              <a:ext uri="{FF2B5EF4-FFF2-40B4-BE49-F238E27FC236}">
                <a16:creationId xmlns:a16="http://schemas.microsoft.com/office/drawing/2014/main" xmlns="" id="{CDCB2404-20E7-5C50-6AE7-D84A056BDFFF}"/>
              </a:ext>
            </a:extLst>
          </p:cNvPr>
          <p:cNvSpPr/>
          <p:nvPr>
            <p:custDataLst>
              <p:tags r:id="rId33"/>
            </p:custDataLst>
          </p:nvPr>
        </p:nvSpPr>
        <p:spPr bwMode="auto">
          <a:xfrm>
            <a:off x="3469005" y="5203954"/>
            <a:ext cx="179388" cy="133350"/>
          </a:xfrm>
          <a:prstGeom prst="rect">
            <a:avLst/>
          </a:prstGeom>
          <a:solidFill>
            <a:srgbClr val="CB057C"/>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BO" noProof="0" dirty="0"/>
          </a:p>
        </p:txBody>
      </p:sp>
      <p:sp>
        <p:nvSpPr>
          <p:cNvPr id="135" name="Text Placeholder 2">
            <a:extLst>
              <a:ext uri="{FF2B5EF4-FFF2-40B4-BE49-F238E27FC236}">
                <a16:creationId xmlns:a16="http://schemas.microsoft.com/office/drawing/2014/main" xmlns="" id="{669B7873-987E-8E67-6A25-85ED32811414}"/>
              </a:ext>
            </a:extLst>
          </p:cNvPr>
          <p:cNvSpPr>
            <a:spLocks noGrp="1"/>
          </p:cNvSpPr>
          <p:nvPr>
            <p:custDataLst>
              <p:tags r:id="rId34"/>
            </p:custDataLst>
          </p:nvPr>
        </p:nvSpPr>
        <p:spPr bwMode="auto">
          <a:xfrm>
            <a:off x="1910080" y="5211891"/>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85538C-24DE-412B-A4EE-759250B1D1EA}" type="datetime'''''''''''Ga''s ''na''''''''''''''t''''u''r''a''l'''' '''''">
              <a:rPr lang="es-BO" sz="1000" noProof="0" smtClean="0">
                <a:sym typeface="Calibri Light" panose="020F0302020204030204" pitchFamily="34" charset="0"/>
              </a:rPr>
              <a:pPr/>
              <a:t>Gas natural </a:t>
            </a:fld>
            <a:endParaRPr lang="es-BO" sz="1000" noProof="0" dirty="0">
              <a:sym typeface="Calibri Light" panose="020F0302020204030204" pitchFamily="34" charset="0"/>
            </a:endParaRPr>
          </a:p>
        </p:txBody>
      </p:sp>
      <p:sp>
        <p:nvSpPr>
          <p:cNvPr id="136" name="Text Placeholder 2">
            <a:extLst>
              <a:ext uri="{FF2B5EF4-FFF2-40B4-BE49-F238E27FC236}">
                <a16:creationId xmlns:a16="http://schemas.microsoft.com/office/drawing/2014/main" xmlns="" id="{4DF24A7E-ACB4-32A0-51B3-38BB056F59B4}"/>
              </a:ext>
            </a:extLst>
          </p:cNvPr>
          <p:cNvSpPr>
            <a:spLocks noGrp="1"/>
          </p:cNvSpPr>
          <p:nvPr>
            <p:custDataLst>
              <p:tags r:id="rId35"/>
            </p:custDataLst>
          </p:nvPr>
        </p:nvSpPr>
        <p:spPr bwMode="auto">
          <a:xfrm>
            <a:off x="2857818" y="5211891"/>
            <a:ext cx="509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66EFFD3-48B5-4B5D-967E-38BB6C3079B2}" type="datetime'D''ié''s''''''''''''''e''''l'' ''''''''Oi''''''''l'' '''">
              <a:rPr lang="es-BO" sz="1000" noProof="0" smtClean="0">
                <a:sym typeface="Calibri Light" panose="020F0302020204030204" pitchFamily="34" charset="0"/>
              </a:rPr>
              <a:pPr/>
              <a:t>Diésel Oil </a:t>
            </a:fld>
            <a:endParaRPr lang="es-BO" sz="1000" noProof="0" dirty="0">
              <a:sym typeface="Calibri Light" panose="020F0302020204030204" pitchFamily="34" charset="0"/>
            </a:endParaRPr>
          </a:p>
        </p:txBody>
      </p:sp>
      <p:sp>
        <p:nvSpPr>
          <p:cNvPr id="137" name="Text Placeholder 2">
            <a:extLst>
              <a:ext uri="{FF2B5EF4-FFF2-40B4-BE49-F238E27FC236}">
                <a16:creationId xmlns:a16="http://schemas.microsoft.com/office/drawing/2014/main" xmlns="" id="{6C9FCE3B-A519-C70A-6418-6409AB670DAA}"/>
              </a:ext>
            </a:extLst>
          </p:cNvPr>
          <p:cNvSpPr>
            <a:spLocks noGrp="1"/>
          </p:cNvSpPr>
          <p:nvPr>
            <p:custDataLst>
              <p:tags r:id="rId36"/>
            </p:custDataLst>
          </p:nvPr>
        </p:nvSpPr>
        <p:spPr bwMode="auto">
          <a:xfrm>
            <a:off x="3699193" y="5211891"/>
            <a:ext cx="468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F9844DE-8E9C-43EB-9AB3-2E2CC2A32127}" type="datetime'''''Gas''''''''''''''''''''''''o''''l''i''n''''''''a'''''' '">
              <a:rPr lang="es-BO" sz="1000" noProof="0" smtClean="0">
                <a:sym typeface="Calibri Light" panose="020F0302020204030204" pitchFamily="34" charset="0"/>
              </a:rPr>
              <a:pPr/>
              <a:t>Gasolina </a:t>
            </a:fld>
            <a:endParaRPr lang="es-BO" sz="1000" noProof="0" dirty="0">
              <a:sym typeface="Calibri Light" panose="020F0302020204030204" pitchFamily="34" charset="0"/>
            </a:endParaRPr>
          </a:p>
        </p:txBody>
      </p:sp>
      <p:sp>
        <p:nvSpPr>
          <p:cNvPr id="138" name="Rectangle 137">
            <a:extLst>
              <a:ext uri="{FF2B5EF4-FFF2-40B4-BE49-F238E27FC236}">
                <a16:creationId xmlns:a16="http://schemas.microsoft.com/office/drawing/2014/main" xmlns="" id="{A8B78658-020A-2B41-8FA3-5D661C7508F5}"/>
              </a:ext>
            </a:extLst>
          </p:cNvPr>
          <p:cNvSpPr/>
          <p:nvPr/>
        </p:nvSpPr>
        <p:spPr>
          <a:xfrm>
            <a:off x="1722684" y="2465516"/>
            <a:ext cx="1276492" cy="169863"/>
          </a:xfrm>
          <a:prstGeom prst="rect">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BO" sz="1200" noProof="0" dirty="0">
                <a:solidFill>
                  <a:schemeClr val="tx1"/>
                </a:solidFill>
                <a:latin typeface="Calibri Light" panose="020F0302020204030204" pitchFamily="34" charset="0"/>
                <a:cs typeface="Calibri Light" panose="020F0302020204030204" pitchFamily="34" charset="0"/>
              </a:rPr>
              <a:t>2030</a:t>
            </a:r>
          </a:p>
        </p:txBody>
      </p:sp>
      <p:sp>
        <p:nvSpPr>
          <p:cNvPr id="139" name="Rectangle 138">
            <a:extLst>
              <a:ext uri="{FF2B5EF4-FFF2-40B4-BE49-F238E27FC236}">
                <a16:creationId xmlns:a16="http://schemas.microsoft.com/office/drawing/2014/main" xmlns="" id="{7D9445E6-E564-4DC2-9817-D64AB08C02C4}"/>
              </a:ext>
            </a:extLst>
          </p:cNvPr>
          <p:cNvSpPr/>
          <p:nvPr/>
        </p:nvSpPr>
        <p:spPr>
          <a:xfrm>
            <a:off x="3284387" y="2465516"/>
            <a:ext cx="1276492" cy="169863"/>
          </a:xfrm>
          <a:prstGeom prst="rect">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BO" sz="1200" noProof="0" dirty="0">
                <a:solidFill>
                  <a:schemeClr val="tx1"/>
                </a:solidFill>
                <a:latin typeface="Calibri Light" panose="020F0302020204030204" pitchFamily="34" charset="0"/>
                <a:cs typeface="Calibri Light" panose="020F0302020204030204" pitchFamily="34" charset="0"/>
              </a:rPr>
              <a:t>2040</a:t>
            </a:r>
          </a:p>
        </p:txBody>
      </p:sp>
      <p:sp>
        <p:nvSpPr>
          <p:cNvPr id="140" name="Rectangle 139">
            <a:extLst>
              <a:ext uri="{FF2B5EF4-FFF2-40B4-BE49-F238E27FC236}">
                <a16:creationId xmlns:a16="http://schemas.microsoft.com/office/drawing/2014/main" xmlns="" id="{5BC5671A-9E5D-184C-466B-542DD5069BA9}"/>
              </a:ext>
            </a:extLst>
          </p:cNvPr>
          <p:cNvSpPr/>
          <p:nvPr/>
        </p:nvSpPr>
        <p:spPr>
          <a:xfrm>
            <a:off x="4846090" y="2465516"/>
            <a:ext cx="1276492" cy="169863"/>
          </a:xfrm>
          <a:prstGeom prst="rect">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BO" sz="1200" noProof="0" dirty="0">
                <a:solidFill>
                  <a:schemeClr val="tx1"/>
                </a:solidFill>
                <a:latin typeface="Calibri Light" panose="020F0302020204030204" pitchFamily="34" charset="0"/>
                <a:cs typeface="Calibri Light" panose="020F0302020204030204" pitchFamily="34" charset="0"/>
              </a:rPr>
              <a:t>2050</a:t>
            </a:r>
          </a:p>
        </p:txBody>
      </p:sp>
      <p:sp>
        <p:nvSpPr>
          <p:cNvPr id="174" name="CuadroTexto 421">
            <a:extLst>
              <a:ext uri="{FF2B5EF4-FFF2-40B4-BE49-F238E27FC236}">
                <a16:creationId xmlns:a16="http://schemas.microsoft.com/office/drawing/2014/main" xmlns="" id="{B4DC09B9-9B1A-112F-1EFA-279B9E2F3D5C}"/>
              </a:ext>
            </a:extLst>
          </p:cNvPr>
          <p:cNvSpPr txBox="1"/>
          <p:nvPr/>
        </p:nvSpPr>
        <p:spPr>
          <a:xfrm>
            <a:off x="7086600" y="3047454"/>
            <a:ext cx="3973195" cy="1015663"/>
          </a:xfrm>
          <a:prstGeom prst="rect">
            <a:avLst/>
          </a:prstGeom>
          <a:noFill/>
        </p:spPr>
        <p:txBody>
          <a:bodyPr wrap="square">
            <a:spAutoFit/>
          </a:bodyPr>
          <a:lstStyle/>
          <a:p>
            <a:pPr>
              <a:spcAft>
                <a:spcPts val="300"/>
              </a:spcAft>
            </a:pPr>
            <a:r>
              <a:rPr lang="es-BO" sz="1200" noProof="0" dirty="0">
                <a:solidFill>
                  <a:srgbClr val="0D0D0D"/>
                </a:solidFill>
                <a:latin typeface="Calibri Light" panose="020F0302020204030204" pitchFamily="34" charset="0"/>
                <a:cs typeface="Calibri Light" panose="020F0302020204030204" pitchFamily="34" charset="0"/>
              </a:rPr>
              <a:t>Tomando en consideración el porcentaje a atender de la demanda para cada uno de los combustibles anteriormente señalados, el total de las reducciones serían de 0,43; 3,57 y 10,22 millones de toneladas de CO</a:t>
            </a:r>
            <a:r>
              <a:rPr lang="es-BO" sz="1050" noProof="0" dirty="0">
                <a:solidFill>
                  <a:srgbClr val="0D0D0D"/>
                </a:solidFill>
                <a:latin typeface="Calibri Light" panose="020F0302020204030204" pitchFamily="34" charset="0"/>
                <a:cs typeface="Calibri Light" panose="020F0302020204030204" pitchFamily="34" charset="0"/>
              </a:rPr>
              <a:t>2</a:t>
            </a:r>
            <a:r>
              <a:rPr lang="es-BO" sz="1200" noProof="0" dirty="0">
                <a:solidFill>
                  <a:srgbClr val="0D0D0D"/>
                </a:solidFill>
                <a:latin typeface="Calibri Light" panose="020F0302020204030204" pitchFamily="34" charset="0"/>
                <a:cs typeface="Calibri Light" panose="020F0302020204030204" pitchFamily="34" charset="0"/>
              </a:rPr>
              <a:t> equivalente para los años 2030, 2040 y 2050, tal como se muestra en la siguiente tabla.</a:t>
            </a:r>
          </a:p>
        </p:txBody>
      </p:sp>
      <p:sp>
        <p:nvSpPr>
          <p:cNvPr id="67" name="Elipse 66"/>
          <p:cNvSpPr/>
          <p:nvPr/>
        </p:nvSpPr>
        <p:spPr bwMode="gray">
          <a:xfrm>
            <a:off x="5281669" y="2864311"/>
            <a:ext cx="365760" cy="219924"/>
          </a:xfrm>
          <a:prstGeom prst="ellipse">
            <a:avLst/>
          </a:prstGeom>
          <a:noFill/>
          <a:ln w="19050" algn="ctr">
            <a:solidFill>
              <a:schemeClr val="accent6">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68" name="Elipse 67"/>
          <p:cNvSpPr/>
          <p:nvPr/>
        </p:nvSpPr>
        <p:spPr bwMode="gray">
          <a:xfrm>
            <a:off x="3702923" y="3087735"/>
            <a:ext cx="365760" cy="219924"/>
          </a:xfrm>
          <a:prstGeom prst="ellipse">
            <a:avLst/>
          </a:prstGeom>
          <a:noFill/>
          <a:ln w="19050" algn="ctr">
            <a:solidFill>
              <a:schemeClr val="accent6">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 name="Elipse 7">
            <a:extLst>
              <a:ext uri="{FF2B5EF4-FFF2-40B4-BE49-F238E27FC236}">
                <a16:creationId xmlns:a16="http://schemas.microsoft.com/office/drawing/2014/main" xmlns="" id="{1A812917-B3B3-169C-7C7B-3AE27A5B7B98}"/>
              </a:ext>
            </a:extLst>
          </p:cNvPr>
          <p:cNvSpPr/>
          <p:nvPr/>
        </p:nvSpPr>
        <p:spPr bwMode="gray">
          <a:xfrm>
            <a:off x="2178050" y="3328328"/>
            <a:ext cx="365760" cy="219924"/>
          </a:xfrm>
          <a:prstGeom prst="ellipse">
            <a:avLst/>
          </a:prstGeom>
          <a:noFill/>
          <a:ln w="19050" algn="ctr">
            <a:solidFill>
              <a:schemeClr val="accent6">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58" name="Rectangle 57">
            <a:extLst>
              <a:ext uri="{FF2B5EF4-FFF2-40B4-BE49-F238E27FC236}">
                <a16:creationId xmlns:a16="http://schemas.microsoft.com/office/drawing/2014/main" xmlns="" id="{87AE4457-DE52-579E-2954-F1849A3EC2FB}"/>
              </a:ext>
            </a:extLst>
          </p:cNvPr>
          <p:cNvSpPr/>
          <p:nvPr/>
        </p:nvSpPr>
        <p:spPr bwMode="gray">
          <a:xfrm>
            <a:off x="7052311" y="2833816"/>
            <a:ext cx="4007484" cy="1546225"/>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2904489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13D7AE4-3481-ED09-CE23-777BA054DF4C}"/>
            </a:ext>
          </a:extLst>
        </p:cNvPr>
        <p:cNvGrpSpPr/>
        <p:nvPr/>
      </p:nvGrpSpPr>
      <p:grpSpPr>
        <a:xfrm>
          <a:off x="0" y="0"/>
          <a:ext cx="0" cy="0"/>
          <a:chOff x="0" y="0"/>
          <a:chExt cx="0" cy="0"/>
        </a:xfrm>
      </p:grpSpPr>
      <p:sp>
        <p:nvSpPr>
          <p:cNvPr id="8" name="Rectangle: Rounded Corners 2">
            <a:extLst>
              <a:ext uri="{FF2B5EF4-FFF2-40B4-BE49-F238E27FC236}">
                <a16:creationId xmlns:a16="http://schemas.microsoft.com/office/drawing/2014/main" xmlns="" id="{8E13866A-9C96-8B35-5425-761DD0E9A8AB}"/>
              </a:ext>
            </a:extLst>
          </p:cNvPr>
          <p:cNvSpPr/>
          <p:nvPr/>
        </p:nvSpPr>
        <p:spPr bwMode="gray">
          <a:xfrm>
            <a:off x="-1025103" y="625683"/>
            <a:ext cx="11806313" cy="816963"/>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99F2159A-16C7-20D3-A564-A7423A5358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9" imgW="395" imgH="396" progId="TCLayout.ActiveDocument.1">
                  <p:embed/>
                </p:oleObj>
              </mc:Choice>
              <mc:Fallback>
                <p:oleObj name="think-cell Slide" r:id="rId19" imgW="395" imgH="396" progId="TCLayout.ActiveDocument.1">
                  <p:embed/>
                  <p:pic>
                    <p:nvPicPr>
                      <p:cNvPr id="12" name="Object 11" hidden="1">
                        <a:extLst>
                          <a:ext uri="{FF2B5EF4-FFF2-40B4-BE49-F238E27FC236}">
                            <a16:creationId xmlns:a16="http://schemas.microsoft.com/office/drawing/2014/main" xmlns="" id="{99F2159A-16C7-20D3-A564-A7423A53589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E6CFA551-6A8E-2D57-D1C8-A93AB2DBA5CD}"/>
              </a:ext>
            </a:extLst>
          </p:cNvPr>
          <p:cNvSpPr>
            <a:spLocks noGrp="1"/>
          </p:cNvSpPr>
          <p:nvPr>
            <p:ph type="sldNum" sz="quarter" idx="4"/>
          </p:nvPr>
        </p:nvSpPr>
        <p:spPr/>
        <p:txBody>
          <a:bodyPr/>
          <a:lstStyle/>
          <a:p>
            <a:fld id="{A8E5AD78-C39A-47FF-83FF-0E69177E1F7C}" type="slidenum">
              <a:rPr lang="es-BO" noProof="0" smtClean="0"/>
              <a:pPr/>
              <a:t>7</a:t>
            </a:fld>
            <a:endParaRPr lang="es-BO" noProof="0" dirty="0"/>
          </a:p>
        </p:txBody>
      </p:sp>
      <p:sp>
        <p:nvSpPr>
          <p:cNvPr id="11" name="Title 2">
            <a:extLst>
              <a:ext uri="{FF2B5EF4-FFF2-40B4-BE49-F238E27FC236}">
                <a16:creationId xmlns:a16="http://schemas.microsoft.com/office/drawing/2014/main" xmlns="" id="{0D4C8509-936C-BC97-0360-4ADC7BE564B4}"/>
              </a:ext>
            </a:extLst>
          </p:cNvPr>
          <p:cNvSpPr>
            <a:spLocks noGrp="1"/>
          </p:cNvSpPr>
          <p:nvPr>
            <p:ph type="title"/>
          </p:nvPr>
        </p:nvSpPr>
        <p:spPr/>
        <p:txBody>
          <a:bodyPr vert="horz"/>
          <a:lstStyle/>
          <a:p>
            <a:r>
              <a:rPr lang="es-BO" noProof="0" dirty="0"/>
              <a:t>Hoja de Ruta y estrategia Nacional| Estimación de la demanda a 2050</a:t>
            </a:r>
          </a:p>
        </p:txBody>
      </p:sp>
      <p:sp>
        <p:nvSpPr>
          <p:cNvPr id="4" name="Text Placeholder 3">
            <a:extLst>
              <a:ext uri="{FF2B5EF4-FFF2-40B4-BE49-F238E27FC236}">
                <a16:creationId xmlns:a16="http://schemas.microsoft.com/office/drawing/2014/main" xmlns="" id="{AAE9E023-BA43-A66E-8480-515B0EB8BB91}"/>
              </a:ext>
            </a:extLst>
          </p:cNvPr>
          <p:cNvSpPr>
            <a:spLocks noGrp="1"/>
          </p:cNvSpPr>
          <p:nvPr>
            <p:ph type="body" sz="quarter" idx="13"/>
          </p:nvPr>
        </p:nvSpPr>
        <p:spPr>
          <a:xfrm>
            <a:off x="626101" y="668395"/>
            <a:ext cx="11160125" cy="719137"/>
          </a:xfrm>
        </p:spPr>
        <p:txBody>
          <a:bodyPr anchor="ctr"/>
          <a:lstStyle/>
          <a:p>
            <a:r>
              <a:rPr lang="es-BO" noProof="0" dirty="0">
                <a:solidFill>
                  <a:schemeClr val="bg1"/>
                </a:solidFill>
              </a:rPr>
              <a:t>Oportunidades de exportación de hidrógeno </a:t>
            </a:r>
            <a:r>
              <a:rPr lang="es-BO" dirty="0">
                <a:solidFill>
                  <a:schemeClr val="bg1"/>
                </a:solidFill>
              </a:rPr>
              <a:t>v</a:t>
            </a:r>
            <a:r>
              <a:rPr lang="es-BO" noProof="0" dirty="0" err="1">
                <a:solidFill>
                  <a:schemeClr val="bg1"/>
                </a:solidFill>
              </a:rPr>
              <a:t>erde</a:t>
            </a:r>
            <a:r>
              <a:rPr lang="es-BO" noProof="0" dirty="0">
                <a:solidFill>
                  <a:schemeClr val="bg1"/>
                </a:solidFill>
              </a:rPr>
              <a:t>: Europa, Asia y Sudamérica</a:t>
            </a:r>
          </a:p>
        </p:txBody>
      </p:sp>
      <p:sp>
        <p:nvSpPr>
          <p:cNvPr id="10" name="Text Placeholder 9">
            <a:extLst>
              <a:ext uri="{FF2B5EF4-FFF2-40B4-BE49-F238E27FC236}">
                <a16:creationId xmlns:a16="http://schemas.microsoft.com/office/drawing/2014/main" xmlns="" id="{37852ACA-9CA5-EECF-413A-F7F15BE72A0B}"/>
              </a:ext>
            </a:extLst>
          </p:cNvPr>
          <p:cNvSpPr>
            <a:spLocks noGrp="1"/>
          </p:cNvSpPr>
          <p:nvPr>
            <p:ph type="body" sz="quarter" idx="14"/>
          </p:nvPr>
        </p:nvSpPr>
        <p:spPr>
          <a:xfrm>
            <a:off x="515937" y="6104154"/>
            <a:ext cx="11160125" cy="307777"/>
          </a:xfrm>
        </p:spPr>
        <p:txBody>
          <a:bodyPr/>
          <a:lstStyle/>
          <a:p>
            <a:r>
              <a:rPr lang="es-BO" noProof="0" dirty="0"/>
              <a:t>Fuente: Elaboración propia con base en documentación de cada país</a:t>
            </a:r>
          </a:p>
          <a:p>
            <a:endParaRPr lang="es-BO" noProof="0" dirty="0"/>
          </a:p>
        </p:txBody>
      </p:sp>
      <p:sp>
        <p:nvSpPr>
          <p:cNvPr id="14" name="Text Placeholder 13">
            <a:extLst>
              <a:ext uri="{FF2B5EF4-FFF2-40B4-BE49-F238E27FC236}">
                <a16:creationId xmlns:a16="http://schemas.microsoft.com/office/drawing/2014/main" xmlns="" id="{72C25344-B44D-7BEE-A8C2-EF2B0F79B959}"/>
              </a:ext>
            </a:extLst>
          </p:cNvPr>
          <p:cNvSpPr>
            <a:spLocks noGrp="1"/>
          </p:cNvSpPr>
          <p:nvPr>
            <p:ph type="body" sz="quarter" idx="15"/>
          </p:nvPr>
        </p:nvSpPr>
        <p:spPr>
          <a:xfrm>
            <a:off x="515937" y="6259728"/>
            <a:ext cx="11160125" cy="246221"/>
          </a:xfrm>
        </p:spPr>
        <p:txBody>
          <a:bodyPr/>
          <a:lstStyle/>
          <a:p>
            <a:r>
              <a:rPr lang="es-BO" noProof="0" dirty="0"/>
              <a:t>Nota: Se considera un costo de LCOH entre 0,95</a:t>
            </a:r>
            <a:r>
              <a:rPr lang="es-BO" sz="800" b="0" u="none" strike="noStrike" noProof="0" dirty="0">
                <a:effectLst/>
                <a:latin typeface="Calibri Light" panose="020F0302020204030204" pitchFamily="34" charset="0"/>
              </a:rPr>
              <a:t>– 1,03</a:t>
            </a:r>
            <a:r>
              <a:rPr lang="es-BO" sz="800" b="0" u="none" strike="noStrike" noProof="0" dirty="0">
                <a:solidFill>
                  <a:srgbClr val="FF0000"/>
                </a:solidFill>
                <a:effectLst/>
                <a:latin typeface="Calibri Light" panose="020F0302020204030204" pitchFamily="34" charset="0"/>
              </a:rPr>
              <a:t> </a:t>
            </a:r>
            <a:r>
              <a:rPr lang="es-BO" sz="800" b="0" u="none" strike="noStrike" noProof="0" dirty="0">
                <a:effectLst/>
                <a:latin typeface="Calibri Light" panose="020F0302020204030204" pitchFamily="34" charset="0"/>
              </a:rPr>
              <a:t>USD/kg </a:t>
            </a:r>
            <a:r>
              <a:rPr lang="es-BO" sz="800" b="0" u="none" strike="noStrike" noProof="0" dirty="0">
                <a:solidFill>
                  <a:srgbClr val="000000"/>
                </a:solidFill>
                <a:effectLst/>
                <a:latin typeface="Calibri Light" panose="020F0302020204030204" pitchFamily="34" charset="0"/>
              </a:rPr>
              <a:t>tomando en cuenta </a:t>
            </a:r>
            <a:r>
              <a:rPr lang="es-BO" noProof="0" dirty="0"/>
              <a:t>optimizaciones e incentivos que solo se pueden lograr en el largo plazo como Reducciones de CAPEX, Optimizaciones técnicas, Reducción de costos de energía, Costos de financiamiento, Incentivos fiscales y reducción de impuestos.</a:t>
            </a:r>
          </a:p>
        </p:txBody>
      </p:sp>
      <p:graphicFrame>
        <p:nvGraphicFramePr>
          <p:cNvPr id="26" name="Chart 25">
            <a:extLst>
              <a:ext uri="{FF2B5EF4-FFF2-40B4-BE49-F238E27FC236}">
                <a16:creationId xmlns:a16="http://schemas.microsoft.com/office/drawing/2014/main" xmlns="" id="{D6920220-4E76-342D-4E98-2B268CED3D49}"/>
              </a:ext>
            </a:extLst>
          </p:cNvPr>
          <p:cNvGraphicFramePr/>
          <p:nvPr>
            <p:custDataLst>
              <p:tags r:id="rId3"/>
            </p:custDataLst>
          </p:nvPr>
        </p:nvGraphicFramePr>
        <p:xfrm>
          <a:off x="6935788" y="2163763"/>
          <a:ext cx="4632325" cy="2428875"/>
        </p:xfrm>
        <a:graphic>
          <a:graphicData uri="http://schemas.openxmlformats.org/drawingml/2006/chart">
            <c:chart xmlns:c="http://schemas.openxmlformats.org/drawingml/2006/chart" xmlns:r="http://schemas.openxmlformats.org/officeDocument/2006/relationships" r:id="rId21"/>
          </a:graphicData>
        </a:graphic>
      </p:graphicFrame>
      <p:sp>
        <p:nvSpPr>
          <p:cNvPr id="1398" name="Rectangle 1397">
            <a:extLst>
              <a:ext uri="{FF2B5EF4-FFF2-40B4-BE49-F238E27FC236}">
                <a16:creationId xmlns:a16="http://schemas.microsoft.com/office/drawing/2014/main" xmlns="" id="{2694721E-E509-56CA-334D-0A345AEBDE79}"/>
              </a:ext>
            </a:extLst>
          </p:cNvPr>
          <p:cNvSpPr/>
          <p:nvPr>
            <p:custDataLst>
              <p:tags r:id="rId4"/>
            </p:custDataLst>
          </p:nvPr>
        </p:nvSpPr>
        <p:spPr bwMode="gray">
          <a:xfrm>
            <a:off x="7591425" y="4035425"/>
            <a:ext cx="3444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046A38"/>
                </a:solidFill>
              </a14:hiddenFill>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CA671848-15A2-4286-9448-0BF8B9070A80}" type="datetime'''''''13'''',''''''9''7'''''''''''''''''''''">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13,97</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
            </a:r>
            <a:br>
              <a:rPr lang="es-BO" sz="800" noProof="0" dirty="0">
                <a:latin typeface="Calibri Light" panose="020F0302020204030204" pitchFamily="34" charset="0"/>
                <a:cs typeface="Calibri Light" panose="020F0302020204030204" pitchFamily="34" charset="0"/>
                <a:sym typeface="Calibri Light" panose="020F0302020204030204" pitchFamily="34" charset="0"/>
              </a:rPr>
            </a:br>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fld id="{F3560BDC-FFC8-4A73-9829-AB6AD0B8D06D}" type="datetime'9''''''''''''''''''''''9,''''''''4%'''''''''''">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99,4%</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99" name="Rectangle 1398">
            <a:extLst>
              <a:ext uri="{FF2B5EF4-FFF2-40B4-BE49-F238E27FC236}">
                <a16:creationId xmlns:a16="http://schemas.microsoft.com/office/drawing/2014/main" xmlns="" id="{FA4BA1B3-8693-8A4A-CF70-0EA73C30225C}"/>
              </a:ext>
            </a:extLst>
          </p:cNvPr>
          <p:cNvSpPr/>
          <p:nvPr>
            <p:custDataLst>
              <p:tags r:id="rId5"/>
            </p:custDataLst>
          </p:nvPr>
        </p:nvSpPr>
        <p:spPr bwMode="gray">
          <a:xfrm>
            <a:off x="7597775" y="3654425"/>
            <a:ext cx="331788" cy="247650"/>
          </a:xfrm>
          <a:prstGeom prst="rect">
            <a:avLst/>
          </a:prstGeom>
          <a:solidFill>
            <a:schemeClr val="accent4"/>
          </a:solidFill>
          <a:ln w="19050" cap="flat" cmpd="sng" algn="ctr">
            <a:noFill/>
            <a:prstDash val="solid"/>
            <a:miter lim="800000"/>
            <a:headEnd type="none" w="med" len="med"/>
            <a:tailEnd type="none" w="med" len="med"/>
          </a:ln>
          <a:effectLst/>
        </p:spPr>
        <p:txBody>
          <a:bodyPr vert="horz" wrap="none" lIns="19050" tIns="0" rIns="19050" bIns="0" rtlCol="0" anchor="ctr"/>
          <a:lstStyle/>
          <a:p>
            <a:pPr algn="ctr">
              <a:lnSpc>
                <a:spcPct val="90000"/>
              </a:lnSpc>
              <a:spcBef>
                <a:spcPct val="0"/>
              </a:spcBef>
              <a:spcAft>
                <a:spcPct val="0"/>
              </a:spcAft>
              <a:buFont typeface="Wingdings 2" pitchFamily="18" charset="2"/>
              <a:buNone/>
            </a:pPr>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0,09</a:t>
            </a:r>
            <a:b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br>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BD13C858-0994-4E81-96DD-6D7FAE8E6554}" type="datetime'''''0,''''''''''6''''''''''''''''''''''''''''''''%'''">
              <a:rPr lang="es-BO" sz="900" noProof="0" smtClean="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0,6%</a:t>
            </a:fld>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s-BO" sz="9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4" name="Rectangle 1353">
            <a:extLst>
              <a:ext uri="{FF2B5EF4-FFF2-40B4-BE49-F238E27FC236}">
                <a16:creationId xmlns:a16="http://schemas.microsoft.com/office/drawing/2014/main" xmlns="" id="{066B6DDE-CAF7-105F-6A38-4B0AD7A9EA1A}"/>
              </a:ext>
            </a:extLst>
          </p:cNvPr>
          <p:cNvSpPr/>
          <p:nvPr>
            <p:custDataLst>
              <p:tags r:id="rId6"/>
            </p:custDataLst>
          </p:nvPr>
        </p:nvSpPr>
        <p:spPr bwMode="auto">
          <a:xfrm>
            <a:off x="7629525" y="4595813"/>
            <a:ext cx="266700"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0735487D-D411-4E52-8CC3-CA874C021068}" type="datetime'''''''''''''2''''''''0''''''''''''''''''''3''''0'''''''''''''">
              <a:rPr lang="es-BO" sz="1000" b="1" noProof="0" smtClean="0">
                <a:latin typeface="Calibri Light" panose="020F0302020204030204" pitchFamily="34" charset="0"/>
                <a:ea typeface="+mj-ea"/>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30</a:t>
            </a:fld>
            <a:endParaRPr lang="es-BO" sz="1000" b="1" noProof="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02" name="Rectangle 1401">
            <a:extLst>
              <a:ext uri="{FF2B5EF4-FFF2-40B4-BE49-F238E27FC236}">
                <a16:creationId xmlns:a16="http://schemas.microsoft.com/office/drawing/2014/main" xmlns="" id="{D8A87355-6816-A240-8430-14C2BA47E4E0}"/>
              </a:ext>
            </a:extLst>
          </p:cNvPr>
          <p:cNvSpPr/>
          <p:nvPr>
            <p:custDataLst>
              <p:tags r:id="rId7"/>
            </p:custDataLst>
          </p:nvPr>
        </p:nvSpPr>
        <p:spPr bwMode="gray">
          <a:xfrm>
            <a:off x="9080500" y="3595688"/>
            <a:ext cx="3444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10D83BE1-B23C-4F51-A1DE-CCA965E7620E}" type="datetime'''''''''''''''''''''''''''''''''''3''0'',8''''''''7'''''''">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30,87</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
            </a:r>
            <a:br>
              <a:rPr lang="es-BO" sz="800" noProof="0" dirty="0">
                <a:latin typeface="Calibri Light" panose="020F0302020204030204" pitchFamily="34" charset="0"/>
                <a:cs typeface="Calibri Light" panose="020F0302020204030204" pitchFamily="34" charset="0"/>
                <a:sym typeface="Calibri Light" panose="020F0302020204030204" pitchFamily="34" charset="0"/>
              </a:rPr>
            </a:br>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fld id="{4E8DF0ED-FE14-40E6-B9B1-8355E51332D8}" type="datetime'''''9''7'',''5%'''''''''''''''''''''''''''''''''''''''''">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97,5%</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401" name="Rectangle 1400">
            <a:extLst>
              <a:ext uri="{FF2B5EF4-FFF2-40B4-BE49-F238E27FC236}">
                <a16:creationId xmlns:a16="http://schemas.microsoft.com/office/drawing/2014/main" xmlns="" id="{9E0C53F0-09D3-8E68-2D82-B2868D968E6D}"/>
              </a:ext>
            </a:extLst>
          </p:cNvPr>
          <p:cNvSpPr/>
          <p:nvPr>
            <p:custDataLst>
              <p:tags r:id="rId8"/>
            </p:custDataLst>
          </p:nvPr>
        </p:nvSpPr>
        <p:spPr bwMode="gray">
          <a:xfrm>
            <a:off x="9086850" y="2755900"/>
            <a:ext cx="331788" cy="247650"/>
          </a:xfrm>
          <a:prstGeom prst="rect">
            <a:avLst/>
          </a:prstGeom>
          <a:solidFill>
            <a:schemeClr val="accent4"/>
          </a:solidFill>
          <a:ln w="19050" cap="flat" cmpd="sng" algn="ctr">
            <a:noFill/>
            <a:prstDash val="solid"/>
            <a:miter lim="800000"/>
            <a:headEnd type="none" w="med" len="med"/>
            <a:tailEnd type="none" w="med" len="med"/>
          </a:ln>
          <a:effectLst/>
        </p:spPr>
        <p:txBody>
          <a:bodyPr vert="horz" wrap="none" lIns="19050" tIns="0" rIns="19050" bIns="0" rtlCol="0" anchor="ctr"/>
          <a:lstStyle/>
          <a:p>
            <a:pPr algn="ctr">
              <a:lnSpc>
                <a:spcPct val="90000"/>
              </a:lnSpc>
              <a:spcBef>
                <a:spcPct val="0"/>
              </a:spcBef>
              <a:spcAft>
                <a:spcPct val="0"/>
              </a:spcAft>
              <a:buFont typeface="Wingdings 2" pitchFamily="18" charset="2"/>
              <a:buNone/>
            </a:pPr>
            <a:fld id="{CAA2A5B3-8B1A-481B-AFC0-1C4B2AE7DBF4}" type="datetime'''0'',''''''''''''''''7''''''''''''''''''''''''''''''9'''">
              <a:rPr lang="es-BO" sz="900" noProof="0" smtClean="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0,79</a:t>
            </a:fld>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r>
            <a:b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br>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BCB16651-DCBE-44BF-8F89-642DC924E306}" type="datetime'''''2'''''''''''''''''''''''''''''',5''''''%'''''''''''">
              <a:rPr lang="es-BO" sz="900" noProof="0" smtClean="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2,5%</a:t>
            </a:fld>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s-BO" sz="9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6" name="Rectangle 1355">
            <a:extLst>
              <a:ext uri="{FF2B5EF4-FFF2-40B4-BE49-F238E27FC236}">
                <a16:creationId xmlns:a16="http://schemas.microsoft.com/office/drawing/2014/main" xmlns="" id="{F69F5B01-5586-9175-EA4B-F2C2AA151A39}"/>
              </a:ext>
            </a:extLst>
          </p:cNvPr>
          <p:cNvSpPr/>
          <p:nvPr>
            <p:custDataLst>
              <p:tags r:id="rId9"/>
            </p:custDataLst>
          </p:nvPr>
        </p:nvSpPr>
        <p:spPr bwMode="auto">
          <a:xfrm>
            <a:off x="9118600" y="4595813"/>
            <a:ext cx="266700"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B4D525F5-AF82-420B-887A-E20346082E5F}" type="datetime'''''''''''''2''''''''''''''''''''''''''''''040'''''''''''''''">
              <a:rPr lang="es-BO" sz="1000" b="1" noProof="0" smtClean="0">
                <a:latin typeface="Calibri Light" panose="020F0302020204030204" pitchFamily="34" charset="0"/>
                <a:ea typeface="+mj-ea"/>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40</a:t>
            </a:fld>
            <a:endParaRPr lang="es-BO" sz="1000" b="1" noProof="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03" name="Rectangle 1402">
            <a:extLst>
              <a:ext uri="{FF2B5EF4-FFF2-40B4-BE49-F238E27FC236}">
                <a16:creationId xmlns:a16="http://schemas.microsoft.com/office/drawing/2014/main" xmlns="" id="{84062949-B674-72BB-7E26-A57889D9FADD}"/>
              </a:ext>
            </a:extLst>
          </p:cNvPr>
          <p:cNvSpPr/>
          <p:nvPr>
            <p:custDataLst>
              <p:tags r:id="rId10"/>
            </p:custDataLst>
          </p:nvPr>
        </p:nvSpPr>
        <p:spPr bwMode="gray">
          <a:xfrm>
            <a:off x="10569575" y="3335338"/>
            <a:ext cx="344488" cy="21907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hlink"/>
                </a:solidFill>
              </a14:hiddenFill>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1B57A4FA-11FC-40F6-A980-672570F540CB}" type="datetime'''''40'''',''''''''''''''''''8''''''''''''''''''''3'''''''''''">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40,83</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
            </a:r>
            <a:br>
              <a:rPr lang="es-BO" sz="800" noProof="0" dirty="0">
                <a:latin typeface="Calibri Light" panose="020F0302020204030204" pitchFamily="34" charset="0"/>
                <a:cs typeface="Calibri Light" panose="020F0302020204030204" pitchFamily="34" charset="0"/>
                <a:sym typeface="Calibri Light" panose="020F0302020204030204" pitchFamily="34" charset="0"/>
              </a:rPr>
            </a:br>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fld id="{0833A46E-FF11-43D8-83BB-DB6A20687638}" type="datetime'''''''''''''''''''''''9''4'''',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94,0%</a:t>
            </a:fld>
            <a:r>
              <a:rPr lang="es-BO" sz="800" noProof="0" dirty="0">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404" name="Rectangle 1403">
            <a:extLst>
              <a:ext uri="{FF2B5EF4-FFF2-40B4-BE49-F238E27FC236}">
                <a16:creationId xmlns:a16="http://schemas.microsoft.com/office/drawing/2014/main" xmlns="" id="{8C446FCA-9EC6-50D8-2F82-38590370A086}"/>
              </a:ext>
            </a:extLst>
          </p:cNvPr>
          <p:cNvSpPr/>
          <p:nvPr>
            <p:custDataLst>
              <p:tags r:id="rId11"/>
            </p:custDataLst>
          </p:nvPr>
        </p:nvSpPr>
        <p:spPr bwMode="gray">
          <a:xfrm>
            <a:off x="10575925" y="2189163"/>
            <a:ext cx="331788" cy="247650"/>
          </a:xfrm>
          <a:prstGeom prst="rect">
            <a:avLst/>
          </a:prstGeom>
          <a:solidFill>
            <a:schemeClr val="accent4"/>
          </a:solidFill>
          <a:ln w="19050" cap="flat" cmpd="sng" algn="ctr">
            <a:noFill/>
            <a:prstDash val="solid"/>
            <a:miter lim="800000"/>
            <a:headEnd type="none" w="med" len="med"/>
            <a:tailEnd type="none" w="med" len="med"/>
          </a:ln>
          <a:effectLst/>
        </p:spPr>
        <p:txBody>
          <a:bodyPr vert="horz" wrap="none" lIns="19050" tIns="0" rIns="19050" bIns="0" rtlCol="0" anchor="ctr"/>
          <a:lstStyle/>
          <a:p>
            <a:pPr algn="ctr">
              <a:lnSpc>
                <a:spcPct val="90000"/>
              </a:lnSpc>
              <a:spcBef>
                <a:spcPct val="0"/>
              </a:spcBef>
              <a:spcAft>
                <a:spcPct val="0"/>
              </a:spcAft>
              <a:buFont typeface="Wingdings 2" pitchFamily="18" charset="2"/>
              <a:buNone/>
            </a:pPr>
            <a:fld id="{0B81D2C1-14E0-4629-B251-478D7FDA959F}" type="datetime'''''''''2'',6''''''''''''''''''''''''''''''''''''1'''''''''''">
              <a:rPr lang="es-BO" sz="900" noProof="0" smtClean="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2,61</a:t>
            </a:fld>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r>
            <a:b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br>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fld id="{3A02EA72-DAC7-4581-A098-129B857F9C75}" type="datetime'''''6'''''''''''''''''''''''''''',''''''''''''''''''0''%'">
              <a:rPr lang="es-BO" sz="900" noProof="0" smtClean="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6,0%</a:t>
            </a:fld>
            <a:r>
              <a:rPr lang="es-BO" sz="900" noProof="0"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s-BO" sz="900"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7" name="Rectangle 1356">
            <a:extLst>
              <a:ext uri="{FF2B5EF4-FFF2-40B4-BE49-F238E27FC236}">
                <a16:creationId xmlns:a16="http://schemas.microsoft.com/office/drawing/2014/main" xmlns="" id="{EA161CB7-8683-0CFC-9BAA-2B74AA009E88}"/>
              </a:ext>
            </a:extLst>
          </p:cNvPr>
          <p:cNvSpPr/>
          <p:nvPr>
            <p:custDataLst>
              <p:tags r:id="rId12"/>
            </p:custDataLst>
          </p:nvPr>
        </p:nvSpPr>
        <p:spPr bwMode="auto">
          <a:xfrm>
            <a:off x="10607675" y="4595813"/>
            <a:ext cx="266700" cy="161925"/>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7A8CFA3D-B314-45A5-B508-1A1898830B5C}" type="datetime'''''2''''''''''''''''''''''''''''''''''''0''5''0'''''''''''''">
              <a:rPr lang="es-BO" sz="1000" b="1" noProof="0" smtClean="0">
                <a:latin typeface="Calibri Light" panose="020F0302020204030204" pitchFamily="34" charset="0"/>
                <a:ea typeface="+mj-ea"/>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50</a:t>
            </a:fld>
            <a:endParaRPr lang="es-BO" sz="1000" b="1" noProof="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Isosceles Triangle 4">
            <a:extLst>
              <a:ext uri="{FF2B5EF4-FFF2-40B4-BE49-F238E27FC236}">
                <a16:creationId xmlns:a16="http://schemas.microsoft.com/office/drawing/2014/main" xmlns="" id="{8BF6EEC3-E2C6-998E-8E4B-836E9F20BC38}"/>
              </a:ext>
            </a:extLst>
          </p:cNvPr>
          <p:cNvSpPr/>
          <p:nvPr/>
        </p:nvSpPr>
        <p:spPr bwMode="gray">
          <a:xfrm rot="5400000">
            <a:off x="4904606" y="3506747"/>
            <a:ext cx="2418339" cy="184777"/>
          </a:xfrm>
          <a:prstGeom prst="triangle">
            <a:avLst/>
          </a:prstGeom>
          <a:gradFill flip="none" rotWithShape="1">
            <a:gsLst>
              <a:gs pos="55000">
                <a:srgbClr val="92D050"/>
              </a:gs>
              <a:gs pos="100000">
                <a:schemeClr val="bg1"/>
              </a:gs>
              <a:gs pos="4000">
                <a:schemeClr val="accent2">
                  <a:lumMod val="75000"/>
                </a:schemeClr>
              </a:gs>
            </a:gsLst>
            <a:lin ang="54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963" name="TextBox 962">
            <a:extLst>
              <a:ext uri="{FF2B5EF4-FFF2-40B4-BE49-F238E27FC236}">
                <a16:creationId xmlns:a16="http://schemas.microsoft.com/office/drawing/2014/main" xmlns="" id="{221E44DE-838A-37A3-2FAC-503FB69F3398}"/>
              </a:ext>
            </a:extLst>
          </p:cNvPr>
          <p:cNvSpPr txBox="1"/>
          <p:nvPr/>
        </p:nvSpPr>
        <p:spPr>
          <a:xfrm>
            <a:off x="6954691" y="1658422"/>
            <a:ext cx="2333772" cy="369332"/>
          </a:xfrm>
          <a:prstGeom prst="rect">
            <a:avLst/>
          </a:prstGeom>
          <a:noFill/>
        </p:spPr>
        <p:txBody>
          <a:bodyPr wrap="square" lIns="0" tIns="0" rIns="0" bIns="0" rtlCol="0">
            <a:spAutoFit/>
          </a:bodyPr>
          <a:lstStyle/>
          <a:p>
            <a:pPr>
              <a:buSzPct val="100000"/>
            </a:pPr>
            <a:r>
              <a:rPr lang="es-BO" sz="1400" b="1" noProof="0" dirty="0">
                <a:solidFill>
                  <a:schemeClr val="accent3"/>
                </a:solidFill>
                <a:latin typeface="Calibri Light" panose="020F0302020204030204" pitchFamily="34" charset="0"/>
                <a:cs typeface="Calibri Light" panose="020F0302020204030204" pitchFamily="34" charset="0"/>
              </a:rPr>
              <a:t>Demanda objetivo por atender</a:t>
            </a:r>
          </a:p>
          <a:p>
            <a:pPr>
              <a:buSzPct val="100000"/>
            </a:pPr>
            <a:r>
              <a:rPr lang="es-BO" sz="1000" noProof="0" dirty="0">
                <a:latin typeface="Calibri Light" panose="020F0302020204030204" pitchFamily="34" charset="0"/>
                <a:cs typeface="Calibri Light" panose="020F0302020204030204" pitchFamily="34" charset="0"/>
              </a:rPr>
              <a:t>(Millones de toneladas, % del total)</a:t>
            </a:r>
            <a:endParaRPr lang="es-BO" sz="1100" noProof="0" dirty="0">
              <a:latin typeface="Calibri Light" panose="020F0302020204030204" pitchFamily="34" charset="0"/>
              <a:cs typeface="Calibri Light" panose="020F0302020204030204" pitchFamily="34" charset="0"/>
            </a:endParaRPr>
          </a:p>
        </p:txBody>
      </p:sp>
      <p:sp>
        <p:nvSpPr>
          <p:cNvPr id="988" name="Rectangle 987">
            <a:extLst>
              <a:ext uri="{FF2B5EF4-FFF2-40B4-BE49-F238E27FC236}">
                <a16:creationId xmlns:a16="http://schemas.microsoft.com/office/drawing/2014/main" xmlns="" id="{21358317-20D1-6575-9DE5-25C255E8DB62}"/>
              </a:ext>
            </a:extLst>
          </p:cNvPr>
          <p:cNvSpPr/>
          <p:nvPr>
            <p:custDataLst>
              <p:tags r:id="rId13"/>
            </p:custDataLst>
          </p:nvPr>
        </p:nvSpPr>
        <p:spPr bwMode="auto">
          <a:xfrm>
            <a:off x="7064375" y="5027613"/>
            <a:ext cx="160338" cy="120650"/>
          </a:xfrm>
          <a:prstGeom prst="rect">
            <a:avLst/>
          </a:prstGeom>
          <a:solidFill>
            <a:srgbClr val="CCCCCC"/>
          </a:solidFill>
          <a:ln w="19050" cap="flat" cmpd="sng" algn="ctr">
            <a:noFill/>
            <a:prstDash val="solid"/>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989" name="Rectangle 988">
            <a:extLst>
              <a:ext uri="{FF2B5EF4-FFF2-40B4-BE49-F238E27FC236}">
                <a16:creationId xmlns:a16="http://schemas.microsoft.com/office/drawing/2014/main" xmlns="" id="{F55849FB-3B59-632D-9662-ABBA261CFC0D}"/>
              </a:ext>
            </a:extLst>
          </p:cNvPr>
          <p:cNvSpPr/>
          <p:nvPr>
            <p:custDataLst>
              <p:tags r:id="rId14"/>
            </p:custDataLst>
          </p:nvPr>
        </p:nvSpPr>
        <p:spPr bwMode="auto">
          <a:xfrm>
            <a:off x="8061325" y="5027613"/>
            <a:ext cx="160338" cy="120650"/>
          </a:xfrm>
          <a:prstGeom prst="rect">
            <a:avLst/>
          </a:prstGeom>
          <a:solidFill>
            <a:schemeClr val="accent4"/>
          </a:solidFill>
          <a:ln w="3175" cap="flat" cmpd="sng" algn="ctr">
            <a:noFill/>
            <a:prstDash val="solid"/>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984" name="Rectangle 983">
            <a:extLst>
              <a:ext uri="{FF2B5EF4-FFF2-40B4-BE49-F238E27FC236}">
                <a16:creationId xmlns:a16="http://schemas.microsoft.com/office/drawing/2014/main" xmlns="" id="{3D648659-273D-1171-85FB-B25A510DAB12}"/>
              </a:ext>
            </a:extLst>
          </p:cNvPr>
          <p:cNvSpPr/>
          <p:nvPr>
            <p:custDataLst>
              <p:tags r:id="rId15"/>
            </p:custDataLst>
          </p:nvPr>
        </p:nvSpPr>
        <p:spPr bwMode="auto">
          <a:xfrm>
            <a:off x="7275513" y="5018088"/>
            <a:ext cx="684213" cy="14605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594628EC-EED3-42D1-983F-C9658EED4A51}" type="datetime'D''''''e''''''''''''m''''a''''''nd''a'''' t''''''''o''tal'''">
              <a:rPr lang="es-BO" sz="9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Demanda total</a:t>
            </a:fld>
            <a:endParaRPr lang="es-BO" sz="9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86" name="Rectangle 985">
            <a:extLst>
              <a:ext uri="{FF2B5EF4-FFF2-40B4-BE49-F238E27FC236}">
                <a16:creationId xmlns:a16="http://schemas.microsoft.com/office/drawing/2014/main" xmlns="" id="{14B2B92C-8CDE-CE1F-A705-44A03B071ABE}"/>
              </a:ext>
            </a:extLst>
          </p:cNvPr>
          <p:cNvSpPr/>
          <p:nvPr>
            <p:custDataLst>
              <p:tags r:id="rId16"/>
            </p:custDataLst>
          </p:nvPr>
        </p:nvSpPr>
        <p:spPr bwMode="auto">
          <a:xfrm>
            <a:off x="8272463" y="5018088"/>
            <a:ext cx="1419225" cy="14605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r>
              <a:rPr lang="es-BO" sz="900" noProof="0" dirty="0">
                <a:latin typeface="Calibri Light" panose="020F0302020204030204" pitchFamily="34" charset="0"/>
                <a:cs typeface="Calibri Light" panose="020F0302020204030204" pitchFamily="34" charset="0"/>
                <a:sym typeface="Calibri Light" panose="020F0302020204030204" pitchFamily="34" charset="0"/>
              </a:rPr>
              <a:t>Demanda objetivo por atender</a:t>
            </a:r>
            <a:endParaRPr lang="es-BO" sz="9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 name="TextBox 2">
            <a:extLst>
              <a:ext uri="{FF2B5EF4-FFF2-40B4-BE49-F238E27FC236}">
                <a16:creationId xmlns:a16="http://schemas.microsoft.com/office/drawing/2014/main" xmlns="" id="{D94507BA-BF7C-5A47-EC41-52F0638E3679}"/>
              </a:ext>
            </a:extLst>
          </p:cNvPr>
          <p:cNvSpPr txBox="1"/>
          <p:nvPr/>
        </p:nvSpPr>
        <p:spPr>
          <a:xfrm>
            <a:off x="7350032" y="3457259"/>
            <a:ext cx="828086" cy="169277"/>
          </a:xfrm>
          <a:prstGeom prst="rect">
            <a:avLst/>
          </a:prstGeom>
          <a:noFill/>
        </p:spPr>
        <p:txBody>
          <a:bodyPr wrap="square" lIns="0" tIns="0" rIns="0" bIns="0" rtlCol="0">
            <a:spAutoFit/>
          </a:bodyPr>
          <a:lstStyle/>
          <a:p>
            <a:pPr algn="ctr">
              <a:spcBef>
                <a:spcPts val="600"/>
              </a:spcBef>
              <a:buSzPct val="100000"/>
            </a:pPr>
            <a:r>
              <a:rPr lang="es-BO" sz="1100" b="1" noProof="0" dirty="0">
                <a:solidFill>
                  <a:srgbClr val="313131"/>
                </a:solidFill>
                <a:latin typeface="Calibri Light" panose="020F0302020204030204" pitchFamily="34" charset="0"/>
                <a:cs typeface="Calibri Light" panose="020F0302020204030204" pitchFamily="34" charset="0"/>
              </a:rPr>
              <a:t>14</a:t>
            </a:r>
          </a:p>
        </p:txBody>
      </p:sp>
      <p:sp>
        <p:nvSpPr>
          <p:cNvPr id="27" name="TextBox 26">
            <a:extLst>
              <a:ext uri="{FF2B5EF4-FFF2-40B4-BE49-F238E27FC236}">
                <a16:creationId xmlns:a16="http://schemas.microsoft.com/office/drawing/2014/main" xmlns="" id="{FE5B35A7-5D61-F207-5831-13EF7102CE8F}"/>
              </a:ext>
            </a:extLst>
          </p:cNvPr>
          <p:cNvSpPr txBox="1"/>
          <p:nvPr/>
        </p:nvSpPr>
        <p:spPr>
          <a:xfrm>
            <a:off x="8833143" y="2524711"/>
            <a:ext cx="828086" cy="169277"/>
          </a:xfrm>
          <a:prstGeom prst="rect">
            <a:avLst/>
          </a:prstGeom>
          <a:noFill/>
        </p:spPr>
        <p:txBody>
          <a:bodyPr wrap="square" lIns="0" tIns="0" rIns="0" bIns="0" rtlCol="0">
            <a:spAutoFit/>
          </a:bodyPr>
          <a:lstStyle/>
          <a:p>
            <a:pPr algn="ctr">
              <a:spcBef>
                <a:spcPts val="600"/>
              </a:spcBef>
              <a:buSzPct val="100000"/>
            </a:pPr>
            <a:r>
              <a:rPr lang="es-BO" sz="1100" b="1" noProof="0" dirty="0">
                <a:solidFill>
                  <a:srgbClr val="313131"/>
                </a:solidFill>
                <a:latin typeface="Calibri Light" panose="020F0302020204030204" pitchFamily="34" charset="0"/>
                <a:cs typeface="Calibri Light" panose="020F0302020204030204" pitchFamily="34" charset="0"/>
              </a:rPr>
              <a:t>32</a:t>
            </a:r>
          </a:p>
        </p:txBody>
      </p:sp>
      <p:sp>
        <p:nvSpPr>
          <p:cNvPr id="28" name="TextBox 27">
            <a:extLst>
              <a:ext uri="{FF2B5EF4-FFF2-40B4-BE49-F238E27FC236}">
                <a16:creationId xmlns:a16="http://schemas.microsoft.com/office/drawing/2014/main" xmlns="" id="{4FAECA29-F5E3-2AF0-1564-F7E7DABC65CC}"/>
              </a:ext>
            </a:extLst>
          </p:cNvPr>
          <p:cNvSpPr txBox="1"/>
          <p:nvPr/>
        </p:nvSpPr>
        <p:spPr>
          <a:xfrm>
            <a:off x="10342711" y="1975938"/>
            <a:ext cx="828086" cy="169277"/>
          </a:xfrm>
          <a:prstGeom prst="rect">
            <a:avLst/>
          </a:prstGeom>
          <a:noFill/>
        </p:spPr>
        <p:txBody>
          <a:bodyPr wrap="square" lIns="0" tIns="0" rIns="0" bIns="0" rtlCol="0">
            <a:spAutoFit/>
          </a:bodyPr>
          <a:lstStyle/>
          <a:p>
            <a:pPr algn="ctr">
              <a:spcBef>
                <a:spcPts val="600"/>
              </a:spcBef>
              <a:buSzPct val="100000"/>
            </a:pPr>
            <a:r>
              <a:rPr lang="es-BO" sz="1100" b="1" noProof="0" dirty="0">
                <a:solidFill>
                  <a:srgbClr val="313131"/>
                </a:solidFill>
                <a:latin typeface="Calibri Light" panose="020F0302020204030204" pitchFamily="34" charset="0"/>
                <a:cs typeface="Calibri Light" panose="020F0302020204030204" pitchFamily="34" charset="0"/>
              </a:rPr>
              <a:t>43</a:t>
            </a:r>
          </a:p>
        </p:txBody>
      </p:sp>
      <p:pic>
        <p:nvPicPr>
          <p:cNvPr id="6" name="Imagen 5">
            <a:extLst>
              <a:ext uri="{FF2B5EF4-FFF2-40B4-BE49-F238E27FC236}">
                <a16:creationId xmlns:a16="http://schemas.microsoft.com/office/drawing/2014/main" xmlns="" id="{8B1D018C-4C36-E751-42E6-897E13F79129}"/>
              </a:ext>
            </a:extLst>
          </p:cNvPr>
          <p:cNvPicPr>
            <a:picLocks noChangeAspect="1"/>
          </p:cNvPicPr>
          <p:nvPr/>
        </p:nvPicPr>
        <p:blipFill>
          <a:blip r:embed="rId22"/>
          <a:srcRect t="12824"/>
          <a:stretch>
            <a:fillRect/>
          </a:stretch>
        </p:blipFill>
        <p:spPr>
          <a:xfrm>
            <a:off x="530351" y="2061584"/>
            <a:ext cx="4797297" cy="3333369"/>
          </a:xfrm>
          <a:prstGeom prst="rect">
            <a:avLst/>
          </a:prstGeom>
        </p:spPr>
      </p:pic>
      <p:sp>
        <p:nvSpPr>
          <p:cNvPr id="7" name="TextBox 6">
            <a:extLst>
              <a:ext uri="{FF2B5EF4-FFF2-40B4-BE49-F238E27FC236}">
                <a16:creationId xmlns:a16="http://schemas.microsoft.com/office/drawing/2014/main" xmlns="" id="{6C7597B5-F22B-E4C1-CBD4-1876D7F6755E}"/>
              </a:ext>
            </a:extLst>
          </p:cNvPr>
          <p:cNvSpPr txBox="1"/>
          <p:nvPr/>
        </p:nvSpPr>
        <p:spPr>
          <a:xfrm>
            <a:off x="713911" y="1658422"/>
            <a:ext cx="2333772" cy="369332"/>
          </a:xfrm>
          <a:prstGeom prst="rect">
            <a:avLst/>
          </a:prstGeom>
          <a:noFill/>
        </p:spPr>
        <p:txBody>
          <a:bodyPr wrap="square" lIns="0" tIns="0" rIns="0" bIns="0" rtlCol="0">
            <a:spAutoFit/>
          </a:bodyPr>
          <a:lstStyle/>
          <a:p>
            <a:pPr>
              <a:buSzPct val="100000"/>
            </a:pPr>
            <a:r>
              <a:rPr lang="es-BO" sz="1400" b="1" noProof="0" dirty="0">
                <a:solidFill>
                  <a:schemeClr val="accent3"/>
                </a:solidFill>
                <a:latin typeface="Calibri Light" panose="020F0302020204030204" pitchFamily="34" charset="0"/>
                <a:cs typeface="Calibri Light" panose="020F0302020204030204" pitchFamily="34" charset="0"/>
              </a:rPr>
              <a:t>Demanda externa</a:t>
            </a:r>
          </a:p>
          <a:p>
            <a:pPr>
              <a:buSzPct val="100000"/>
            </a:pPr>
            <a:r>
              <a:rPr lang="es-BO" sz="1000" noProof="0" dirty="0">
                <a:latin typeface="Calibri Light" panose="020F0302020204030204" pitchFamily="34" charset="0"/>
                <a:cs typeface="Calibri Light" panose="020F0302020204030204" pitchFamily="34" charset="0"/>
              </a:rPr>
              <a:t>(Millones de toneladas)</a:t>
            </a:r>
            <a:endParaRPr lang="es-BO" sz="1100" noProof="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3768886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2">
            <a:extLst>
              <a:ext uri="{FF2B5EF4-FFF2-40B4-BE49-F238E27FC236}">
                <a16:creationId xmlns:a16="http://schemas.microsoft.com/office/drawing/2014/main" xmlns="" id="{811E3FF5-96D2-88BF-D26F-743D10978E72}"/>
              </a:ext>
            </a:extLst>
          </p:cNvPr>
          <p:cNvSpPr/>
          <p:nvPr/>
        </p:nvSpPr>
        <p:spPr bwMode="gray">
          <a:xfrm>
            <a:off x="-1005720" y="581926"/>
            <a:ext cx="10532897" cy="691924"/>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1A80EE2E-7927-4351-BBDC-3CAD663723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75" imgW="395" imgH="396" progId="TCLayout.ActiveDocument.1">
                  <p:embed/>
                </p:oleObj>
              </mc:Choice>
              <mc:Fallback>
                <p:oleObj name="think-cell Slide" r:id="rId75" imgW="395" imgH="396" progId="TCLayout.ActiveDocument.1">
                  <p:embed/>
                  <p:pic>
                    <p:nvPicPr>
                      <p:cNvPr id="12" name="Object 11" hidden="1">
                        <a:extLst>
                          <a:ext uri="{FF2B5EF4-FFF2-40B4-BE49-F238E27FC236}">
                            <a16:creationId xmlns:a16="http://schemas.microsoft.com/office/drawing/2014/main" xmlns="" id="{1A80EE2E-7927-4351-BBDC-3CAD663723AD}"/>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xmlns="" id="{31740E28-CE8D-154E-EA18-5D51FFFC1698}"/>
              </a:ext>
            </a:extLst>
          </p:cNvPr>
          <p:cNvSpPr>
            <a:spLocks noGrp="1"/>
          </p:cNvSpPr>
          <p:nvPr>
            <p:ph type="title"/>
          </p:nvPr>
        </p:nvSpPr>
        <p:spPr/>
        <p:txBody>
          <a:bodyPr vert="horz"/>
          <a:lstStyle/>
          <a:p>
            <a:r>
              <a:rPr lang="es-BO" noProof="0" dirty="0"/>
              <a:t>Hoja de Ruta y estrategia Nacional| cartera de proyectos</a:t>
            </a:r>
          </a:p>
        </p:txBody>
      </p:sp>
      <p:sp>
        <p:nvSpPr>
          <p:cNvPr id="4" name="Text Placeholder 3">
            <a:extLst>
              <a:ext uri="{FF2B5EF4-FFF2-40B4-BE49-F238E27FC236}">
                <a16:creationId xmlns:a16="http://schemas.microsoft.com/office/drawing/2014/main" xmlns="" id="{8459939A-CF18-4DAA-9E5A-9252C9BD0084}"/>
              </a:ext>
            </a:extLst>
          </p:cNvPr>
          <p:cNvSpPr>
            <a:spLocks noGrp="1"/>
          </p:cNvSpPr>
          <p:nvPr>
            <p:ph type="body" sz="quarter" idx="13"/>
          </p:nvPr>
        </p:nvSpPr>
        <p:spPr/>
        <p:txBody>
          <a:bodyPr anchor="ctr"/>
          <a:lstStyle/>
          <a:p>
            <a:r>
              <a:rPr lang="es-BO" noProof="0" dirty="0">
                <a:solidFill>
                  <a:schemeClr val="bg1"/>
                </a:solidFill>
              </a:rPr>
              <a:t>Necesidades de inversión para producción de H2V y e-metanol</a:t>
            </a:r>
          </a:p>
        </p:txBody>
      </p:sp>
      <p:sp>
        <p:nvSpPr>
          <p:cNvPr id="24" name="TextBox 23">
            <a:extLst>
              <a:ext uri="{FF2B5EF4-FFF2-40B4-BE49-F238E27FC236}">
                <a16:creationId xmlns:a16="http://schemas.microsoft.com/office/drawing/2014/main" xmlns="" id="{6F7DF624-BC62-E13A-9432-295674F7E93F}"/>
              </a:ext>
            </a:extLst>
          </p:cNvPr>
          <p:cNvSpPr txBox="1"/>
          <p:nvPr/>
        </p:nvSpPr>
        <p:spPr>
          <a:xfrm>
            <a:off x="342899" y="1386562"/>
            <a:ext cx="3356791" cy="369332"/>
          </a:xfrm>
          <a:prstGeom prst="rect">
            <a:avLst/>
          </a:prstGeom>
          <a:noFill/>
        </p:spPr>
        <p:txBody>
          <a:bodyPr wrap="square" lIns="0" tIns="0" rIns="0" bIns="0" rtlCol="0">
            <a:spAutoFit/>
          </a:bodyPr>
          <a:lstStyle/>
          <a:p>
            <a:pPr>
              <a:buSzPct val="100000"/>
            </a:pPr>
            <a:r>
              <a:rPr lang="es-BO" sz="1400" b="1" noProof="0" dirty="0">
                <a:solidFill>
                  <a:schemeClr val="accent3"/>
                </a:solidFill>
                <a:latin typeface="Calibri Light" panose="020F0302020204030204" pitchFamily="34" charset="0"/>
                <a:cs typeface="Calibri Light" panose="020F0302020204030204" pitchFamily="34" charset="0"/>
              </a:rPr>
              <a:t>Inversión estimada en producción de H2V </a:t>
            </a:r>
          </a:p>
          <a:p>
            <a:pPr>
              <a:buSzPct val="100000"/>
            </a:pPr>
            <a:r>
              <a:rPr lang="es-BO" sz="1000" noProof="0" dirty="0">
                <a:latin typeface="Calibri Light" panose="020F0302020204030204" pitchFamily="34" charset="0"/>
                <a:ea typeface="+mj-ea"/>
                <a:cs typeface="Calibri Light" panose="020F0302020204030204" pitchFamily="34" charset="0"/>
              </a:rPr>
              <a:t>(Producción total de H2V incluyendo sus derivados)</a:t>
            </a:r>
            <a:endParaRPr lang="es-BO" sz="1600" b="1" noProof="0" dirty="0">
              <a:solidFill>
                <a:schemeClr val="accent3"/>
              </a:solidFill>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xmlns="" id="{2BAB6926-E6AD-2C96-C293-DF319332EEDC}"/>
              </a:ext>
            </a:extLst>
          </p:cNvPr>
          <p:cNvSpPr txBox="1"/>
          <p:nvPr/>
        </p:nvSpPr>
        <p:spPr>
          <a:xfrm>
            <a:off x="342900" y="3886171"/>
            <a:ext cx="2132543" cy="430887"/>
          </a:xfrm>
          <a:prstGeom prst="rect">
            <a:avLst/>
          </a:prstGeom>
          <a:noFill/>
        </p:spPr>
        <p:txBody>
          <a:bodyPr wrap="square" lIns="0" tIns="0" rIns="0" bIns="0" rtlCol="0">
            <a:spAutoFit/>
          </a:bodyPr>
          <a:lstStyle/>
          <a:p>
            <a:pPr>
              <a:buSzPct val="100000"/>
            </a:pPr>
            <a:r>
              <a:rPr lang="es-BO" sz="1400" b="1" noProof="0" dirty="0">
                <a:solidFill>
                  <a:schemeClr val="accent3"/>
                </a:solidFill>
                <a:latin typeface="Calibri Light" panose="020F0302020204030204" pitchFamily="34" charset="0"/>
                <a:cs typeface="Calibri Light" panose="020F0302020204030204" pitchFamily="34" charset="0"/>
              </a:rPr>
              <a:t>Producción de e-metanol</a:t>
            </a:r>
          </a:p>
          <a:p>
            <a:pPr>
              <a:buSzPct val="100000"/>
            </a:pPr>
            <a:endParaRPr lang="es-BO" sz="1400" b="1" noProof="0" dirty="0">
              <a:solidFill>
                <a:schemeClr val="accent3"/>
              </a:solidFill>
              <a:latin typeface="Calibri Light" panose="020F0302020204030204" pitchFamily="34" charset="0"/>
              <a:cs typeface="Calibri Light" panose="020F0302020204030204" pitchFamily="34" charset="0"/>
            </a:endParaRPr>
          </a:p>
        </p:txBody>
      </p:sp>
      <p:sp>
        <p:nvSpPr>
          <p:cNvPr id="2" name="Text Placeholder 9">
            <a:extLst>
              <a:ext uri="{FF2B5EF4-FFF2-40B4-BE49-F238E27FC236}">
                <a16:creationId xmlns:a16="http://schemas.microsoft.com/office/drawing/2014/main" xmlns="" id="{4EC9A63F-70F0-E36B-1735-41890D221C4E}"/>
              </a:ext>
            </a:extLst>
          </p:cNvPr>
          <p:cNvSpPr>
            <a:spLocks noGrp="1"/>
          </p:cNvSpPr>
          <p:nvPr>
            <p:ph type="body" sz="quarter" idx="14"/>
          </p:nvPr>
        </p:nvSpPr>
        <p:spPr>
          <a:xfrm>
            <a:off x="515937" y="6104154"/>
            <a:ext cx="7346951" cy="276999"/>
          </a:xfrm>
        </p:spPr>
        <p:txBody>
          <a:bodyPr/>
          <a:lstStyle/>
          <a:p>
            <a:r>
              <a:rPr lang="es-BO" sz="900" noProof="0" dirty="0"/>
              <a:t>Fuente: Estimación propia con base en información de CAPEX provista por Empresarios Agrupados y disminuciones de CAPEX a partir de estimaciones de IRENA.</a:t>
            </a:r>
          </a:p>
          <a:p>
            <a:endParaRPr lang="es-BO" sz="900" noProof="0" dirty="0"/>
          </a:p>
        </p:txBody>
      </p:sp>
      <p:sp>
        <p:nvSpPr>
          <p:cNvPr id="9" name="Isosceles Triangle 8">
            <a:extLst>
              <a:ext uri="{FF2B5EF4-FFF2-40B4-BE49-F238E27FC236}">
                <a16:creationId xmlns:a16="http://schemas.microsoft.com/office/drawing/2014/main" xmlns="" id="{334E0F60-3220-5459-5BB6-96FE6CF2C15D}"/>
              </a:ext>
            </a:extLst>
          </p:cNvPr>
          <p:cNvSpPr/>
          <p:nvPr/>
        </p:nvSpPr>
        <p:spPr bwMode="gray">
          <a:xfrm rot="5400000">
            <a:off x="3227685" y="2636020"/>
            <a:ext cx="1590895" cy="122303"/>
          </a:xfrm>
          <a:prstGeom prst="triangle">
            <a:avLst/>
          </a:prstGeom>
          <a:gradFill flip="none" rotWithShape="1">
            <a:gsLst>
              <a:gs pos="55000">
                <a:srgbClr val="92D050"/>
              </a:gs>
              <a:gs pos="100000">
                <a:schemeClr val="bg1"/>
              </a:gs>
              <a:gs pos="4000">
                <a:schemeClr val="accent2">
                  <a:lumMod val="75000"/>
                </a:schemeClr>
              </a:gs>
            </a:gsLst>
            <a:lin ang="54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10" name="Isosceles Triangle 9">
            <a:extLst>
              <a:ext uri="{FF2B5EF4-FFF2-40B4-BE49-F238E27FC236}">
                <a16:creationId xmlns:a16="http://schemas.microsoft.com/office/drawing/2014/main" xmlns="" id="{74A10C2B-BF13-4F7D-42F3-0A35F5F81A25}"/>
              </a:ext>
            </a:extLst>
          </p:cNvPr>
          <p:cNvSpPr/>
          <p:nvPr/>
        </p:nvSpPr>
        <p:spPr bwMode="gray">
          <a:xfrm rot="5400000">
            <a:off x="7299216" y="2636020"/>
            <a:ext cx="1590895" cy="122303"/>
          </a:xfrm>
          <a:prstGeom prst="triangle">
            <a:avLst/>
          </a:prstGeom>
          <a:gradFill flip="none" rotWithShape="1">
            <a:gsLst>
              <a:gs pos="55000">
                <a:srgbClr val="92D050"/>
              </a:gs>
              <a:gs pos="100000">
                <a:schemeClr val="bg1"/>
              </a:gs>
              <a:gs pos="4000">
                <a:schemeClr val="accent2">
                  <a:lumMod val="75000"/>
                </a:schemeClr>
              </a:gs>
            </a:gsLst>
            <a:lin ang="54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00" name="TextBox 199">
            <a:extLst>
              <a:ext uri="{FF2B5EF4-FFF2-40B4-BE49-F238E27FC236}">
                <a16:creationId xmlns:a16="http://schemas.microsoft.com/office/drawing/2014/main" xmlns="" id="{5A5912C9-F154-93DA-9B8D-D70E43DB1CF8}"/>
              </a:ext>
            </a:extLst>
          </p:cNvPr>
          <p:cNvSpPr txBox="1"/>
          <p:nvPr/>
        </p:nvSpPr>
        <p:spPr>
          <a:xfrm>
            <a:off x="425450" y="1968169"/>
            <a:ext cx="1395413" cy="246221"/>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Demanda proyectada</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Millones de toneladas de H2V)</a:t>
            </a:r>
          </a:p>
        </p:txBody>
      </p:sp>
      <p:graphicFrame>
        <p:nvGraphicFramePr>
          <p:cNvPr id="18" name="Chart 17">
            <a:extLst>
              <a:ext uri="{FF2B5EF4-FFF2-40B4-BE49-F238E27FC236}">
                <a16:creationId xmlns:a16="http://schemas.microsoft.com/office/drawing/2014/main" xmlns="" id="{C9AA80A4-B804-91C6-23B0-99F9E15DCF58}"/>
              </a:ext>
            </a:extLst>
          </p:cNvPr>
          <p:cNvGraphicFramePr/>
          <p:nvPr>
            <p:custDataLst>
              <p:tags r:id="rId3"/>
            </p:custDataLst>
          </p:nvPr>
        </p:nvGraphicFramePr>
        <p:xfrm>
          <a:off x="342900" y="2232025"/>
          <a:ext cx="3190875" cy="774700"/>
        </p:xfrm>
        <a:graphic>
          <a:graphicData uri="http://schemas.openxmlformats.org/drawingml/2006/chart">
            <c:chart xmlns:c="http://schemas.openxmlformats.org/drawingml/2006/chart" xmlns:r="http://schemas.openxmlformats.org/officeDocument/2006/relationships" r:id="rId77"/>
          </a:graphicData>
        </a:graphic>
      </p:graphicFrame>
      <p:sp>
        <p:nvSpPr>
          <p:cNvPr id="57" name="Rectangle 56">
            <a:extLst>
              <a:ext uri="{FF2B5EF4-FFF2-40B4-BE49-F238E27FC236}">
                <a16:creationId xmlns:a16="http://schemas.microsoft.com/office/drawing/2014/main" xmlns="" id="{F8532B68-4D81-EC7B-5CB8-F5426FF6C40F}"/>
              </a:ext>
            </a:extLst>
          </p:cNvPr>
          <p:cNvSpPr/>
          <p:nvPr>
            <p:custDataLst>
              <p:tags r:id="rId4"/>
            </p:custDataLst>
          </p:nvPr>
        </p:nvSpPr>
        <p:spPr bwMode="gray">
          <a:xfrm>
            <a:off x="618586" y="2794794"/>
            <a:ext cx="212725" cy="109538"/>
          </a:xfrm>
          <a:prstGeom prst="rect">
            <a:avLst/>
          </a:prstGeom>
          <a:solidFill>
            <a:srgbClr val="046A38"/>
          </a:solidFill>
          <a:ln w="19050" cap="flat" cmpd="sng" algn="ctr">
            <a:noFill/>
            <a:prstDash val="solid"/>
            <a:miter lim="800000"/>
            <a:headEnd type="none" w="med" len="med"/>
            <a:tailEnd type="none" w="med" len="med"/>
          </a:ln>
          <a:effec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CB50DB23-04E4-4968-8348-6C7A7954E76C}" type="datetime'''''''''0'''''''''''''''''''''''''''''',''''''''''''''''06'''">
              <a:rPr lang="es-BO" sz="800" noProof="0" smtClean="0">
                <a:solidFill>
                  <a:schemeClr val="bg1"/>
                </a:solidFill>
                <a:latin typeface="Calibri Light" panose="020F0302020204030204" pitchFamily="34" charset="0"/>
                <a:cs typeface="Calibri Light" panose="020F0302020204030204" pitchFamily="34" charset="0"/>
              </a:rPr>
              <a:pPr algn="ctr">
                <a:lnSpc>
                  <a:spcPct val="90000"/>
                </a:lnSpc>
                <a:spcBef>
                  <a:spcPct val="0"/>
                </a:spcBef>
                <a:spcAft>
                  <a:spcPct val="0"/>
                </a:spcAft>
                <a:buFont typeface="Wingdings 2" pitchFamily="18" charset="2"/>
                <a:buNone/>
              </a:pPr>
              <a:t>0,06</a:t>
            </a:fld>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 name="Rectangle 57">
            <a:extLst>
              <a:ext uri="{FF2B5EF4-FFF2-40B4-BE49-F238E27FC236}">
                <a16:creationId xmlns:a16="http://schemas.microsoft.com/office/drawing/2014/main" xmlns="" id="{2CDBE4AE-0847-C33E-F4E5-3E56C31D9596}"/>
              </a:ext>
            </a:extLst>
          </p:cNvPr>
          <p:cNvSpPr/>
          <p:nvPr>
            <p:custDataLst>
              <p:tags r:id="rId5"/>
            </p:custDataLst>
          </p:nvPr>
        </p:nvSpPr>
        <p:spPr bwMode="gray">
          <a:xfrm>
            <a:off x="1035678" y="2783503"/>
            <a:ext cx="212725" cy="109538"/>
          </a:xfrm>
          <a:prstGeom prst="rect">
            <a:avLst/>
          </a:prstGeom>
          <a:solidFill>
            <a:srgbClr val="86BC25"/>
          </a:solidFill>
          <a:ln w="19050" cap="flat" cmpd="sng" algn="ctr">
            <a:noFill/>
            <a:prstDash val="solid"/>
            <a:miter lim="800000"/>
            <a:headEnd type="none" w="med" len="med"/>
            <a:tailEnd type="none" w="med" len="med"/>
          </a:ln>
          <a:effectLst/>
        </p:spPr>
        <p:txBody>
          <a:bodyPr vert="horz" wrap="none" lIns="17463" tIns="0" rIns="17463" bIns="0" rtlCol="0" anchor="ctr"/>
          <a:lstStyle/>
          <a:p>
            <a:pPr algn="ctr">
              <a:lnSpc>
                <a:spcPct val="90000"/>
              </a:lnSpc>
              <a:spcBef>
                <a:spcPct val="0"/>
              </a:spcBef>
              <a:spcAft>
                <a:spcPct val="0"/>
              </a:spcAft>
              <a:buFont typeface="Wingdings 2" pitchFamily="18" charset="2"/>
              <a:buNone/>
            </a:pPr>
            <a:r>
              <a:rPr lang="es-BO" sz="800" noProof="0" dirty="0">
                <a:solidFill>
                  <a:schemeClr val="bg1"/>
                </a:solidFill>
                <a:latin typeface="Calibri Light" panose="020F0302020204030204" pitchFamily="34" charset="0"/>
                <a:cs typeface="Calibri Light" panose="020F0302020204030204" pitchFamily="34" charset="0"/>
              </a:rPr>
              <a:t>0.09</a:t>
            </a:r>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3" name="Rectangle 202">
            <a:extLst>
              <a:ext uri="{FF2B5EF4-FFF2-40B4-BE49-F238E27FC236}">
                <a16:creationId xmlns:a16="http://schemas.microsoft.com/office/drawing/2014/main" xmlns="" id="{1A4EB50C-5043-885B-266F-30CB98D4D090}"/>
              </a:ext>
            </a:extLst>
          </p:cNvPr>
          <p:cNvSpPr/>
          <p:nvPr>
            <p:custDataLst>
              <p:tags r:id="rId6"/>
            </p:custDataLst>
          </p:nvPr>
        </p:nvSpPr>
        <p:spPr bwMode="auto">
          <a:xfrm>
            <a:off x="820738" y="3006725"/>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5026112E-F8F0-4672-BF4B-1B675742A60B}" type="datetime'''''''''''''''2''''03''''''''''''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9" name="Rectangle 58">
            <a:extLst>
              <a:ext uri="{FF2B5EF4-FFF2-40B4-BE49-F238E27FC236}">
                <a16:creationId xmlns:a16="http://schemas.microsoft.com/office/drawing/2014/main" xmlns="" id="{0E4D06A9-9A58-84C1-95F5-A78B25FFDCE6}"/>
              </a:ext>
            </a:extLst>
          </p:cNvPr>
          <p:cNvSpPr/>
          <p:nvPr>
            <p:custDataLst>
              <p:tags r:id="rId7"/>
            </p:custDataLst>
          </p:nvPr>
        </p:nvSpPr>
        <p:spPr bwMode="gray">
          <a:xfrm>
            <a:off x="1691526" y="2716790"/>
            <a:ext cx="212725" cy="109538"/>
          </a:xfrm>
          <a:prstGeom prst="rect">
            <a:avLst/>
          </a:prstGeom>
          <a:solidFill>
            <a:srgbClr val="046A38"/>
          </a:solidFill>
          <a:ln w="19050" cap="flat" cmpd="sng" algn="ctr">
            <a:noFill/>
            <a:prstDash val="solid"/>
            <a:miter lim="800000"/>
            <a:headEnd type="none" w="med" len="med"/>
            <a:tailEnd type="none" w="med" len="med"/>
          </a:ln>
          <a:effec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9A8A2754-51A2-4814-8F36-F5ABADFA3214}" type="datetime'''''''''''0'''''''''''''''''''',''5''''''''''''3'''''''''">
              <a:rPr lang="es-BO" sz="800" noProof="0" smtClean="0">
                <a:solidFill>
                  <a:schemeClr val="bg1"/>
                </a:solidFill>
                <a:latin typeface="Calibri Light" panose="020F0302020204030204" pitchFamily="34" charset="0"/>
                <a:cs typeface="Calibri Light" panose="020F0302020204030204" pitchFamily="34" charset="0"/>
              </a:rPr>
              <a:pPr/>
              <a:t>0,53</a:t>
            </a:fld>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0" name="Rectangle 59">
            <a:extLst>
              <a:ext uri="{FF2B5EF4-FFF2-40B4-BE49-F238E27FC236}">
                <a16:creationId xmlns:a16="http://schemas.microsoft.com/office/drawing/2014/main" xmlns="" id="{8E3FFC3B-60C1-A901-2E17-788C50D2D686}"/>
              </a:ext>
            </a:extLst>
          </p:cNvPr>
          <p:cNvSpPr/>
          <p:nvPr>
            <p:custDataLst>
              <p:tags r:id="rId8"/>
            </p:custDataLst>
          </p:nvPr>
        </p:nvSpPr>
        <p:spPr bwMode="gray">
          <a:xfrm>
            <a:off x="1953043" y="280861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1E529BAA-5FFE-4C25-825E-0FB8ABB169DA}" type="datetime'''''''''0'''''''''''''''''''''''',7''''''''''''9'">
              <a:rPr lang="es-BO" sz="800" noProof="0" smtClean="0">
                <a:solidFill>
                  <a:schemeClr val="bg1"/>
                </a:solidFill>
                <a:latin typeface="Calibri Light" panose="020F0302020204030204" pitchFamily="34" charset="0"/>
                <a:cs typeface="Calibri Light" panose="020F0302020204030204" pitchFamily="34" charset="0"/>
              </a:rPr>
              <a:pPr/>
              <a:t>0,79</a:t>
            </a:fld>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4" name="Rectangle 203">
            <a:extLst>
              <a:ext uri="{FF2B5EF4-FFF2-40B4-BE49-F238E27FC236}">
                <a16:creationId xmlns:a16="http://schemas.microsoft.com/office/drawing/2014/main" xmlns="" id="{7B3CE8E0-CEA9-B754-781B-889958138289}"/>
              </a:ext>
            </a:extLst>
          </p:cNvPr>
          <p:cNvSpPr/>
          <p:nvPr>
            <p:custDataLst>
              <p:tags r:id="rId9"/>
            </p:custDataLst>
          </p:nvPr>
        </p:nvSpPr>
        <p:spPr bwMode="auto">
          <a:xfrm>
            <a:off x="1830388" y="3006725"/>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7E0DE5E8-3BA4-4204-9FC7-4A9CA98A82B9}" type="datetime'''''''''''''''''''''''2''''''0''''''''''4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1" name="Rectangle 60">
            <a:extLst>
              <a:ext uri="{FF2B5EF4-FFF2-40B4-BE49-F238E27FC236}">
                <a16:creationId xmlns:a16="http://schemas.microsoft.com/office/drawing/2014/main" xmlns="" id="{E44913CE-E68C-CA91-0F1C-8C0DBD436C61}"/>
              </a:ext>
            </a:extLst>
          </p:cNvPr>
          <p:cNvSpPr/>
          <p:nvPr>
            <p:custDataLst>
              <p:tags r:id="rId10"/>
            </p:custDataLst>
          </p:nvPr>
        </p:nvSpPr>
        <p:spPr bwMode="gray">
          <a:xfrm>
            <a:off x="2840038" y="237490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27E43565-93DB-4492-9D92-44205D2F7216}" type="datetime'''''''''''''''''''''''''''''''''''1'',''5''''8'''''''''''''">
              <a:rPr lang="es-BO" sz="800" noProof="0" smtClean="0">
                <a:solidFill>
                  <a:schemeClr val="bg1"/>
                </a:solidFill>
                <a:latin typeface="Calibri Light" panose="020F0302020204030204" pitchFamily="34" charset="0"/>
                <a:cs typeface="Calibri Light" panose="020F0302020204030204" pitchFamily="34" charset="0"/>
              </a:rPr>
              <a:pPr/>
              <a:t>1,58</a:t>
            </a:fld>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2" name="Rectangle 61">
            <a:extLst>
              <a:ext uri="{FF2B5EF4-FFF2-40B4-BE49-F238E27FC236}">
                <a16:creationId xmlns:a16="http://schemas.microsoft.com/office/drawing/2014/main" xmlns="" id="{AFAF2A49-8D0D-D144-09E6-FBD033437F61}"/>
              </a:ext>
            </a:extLst>
          </p:cNvPr>
          <p:cNvSpPr/>
          <p:nvPr>
            <p:custDataLst>
              <p:tags r:id="rId11"/>
            </p:custDataLst>
          </p:nvPr>
        </p:nvSpPr>
        <p:spPr bwMode="gray">
          <a:xfrm>
            <a:off x="2840038" y="267970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ctr"/>
          <a:lstStyle/>
          <a:p>
            <a:pPr algn="ctr">
              <a:lnSpc>
                <a:spcPct val="90000"/>
              </a:lnSpc>
              <a:spcBef>
                <a:spcPct val="0"/>
              </a:spcBef>
              <a:spcAft>
                <a:spcPct val="0"/>
              </a:spcAft>
              <a:buFont typeface="Wingdings 2" pitchFamily="18" charset="2"/>
              <a:buNone/>
            </a:pPr>
            <a:fld id="{C2423535-56C3-4625-91BC-610994B59B1E}" type="datetime'2'''''''''''''''''''''''''',''6''''''''''''''''''1'''''''''''">
              <a:rPr lang="es-BO" sz="800" noProof="0" smtClean="0">
                <a:solidFill>
                  <a:schemeClr val="bg1"/>
                </a:solidFill>
                <a:latin typeface="Calibri Light" panose="020F0302020204030204" pitchFamily="34" charset="0"/>
                <a:cs typeface="Calibri Light" panose="020F0302020204030204" pitchFamily="34" charset="0"/>
              </a:rPr>
              <a:pPr/>
              <a:t>2,61</a:t>
            </a:fld>
            <a:endParaRPr lang="es-BO" sz="800" b="1" noProof="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5" name="Rectangle 204">
            <a:extLst>
              <a:ext uri="{FF2B5EF4-FFF2-40B4-BE49-F238E27FC236}">
                <a16:creationId xmlns:a16="http://schemas.microsoft.com/office/drawing/2014/main" xmlns="" id="{7A9C30C8-9D5C-6777-228B-4FB879EC9849}"/>
              </a:ext>
            </a:extLst>
          </p:cNvPr>
          <p:cNvSpPr/>
          <p:nvPr>
            <p:custDataLst>
              <p:tags r:id="rId12"/>
            </p:custDataLst>
          </p:nvPr>
        </p:nvSpPr>
        <p:spPr bwMode="auto">
          <a:xfrm>
            <a:off x="2838450" y="3006725"/>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DF35D0D4-33B2-4BD7-8AB3-3B43AC9C7B57}" type="datetime'''2''0''''''''''''''''''''''''''5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2" name="Rectangle 581">
            <a:extLst>
              <a:ext uri="{FF2B5EF4-FFF2-40B4-BE49-F238E27FC236}">
                <a16:creationId xmlns:a16="http://schemas.microsoft.com/office/drawing/2014/main" xmlns="" id="{95E43F96-2505-00A9-4991-9E4303015855}"/>
              </a:ext>
            </a:extLst>
          </p:cNvPr>
          <p:cNvSpPr/>
          <p:nvPr>
            <p:custDataLst>
              <p:tags r:id="rId13"/>
            </p:custDataLst>
          </p:nvPr>
        </p:nvSpPr>
        <p:spPr bwMode="gray">
          <a:xfrm>
            <a:off x="838704" y="2740025"/>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DC1A90B2-4688-46FE-A11D-9BE01E1E480C}" type="datetime'''''''''0'',''''''1''''''''''''''5'''''''''''''''''''''''''''">
              <a:rPr lang="es-BO" sz="800" noProof="0" smtClean="0">
                <a:latin typeface="Calibri Light" panose="020F0302020204030204" pitchFamily="34" charset="0"/>
                <a:cs typeface="Calibri Light" panose="020F0302020204030204" pitchFamily="34" charset="0"/>
              </a:rPr>
              <a:pPr/>
              <a:t>0,15</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3" name="Rectangle 582">
            <a:extLst>
              <a:ext uri="{FF2B5EF4-FFF2-40B4-BE49-F238E27FC236}">
                <a16:creationId xmlns:a16="http://schemas.microsoft.com/office/drawing/2014/main" xmlns="" id="{99DF75D1-40D2-7980-4A69-5DC63E4987B6}"/>
              </a:ext>
            </a:extLst>
          </p:cNvPr>
          <p:cNvSpPr/>
          <p:nvPr>
            <p:custDataLst>
              <p:tags r:id="rId14"/>
            </p:custDataLst>
          </p:nvPr>
        </p:nvSpPr>
        <p:spPr bwMode="gray">
          <a:xfrm>
            <a:off x="1831975" y="259715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5100F81E-124C-426D-B2D7-502F6275A131}" type="datetime'1'',''''''''''3''''''''''''''''''''''''2'''''''''''''''''''''">
              <a:rPr lang="es-BO" sz="800" noProof="0" smtClean="0">
                <a:latin typeface="Calibri Light" panose="020F0302020204030204" pitchFamily="34" charset="0"/>
                <a:cs typeface="Calibri Light" panose="020F0302020204030204" pitchFamily="34" charset="0"/>
              </a:rPr>
              <a:pPr/>
              <a:t>1,32</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4" name="Rectangle 583">
            <a:extLst>
              <a:ext uri="{FF2B5EF4-FFF2-40B4-BE49-F238E27FC236}">
                <a16:creationId xmlns:a16="http://schemas.microsoft.com/office/drawing/2014/main" xmlns="" id="{2F5EA3F6-E23C-7FAC-8741-85F4C9A52CB6}"/>
              </a:ext>
            </a:extLst>
          </p:cNvPr>
          <p:cNvSpPr/>
          <p:nvPr>
            <p:custDataLst>
              <p:tags r:id="rId15"/>
            </p:custDataLst>
          </p:nvPr>
        </p:nvSpPr>
        <p:spPr bwMode="gray">
          <a:xfrm>
            <a:off x="2840038" y="2179638"/>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46D6EAF6-9968-46C5-A4B8-1E552AD71440}" type="datetime'''''4'''''''''',''''''''1''9'''">
              <a:rPr lang="es-BO" sz="800" noProof="0" smtClean="0">
                <a:latin typeface="Calibri Light" panose="020F0302020204030204" pitchFamily="34" charset="0"/>
                <a:cs typeface="Calibri Light" panose="020F0302020204030204" pitchFamily="34" charset="0"/>
              </a:rPr>
              <a:pPr/>
              <a:t>4,19</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5" name="Rectangle 254">
            <a:extLst>
              <a:ext uri="{FF2B5EF4-FFF2-40B4-BE49-F238E27FC236}">
                <a16:creationId xmlns:a16="http://schemas.microsoft.com/office/drawing/2014/main" xmlns="" id="{B36A550F-3E79-93BB-6BD5-22E49D18D38A}"/>
              </a:ext>
            </a:extLst>
          </p:cNvPr>
          <p:cNvSpPr/>
          <p:nvPr>
            <p:custDataLst>
              <p:tags r:id="rId16"/>
            </p:custDataLst>
          </p:nvPr>
        </p:nvSpPr>
        <p:spPr bwMode="auto">
          <a:xfrm>
            <a:off x="466725" y="3270250"/>
            <a:ext cx="142875" cy="106363"/>
          </a:xfrm>
          <a:prstGeom prst="rect">
            <a:avLst/>
          </a:prstGeom>
          <a:solidFill>
            <a:srgbClr val="046A38"/>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56" name="Rectangle 255">
            <a:extLst>
              <a:ext uri="{FF2B5EF4-FFF2-40B4-BE49-F238E27FC236}">
                <a16:creationId xmlns:a16="http://schemas.microsoft.com/office/drawing/2014/main" xmlns="" id="{DC6E7E0E-BF90-3F0B-84E7-CAB406939DD1}"/>
              </a:ext>
            </a:extLst>
          </p:cNvPr>
          <p:cNvSpPr/>
          <p:nvPr>
            <p:custDataLst>
              <p:tags r:id="rId17"/>
            </p:custDataLst>
          </p:nvPr>
        </p:nvSpPr>
        <p:spPr bwMode="auto">
          <a:xfrm>
            <a:off x="1976438" y="3270250"/>
            <a:ext cx="142875" cy="106363"/>
          </a:xfrm>
          <a:prstGeom prst="rect">
            <a:avLst/>
          </a:prstGeom>
          <a:solidFill>
            <a:srgbClr val="86BC25"/>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206" name="Rectangle 205">
            <a:extLst>
              <a:ext uri="{FF2B5EF4-FFF2-40B4-BE49-F238E27FC236}">
                <a16:creationId xmlns:a16="http://schemas.microsoft.com/office/drawing/2014/main" xmlns="" id="{ABD04080-EE5B-559C-4D3F-4CB871223A0F}"/>
              </a:ext>
            </a:extLst>
          </p:cNvPr>
          <p:cNvSpPr/>
          <p:nvPr>
            <p:custDataLst>
              <p:tags r:id="rId18"/>
            </p:custDataLst>
          </p:nvPr>
        </p:nvSpPr>
        <p:spPr bwMode="auto">
          <a:xfrm>
            <a:off x="660399" y="3260725"/>
            <a:ext cx="1214438"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9F07DBB5-AA1E-4ABA-9BC4-A172754F5F45}" type="datetime'''''Vo''lum''e''''n'''' de ''''dema''n''da'''' ''''inte''rna'">
              <a:rPr lang="es-BO" sz="800" noProof="0" smtClean="0">
                <a:latin typeface="Calibri Light" panose="020F0302020204030204" pitchFamily="34" charset="0"/>
                <a:cs typeface="Calibri Light" panose="020F0302020204030204" pitchFamily="34" charset="0"/>
              </a:rPr>
              <a:pPr/>
              <a:t>Volumen de demanda interna</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7" name="Rectangle 206">
            <a:extLst>
              <a:ext uri="{FF2B5EF4-FFF2-40B4-BE49-F238E27FC236}">
                <a16:creationId xmlns:a16="http://schemas.microsoft.com/office/drawing/2014/main" xmlns="" id="{8B4F4C3D-E5A6-EF67-965E-8AA4A7482234}"/>
              </a:ext>
            </a:extLst>
          </p:cNvPr>
          <p:cNvSpPr/>
          <p:nvPr>
            <p:custDataLst>
              <p:tags r:id="rId19"/>
            </p:custDataLst>
          </p:nvPr>
        </p:nvSpPr>
        <p:spPr bwMode="auto">
          <a:xfrm>
            <a:off x="2170113" y="3260725"/>
            <a:ext cx="998538"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58AB3A45-E64E-490B-9D9D-CFC87EC28880}" type="datetime'V''''''''o''''''l''ume''n ''''de'' ''''e''xportac''ió''''n'">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Volumen de exportación</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23" name="Chart 22">
            <a:extLst>
              <a:ext uri="{FF2B5EF4-FFF2-40B4-BE49-F238E27FC236}">
                <a16:creationId xmlns:a16="http://schemas.microsoft.com/office/drawing/2014/main" xmlns="" id="{E989D650-5618-97E2-FE03-A0DC61CDE5DC}"/>
              </a:ext>
            </a:extLst>
          </p:cNvPr>
          <p:cNvGraphicFramePr/>
          <p:nvPr>
            <p:custDataLst>
              <p:tags r:id="rId20"/>
            </p:custDataLst>
          </p:nvPr>
        </p:nvGraphicFramePr>
        <p:xfrm>
          <a:off x="4411663" y="2132013"/>
          <a:ext cx="3370262" cy="874712"/>
        </p:xfrm>
        <a:graphic>
          <a:graphicData uri="http://schemas.openxmlformats.org/drawingml/2006/chart">
            <c:chart xmlns:c="http://schemas.openxmlformats.org/drawingml/2006/chart" xmlns:r="http://schemas.openxmlformats.org/officeDocument/2006/relationships" r:id="rId78"/>
          </a:graphicData>
        </a:graphic>
      </p:graphicFrame>
      <p:cxnSp>
        <p:nvCxnSpPr>
          <p:cNvPr id="646" name="Straight Connector 645">
            <a:extLst>
              <a:ext uri="{FF2B5EF4-FFF2-40B4-BE49-F238E27FC236}">
                <a16:creationId xmlns:a16="http://schemas.microsoft.com/office/drawing/2014/main" xmlns="" id="{DC0614F4-D518-4975-663A-857633358791}"/>
              </a:ext>
            </a:extLst>
          </p:cNvPr>
          <p:cNvCxnSpPr>
            <a:cxnSpLocks/>
          </p:cNvCxnSpPr>
          <p:nvPr>
            <p:custDataLst>
              <p:tags r:id="rId21"/>
            </p:custDataLst>
          </p:nvPr>
        </p:nvCxnSpPr>
        <p:spPr bwMode="auto">
          <a:xfrm>
            <a:off x="4978400" y="2892425"/>
            <a:ext cx="349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62" name="Rectangle 661">
            <a:extLst>
              <a:ext uri="{FF2B5EF4-FFF2-40B4-BE49-F238E27FC236}">
                <a16:creationId xmlns:a16="http://schemas.microsoft.com/office/drawing/2014/main" xmlns="" id="{FCC4E3ED-96F9-B991-1704-AAB86CAE5955}"/>
              </a:ext>
            </a:extLst>
          </p:cNvPr>
          <p:cNvSpPr/>
          <p:nvPr>
            <p:custDataLst>
              <p:tags r:id="rId22"/>
            </p:custDataLst>
          </p:nvPr>
        </p:nvSpPr>
        <p:spPr bwMode="gray">
          <a:xfrm>
            <a:off x="4765675" y="2838450"/>
            <a:ext cx="212725" cy="109538"/>
          </a:xfrm>
          <a:prstGeom prst="rect">
            <a:avLst/>
          </a:prstGeom>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ctr"/>
          <a:lstStyle/>
          <a:p>
            <a:pPr algn="r">
              <a:lnSpc>
                <a:spcPct val="90000"/>
              </a:lnSpc>
              <a:spcBef>
                <a:spcPct val="0"/>
              </a:spcBef>
              <a:spcAft>
                <a:spcPct val="0"/>
              </a:spcAft>
              <a:buFont typeface="Wingdings 2" pitchFamily="18" charset="2"/>
              <a:buNone/>
            </a:pPr>
            <a:fld id="{10265D14-5332-45D8-B727-76CEC61916AB}" type="datetime'11'''''''''''''''',''''''''''''''''''''''''''0'''''''''''''''">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r">
                <a:lnSpc>
                  <a:spcPct val="90000"/>
                </a:lnSpc>
                <a:spcBef>
                  <a:spcPct val="0"/>
                </a:spcBef>
                <a:spcAft>
                  <a:spcPct val="0"/>
                </a:spcAft>
                <a:buFont typeface="Wingdings 2" pitchFamily="18" charset="2"/>
                <a:buNone/>
              </a:pPr>
              <a:t>11,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1" name="Rectangle 280">
            <a:extLst>
              <a:ext uri="{FF2B5EF4-FFF2-40B4-BE49-F238E27FC236}">
                <a16:creationId xmlns:a16="http://schemas.microsoft.com/office/drawing/2014/main" xmlns="" id="{9BB049FD-51FE-008C-427A-BDF44FCEC5EE}"/>
              </a:ext>
            </a:extLst>
          </p:cNvPr>
          <p:cNvSpPr/>
          <p:nvPr>
            <p:custDataLst>
              <p:tags r:id="rId23"/>
            </p:custDataLst>
          </p:nvPr>
        </p:nvSpPr>
        <p:spPr bwMode="auto">
          <a:xfrm>
            <a:off x="4919663"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1CAB2D06-18E4-40DF-BEC5-B0F93C609A2F}" type="datetime'''''''''''2''''''''03''''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Rectangle 18">
            <a:extLst>
              <a:ext uri="{FF2B5EF4-FFF2-40B4-BE49-F238E27FC236}">
                <a16:creationId xmlns:a16="http://schemas.microsoft.com/office/drawing/2014/main" xmlns="" id="{F0A6741D-F8FA-F105-50AE-0652349A1259}"/>
              </a:ext>
            </a:extLst>
          </p:cNvPr>
          <p:cNvSpPr/>
          <p:nvPr>
            <p:custDataLst>
              <p:tags r:id="rId24"/>
            </p:custDataLst>
          </p:nvPr>
        </p:nvSpPr>
        <p:spPr bwMode="gray">
          <a:xfrm>
            <a:off x="5989638" y="252095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2018145B-34B1-466A-86B5-41F6D6DC043B}" type="datetime'''''''''''''''''85'''''''',''''0'''''''''''''">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8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2" name="Rectangle 281">
            <a:extLst>
              <a:ext uri="{FF2B5EF4-FFF2-40B4-BE49-F238E27FC236}">
                <a16:creationId xmlns:a16="http://schemas.microsoft.com/office/drawing/2014/main" xmlns="" id="{C4C12E8F-7858-1024-018C-897FCBF790C6}"/>
              </a:ext>
            </a:extLst>
          </p:cNvPr>
          <p:cNvSpPr/>
          <p:nvPr>
            <p:custDataLst>
              <p:tags r:id="rId25"/>
            </p:custDataLst>
          </p:nvPr>
        </p:nvSpPr>
        <p:spPr bwMode="auto">
          <a:xfrm>
            <a:off x="5988050"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2A60B6DC-7BB9-4408-9E2E-F7F80F2AAF97}" type="datetime'''''''''''''''''''''''''''''''2''0''4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 name="Rectangle 20">
            <a:extLst>
              <a:ext uri="{FF2B5EF4-FFF2-40B4-BE49-F238E27FC236}">
                <a16:creationId xmlns:a16="http://schemas.microsoft.com/office/drawing/2014/main" xmlns="" id="{09622EF3-8406-E8EA-C227-99C96262EEAF}"/>
              </a:ext>
            </a:extLst>
          </p:cNvPr>
          <p:cNvSpPr/>
          <p:nvPr>
            <p:custDataLst>
              <p:tags r:id="rId26"/>
            </p:custDataLst>
          </p:nvPr>
        </p:nvSpPr>
        <p:spPr bwMode="gray">
          <a:xfrm>
            <a:off x="7032625" y="2055813"/>
            <a:ext cx="2635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DE38CDAA-1C0A-43A3-9BFF-8F4F8F157D85}" type="datetime'2''''''''''4''''''''6'''''''''''''''''',0'''''''''">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246,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3" name="Rectangle 282">
            <a:extLst>
              <a:ext uri="{FF2B5EF4-FFF2-40B4-BE49-F238E27FC236}">
                <a16:creationId xmlns:a16="http://schemas.microsoft.com/office/drawing/2014/main" xmlns="" id="{13BE05B2-1F7C-579C-1F33-C383F1EF2E6A}"/>
              </a:ext>
            </a:extLst>
          </p:cNvPr>
          <p:cNvSpPr/>
          <p:nvPr>
            <p:custDataLst>
              <p:tags r:id="rId27"/>
            </p:custDataLst>
          </p:nvPr>
        </p:nvSpPr>
        <p:spPr bwMode="auto">
          <a:xfrm>
            <a:off x="7056438"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FC10F3A6-7670-46E6-9100-A4AB1DB13012}" type="datetime'''''''''''2''''''''''''''0''''''''''5''''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663" name="Rectangle 662">
            <a:extLst>
              <a:ext uri="{FF2B5EF4-FFF2-40B4-BE49-F238E27FC236}">
                <a16:creationId xmlns:a16="http://schemas.microsoft.com/office/drawing/2014/main" xmlns="" id="{32D3FFA0-19F1-2CEC-5108-54AAB5B49972}"/>
              </a:ext>
            </a:extLst>
          </p:cNvPr>
          <p:cNvSpPr/>
          <p:nvPr>
            <p:custDataLst>
              <p:tags r:id="rId28"/>
            </p:custDataLst>
          </p:nvPr>
        </p:nvSpPr>
        <p:spPr bwMode="gray">
          <a:xfrm>
            <a:off x="4986338" y="2782888"/>
            <a:ext cx="160338" cy="109538"/>
          </a:xfrm>
          <a:prstGeom prst="rect">
            <a:avLst/>
          </a:prstGeom>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38EC134E-A418-473C-9DC0-97FA639F5272}" type="datetime'1,''''''''''''''''''''''''''''''''''''''''''''''''''''1'''''">
              <a:rPr lang="es-BO" sz="800" b="1" noProof="0" smtClean="0">
                <a:solidFill>
                  <a:schemeClr val="accent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1,1</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Rectangle 19">
            <a:extLst>
              <a:ext uri="{FF2B5EF4-FFF2-40B4-BE49-F238E27FC236}">
                <a16:creationId xmlns:a16="http://schemas.microsoft.com/office/drawing/2014/main" xmlns="" id="{F2818805-3693-2976-D4D4-88E42CE2D16E}"/>
              </a:ext>
            </a:extLst>
          </p:cNvPr>
          <p:cNvSpPr/>
          <p:nvPr>
            <p:custDataLst>
              <p:tags r:id="rId29"/>
            </p:custDataLst>
          </p:nvPr>
        </p:nvSpPr>
        <p:spPr bwMode="gray">
          <a:xfrm>
            <a:off x="6016625" y="2765425"/>
            <a:ext cx="1603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D2B1E446-3A3A-4DCE-9334-018B37B3DFAE}" type="datetime'''''''''8'''''''''''''',''''''''''''''''''''''''5'''''''">
              <a:rPr lang="es-BO" sz="800" b="1" noProof="0" smtClean="0">
                <a:solidFill>
                  <a:schemeClr val="accent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8,5</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 name="Rectangle 21">
            <a:extLst>
              <a:ext uri="{FF2B5EF4-FFF2-40B4-BE49-F238E27FC236}">
                <a16:creationId xmlns:a16="http://schemas.microsoft.com/office/drawing/2014/main" xmlns="" id="{FF287091-4BFA-CFFB-A6BF-C9B066E85C53}"/>
              </a:ext>
            </a:extLst>
          </p:cNvPr>
          <p:cNvSpPr/>
          <p:nvPr>
            <p:custDataLst>
              <p:tags r:id="rId30"/>
            </p:custDataLst>
          </p:nvPr>
        </p:nvSpPr>
        <p:spPr bwMode="gray">
          <a:xfrm>
            <a:off x="7059613" y="2717800"/>
            <a:ext cx="2111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E29819AE-A008-4684-9EA5-5F1D4CFD47CF}" type="datetime'''2''''''4'''',''''''''''''''''6'''''''''''">
              <a:rPr lang="es-BO" sz="800" b="1" noProof="0" smtClean="0">
                <a:solidFill>
                  <a:schemeClr val="accent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24,6</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597" name="Straight Connector 596">
            <a:extLst>
              <a:ext uri="{FF2B5EF4-FFF2-40B4-BE49-F238E27FC236}">
                <a16:creationId xmlns:a16="http://schemas.microsoft.com/office/drawing/2014/main" xmlns="" id="{8C4C9FCD-07C6-E5E8-9E30-20D896D1DB56}"/>
              </a:ext>
            </a:extLst>
          </p:cNvPr>
          <p:cNvCxnSpPr/>
          <p:nvPr>
            <p:custDataLst>
              <p:tags r:id="rId31"/>
            </p:custDataLst>
          </p:nvPr>
        </p:nvCxnSpPr>
        <p:spPr bwMode="gray">
          <a:xfrm>
            <a:off x="4683125" y="3322638"/>
            <a:ext cx="114300" cy="0"/>
          </a:xfrm>
          <a:prstGeom prst="line">
            <a:avLst/>
          </a:prstGeom>
          <a:ln w="6350" cap="rnd" cmpd="sng" algn="ctr">
            <a:solidFill>
              <a:schemeClr val="accent4"/>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98" name="Rectangle 597">
            <a:extLst>
              <a:ext uri="{FF2B5EF4-FFF2-40B4-BE49-F238E27FC236}">
                <a16:creationId xmlns:a16="http://schemas.microsoft.com/office/drawing/2014/main" xmlns="" id="{FC901C8C-A6CE-9306-5CBD-0EA77382D8F8}"/>
              </a:ext>
            </a:extLst>
          </p:cNvPr>
          <p:cNvSpPr/>
          <p:nvPr>
            <p:custDataLst>
              <p:tags r:id="rId32"/>
            </p:custDataLst>
          </p:nvPr>
        </p:nvSpPr>
        <p:spPr bwMode="auto">
          <a:xfrm>
            <a:off x="6318516" y="3270250"/>
            <a:ext cx="142875" cy="106363"/>
          </a:xfrm>
          <a:prstGeom prst="rect">
            <a:avLst/>
          </a:prstGeom>
          <a:solidFill>
            <a:srgbClr val="86BC25"/>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593" name="Rectangle 592">
            <a:extLst>
              <a:ext uri="{FF2B5EF4-FFF2-40B4-BE49-F238E27FC236}">
                <a16:creationId xmlns:a16="http://schemas.microsoft.com/office/drawing/2014/main" xmlns="" id="{1E023F1D-63A5-B5DA-BDAE-59DFD02CC49E}"/>
              </a:ext>
            </a:extLst>
          </p:cNvPr>
          <p:cNvSpPr/>
          <p:nvPr>
            <p:custDataLst>
              <p:tags r:id="rId33"/>
            </p:custDataLst>
          </p:nvPr>
        </p:nvSpPr>
        <p:spPr bwMode="auto">
          <a:xfrm>
            <a:off x="4862514" y="3260725"/>
            <a:ext cx="1184275"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24ECA178-C86B-4746-8E28-E274F6BCAC63}" type="datetime'N''o. E''l''ec''t''r''''ol''iz''ado''re''''s'' 10''0 ''M''W'''">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No. Electrolizadores 100 MW</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95" name="Rectangle 594">
            <a:extLst>
              <a:ext uri="{FF2B5EF4-FFF2-40B4-BE49-F238E27FC236}">
                <a16:creationId xmlns:a16="http://schemas.microsoft.com/office/drawing/2014/main" xmlns="" id="{41FBC584-DE4B-58E3-EFD3-1D42DFA74F43}"/>
              </a:ext>
            </a:extLst>
          </p:cNvPr>
          <p:cNvSpPr/>
          <p:nvPr>
            <p:custDataLst>
              <p:tags r:id="rId34"/>
            </p:custDataLst>
          </p:nvPr>
        </p:nvSpPr>
        <p:spPr bwMode="auto">
          <a:xfrm>
            <a:off x="6512191" y="3260725"/>
            <a:ext cx="1524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25AC5663-0274-4A0E-ACE9-A8465829838E}" type="datetime'''''''''''G''''''''''''W'''''''''''''''''''''''">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GW</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49" name="TextBox 648">
            <a:extLst>
              <a:ext uri="{FF2B5EF4-FFF2-40B4-BE49-F238E27FC236}">
                <a16:creationId xmlns:a16="http://schemas.microsoft.com/office/drawing/2014/main" xmlns="" id="{60E09412-911E-8AF4-DCCA-E1621478593B}"/>
              </a:ext>
            </a:extLst>
          </p:cNvPr>
          <p:cNvSpPr txBox="1"/>
          <p:nvPr/>
        </p:nvSpPr>
        <p:spPr>
          <a:xfrm>
            <a:off x="4465638" y="1968169"/>
            <a:ext cx="1395413" cy="246221"/>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Necesidad de electrolizadores</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Cantidad y GW)</a:t>
            </a:r>
          </a:p>
        </p:txBody>
      </p:sp>
      <p:sp>
        <p:nvSpPr>
          <p:cNvPr id="789" name="Rectangle 788">
            <a:extLst>
              <a:ext uri="{FF2B5EF4-FFF2-40B4-BE49-F238E27FC236}">
                <a16:creationId xmlns:a16="http://schemas.microsoft.com/office/drawing/2014/main" xmlns="" id="{D02BD9DB-C78B-AF91-5168-D959824F5EDF}"/>
              </a:ext>
            </a:extLst>
          </p:cNvPr>
          <p:cNvSpPr/>
          <p:nvPr/>
        </p:nvSpPr>
        <p:spPr bwMode="gray">
          <a:xfrm>
            <a:off x="342900" y="1885950"/>
            <a:ext cx="3357897" cy="1685922"/>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790" name="Rectangle 789">
            <a:extLst>
              <a:ext uri="{FF2B5EF4-FFF2-40B4-BE49-F238E27FC236}">
                <a16:creationId xmlns:a16="http://schemas.microsoft.com/office/drawing/2014/main" xmlns="" id="{B42A09C0-8FFC-0EE8-FCA3-EA1A007054F9}"/>
              </a:ext>
            </a:extLst>
          </p:cNvPr>
          <p:cNvSpPr/>
          <p:nvPr/>
        </p:nvSpPr>
        <p:spPr bwMode="gray">
          <a:xfrm>
            <a:off x="4346575" y="1885950"/>
            <a:ext cx="3516313" cy="1685922"/>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aphicFrame>
        <p:nvGraphicFramePr>
          <p:cNvPr id="29" name="Chart 28">
            <a:extLst>
              <a:ext uri="{FF2B5EF4-FFF2-40B4-BE49-F238E27FC236}">
                <a16:creationId xmlns:a16="http://schemas.microsoft.com/office/drawing/2014/main" xmlns="" id="{065EFC0E-5EC5-5CC7-8E46-C41B78B63BF7}"/>
              </a:ext>
            </a:extLst>
          </p:cNvPr>
          <p:cNvGraphicFramePr/>
          <p:nvPr>
            <p:custDataLst>
              <p:tags r:id="rId35"/>
            </p:custDataLst>
          </p:nvPr>
        </p:nvGraphicFramePr>
        <p:xfrm>
          <a:off x="342900" y="4603750"/>
          <a:ext cx="3190875" cy="700088"/>
        </p:xfrm>
        <a:graphic>
          <a:graphicData uri="http://schemas.openxmlformats.org/drawingml/2006/chart">
            <c:chart xmlns:c="http://schemas.openxmlformats.org/drawingml/2006/chart" xmlns:r="http://schemas.openxmlformats.org/officeDocument/2006/relationships" r:id="rId79"/>
          </a:graphicData>
        </a:graphic>
      </p:graphicFrame>
      <p:sp>
        <p:nvSpPr>
          <p:cNvPr id="801" name="Rectangle 800">
            <a:extLst>
              <a:ext uri="{FF2B5EF4-FFF2-40B4-BE49-F238E27FC236}">
                <a16:creationId xmlns:a16="http://schemas.microsoft.com/office/drawing/2014/main" xmlns="" id="{0F563884-ABFB-8314-226A-0010A559B339}"/>
              </a:ext>
            </a:extLst>
          </p:cNvPr>
          <p:cNvSpPr/>
          <p:nvPr>
            <p:custDataLst>
              <p:tags r:id="rId36"/>
            </p:custDataLst>
          </p:nvPr>
        </p:nvSpPr>
        <p:spPr bwMode="auto">
          <a:xfrm>
            <a:off x="820738"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6AE27318-9F28-4570-8CE3-87EB0223E6D8}" type="datetime'2''0''''''''3''''''''''''''''''''''''''''''''''''''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04" name="Rectangle 803">
            <a:extLst>
              <a:ext uri="{FF2B5EF4-FFF2-40B4-BE49-F238E27FC236}">
                <a16:creationId xmlns:a16="http://schemas.microsoft.com/office/drawing/2014/main" xmlns="" id="{9C59EB85-037F-675B-3DE6-55B1E8A956FA}"/>
              </a:ext>
            </a:extLst>
          </p:cNvPr>
          <p:cNvSpPr/>
          <p:nvPr>
            <p:custDataLst>
              <p:tags r:id="rId37"/>
            </p:custDataLst>
          </p:nvPr>
        </p:nvSpPr>
        <p:spPr bwMode="auto">
          <a:xfrm>
            <a:off x="1830388"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008D1951-5F81-47E5-8004-8FBCA298BFC6}" type="datetime'''''''2''''''0''''''4''''''''''''''''''''''''''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07" name="Rectangle 806">
            <a:extLst>
              <a:ext uri="{FF2B5EF4-FFF2-40B4-BE49-F238E27FC236}">
                <a16:creationId xmlns:a16="http://schemas.microsoft.com/office/drawing/2014/main" xmlns="" id="{6AB78597-CC49-05C9-CBCB-7AABC7FD47F8}"/>
              </a:ext>
            </a:extLst>
          </p:cNvPr>
          <p:cNvSpPr/>
          <p:nvPr>
            <p:custDataLst>
              <p:tags r:id="rId38"/>
            </p:custDataLst>
          </p:nvPr>
        </p:nvSpPr>
        <p:spPr bwMode="auto">
          <a:xfrm>
            <a:off x="2838450"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0762A19D-F7E9-4195-A285-1559EA5C16AA}" type="datetime'''''''''''''''2''''''''''''0''''''5''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Rectangle 25">
            <a:extLst>
              <a:ext uri="{FF2B5EF4-FFF2-40B4-BE49-F238E27FC236}">
                <a16:creationId xmlns:a16="http://schemas.microsoft.com/office/drawing/2014/main" xmlns="" id="{37BB4CAA-B531-2E73-5DA1-8A978473A326}"/>
              </a:ext>
            </a:extLst>
          </p:cNvPr>
          <p:cNvSpPr/>
          <p:nvPr>
            <p:custDataLst>
              <p:tags r:id="rId39"/>
            </p:custDataLst>
          </p:nvPr>
        </p:nvSpPr>
        <p:spPr bwMode="gray">
          <a:xfrm>
            <a:off x="823913" y="5070475"/>
            <a:ext cx="2111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33314036-C747-4A71-BEF9-8CD1889C4482}" type="datetime'''''''''''''''''''''0'',0''4'''''''''''''''''''''''''''''''">
              <a:rPr lang="es-BO" sz="800" b="1"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0,04</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Rectangle 26">
            <a:extLst>
              <a:ext uri="{FF2B5EF4-FFF2-40B4-BE49-F238E27FC236}">
                <a16:creationId xmlns:a16="http://schemas.microsoft.com/office/drawing/2014/main" xmlns="" id="{3D427555-4CED-BBAC-9ADB-5155F29F43DA}"/>
              </a:ext>
            </a:extLst>
          </p:cNvPr>
          <p:cNvSpPr/>
          <p:nvPr>
            <p:custDataLst>
              <p:tags r:id="rId40"/>
            </p:custDataLst>
          </p:nvPr>
        </p:nvSpPr>
        <p:spPr bwMode="gray">
          <a:xfrm>
            <a:off x="1833563" y="4913313"/>
            <a:ext cx="2111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840430D7-5D4A-4767-8A97-C1D85837150C}" type="datetime'''''''0'''''''''''''''''''''',''''''4''''''''3'">
              <a:rPr lang="es-BO" sz="800" b="1"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0,43</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Rectangle 27">
            <a:extLst>
              <a:ext uri="{FF2B5EF4-FFF2-40B4-BE49-F238E27FC236}">
                <a16:creationId xmlns:a16="http://schemas.microsoft.com/office/drawing/2014/main" xmlns="" id="{B7763353-D3B6-5E09-815E-87829192A18B}"/>
              </a:ext>
            </a:extLst>
          </p:cNvPr>
          <p:cNvSpPr/>
          <p:nvPr>
            <p:custDataLst>
              <p:tags r:id="rId41"/>
            </p:custDataLst>
          </p:nvPr>
        </p:nvSpPr>
        <p:spPr bwMode="gray">
          <a:xfrm>
            <a:off x="2841625" y="4551363"/>
            <a:ext cx="2111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D77354CD-5319-43FB-8EE1-D8670D5BD534}" type="datetime'''''''''1'''''''''',''''''''3''''''''''''''''''3'''''''">
              <a:rPr lang="es-BO" sz="800" b="1"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1,33</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1" name="Rectangle 810">
            <a:extLst>
              <a:ext uri="{FF2B5EF4-FFF2-40B4-BE49-F238E27FC236}">
                <a16:creationId xmlns:a16="http://schemas.microsoft.com/office/drawing/2014/main" xmlns="" id="{B183179E-1783-A4B2-C0FD-900373068D1A}"/>
              </a:ext>
            </a:extLst>
          </p:cNvPr>
          <p:cNvSpPr/>
          <p:nvPr>
            <p:custDataLst>
              <p:tags r:id="rId42"/>
            </p:custDataLst>
          </p:nvPr>
        </p:nvSpPr>
        <p:spPr bwMode="auto">
          <a:xfrm>
            <a:off x="528638" y="5556250"/>
            <a:ext cx="142875" cy="106363"/>
          </a:xfrm>
          <a:prstGeom prst="rect">
            <a:avLst/>
          </a:prstGeom>
          <a:solidFill>
            <a:srgbClr val="86BC25"/>
          </a:solidFill>
          <a:ln w="19050" cap="flat" cmpd="sng" algn="ctr">
            <a:noFill/>
            <a:prstDash val="solid"/>
            <a:miter lim="800000"/>
            <a:headEnd type="none" w="med" len="med"/>
            <a:tailEnd type="none" w="med" len="med"/>
          </a:ln>
          <a:effec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13" name="Rectangle 812">
            <a:extLst>
              <a:ext uri="{FF2B5EF4-FFF2-40B4-BE49-F238E27FC236}">
                <a16:creationId xmlns:a16="http://schemas.microsoft.com/office/drawing/2014/main" xmlns="" id="{C2AC05BE-D8C4-C440-60F2-DBD0296DE8F9}"/>
              </a:ext>
            </a:extLst>
          </p:cNvPr>
          <p:cNvSpPr/>
          <p:nvPr>
            <p:custDataLst>
              <p:tags r:id="rId43"/>
            </p:custDataLst>
          </p:nvPr>
        </p:nvSpPr>
        <p:spPr bwMode="auto">
          <a:xfrm>
            <a:off x="722314" y="5546725"/>
            <a:ext cx="898525"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A3877606-B979-4EBB-A013-985B7A31CBAC}" type="datetime'V''''''''''o''l''''''''''um''''''en de'''' ''deman''''''d''a'">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Volumen de demanda</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7" name="Rectangle 816">
            <a:extLst>
              <a:ext uri="{FF2B5EF4-FFF2-40B4-BE49-F238E27FC236}">
                <a16:creationId xmlns:a16="http://schemas.microsoft.com/office/drawing/2014/main" xmlns="" id="{304A6800-9EEC-A551-CD58-E3A17A6A0B6E}"/>
              </a:ext>
            </a:extLst>
          </p:cNvPr>
          <p:cNvSpPr/>
          <p:nvPr/>
        </p:nvSpPr>
        <p:spPr bwMode="gray">
          <a:xfrm>
            <a:off x="342900" y="4183063"/>
            <a:ext cx="3357897" cy="1685925"/>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28" name="TextBox 827">
            <a:extLst>
              <a:ext uri="{FF2B5EF4-FFF2-40B4-BE49-F238E27FC236}">
                <a16:creationId xmlns:a16="http://schemas.microsoft.com/office/drawing/2014/main" xmlns="" id="{D399EACB-6C8E-EC15-D077-D889557B677C}"/>
              </a:ext>
            </a:extLst>
          </p:cNvPr>
          <p:cNvSpPr txBox="1"/>
          <p:nvPr/>
        </p:nvSpPr>
        <p:spPr>
          <a:xfrm>
            <a:off x="425450" y="4254500"/>
            <a:ext cx="1935164" cy="246063"/>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Demanda proyectada</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Millones de toneladas de H2V para e-metanol)</a:t>
            </a:r>
          </a:p>
        </p:txBody>
      </p:sp>
      <p:graphicFrame>
        <p:nvGraphicFramePr>
          <p:cNvPr id="15" name="Chart 14">
            <a:extLst>
              <a:ext uri="{FF2B5EF4-FFF2-40B4-BE49-F238E27FC236}">
                <a16:creationId xmlns:a16="http://schemas.microsoft.com/office/drawing/2014/main" xmlns="" id="{B66F3735-CF29-A0F8-6E76-FCBC136698E6}"/>
              </a:ext>
            </a:extLst>
          </p:cNvPr>
          <p:cNvGraphicFramePr/>
          <p:nvPr>
            <p:custDataLst>
              <p:tags r:id="rId44"/>
            </p:custDataLst>
          </p:nvPr>
        </p:nvGraphicFramePr>
        <p:xfrm>
          <a:off x="4411663" y="4429125"/>
          <a:ext cx="3370262" cy="874713"/>
        </p:xfrm>
        <a:graphic>
          <a:graphicData uri="http://schemas.openxmlformats.org/drawingml/2006/chart">
            <c:chart xmlns:c="http://schemas.openxmlformats.org/drawingml/2006/chart" xmlns:r="http://schemas.openxmlformats.org/officeDocument/2006/relationships" r:id="rId80"/>
          </a:graphicData>
        </a:graphic>
      </p:graphicFrame>
      <p:cxnSp>
        <p:nvCxnSpPr>
          <p:cNvPr id="831" name="Straight Connector 830">
            <a:extLst>
              <a:ext uri="{FF2B5EF4-FFF2-40B4-BE49-F238E27FC236}">
                <a16:creationId xmlns:a16="http://schemas.microsoft.com/office/drawing/2014/main" xmlns="" id="{7AA23A74-5A2A-40E1-09ED-C79227554ABD}"/>
              </a:ext>
            </a:extLst>
          </p:cNvPr>
          <p:cNvCxnSpPr>
            <a:cxnSpLocks/>
          </p:cNvCxnSpPr>
          <p:nvPr>
            <p:custDataLst>
              <p:tags r:id="rId45"/>
            </p:custDataLst>
          </p:nvPr>
        </p:nvCxnSpPr>
        <p:spPr bwMode="auto">
          <a:xfrm>
            <a:off x="4978400" y="5189538"/>
            <a:ext cx="349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832" name="Rectangle 831">
            <a:extLst>
              <a:ext uri="{FF2B5EF4-FFF2-40B4-BE49-F238E27FC236}">
                <a16:creationId xmlns:a16="http://schemas.microsoft.com/office/drawing/2014/main" xmlns="" id="{56967177-4501-B6F1-CE2F-DCB09FF884D3}"/>
              </a:ext>
            </a:extLst>
          </p:cNvPr>
          <p:cNvSpPr/>
          <p:nvPr>
            <p:custDataLst>
              <p:tags r:id="rId46"/>
            </p:custDataLst>
          </p:nvPr>
        </p:nvSpPr>
        <p:spPr bwMode="gray">
          <a:xfrm>
            <a:off x="4816475" y="5135563"/>
            <a:ext cx="161925" cy="109538"/>
          </a:xfrm>
          <a:prstGeom prst="rect">
            <a:avLst/>
          </a:prstGeom>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ctr"/>
          <a:lstStyle/>
          <a:p>
            <a:pPr algn="r">
              <a:lnSpc>
                <a:spcPct val="90000"/>
              </a:lnSpc>
              <a:spcBef>
                <a:spcPct val="0"/>
              </a:spcBef>
              <a:spcAft>
                <a:spcPct val="0"/>
              </a:spcAft>
              <a:buFont typeface="Wingdings 2" pitchFamily="18" charset="2"/>
              <a:buNone/>
            </a:pPr>
            <a:fld id="{591C09FA-757D-4823-9F66-35041BA66F76}" type="datetime'''''''''''''''''''''''''''''''''''''''''''7'''''''',''''''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r">
                <a:lnSpc>
                  <a:spcPct val="90000"/>
                </a:lnSpc>
                <a:spcBef>
                  <a:spcPct val="0"/>
                </a:spcBef>
                <a:spcAft>
                  <a:spcPct val="0"/>
                </a:spcAft>
                <a:buFont typeface="Wingdings 2" pitchFamily="18" charset="2"/>
                <a:buNone/>
              </a:pPr>
              <a:t>7,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3" name="Rectangle 832">
            <a:extLst>
              <a:ext uri="{FF2B5EF4-FFF2-40B4-BE49-F238E27FC236}">
                <a16:creationId xmlns:a16="http://schemas.microsoft.com/office/drawing/2014/main" xmlns="" id="{57415DD1-97A9-A03D-A032-5ADBFFBABCD0}"/>
              </a:ext>
            </a:extLst>
          </p:cNvPr>
          <p:cNvSpPr/>
          <p:nvPr>
            <p:custDataLst>
              <p:tags r:id="rId47"/>
            </p:custDataLst>
          </p:nvPr>
        </p:nvSpPr>
        <p:spPr bwMode="auto">
          <a:xfrm>
            <a:off x="4919663"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6C546573-1DA9-44F7-B4C3-C016A961DD4E}" type="datetime'''''''''2''''''''''''''''0''''3''''''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Rectangle 29">
            <a:extLst>
              <a:ext uri="{FF2B5EF4-FFF2-40B4-BE49-F238E27FC236}">
                <a16:creationId xmlns:a16="http://schemas.microsoft.com/office/drawing/2014/main" xmlns="" id="{A730A954-C509-A520-BCE0-683BE8B217F3}"/>
              </a:ext>
            </a:extLst>
          </p:cNvPr>
          <p:cNvSpPr/>
          <p:nvPr>
            <p:custDataLst>
              <p:tags r:id="rId48"/>
            </p:custDataLst>
          </p:nvPr>
        </p:nvSpPr>
        <p:spPr bwMode="gray">
          <a:xfrm>
            <a:off x="5989638" y="4813300"/>
            <a:ext cx="2127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3E799375-732E-4F08-90F3-02A1B603EEE1}" type="datetime'''''''''''''''''56'',''0'''''''''''''''''''''''''''''''''''''">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56,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5" name="Rectangle 834">
            <a:extLst>
              <a:ext uri="{FF2B5EF4-FFF2-40B4-BE49-F238E27FC236}">
                <a16:creationId xmlns:a16="http://schemas.microsoft.com/office/drawing/2014/main" xmlns="" id="{AE1BCA80-8D9E-7254-D56A-22103C8B7BB1}"/>
              </a:ext>
            </a:extLst>
          </p:cNvPr>
          <p:cNvSpPr/>
          <p:nvPr>
            <p:custDataLst>
              <p:tags r:id="rId49"/>
            </p:custDataLst>
          </p:nvPr>
        </p:nvSpPr>
        <p:spPr bwMode="auto">
          <a:xfrm>
            <a:off x="5988050"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63BCE91D-AB75-43F3-BD2D-7A9FD85F2897}" type="datetime'''''''''''''''''''''2''''0''''''4''''''''''''''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9" name="Rectangle 38">
            <a:extLst>
              <a:ext uri="{FF2B5EF4-FFF2-40B4-BE49-F238E27FC236}">
                <a16:creationId xmlns:a16="http://schemas.microsoft.com/office/drawing/2014/main" xmlns="" id="{073E4D8D-1B9D-E5F1-1D5B-0C1BD95066A0}"/>
              </a:ext>
            </a:extLst>
          </p:cNvPr>
          <p:cNvSpPr/>
          <p:nvPr>
            <p:custDataLst>
              <p:tags r:id="rId50"/>
            </p:custDataLst>
          </p:nvPr>
        </p:nvSpPr>
        <p:spPr bwMode="gray">
          <a:xfrm>
            <a:off x="7032625" y="4352925"/>
            <a:ext cx="2635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97F8D658-3EE1-4FE4-8F3B-724B4D5BD0FF}" type="datetime'''15''''''''''''''9,0'''''''''''''''''''''''''''''''''''">
              <a:rPr lang="es-BO" sz="800" noProof="0" smtClean="0">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159,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7" name="Rectangle 836">
            <a:extLst>
              <a:ext uri="{FF2B5EF4-FFF2-40B4-BE49-F238E27FC236}">
                <a16:creationId xmlns:a16="http://schemas.microsoft.com/office/drawing/2014/main" xmlns="" id="{CF914E0A-F841-36C8-56AE-91427D559C8F}"/>
              </a:ext>
            </a:extLst>
          </p:cNvPr>
          <p:cNvSpPr/>
          <p:nvPr>
            <p:custDataLst>
              <p:tags r:id="rId51"/>
            </p:custDataLst>
          </p:nvPr>
        </p:nvSpPr>
        <p:spPr bwMode="auto">
          <a:xfrm>
            <a:off x="7056438"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C88FBC6A-0BD0-4701-9DE5-40D7627B24AA}" type="datetime'''2''''''''''0''''''''''5''''0'''''''''''''''">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gn="ctr">
                <a:lnSpc>
                  <a:spcPct val="106000"/>
                </a:lnSpc>
                <a:spcBef>
                  <a:spcPct val="0"/>
                </a:spcBef>
                <a:spcAft>
                  <a:spcPct val="0"/>
                </a:spcAft>
                <a:buFont typeface="Wingdings 2" pitchFamily="18" charset="2"/>
                <a:buNone/>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useBgFill="1">
        <p:nvSpPr>
          <p:cNvPr id="838" name="Rectangle 837">
            <a:extLst>
              <a:ext uri="{FF2B5EF4-FFF2-40B4-BE49-F238E27FC236}">
                <a16:creationId xmlns:a16="http://schemas.microsoft.com/office/drawing/2014/main" xmlns="" id="{91FF2913-8AA0-5394-8A22-9482AFB9F8FC}"/>
              </a:ext>
            </a:extLst>
          </p:cNvPr>
          <p:cNvSpPr/>
          <p:nvPr>
            <p:custDataLst>
              <p:tags r:id="rId52"/>
            </p:custDataLst>
          </p:nvPr>
        </p:nvSpPr>
        <p:spPr bwMode="gray">
          <a:xfrm>
            <a:off x="4986338" y="5080000"/>
            <a:ext cx="160338" cy="109538"/>
          </a:xfrm>
          <a:prstGeom prst="rect">
            <a:avLst/>
          </a:prstGeom>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8D59E62B-2251-4240-B45C-EB15FFF58DA9}" type="datetime'''''0'''''''''',''''''''''''''''''''''''''''''''''''4'">
              <a:rPr lang="es-BO" sz="800" b="1" noProof="0" smtClean="0">
                <a:solidFill>
                  <a:schemeClr val="accent1"/>
                </a:solidFill>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0,4</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Rectangle 30">
            <a:extLst>
              <a:ext uri="{FF2B5EF4-FFF2-40B4-BE49-F238E27FC236}">
                <a16:creationId xmlns:a16="http://schemas.microsoft.com/office/drawing/2014/main" xmlns="" id="{D1CCF33C-8294-4C95-81A9-F0F3C81139AB}"/>
              </a:ext>
            </a:extLst>
          </p:cNvPr>
          <p:cNvSpPr/>
          <p:nvPr>
            <p:custDataLst>
              <p:tags r:id="rId53"/>
            </p:custDataLst>
          </p:nvPr>
        </p:nvSpPr>
        <p:spPr bwMode="gray">
          <a:xfrm>
            <a:off x="6016625" y="5073650"/>
            <a:ext cx="1603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3E6F1C58-D109-4E2A-B527-C6B811800EB2}" type="datetime'''''''''''''''''''''''2'''''''''''''''''''',''''8'''">
              <a:rPr lang="es-BO" sz="800" b="1" noProof="0" smtClean="0">
                <a:solidFill>
                  <a:schemeClr val="accent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2,8</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Rectangle 39">
            <a:extLst>
              <a:ext uri="{FF2B5EF4-FFF2-40B4-BE49-F238E27FC236}">
                <a16:creationId xmlns:a16="http://schemas.microsoft.com/office/drawing/2014/main" xmlns="" id="{0B68981A-0282-289B-C0EB-D66C87A69F32}"/>
              </a:ext>
            </a:extLst>
          </p:cNvPr>
          <p:cNvSpPr/>
          <p:nvPr>
            <p:custDataLst>
              <p:tags r:id="rId54"/>
            </p:custDataLst>
          </p:nvPr>
        </p:nvSpPr>
        <p:spPr bwMode="gray">
          <a:xfrm>
            <a:off x="7085013" y="5051425"/>
            <a:ext cx="160338"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7E05EE8F-6FAB-4D07-ADC9-18080DBBF6A4}" type="datetime'''''''''''''''''''''8'''''',''0'''''''''''''''''''''''''''''">
              <a:rPr lang="es-BO" sz="800" b="1" noProof="0" smtClean="0">
                <a:solidFill>
                  <a:schemeClr val="accent1"/>
                </a:solidFill>
                <a:effectLst/>
                <a:latin typeface="Calibri Light" panose="020F0302020204030204" pitchFamily="34" charset="0"/>
                <a:cs typeface="Calibri Light" panose="020F0302020204030204" pitchFamily="34" charset="0"/>
                <a:sym typeface="Calibri Light" panose="020F0302020204030204" pitchFamily="34" charset="0"/>
              </a:rPr>
              <a:pPr algn="ctr">
                <a:lnSpc>
                  <a:spcPct val="90000"/>
                </a:lnSpc>
                <a:spcBef>
                  <a:spcPct val="0"/>
                </a:spcBef>
                <a:spcAft>
                  <a:spcPct val="0"/>
                </a:spcAft>
                <a:buFont typeface="Wingdings 2" pitchFamily="18" charset="2"/>
                <a:buNone/>
              </a:pPr>
              <a:t>8,0</a:t>
            </a:fld>
            <a:endParaRPr lang="es-BO" sz="800" b="1" noProof="0" dirty="0">
              <a:solidFill>
                <a:schemeClr val="accent1"/>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841" name="Straight Connector 840">
            <a:extLst>
              <a:ext uri="{FF2B5EF4-FFF2-40B4-BE49-F238E27FC236}">
                <a16:creationId xmlns:a16="http://schemas.microsoft.com/office/drawing/2014/main" xmlns="" id="{E1152FA1-AD39-8C47-9F00-8A061C633819}"/>
              </a:ext>
            </a:extLst>
          </p:cNvPr>
          <p:cNvCxnSpPr/>
          <p:nvPr>
            <p:custDataLst>
              <p:tags r:id="rId55"/>
            </p:custDataLst>
          </p:nvPr>
        </p:nvCxnSpPr>
        <p:spPr bwMode="gray">
          <a:xfrm>
            <a:off x="4683125" y="5619750"/>
            <a:ext cx="114300" cy="0"/>
          </a:xfrm>
          <a:prstGeom prst="line">
            <a:avLst/>
          </a:prstGeom>
          <a:ln w="6350" cap="rnd" cmpd="sng" algn="ctr">
            <a:solidFill>
              <a:schemeClr val="accent4"/>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2" name="Rectangle 841">
            <a:extLst>
              <a:ext uri="{FF2B5EF4-FFF2-40B4-BE49-F238E27FC236}">
                <a16:creationId xmlns:a16="http://schemas.microsoft.com/office/drawing/2014/main" xmlns="" id="{763D124D-2F47-5324-7D14-B4993CA02E13}"/>
              </a:ext>
            </a:extLst>
          </p:cNvPr>
          <p:cNvSpPr/>
          <p:nvPr>
            <p:custDataLst>
              <p:tags r:id="rId56"/>
            </p:custDataLst>
          </p:nvPr>
        </p:nvSpPr>
        <p:spPr bwMode="auto">
          <a:xfrm>
            <a:off x="4668838" y="5746750"/>
            <a:ext cx="142875" cy="106363"/>
          </a:xfrm>
          <a:prstGeom prst="rect">
            <a:avLst/>
          </a:prstGeom>
          <a:solidFill>
            <a:srgbClr val="86BC25"/>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43" name="Rectangle 842">
            <a:extLst>
              <a:ext uri="{FF2B5EF4-FFF2-40B4-BE49-F238E27FC236}">
                <a16:creationId xmlns:a16="http://schemas.microsoft.com/office/drawing/2014/main" xmlns="" id="{B300CD9A-FF72-1928-3536-11ECD0F050A6}"/>
              </a:ext>
            </a:extLst>
          </p:cNvPr>
          <p:cNvSpPr/>
          <p:nvPr>
            <p:custDataLst>
              <p:tags r:id="rId57"/>
            </p:custDataLst>
          </p:nvPr>
        </p:nvSpPr>
        <p:spPr bwMode="auto">
          <a:xfrm>
            <a:off x="4862513" y="5557838"/>
            <a:ext cx="1395413"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r>
              <a:rPr lang="es-BO" sz="800" noProof="0" dirty="0">
                <a:latin typeface="Calibri Light" panose="020F0302020204030204" pitchFamily="34" charset="0"/>
                <a:cs typeface="Calibri Light" panose="020F0302020204030204" pitchFamily="34" charset="0"/>
                <a:sym typeface="Calibri Light" panose="020F0302020204030204" pitchFamily="34" charset="0"/>
              </a:rPr>
              <a:t>No. Plantas e- metanol  de 50 MW</a:t>
            </a:r>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44" name="Rectangle 843">
            <a:extLst>
              <a:ext uri="{FF2B5EF4-FFF2-40B4-BE49-F238E27FC236}">
                <a16:creationId xmlns:a16="http://schemas.microsoft.com/office/drawing/2014/main" xmlns="" id="{F97BE658-BEA6-6416-9291-01F3DB2018E0}"/>
              </a:ext>
            </a:extLst>
          </p:cNvPr>
          <p:cNvSpPr/>
          <p:nvPr>
            <p:custDataLst>
              <p:tags r:id="rId58"/>
            </p:custDataLst>
          </p:nvPr>
        </p:nvSpPr>
        <p:spPr bwMode="auto">
          <a:xfrm>
            <a:off x="4862513" y="5737225"/>
            <a:ext cx="1524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44868C5D-278C-409F-9F75-374628FBB719}" type="datetime'''''''''''''''G''''''W'''''''''''''''''''''''''''''''''''">
              <a:rPr lang="es-BO" sz="800" noProof="0" smtClean="0">
                <a:latin typeface="Calibri Light" panose="020F0302020204030204" pitchFamily="34" charset="0"/>
                <a:cs typeface="Calibri Light" panose="020F0302020204030204" pitchFamily="34" charset="0"/>
                <a:sym typeface="Calibri Light" panose="020F0302020204030204" pitchFamily="34" charset="0"/>
              </a:rPr>
              <a:pPr>
                <a:lnSpc>
                  <a:spcPct val="106000"/>
                </a:lnSpc>
                <a:spcBef>
                  <a:spcPct val="0"/>
                </a:spcBef>
                <a:spcAft>
                  <a:spcPct val="0"/>
                </a:spcAft>
                <a:buFont typeface="Wingdings 2" pitchFamily="18" charset="2"/>
                <a:buNone/>
              </a:pPr>
              <a:t>GW</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45" name="TextBox 844">
            <a:extLst>
              <a:ext uri="{FF2B5EF4-FFF2-40B4-BE49-F238E27FC236}">
                <a16:creationId xmlns:a16="http://schemas.microsoft.com/office/drawing/2014/main" xmlns="" id="{DEC97FAE-B201-04EB-C936-56691D84D06C}"/>
              </a:ext>
            </a:extLst>
          </p:cNvPr>
          <p:cNvSpPr txBox="1"/>
          <p:nvPr/>
        </p:nvSpPr>
        <p:spPr>
          <a:xfrm>
            <a:off x="4465638" y="4265613"/>
            <a:ext cx="1522412" cy="369332"/>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Necesidad de  plantas de producción Derivados: e-metanol </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Cantidad y GW)</a:t>
            </a:r>
          </a:p>
        </p:txBody>
      </p:sp>
      <p:sp>
        <p:nvSpPr>
          <p:cNvPr id="846" name="Rectangle 845">
            <a:extLst>
              <a:ext uri="{FF2B5EF4-FFF2-40B4-BE49-F238E27FC236}">
                <a16:creationId xmlns:a16="http://schemas.microsoft.com/office/drawing/2014/main" xmlns="" id="{19BC1F49-EEDE-33B6-71B1-A373B8841A70}"/>
              </a:ext>
            </a:extLst>
          </p:cNvPr>
          <p:cNvSpPr/>
          <p:nvPr/>
        </p:nvSpPr>
        <p:spPr bwMode="gray">
          <a:xfrm>
            <a:off x="4346575" y="4183063"/>
            <a:ext cx="3516313" cy="1685925"/>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75" name="Isosceles Triangle 874">
            <a:extLst>
              <a:ext uri="{FF2B5EF4-FFF2-40B4-BE49-F238E27FC236}">
                <a16:creationId xmlns:a16="http://schemas.microsoft.com/office/drawing/2014/main" xmlns="" id="{3214DAB4-651C-DF3F-A0CE-36BAC522BF62}"/>
              </a:ext>
            </a:extLst>
          </p:cNvPr>
          <p:cNvSpPr/>
          <p:nvPr/>
        </p:nvSpPr>
        <p:spPr bwMode="gray">
          <a:xfrm rot="5400000">
            <a:off x="3227685" y="4901775"/>
            <a:ext cx="1590895" cy="122303"/>
          </a:xfrm>
          <a:prstGeom prst="triangle">
            <a:avLst/>
          </a:prstGeom>
          <a:gradFill flip="none" rotWithShape="1">
            <a:gsLst>
              <a:gs pos="55000">
                <a:srgbClr val="92D050"/>
              </a:gs>
              <a:gs pos="100000">
                <a:schemeClr val="bg1"/>
              </a:gs>
              <a:gs pos="4000">
                <a:schemeClr val="accent2">
                  <a:lumMod val="75000"/>
                </a:schemeClr>
              </a:gs>
            </a:gsLst>
            <a:lin ang="54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876" name="Isosceles Triangle 875">
            <a:extLst>
              <a:ext uri="{FF2B5EF4-FFF2-40B4-BE49-F238E27FC236}">
                <a16:creationId xmlns:a16="http://schemas.microsoft.com/office/drawing/2014/main" xmlns="" id="{CC272AB0-1351-87C9-C64E-EACB95F14FBD}"/>
              </a:ext>
            </a:extLst>
          </p:cNvPr>
          <p:cNvSpPr/>
          <p:nvPr/>
        </p:nvSpPr>
        <p:spPr bwMode="gray">
          <a:xfrm rot="5400000">
            <a:off x="7299216" y="4901775"/>
            <a:ext cx="1590895" cy="122303"/>
          </a:xfrm>
          <a:prstGeom prst="triangle">
            <a:avLst/>
          </a:prstGeom>
          <a:gradFill flip="none" rotWithShape="1">
            <a:gsLst>
              <a:gs pos="55000">
                <a:srgbClr val="92D050"/>
              </a:gs>
              <a:gs pos="100000">
                <a:schemeClr val="bg1"/>
              </a:gs>
              <a:gs pos="4000">
                <a:schemeClr val="accent2">
                  <a:lumMod val="75000"/>
                </a:schemeClr>
              </a:gs>
            </a:gsLst>
            <a:lin ang="54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aphicFrame>
        <p:nvGraphicFramePr>
          <p:cNvPr id="49" name="Chart 48">
            <a:extLst>
              <a:ext uri="{FF2B5EF4-FFF2-40B4-BE49-F238E27FC236}">
                <a16:creationId xmlns:a16="http://schemas.microsoft.com/office/drawing/2014/main" xmlns="" id="{B4D87D93-41F7-2F4A-0B01-D6132D935764}"/>
              </a:ext>
            </a:extLst>
          </p:cNvPr>
          <p:cNvGraphicFramePr/>
          <p:nvPr>
            <p:custDataLst>
              <p:tags r:id="rId59"/>
            </p:custDataLst>
          </p:nvPr>
        </p:nvGraphicFramePr>
        <p:xfrm>
          <a:off x="8389938" y="1855788"/>
          <a:ext cx="3436937" cy="1254125"/>
        </p:xfrm>
        <a:graphic>
          <a:graphicData uri="http://schemas.openxmlformats.org/drawingml/2006/chart">
            <c:chart xmlns:c="http://schemas.openxmlformats.org/drawingml/2006/chart" xmlns:r="http://schemas.openxmlformats.org/officeDocument/2006/relationships" r:id="rId81"/>
          </a:graphicData>
        </a:graphic>
      </p:graphicFrame>
      <p:sp>
        <p:nvSpPr>
          <p:cNvPr id="5" name="Rectangle 4">
            <a:extLst>
              <a:ext uri="{FF2B5EF4-FFF2-40B4-BE49-F238E27FC236}">
                <a16:creationId xmlns:a16="http://schemas.microsoft.com/office/drawing/2014/main" xmlns="" id="{21D0A975-8CE8-2DE7-9CC4-3BAA8AA53855}"/>
              </a:ext>
            </a:extLst>
          </p:cNvPr>
          <p:cNvSpPr/>
          <p:nvPr>
            <p:custDataLst>
              <p:tags r:id="rId60"/>
            </p:custDataLst>
          </p:nvPr>
        </p:nvSpPr>
        <p:spPr bwMode="auto">
          <a:xfrm>
            <a:off x="8909050"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B4FF2244-325E-418F-AA86-619ED293230D}" type="datetime'''''20''''''''''''3''''0'''''''''''''''''''''''">
              <a:rPr lang="es-BO" sz="800" noProof="0" smtClean="0">
                <a:latin typeface="Calibri Light" panose="020F0302020204030204" pitchFamily="34" charset="0"/>
                <a:cs typeface="Calibri Light" panose="020F0302020204030204" pitchFamily="34" charset="0"/>
              </a:rPr>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 name="Rectangle 5">
            <a:extLst>
              <a:ext uri="{FF2B5EF4-FFF2-40B4-BE49-F238E27FC236}">
                <a16:creationId xmlns:a16="http://schemas.microsoft.com/office/drawing/2014/main" xmlns="" id="{C713EB03-5708-7EEB-7A22-3995621F03F4}"/>
              </a:ext>
            </a:extLst>
          </p:cNvPr>
          <p:cNvSpPr/>
          <p:nvPr>
            <p:custDataLst>
              <p:tags r:id="rId61"/>
            </p:custDataLst>
          </p:nvPr>
        </p:nvSpPr>
        <p:spPr bwMode="auto">
          <a:xfrm>
            <a:off x="9999663"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DBAE59F0-CFDE-4B8E-8F6E-9045335ABDAE}" type="datetime'''''2''''''''''''''''0''''''4''''''''''''''''''''''''0'">
              <a:rPr lang="es-BO" sz="800" noProof="0" smtClean="0">
                <a:latin typeface="Calibri Light" panose="020F0302020204030204" pitchFamily="34" charset="0"/>
                <a:cs typeface="Calibri Light" panose="020F0302020204030204" pitchFamily="34" charset="0"/>
              </a:rPr>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 name="Rectangle 6">
            <a:extLst>
              <a:ext uri="{FF2B5EF4-FFF2-40B4-BE49-F238E27FC236}">
                <a16:creationId xmlns:a16="http://schemas.microsoft.com/office/drawing/2014/main" xmlns="" id="{C95B752E-2078-7B11-307E-8FD03675A11E}"/>
              </a:ext>
            </a:extLst>
          </p:cNvPr>
          <p:cNvSpPr/>
          <p:nvPr>
            <p:custDataLst>
              <p:tags r:id="rId62"/>
            </p:custDataLst>
          </p:nvPr>
        </p:nvSpPr>
        <p:spPr bwMode="auto">
          <a:xfrm>
            <a:off x="11090275" y="2990850"/>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EE69BD2B-F30B-402C-B323-6F528FA14EF5}" type="datetime'''''''''''2''''''0''''''''''5''''''''''''''''''''0'">
              <a:rPr lang="es-BO" sz="800" noProof="0" smtClean="0">
                <a:latin typeface="Calibri Light" panose="020F0302020204030204" pitchFamily="34" charset="0"/>
                <a:cs typeface="Calibri Light" panose="020F0302020204030204" pitchFamily="34" charset="0"/>
              </a:rPr>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 name="Rectangle 7">
            <a:extLst>
              <a:ext uri="{FF2B5EF4-FFF2-40B4-BE49-F238E27FC236}">
                <a16:creationId xmlns:a16="http://schemas.microsoft.com/office/drawing/2014/main" xmlns="" id="{71EC1A05-8135-8C73-6CC3-555753DE940A}"/>
              </a:ext>
            </a:extLst>
          </p:cNvPr>
          <p:cNvSpPr/>
          <p:nvPr>
            <p:custDataLst>
              <p:tags r:id="rId63"/>
            </p:custDataLst>
          </p:nvPr>
        </p:nvSpPr>
        <p:spPr bwMode="auto">
          <a:xfrm>
            <a:off x="8513763" y="3270250"/>
            <a:ext cx="142875" cy="106363"/>
          </a:xfrm>
          <a:prstGeom prst="rect">
            <a:avLst/>
          </a:prstGeom>
          <a:solidFill>
            <a:srgbClr val="86BC25"/>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xmlns="" id="{E4EBC7BA-C5E4-F4F8-5B6D-18CCDFA6DE49}"/>
              </a:ext>
            </a:extLst>
          </p:cNvPr>
          <p:cNvSpPr/>
          <p:nvPr>
            <p:custDataLst>
              <p:tags r:id="rId64"/>
            </p:custDataLst>
          </p:nvPr>
        </p:nvSpPr>
        <p:spPr bwMode="auto">
          <a:xfrm>
            <a:off x="9829800" y="3270250"/>
            <a:ext cx="142875" cy="106363"/>
          </a:xfrm>
          <a:prstGeom prst="rect">
            <a:avLst/>
          </a:prstGeom>
          <a:solidFill>
            <a:srgbClr val="046A38"/>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14" name="Rectangle 13">
            <a:extLst>
              <a:ext uri="{FF2B5EF4-FFF2-40B4-BE49-F238E27FC236}">
                <a16:creationId xmlns:a16="http://schemas.microsoft.com/office/drawing/2014/main" xmlns="" id="{00F8D602-E036-3172-EA96-B5CED40A59EA}"/>
              </a:ext>
            </a:extLst>
          </p:cNvPr>
          <p:cNvSpPr/>
          <p:nvPr>
            <p:custDataLst>
              <p:tags r:id="rId65"/>
            </p:custDataLst>
          </p:nvPr>
        </p:nvSpPr>
        <p:spPr bwMode="auto">
          <a:xfrm>
            <a:off x="8707438" y="3260725"/>
            <a:ext cx="1020763"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4243EC2F-82C3-40BE-9005-A083F2A64685}" type="datetime'''Ra''''ngo b''a''''''''''jo ''''''(foto''volt''a''ico)'''''''">
              <a:rPr lang="es-BO" sz="800" noProof="0" smtClean="0">
                <a:latin typeface="Calibri Light" panose="020F0302020204030204" pitchFamily="34" charset="0"/>
                <a:cs typeface="Calibri Light" panose="020F0302020204030204" pitchFamily="34" charset="0"/>
              </a:rPr>
              <a:pPr/>
              <a:t>Rango bajo (fotovoltaico)</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 name="Rectangle 24">
            <a:extLst>
              <a:ext uri="{FF2B5EF4-FFF2-40B4-BE49-F238E27FC236}">
                <a16:creationId xmlns:a16="http://schemas.microsoft.com/office/drawing/2014/main" xmlns="" id="{D4EF382E-B842-4041-ED15-1E5B4C9DF198}"/>
              </a:ext>
            </a:extLst>
          </p:cNvPr>
          <p:cNvSpPr/>
          <p:nvPr>
            <p:custDataLst>
              <p:tags r:id="rId66"/>
            </p:custDataLst>
          </p:nvPr>
        </p:nvSpPr>
        <p:spPr bwMode="auto">
          <a:xfrm>
            <a:off x="10023475" y="3260725"/>
            <a:ext cx="757238"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ctr"/>
          <a:lstStyle/>
          <a:p>
            <a:pPr>
              <a:lnSpc>
                <a:spcPct val="106000"/>
              </a:lnSpc>
              <a:spcBef>
                <a:spcPct val="0"/>
              </a:spcBef>
              <a:spcAft>
                <a:spcPct val="0"/>
              </a:spcAft>
              <a:buFont typeface="Wingdings 2" pitchFamily="18" charset="2"/>
              <a:buNone/>
            </a:pPr>
            <a:fld id="{C90B0ED0-A7E7-4222-AEF1-99058226378B}" type="datetime'''R''''ango al''''''to (''''''e''''ól''ic''o'''''''''')'''">
              <a:rPr lang="es-BO" sz="800" noProof="0" smtClean="0">
                <a:latin typeface="Calibri Light" panose="020F0302020204030204" pitchFamily="34" charset="0"/>
                <a:cs typeface="Calibri Light" panose="020F0302020204030204" pitchFamily="34" charset="0"/>
              </a:rPr>
              <a:pPr/>
              <a:t>Rango alto (eólico)</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 name="TextBox 32">
            <a:extLst>
              <a:ext uri="{FF2B5EF4-FFF2-40B4-BE49-F238E27FC236}">
                <a16:creationId xmlns:a16="http://schemas.microsoft.com/office/drawing/2014/main" xmlns="" id="{BE031220-A3A2-602D-CA13-6EB39D8E944B}"/>
              </a:ext>
            </a:extLst>
          </p:cNvPr>
          <p:cNvSpPr txBox="1"/>
          <p:nvPr/>
        </p:nvSpPr>
        <p:spPr>
          <a:xfrm>
            <a:off x="8437068" y="1968169"/>
            <a:ext cx="1586407" cy="246221"/>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Inversión acumulada aproximada *</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Millones de USD)</a:t>
            </a:r>
          </a:p>
        </p:txBody>
      </p:sp>
      <p:sp>
        <p:nvSpPr>
          <p:cNvPr id="34" name="Rectangle 33">
            <a:extLst>
              <a:ext uri="{FF2B5EF4-FFF2-40B4-BE49-F238E27FC236}">
                <a16:creationId xmlns:a16="http://schemas.microsoft.com/office/drawing/2014/main" xmlns="" id="{4B21DB9C-33E8-5A8C-544C-38B6FB13022E}"/>
              </a:ext>
            </a:extLst>
          </p:cNvPr>
          <p:cNvSpPr/>
          <p:nvPr/>
        </p:nvSpPr>
        <p:spPr bwMode="gray">
          <a:xfrm>
            <a:off x="8385924" y="1885950"/>
            <a:ext cx="3557588" cy="1685922"/>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graphicFrame>
        <p:nvGraphicFramePr>
          <p:cNvPr id="50" name="Chart 49">
            <a:extLst>
              <a:ext uri="{FF2B5EF4-FFF2-40B4-BE49-F238E27FC236}">
                <a16:creationId xmlns:a16="http://schemas.microsoft.com/office/drawing/2014/main" xmlns="" id="{F74D070E-D757-A43F-2CED-2E325ECF5CBE}"/>
              </a:ext>
            </a:extLst>
          </p:cNvPr>
          <p:cNvGraphicFramePr/>
          <p:nvPr>
            <p:custDataLst>
              <p:tags r:id="rId67"/>
            </p:custDataLst>
          </p:nvPr>
        </p:nvGraphicFramePr>
        <p:xfrm>
          <a:off x="8389938" y="4235450"/>
          <a:ext cx="3368675" cy="1171575"/>
        </p:xfrm>
        <a:graphic>
          <a:graphicData uri="http://schemas.openxmlformats.org/drawingml/2006/chart">
            <c:chart xmlns:c="http://schemas.openxmlformats.org/drawingml/2006/chart" xmlns:r="http://schemas.openxmlformats.org/officeDocument/2006/relationships" r:id="rId82"/>
          </a:graphicData>
        </a:graphic>
      </p:graphicFrame>
      <p:sp>
        <p:nvSpPr>
          <p:cNvPr id="36" name="Rectangle 35">
            <a:extLst>
              <a:ext uri="{FF2B5EF4-FFF2-40B4-BE49-F238E27FC236}">
                <a16:creationId xmlns:a16="http://schemas.microsoft.com/office/drawing/2014/main" xmlns="" id="{DC6E6DD7-5FBF-6893-B309-A5D5AFA50DCE}"/>
              </a:ext>
            </a:extLst>
          </p:cNvPr>
          <p:cNvSpPr/>
          <p:nvPr>
            <p:custDataLst>
              <p:tags r:id="rId68"/>
            </p:custDataLst>
          </p:nvPr>
        </p:nvSpPr>
        <p:spPr bwMode="auto">
          <a:xfrm>
            <a:off x="8897938"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CCBFD8C3-5A06-43F4-BA52-B5B97733B0BC}" type="datetime'''''''''''''''''''''''''''''''''''''''''''20''3''''0'''''">
              <a:rPr lang="es-BO" sz="800" noProof="0" smtClean="0">
                <a:latin typeface="Calibri Light" panose="020F0302020204030204" pitchFamily="34" charset="0"/>
                <a:cs typeface="Calibri Light" panose="020F0302020204030204" pitchFamily="34" charset="0"/>
              </a:rPr>
              <a:pPr/>
              <a:t>203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Rectangle 36">
            <a:extLst>
              <a:ext uri="{FF2B5EF4-FFF2-40B4-BE49-F238E27FC236}">
                <a16:creationId xmlns:a16="http://schemas.microsoft.com/office/drawing/2014/main" xmlns="" id="{7539FB65-E2AA-3141-105D-919BEBDA6C12}"/>
              </a:ext>
            </a:extLst>
          </p:cNvPr>
          <p:cNvSpPr/>
          <p:nvPr>
            <p:custDataLst>
              <p:tags r:id="rId69"/>
            </p:custDataLst>
          </p:nvPr>
        </p:nvSpPr>
        <p:spPr bwMode="auto">
          <a:xfrm>
            <a:off x="9964738"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96EDFC18-AA8C-46C9-A131-463A51F7EE59}" type="datetime'''''''''''''''''''''''''''''20''4''''''''0'''''''''''''''''''">
              <a:rPr lang="es-BO" sz="800" noProof="0" smtClean="0">
                <a:latin typeface="Calibri Light" panose="020F0302020204030204" pitchFamily="34" charset="0"/>
                <a:cs typeface="Calibri Light" panose="020F0302020204030204" pitchFamily="34" charset="0"/>
              </a:rPr>
              <a:pPr/>
              <a:t>204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Rectangle 37">
            <a:extLst>
              <a:ext uri="{FF2B5EF4-FFF2-40B4-BE49-F238E27FC236}">
                <a16:creationId xmlns:a16="http://schemas.microsoft.com/office/drawing/2014/main" xmlns="" id="{60F9436F-19EB-CEA4-8C6F-2BF0C1A72D9B}"/>
              </a:ext>
            </a:extLst>
          </p:cNvPr>
          <p:cNvSpPr/>
          <p:nvPr>
            <p:custDataLst>
              <p:tags r:id="rId70"/>
            </p:custDataLst>
          </p:nvPr>
        </p:nvSpPr>
        <p:spPr bwMode="auto">
          <a:xfrm>
            <a:off x="11033125" y="5287963"/>
            <a:ext cx="215900" cy="12858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0" tIns="0" rIns="0" bIns="0" rtlCol="0" anchor="t"/>
          <a:lstStyle/>
          <a:p>
            <a:pPr algn="ctr">
              <a:lnSpc>
                <a:spcPct val="106000"/>
              </a:lnSpc>
              <a:spcBef>
                <a:spcPct val="0"/>
              </a:spcBef>
              <a:spcAft>
                <a:spcPct val="0"/>
              </a:spcAft>
              <a:buFont typeface="Wingdings 2" pitchFamily="18" charset="2"/>
              <a:buNone/>
            </a:pPr>
            <a:fld id="{C99BD787-A12E-43B0-BDCD-156983A39C75}" type="datetime'''''''''''''2''''''''''''''''''''''''0''5''''''''''0'''">
              <a:rPr lang="es-BO" sz="800" noProof="0" smtClean="0">
                <a:latin typeface="Calibri Light" panose="020F0302020204030204" pitchFamily="34" charset="0"/>
                <a:cs typeface="Calibri Light" panose="020F0302020204030204" pitchFamily="34" charset="0"/>
              </a:rPr>
              <a:pPr/>
              <a:t>20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Rectangle 41">
            <a:extLst>
              <a:ext uri="{FF2B5EF4-FFF2-40B4-BE49-F238E27FC236}">
                <a16:creationId xmlns:a16="http://schemas.microsoft.com/office/drawing/2014/main" xmlns="" id="{EC31CB79-387B-09F7-18DF-0F5877A2CE32}"/>
              </a:ext>
            </a:extLst>
          </p:cNvPr>
          <p:cNvSpPr/>
          <p:nvPr>
            <p:custDataLst>
              <p:tags r:id="rId71"/>
            </p:custDataLst>
          </p:nvPr>
        </p:nvSpPr>
        <p:spPr bwMode="gray">
          <a:xfrm>
            <a:off x="9940925" y="4592638"/>
            <a:ext cx="2635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5E4781D0-1666-4AD8-A364-ED9C1C4623CC}" type="datetime'''''''''4''''''.''''''''''9''''''''0''0'">
              <a:rPr lang="es-BO" sz="800" noProof="0" smtClean="0">
                <a:latin typeface="Calibri Light" panose="020F0302020204030204" pitchFamily="34" charset="0"/>
                <a:cs typeface="Calibri Light" panose="020F0302020204030204" pitchFamily="34" charset="0"/>
              </a:rPr>
              <a:pPr/>
              <a:t>4.90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Rectangle 42">
            <a:extLst>
              <a:ext uri="{FF2B5EF4-FFF2-40B4-BE49-F238E27FC236}">
                <a16:creationId xmlns:a16="http://schemas.microsoft.com/office/drawing/2014/main" xmlns="" id="{F96FD3A5-6031-D96A-0787-2857731F1C4C}"/>
              </a:ext>
            </a:extLst>
          </p:cNvPr>
          <p:cNvSpPr/>
          <p:nvPr>
            <p:custDataLst>
              <p:tags r:id="rId72"/>
            </p:custDataLst>
          </p:nvPr>
        </p:nvSpPr>
        <p:spPr bwMode="gray">
          <a:xfrm>
            <a:off x="11009313" y="4286250"/>
            <a:ext cx="263525" cy="109538"/>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none" lIns="17463" tIns="0" rIns="17463" bIns="0" rtlCol="0" anchor="b"/>
          <a:lstStyle/>
          <a:p>
            <a:pPr algn="ctr">
              <a:lnSpc>
                <a:spcPct val="90000"/>
              </a:lnSpc>
              <a:spcBef>
                <a:spcPct val="0"/>
              </a:spcBef>
              <a:spcAft>
                <a:spcPct val="0"/>
              </a:spcAft>
              <a:buFont typeface="Wingdings 2" pitchFamily="18" charset="2"/>
              <a:buNone/>
            </a:pPr>
            <a:fld id="{5F1EB714-EECC-4A39-902C-13B9EE628A4D}" type="datetime'''''7''''''''''''''''''''''''''''.''''''''''''95''''0'''''''">
              <a:rPr lang="es-BO" sz="800" noProof="0" smtClean="0">
                <a:latin typeface="Calibri Light" panose="020F0302020204030204" pitchFamily="34" charset="0"/>
                <a:cs typeface="Calibri Light" panose="020F0302020204030204" pitchFamily="34" charset="0"/>
              </a:rPr>
              <a:pPr/>
              <a:t>7.950</a:t>
            </a:fld>
            <a:endParaRPr lang="es-BO" sz="800" b="1" noProof="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TextBox 43">
            <a:extLst>
              <a:ext uri="{FF2B5EF4-FFF2-40B4-BE49-F238E27FC236}">
                <a16:creationId xmlns:a16="http://schemas.microsoft.com/office/drawing/2014/main" xmlns="" id="{41CDA8F9-BECF-D8A6-30B8-5EF15EEAD901}"/>
              </a:ext>
            </a:extLst>
          </p:cNvPr>
          <p:cNvSpPr txBox="1"/>
          <p:nvPr/>
        </p:nvSpPr>
        <p:spPr>
          <a:xfrm>
            <a:off x="8437563" y="4265613"/>
            <a:ext cx="1395413" cy="246063"/>
          </a:xfrm>
          <a:prstGeom prst="rect">
            <a:avLst/>
          </a:prstGeom>
          <a:noFill/>
        </p:spPr>
        <p:txBody>
          <a:bodyPr wrap="square" lIns="0" tIns="0" rIns="0" bIns="0" rtlCol="0">
            <a:spAutoFit/>
          </a:bodyPr>
          <a:lstStyle/>
          <a:p>
            <a:pPr algn="l">
              <a:buSzPct val="100000"/>
            </a:pPr>
            <a:r>
              <a:rPr lang="es-BO" sz="800" b="1" noProof="0" dirty="0">
                <a:solidFill>
                  <a:srgbClr val="313131"/>
                </a:solidFill>
                <a:latin typeface="Calibri Light" panose="020F0302020204030204" pitchFamily="34" charset="0"/>
                <a:cs typeface="Calibri Light" panose="020F0302020204030204" pitchFamily="34" charset="0"/>
              </a:rPr>
              <a:t>Inversión acumulada aproximada</a:t>
            </a:r>
          </a:p>
          <a:p>
            <a:pPr algn="l">
              <a:buSzPct val="100000"/>
            </a:pPr>
            <a:r>
              <a:rPr lang="es-BO" sz="800" noProof="0" dirty="0">
                <a:solidFill>
                  <a:srgbClr val="313131"/>
                </a:solidFill>
                <a:latin typeface="Calibri Light" panose="020F0302020204030204" pitchFamily="34" charset="0"/>
                <a:cs typeface="Calibri Light" panose="020F0302020204030204" pitchFamily="34" charset="0"/>
              </a:rPr>
              <a:t>(Millones de USD)</a:t>
            </a:r>
          </a:p>
        </p:txBody>
      </p:sp>
      <p:sp>
        <p:nvSpPr>
          <p:cNvPr id="45" name="Rectangle 44">
            <a:extLst>
              <a:ext uri="{FF2B5EF4-FFF2-40B4-BE49-F238E27FC236}">
                <a16:creationId xmlns:a16="http://schemas.microsoft.com/office/drawing/2014/main" xmlns="" id="{253FC819-B3A7-1B5F-9726-3EAD6966F7C0}"/>
              </a:ext>
            </a:extLst>
          </p:cNvPr>
          <p:cNvSpPr/>
          <p:nvPr/>
        </p:nvSpPr>
        <p:spPr bwMode="gray">
          <a:xfrm>
            <a:off x="8351838" y="4183063"/>
            <a:ext cx="3557588" cy="1685925"/>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46" name="CuadroTexto 7">
            <a:extLst>
              <a:ext uri="{FF2B5EF4-FFF2-40B4-BE49-F238E27FC236}">
                <a16:creationId xmlns:a16="http://schemas.microsoft.com/office/drawing/2014/main" xmlns="" id="{F83675C4-06B8-6853-B7C3-57B7BDAFCD69}"/>
              </a:ext>
            </a:extLst>
          </p:cNvPr>
          <p:cNvSpPr txBox="1"/>
          <p:nvPr/>
        </p:nvSpPr>
        <p:spPr>
          <a:xfrm>
            <a:off x="8372912" y="3604566"/>
            <a:ext cx="3683744" cy="215444"/>
          </a:xfrm>
          <a:prstGeom prst="rect">
            <a:avLst/>
          </a:prstGeom>
          <a:noFill/>
        </p:spPr>
        <p:txBody>
          <a:bodyPr wrap="square" lIns="0" tIns="0" rIns="0" bIns="0" rtlCol="0">
            <a:spAutoFit/>
          </a:bodyPr>
          <a:lstStyle/>
          <a:p>
            <a:pPr algn="l">
              <a:spcBef>
                <a:spcPts val="600"/>
              </a:spcBef>
              <a:buSzPct val="100000"/>
            </a:pPr>
            <a:r>
              <a:rPr lang="es-BO" sz="700" noProof="0" dirty="0">
                <a:solidFill>
                  <a:srgbClr val="2C5234"/>
                </a:solidFill>
                <a:latin typeface="Calibri Light" panose="020F0302020204030204" pitchFamily="34" charset="0"/>
                <a:cs typeface="Calibri Light" panose="020F0302020204030204" pitchFamily="34" charset="0"/>
              </a:rPr>
              <a:t>* Se Considera una inversión por unidad de 265 M$ para rango bajo y 350 M$ rango alto (Anexo Cartera de Proyectos). Para el 2040 se considera una disminución del 30% y para el 2050 un 60%</a:t>
            </a:r>
          </a:p>
        </p:txBody>
      </p:sp>
      <p:sp>
        <p:nvSpPr>
          <p:cNvPr id="47" name="CuadroTexto 34">
            <a:extLst>
              <a:ext uri="{FF2B5EF4-FFF2-40B4-BE49-F238E27FC236}">
                <a16:creationId xmlns:a16="http://schemas.microsoft.com/office/drawing/2014/main" xmlns="" id="{4DD5BD3B-61A6-980C-1522-2FB59090FD5A}"/>
              </a:ext>
            </a:extLst>
          </p:cNvPr>
          <p:cNvSpPr txBox="1"/>
          <p:nvPr/>
        </p:nvSpPr>
        <p:spPr>
          <a:xfrm>
            <a:off x="8326535" y="5927668"/>
            <a:ext cx="3683744" cy="215444"/>
          </a:xfrm>
          <a:prstGeom prst="rect">
            <a:avLst/>
          </a:prstGeom>
        </p:spPr>
        <p:txBody>
          <a:bodyPr wrap="square" lIns="0" tIns="0" rIns="0" bIns="0" rtlCol="0">
            <a:spAutoFit/>
          </a:bodyPr>
          <a:lstStyle/>
          <a:p>
            <a:pPr algn="l">
              <a:spcBef>
                <a:spcPts val="600"/>
              </a:spcBef>
              <a:buSzPct val="100000"/>
            </a:pPr>
            <a:r>
              <a:rPr lang="es-BO" sz="700" noProof="0" dirty="0">
                <a:solidFill>
                  <a:srgbClr val="2C5234"/>
                </a:solidFill>
                <a:latin typeface="Calibri Light" panose="020F0302020204030204" pitchFamily="34" charset="0"/>
                <a:cs typeface="Calibri Light" panose="020F0302020204030204" pitchFamily="34" charset="0"/>
              </a:rPr>
              <a:t>* Se Considera una inversión por unidad de 210 M$ para rango bajo y 310 M$ rango alto (Anexo Cartera de Proyectos). Para el 2040 se considera una disminución del 30% y para el 2050 un 60%</a:t>
            </a:r>
          </a:p>
        </p:txBody>
      </p:sp>
      <p:sp>
        <p:nvSpPr>
          <p:cNvPr id="3" name="Slide Number Placeholder 1">
            <a:extLst>
              <a:ext uri="{FF2B5EF4-FFF2-40B4-BE49-F238E27FC236}">
                <a16:creationId xmlns:a16="http://schemas.microsoft.com/office/drawing/2014/main" xmlns="" id="{9C6A1D69-CA2A-0C75-64A5-6B6D007A3CA6}"/>
              </a:ext>
            </a:extLst>
          </p:cNvPr>
          <p:cNvSpPr>
            <a:spLocks noGrp="1"/>
          </p:cNvSpPr>
          <p:nvPr>
            <p:ph type="sldNum" sz="quarter" idx="4"/>
          </p:nvPr>
        </p:nvSpPr>
        <p:spPr>
          <a:xfrm>
            <a:off x="11365133" y="6512057"/>
            <a:ext cx="289497" cy="153888"/>
          </a:xfrm>
        </p:spPr>
        <p:txBody>
          <a:bodyPr/>
          <a:lstStyle/>
          <a:p>
            <a:fld id="{A8E5AD78-C39A-47FF-83FF-0E69177E1F7C}" type="slidenum">
              <a:rPr lang="es-BO" noProof="0" smtClean="0"/>
              <a:pPr/>
              <a:t>8</a:t>
            </a:fld>
            <a:endParaRPr lang="es-BO" noProof="0" dirty="0"/>
          </a:p>
        </p:txBody>
      </p:sp>
      <p:sp>
        <p:nvSpPr>
          <p:cNvPr id="17" name="Flecha derecha 16"/>
          <p:cNvSpPr/>
          <p:nvPr/>
        </p:nvSpPr>
        <p:spPr bwMode="gray">
          <a:xfrm>
            <a:off x="116958" y="2520950"/>
            <a:ext cx="182331" cy="400051"/>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
        <p:nvSpPr>
          <p:cNvPr id="99" name="Flecha derecha 98"/>
          <p:cNvSpPr/>
          <p:nvPr/>
        </p:nvSpPr>
        <p:spPr bwMode="gray">
          <a:xfrm>
            <a:off x="109865" y="4810497"/>
            <a:ext cx="182331" cy="400051"/>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b="1" noProof="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6882670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xmlns="" id="{69BFA073-131A-1247-942D-13B88531B4B4}"/>
              </a:ext>
            </a:extLst>
          </p:cNvPr>
          <p:cNvSpPr/>
          <p:nvPr/>
        </p:nvSpPr>
        <p:spPr bwMode="gray">
          <a:xfrm>
            <a:off x="-661308" y="367700"/>
            <a:ext cx="11806313" cy="705441"/>
          </a:xfrm>
          <a:prstGeom prst="roundRect">
            <a:avLst/>
          </a:prstGeom>
          <a:solidFill>
            <a:srgbClr val="2C5234"/>
          </a:solidFill>
          <a:ln w="19050"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err="1">
              <a:latin typeface="Calibri Light" panose="020F0302020204030204" pitchFamily="34" charset="0"/>
              <a:cs typeface="Calibri Light" panose="020F0302020204030204" pitchFamily="34" charset="0"/>
            </a:endParaRPr>
          </a:p>
        </p:txBody>
      </p:sp>
      <p:graphicFrame>
        <p:nvGraphicFramePr>
          <p:cNvPr id="12" name="Object 11" hidden="1">
            <a:extLst>
              <a:ext uri="{FF2B5EF4-FFF2-40B4-BE49-F238E27FC236}">
                <a16:creationId xmlns:a16="http://schemas.microsoft.com/office/drawing/2014/main" xmlns="" id="{1A80EE2E-7927-4351-BBDC-3CAD663723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xmlns="" id="{1A80EE2E-7927-4351-BBDC-3CAD663723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xmlns="" id="{8459939A-CF18-4DAA-9E5A-9252C9BD0084}"/>
              </a:ext>
            </a:extLst>
          </p:cNvPr>
          <p:cNvSpPr>
            <a:spLocks noGrp="1"/>
          </p:cNvSpPr>
          <p:nvPr>
            <p:ph type="body" sz="quarter" idx="13"/>
          </p:nvPr>
        </p:nvSpPr>
        <p:spPr>
          <a:xfrm>
            <a:off x="1404325" y="557298"/>
            <a:ext cx="11160125" cy="719137"/>
          </a:xfrm>
        </p:spPr>
        <p:txBody>
          <a:bodyPr anchor="t"/>
          <a:lstStyle/>
          <a:p>
            <a:r>
              <a:rPr lang="es-BO" noProof="0" dirty="0">
                <a:solidFill>
                  <a:schemeClr val="bg1"/>
                </a:solidFill>
              </a:rPr>
              <a:t>Finalmente, se propone un modelo de gobernanza</a:t>
            </a:r>
            <a:endParaRPr lang="es-BO" noProof="0" dirty="0">
              <a:solidFill>
                <a:schemeClr val="bg1"/>
              </a:solidFill>
              <a:highlight>
                <a:srgbClr val="FFFF00"/>
              </a:highlight>
            </a:endParaRPr>
          </a:p>
        </p:txBody>
      </p:sp>
      <p:sp>
        <p:nvSpPr>
          <p:cNvPr id="6" name="TextBox 5">
            <a:extLst>
              <a:ext uri="{FF2B5EF4-FFF2-40B4-BE49-F238E27FC236}">
                <a16:creationId xmlns:a16="http://schemas.microsoft.com/office/drawing/2014/main" xmlns="" id="{E341F691-1A34-2EB9-3FF5-377670B5B700}"/>
              </a:ext>
            </a:extLst>
          </p:cNvPr>
          <p:cNvSpPr txBox="1"/>
          <p:nvPr/>
        </p:nvSpPr>
        <p:spPr>
          <a:xfrm>
            <a:off x="2879922" y="1191717"/>
            <a:ext cx="720000" cy="215444"/>
          </a:xfrm>
          <a:prstGeom prst="rect">
            <a:avLst/>
          </a:prstGeom>
          <a:noFill/>
        </p:spPr>
        <p:txBody>
          <a:bodyPr wrap="square" lIns="0" tIns="0" rIns="0" bIns="0" rtlCol="0">
            <a:spAutoFit/>
          </a:bodyPr>
          <a:lstStyle/>
          <a:p>
            <a:pPr>
              <a:spcBef>
                <a:spcPts val="600"/>
              </a:spcBef>
              <a:buSzPct val="100000"/>
            </a:pPr>
            <a:r>
              <a:rPr lang="es-BO" sz="1400" b="1" noProof="0" dirty="0">
                <a:solidFill>
                  <a:schemeClr val="accent3"/>
                </a:solidFill>
                <a:latin typeface="Calibri Light" panose="020F0302020204030204" pitchFamily="34" charset="0"/>
                <a:cs typeface="Calibri Light" panose="020F0302020204030204" pitchFamily="34" charset="0"/>
              </a:rPr>
              <a:t>Entidades</a:t>
            </a:r>
          </a:p>
        </p:txBody>
      </p:sp>
      <p:sp>
        <p:nvSpPr>
          <p:cNvPr id="15" name="TextBox 14">
            <a:extLst>
              <a:ext uri="{FF2B5EF4-FFF2-40B4-BE49-F238E27FC236}">
                <a16:creationId xmlns:a16="http://schemas.microsoft.com/office/drawing/2014/main" xmlns="" id="{8AFB70AF-37F1-CBC1-A646-C8C99B207527}"/>
              </a:ext>
            </a:extLst>
          </p:cNvPr>
          <p:cNvSpPr txBox="1"/>
          <p:nvPr/>
        </p:nvSpPr>
        <p:spPr>
          <a:xfrm>
            <a:off x="5572568" y="1191717"/>
            <a:ext cx="720000" cy="215444"/>
          </a:xfrm>
          <a:prstGeom prst="rect">
            <a:avLst/>
          </a:prstGeom>
          <a:noFill/>
        </p:spPr>
        <p:txBody>
          <a:bodyPr wrap="square" lIns="0" tIns="0" rIns="0" bIns="0" rtlCol="0">
            <a:spAutoFit/>
          </a:bodyPr>
          <a:lstStyle/>
          <a:p>
            <a:pPr>
              <a:spcBef>
                <a:spcPts val="600"/>
              </a:spcBef>
              <a:buSzPct val="100000"/>
            </a:pPr>
            <a:r>
              <a:rPr lang="es-BO" sz="1400" b="1" noProof="0" dirty="0">
                <a:solidFill>
                  <a:schemeClr val="accent3"/>
                </a:solidFill>
                <a:latin typeface="Calibri Light" panose="020F0302020204030204" pitchFamily="34" charset="0"/>
                <a:cs typeface="Calibri Light" panose="020F0302020204030204" pitchFamily="34" charset="0"/>
              </a:rPr>
              <a:t>Rol</a:t>
            </a:r>
          </a:p>
        </p:txBody>
      </p:sp>
      <p:sp>
        <p:nvSpPr>
          <p:cNvPr id="17" name="TextBox 16">
            <a:extLst>
              <a:ext uri="{FF2B5EF4-FFF2-40B4-BE49-F238E27FC236}">
                <a16:creationId xmlns:a16="http://schemas.microsoft.com/office/drawing/2014/main" xmlns="" id="{D346EDA1-BC16-3404-1308-50B10D7F7312}"/>
              </a:ext>
            </a:extLst>
          </p:cNvPr>
          <p:cNvSpPr txBox="1"/>
          <p:nvPr/>
        </p:nvSpPr>
        <p:spPr>
          <a:xfrm>
            <a:off x="8265214" y="1191717"/>
            <a:ext cx="720000" cy="215444"/>
          </a:xfrm>
          <a:prstGeom prst="rect">
            <a:avLst/>
          </a:prstGeom>
          <a:noFill/>
        </p:spPr>
        <p:txBody>
          <a:bodyPr wrap="square" lIns="0" tIns="0" rIns="0" bIns="0" rtlCol="0">
            <a:spAutoFit/>
          </a:bodyPr>
          <a:lstStyle/>
          <a:p>
            <a:pPr>
              <a:spcBef>
                <a:spcPts val="600"/>
              </a:spcBef>
              <a:buSzPct val="100000"/>
            </a:pPr>
            <a:r>
              <a:rPr lang="es-BO" sz="1400" b="1" noProof="0" dirty="0">
                <a:solidFill>
                  <a:schemeClr val="accent3"/>
                </a:solidFill>
                <a:latin typeface="Calibri Light" panose="020F0302020204030204" pitchFamily="34" charset="0"/>
                <a:cs typeface="Calibri Light" panose="020F0302020204030204" pitchFamily="34" charset="0"/>
              </a:rPr>
              <a:t>Ámbito</a:t>
            </a:r>
          </a:p>
        </p:txBody>
      </p:sp>
      <p:sp>
        <p:nvSpPr>
          <p:cNvPr id="19" name="Rectangle 18">
            <a:extLst>
              <a:ext uri="{FF2B5EF4-FFF2-40B4-BE49-F238E27FC236}">
                <a16:creationId xmlns:a16="http://schemas.microsoft.com/office/drawing/2014/main" xmlns="" id="{FB01548F-91E3-C8C8-4150-090C7B596CAD}"/>
              </a:ext>
            </a:extLst>
          </p:cNvPr>
          <p:cNvSpPr/>
          <p:nvPr/>
        </p:nvSpPr>
        <p:spPr bwMode="gray">
          <a:xfrm>
            <a:off x="5097320" y="1534255"/>
            <a:ext cx="6047685" cy="490188"/>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Cabeza de sector</a:t>
            </a:r>
          </a:p>
        </p:txBody>
      </p:sp>
      <p:sp>
        <p:nvSpPr>
          <p:cNvPr id="20" name="Rectangle 19">
            <a:extLst>
              <a:ext uri="{FF2B5EF4-FFF2-40B4-BE49-F238E27FC236}">
                <a16:creationId xmlns:a16="http://schemas.microsoft.com/office/drawing/2014/main" xmlns="" id="{6C73F853-938C-48FB-331F-C37073E377AD}"/>
              </a:ext>
            </a:extLst>
          </p:cNvPr>
          <p:cNvSpPr/>
          <p:nvPr/>
        </p:nvSpPr>
        <p:spPr bwMode="gray">
          <a:xfrm>
            <a:off x="5097321" y="2163683"/>
            <a:ext cx="1224000" cy="1049855"/>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Reguladores</a:t>
            </a:r>
          </a:p>
        </p:txBody>
      </p:sp>
      <p:sp>
        <p:nvSpPr>
          <p:cNvPr id="23" name="Rectangle 22">
            <a:extLst>
              <a:ext uri="{FF2B5EF4-FFF2-40B4-BE49-F238E27FC236}">
                <a16:creationId xmlns:a16="http://schemas.microsoft.com/office/drawing/2014/main" xmlns="" id="{E33AB7A7-164B-E468-34B3-2F0B5D7C1126}"/>
              </a:ext>
            </a:extLst>
          </p:cNvPr>
          <p:cNvSpPr/>
          <p:nvPr/>
        </p:nvSpPr>
        <p:spPr bwMode="gray">
          <a:xfrm>
            <a:off x="6447652" y="2163684"/>
            <a:ext cx="4697360" cy="490188"/>
          </a:xfrm>
          <a:prstGeom prst="rect">
            <a:avLst/>
          </a:prstGeom>
          <a:noFill/>
          <a:ln w="19050" algn="ctr">
            <a:solidFill>
              <a:schemeClr val="bg2"/>
            </a:solidFill>
            <a:miter lim="800000"/>
            <a:headEnd/>
            <a:tailEnd/>
          </a:ln>
        </p:spPr>
        <p:txBody>
          <a:bodyPr wrap="square" lIns="88900" tIns="88900" rIns="88900" bIns="88900" rtlCol="0" anchor="ctr"/>
          <a:lstStyle/>
          <a:p>
            <a:pPr algn="just">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Producción, transporte, almacenaje y distribución de H2V y sus derivados para aplicaciones como combustible.</a:t>
            </a:r>
          </a:p>
        </p:txBody>
      </p:sp>
      <p:sp>
        <p:nvSpPr>
          <p:cNvPr id="29" name="Rectangle 28">
            <a:extLst>
              <a:ext uri="{FF2B5EF4-FFF2-40B4-BE49-F238E27FC236}">
                <a16:creationId xmlns:a16="http://schemas.microsoft.com/office/drawing/2014/main" xmlns="" id="{3C4C9A0A-27CD-5DFC-09C1-68130A978A9E}"/>
              </a:ext>
            </a:extLst>
          </p:cNvPr>
          <p:cNvSpPr/>
          <p:nvPr/>
        </p:nvSpPr>
        <p:spPr bwMode="gray">
          <a:xfrm>
            <a:off x="6447651" y="2719763"/>
            <a:ext cx="4697359" cy="493776"/>
          </a:xfrm>
          <a:prstGeom prst="rect">
            <a:avLst/>
          </a:prstGeom>
          <a:noFill/>
          <a:ln w="19050" algn="ctr">
            <a:solidFill>
              <a:schemeClr val="bg2"/>
            </a:solidFill>
            <a:miter lim="800000"/>
            <a:headEnd/>
            <a:tailEnd/>
          </a:ln>
        </p:spPr>
        <p:txBody>
          <a:bodyPr wrap="square" lIns="88900" tIns="88900" rIns="88900" bIns="88900" rtlCol="0" anchor="ctr"/>
          <a:lstStyle/>
          <a:p>
            <a:pPr algn="just">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Generación, transmisión y comercialización de electricidad con fuentes renovables.</a:t>
            </a:r>
          </a:p>
        </p:txBody>
      </p:sp>
      <p:sp>
        <p:nvSpPr>
          <p:cNvPr id="31" name="Rectangle 30">
            <a:extLst>
              <a:ext uri="{FF2B5EF4-FFF2-40B4-BE49-F238E27FC236}">
                <a16:creationId xmlns:a16="http://schemas.microsoft.com/office/drawing/2014/main" xmlns="" id="{3C505484-46C9-A380-71CB-03B19A59D4ED}"/>
              </a:ext>
            </a:extLst>
          </p:cNvPr>
          <p:cNvSpPr/>
          <p:nvPr/>
        </p:nvSpPr>
        <p:spPr bwMode="gray">
          <a:xfrm>
            <a:off x="5097321" y="3415260"/>
            <a:ext cx="1224000" cy="2599367"/>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Operadores</a:t>
            </a:r>
          </a:p>
        </p:txBody>
      </p:sp>
      <p:sp>
        <p:nvSpPr>
          <p:cNvPr id="32" name="Rectangle 31">
            <a:extLst>
              <a:ext uri="{FF2B5EF4-FFF2-40B4-BE49-F238E27FC236}">
                <a16:creationId xmlns:a16="http://schemas.microsoft.com/office/drawing/2014/main" xmlns="" id="{1E3AFB22-B42C-0A39-9EBA-5B5305C84B61}"/>
              </a:ext>
            </a:extLst>
          </p:cNvPr>
          <p:cNvSpPr/>
          <p:nvPr/>
        </p:nvSpPr>
        <p:spPr bwMode="gray">
          <a:xfrm>
            <a:off x="6447652" y="3410231"/>
            <a:ext cx="4697358" cy="493776"/>
          </a:xfrm>
          <a:prstGeom prst="rect">
            <a:avLst/>
          </a:prstGeom>
          <a:noFill/>
          <a:ln w="19050" algn="ctr">
            <a:solidFill>
              <a:schemeClr val="bg2"/>
            </a:solidFill>
            <a:miter lim="800000"/>
            <a:headEnd/>
            <a:tailEnd/>
          </a:ln>
        </p:spPr>
        <p:txBody>
          <a:bodyPr wrap="square" lIns="88900" tIns="88900" rIns="88900" bIns="88900" rtlCol="0" anchor="ctr"/>
          <a:lstStyle/>
          <a:p>
            <a:pPr>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Aplicaciones del H2V como combustible y derivados.</a:t>
            </a:r>
          </a:p>
        </p:txBody>
      </p:sp>
      <p:sp>
        <p:nvSpPr>
          <p:cNvPr id="38" name="Rectangle 37">
            <a:extLst>
              <a:ext uri="{FF2B5EF4-FFF2-40B4-BE49-F238E27FC236}">
                <a16:creationId xmlns:a16="http://schemas.microsoft.com/office/drawing/2014/main" xmlns="" id="{55C22260-0F26-BC9E-6E94-4B2E0A41094C}"/>
              </a:ext>
            </a:extLst>
          </p:cNvPr>
          <p:cNvSpPr/>
          <p:nvPr/>
        </p:nvSpPr>
        <p:spPr bwMode="gray">
          <a:xfrm>
            <a:off x="6464205" y="4070921"/>
            <a:ext cx="4680801" cy="490188"/>
          </a:xfrm>
          <a:prstGeom prst="rect">
            <a:avLst/>
          </a:prstGeom>
          <a:noFill/>
          <a:ln w="19050" algn="ctr">
            <a:solidFill>
              <a:schemeClr val="bg2"/>
            </a:solidFill>
            <a:miter lim="800000"/>
            <a:headEnd/>
            <a:tailEnd/>
          </a:ln>
        </p:spPr>
        <p:txBody>
          <a:bodyPr wrap="square" lIns="88900" tIns="88900" rIns="88900" bIns="88900" rtlCol="0" anchor="ctr"/>
          <a:lstStyle/>
          <a:p>
            <a:pPr>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Aplicaciones del H2V en el sector eléctrico.</a:t>
            </a:r>
          </a:p>
        </p:txBody>
      </p:sp>
      <p:sp>
        <p:nvSpPr>
          <p:cNvPr id="49" name="Text Placeholder 5">
            <a:extLst>
              <a:ext uri="{FF2B5EF4-FFF2-40B4-BE49-F238E27FC236}">
                <a16:creationId xmlns:a16="http://schemas.microsoft.com/office/drawing/2014/main" xmlns="" id="{D3FA582F-26E8-99A4-C148-41DF800D8A88}"/>
              </a:ext>
            </a:extLst>
          </p:cNvPr>
          <p:cNvSpPr txBox="1">
            <a:spLocks/>
          </p:cNvSpPr>
          <p:nvPr/>
        </p:nvSpPr>
        <p:spPr>
          <a:xfrm>
            <a:off x="515938" y="6142232"/>
            <a:ext cx="11160125" cy="246221"/>
          </a:xfrm>
          <a:prstGeom prst="rect">
            <a:avLst/>
          </a:prstGeom>
        </p:spPr>
        <p:txBody>
          <a:bodyPr wrap="square" lIns="0" tIns="0" rIns="0" bIns="0">
            <a:spAutoFit/>
          </a:bodyPr>
          <a:lstStyle>
            <a:lvl1pPr marL="0" indent="0" algn="l" defTabSz="914400" rtl="0" eaLnBrk="1" latinLnBrk="0" hangingPunct="1">
              <a:spcBef>
                <a:spcPts val="0"/>
              </a:spcBef>
              <a:spcAft>
                <a:spcPts val="0"/>
              </a:spcAft>
              <a:buSzPct val="100000"/>
              <a:buFontTx/>
              <a:buNone/>
              <a:defRPr sz="800" b="0" i="1" kern="1200">
                <a:solidFill>
                  <a:schemeClr val="tx1"/>
                </a:solidFill>
                <a:latin typeface="Calibri Light" panose="020F0302020204030204" pitchFamily="34" charset="0"/>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600" b="1" kern="1200">
                <a:solidFill>
                  <a:schemeClr val="tx1"/>
                </a:solidFill>
                <a:latin typeface="Calibri Light" panose="020F0302020204030204" pitchFamily="34" charset="0"/>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600" kern="1200">
                <a:solidFill>
                  <a:schemeClr val="tx1"/>
                </a:solidFill>
                <a:latin typeface="Calibri Light" panose="020F0302020204030204" pitchFamily="34" charset="0"/>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600" kern="1200" baseline="0">
                <a:solidFill>
                  <a:schemeClr val="tx1"/>
                </a:solidFill>
                <a:latin typeface="Calibri Light" panose="020F0302020204030204" pitchFamily="34" charset="0"/>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600" kern="1200" baseline="0">
                <a:solidFill>
                  <a:schemeClr val="tx1"/>
                </a:solidFill>
                <a:latin typeface="Calibri Light" panose="020F0302020204030204" pitchFamily="34" charset="0"/>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BO" noProof="0" dirty="0"/>
              <a:t>Fuentes: Ministerio de Hidrocarburos y Energías</a:t>
            </a:r>
          </a:p>
          <a:p>
            <a:pPr marL="228600" indent="-228600">
              <a:buFontTx/>
              <a:buAutoNum type="arabicParenR"/>
            </a:pPr>
            <a:endParaRPr lang="es-BO" noProof="0" dirty="0"/>
          </a:p>
        </p:txBody>
      </p:sp>
      <p:sp>
        <p:nvSpPr>
          <p:cNvPr id="7" name="Rectangle 37">
            <a:extLst>
              <a:ext uri="{FF2B5EF4-FFF2-40B4-BE49-F238E27FC236}">
                <a16:creationId xmlns:a16="http://schemas.microsoft.com/office/drawing/2014/main" xmlns="" id="{0600DD82-B8D4-845F-95F8-078DA08913E0}"/>
              </a:ext>
            </a:extLst>
          </p:cNvPr>
          <p:cNvSpPr/>
          <p:nvPr/>
        </p:nvSpPr>
        <p:spPr bwMode="gray">
          <a:xfrm>
            <a:off x="6447650" y="4728023"/>
            <a:ext cx="4697357" cy="566928"/>
          </a:xfrm>
          <a:prstGeom prst="rect">
            <a:avLst/>
          </a:prstGeom>
          <a:noFill/>
          <a:ln w="19050" algn="ctr">
            <a:solidFill>
              <a:schemeClr val="bg2"/>
            </a:solidFill>
            <a:miter lim="800000"/>
            <a:headEnd/>
            <a:tailEnd/>
          </a:ln>
        </p:spPr>
        <p:txBody>
          <a:bodyPr wrap="square" lIns="88900" tIns="88900" rIns="88900" bIns="88900" rtlCol="0" anchor="ctr"/>
          <a:lstStyle/>
          <a:p>
            <a:pPr algn="just">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Participación en el financiamiento y producción la de H2V y sus derivados de manera particular o en Asociaciones Público Privadas (APP) en el marco de la Ley </a:t>
            </a:r>
            <a:r>
              <a:rPr lang="es-BO" sz="1200" noProof="0" dirty="0" err="1">
                <a:latin typeface="Calibri Light" panose="020F0302020204030204" pitchFamily="34" charset="0"/>
                <a:cs typeface="Calibri Light" panose="020F0302020204030204" pitchFamily="34" charset="0"/>
              </a:rPr>
              <a:t>N°</a:t>
            </a:r>
            <a:r>
              <a:rPr lang="es-BO" sz="1200" noProof="0" dirty="0">
                <a:latin typeface="Calibri Light" panose="020F0302020204030204" pitchFamily="34" charset="0"/>
                <a:cs typeface="Calibri Light" panose="020F0302020204030204" pitchFamily="34" charset="0"/>
              </a:rPr>
              <a:t> 466. </a:t>
            </a:r>
          </a:p>
        </p:txBody>
      </p:sp>
      <p:sp>
        <p:nvSpPr>
          <p:cNvPr id="8" name="Rectangle 37">
            <a:extLst>
              <a:ext uri="{FF2B5EF4-FFF2-40B4-BE49-F238E27FC236}">
                <a16:creationId xmlns:a16="http://schemas.microsoft.com/office/drawing/2014/main" xmlns="" id="{4DF6EB39-A99F-F761-FC85-E1C0C69A2540}"/>
              </a:ext>
            </a:extLst>
          </p:cNvPr>
          <p:cNvSpPr/>
          <p:nvPr/>
        </p:nvSpPr>
        <p:spPr bwMode="gray">
          <a:xfrm>
            <a:off x="6447650" y="5461865"/>
            <a:ext cx="4697356" cy="566928"/>
          </a:xfrm>
          <a:prstGeom prst="rect">
            <a:avLst/>
          </a:prstGeom>
          <a:noFill/>
          <a:ln w="19050" algn="ctr">
            <a:solidFill>
              <a:schemeClr val="bg2"/>
            </a:solidFill>
            <a:miter lim="800000"/>
            <a:headEnd/>
            <a:tailEnd/>
          </a:ln>
        </p:spPr>
        <p:txBody>
          <a:bodyPr wrap="square" lIns="88900" tIns="88900" rIns="88900" bIns="88900" rtlCol="0" anchor="ctr"/>
          <a:lstStyle/>
          <a:p>
            <a:pPr algn="just">
              <a:lnSpc>
                <a:spcPct val="106000"/>
              </a:lnSpc>
              <a:buFont typeface="Wingdings 2" pitchFamily="18" charset="2"/>
              <a:buNone/>
            </a:pPr>
            <a:r>
              <a:rPr lang="es-BO" sz="1200" noProof="0" dirty="0">
                <a:latin typeface="Calibri Light" panose="020F0302020204030204" pitchFamily="34" charset="0"/>
                <a:cs typeface="Calibri Light" panose="020F0302020204030204" pitchFamily="34" charset="0"/>
              </a:rPr>
              <a:t>Financiamiento y Producción de plantas de H2V y sus derivados en el ámbito de su jurisdicción, en el marco de la Ley </a:t>
            </a:r>
            <a:r>
              <a:rPr lang="es-BO" sz="1200" noProof="0" dirty="0" err="1">
                <a:latin typeface="Calibri Light" panose="020F0302020204030204" pitchFamily="34" charset="0"/>
                <a:cs typeface="Calibri Light" panose="020F0302020204030204" pitchFamily="34" charset="0"/>
              </a:rPr>
              <a:t>N°</a:t>
            </a:r>
            <a:r>
              <a:rPr lang="es-BO" sz="1200" noProof="0" dirty="0">
                <a:latin typeface="Calibri Light" panose="020F0302020204030204" pitchFamily="34" charset="0"/>
                <a:cs typeface="Calibri Light" panose="020F0302020204030204" pitchFamily="34" charset="0"/>
              </a:rPr>
              <a:t> 466 de la Empresa Pública.</a:t>
            </a:r>
          </a:p>
        </p:txBody>
      </p:sp>
      <p:pic>
        <p:nvPicPr>
          <p:cNvPr id="10" name="Picture 9">
            <a:extLst>
              <a:ext uri="{FF2B5EF4-FFF2-40B4-BE49-F238E27FC236}">
                <a16:creationId xmlns:a16="http://schemas.microsoft.com/office/drawing/2014/main" xmlns="" id="{F5BF8EBA-6B52-9447-9D52-A8DBC5E1B4F2}"/>
              </a:ext>
            </a:extLst>
          </p:cNvPr>
          <p:cNvPicPr>
            <a:picLocks noChangeAspect="1"/>
          </p:cNvPicPr>
          <p:nvPr/>
        </p:nvPicPr>
        <p:blipFill>
          <a:blip r:embed="rId7"/>
          <a:stretch>
            <a:fillRect/>
          </a:stretch>
        </p:blipFill>
        <p:spPr>
          <a:xfrm>
            <a:off x="1594060" y="1521611"/>
            <a:ext cx="2840255" cy="566928"/>
          </a:xfrm>
          <a:prstGeom prst="rect">
            <a:avLst/>
          </a:prstGeom>
        </p:spPr>
      </p:pic>
      <p:pic>
        <p:nvPicPr>
          <p:cNvPr id="16" name="Picture 15">
            <a:extLst>
              <a:ext uri="{FF2B5EF4-FFF2-40B4-BE49-F238E27FC236}">
                <a16:creationId xmlns:a16="http://schemas.microsoft.com/office/drawing/2014/main" xmlns="" id="{C780B8C0-07E0-71DA-D240-4D387DB1979B}"/>
              </a:ext>
            </a:extLst>
          </p:cNvPr>
          <p:cNvPicPr>
            <a:picLocks noChangeAspect="1"/>
          </p:cNvPicPr>
          <p:nvPr/>
        </p:nvPicPr>
        <p:blipFill>
          <a:blip r:embed="rId8"/>
          <a:stretch>
            <a:fillRect/>
          </a:stretch>
        </p:blipFill>
        <p:spPr>
          <a:xfrm>
            <a:off x="1570164" y="2436299"/>
            <a:ext cx="1387164" cy="566928"/>
          </a:xfrm>
          <a:prstGeom prst="rect">
            <a:avLst/>
          </a:prstGeom>
        </p:spPr>
      </p:pic>
      <p:pic>
        <p:nvPicPr>
          <p:cNvPr id="21" name="Picture 20">
            <a:extLst>
              <a:ext uri="{FF2B5EF4-FFF2-40B4-BE49-F238E27FC236}">
                <a16:creationId xmlns:a16="http://schemas.microsoft.com/office/drawing/2014/main" xmlns="" id="{783724E9-CA7D-CA7D-136B-564A9A356406}"/>
              </a:ext>
            </a:extLst>
          </p:cNvPr>
          <p:cNvPicPr>
            <a:picLocks noChangeAspect="1"/>
          </p:cNvPicPr>
          <p:nvPr/>
        </p:nvPicPr>
        <p:blipFill>
          <a:blip r:embed="rId9"/>
          <a:stretch>
            <a:fillRect/>
          </a:stretch>
        </p:blipFill>
        <p:spPr>
          <a:xfrm>
            <a:off x="3579644" y="2436299"/>
            <a:ext cx="796202" cy="566928"/>
          </a:xfrm>
          <a:prstGeom prst="rect">
            <a:avLst/>
          </a:prstGeom>
        </p:spPr>
      </p:pic>
      <p:pic>
        <p:nvPicPr>
          <p:cNvPr id="25" name="Picture 24">
            <a:extLst>
              <a:ext uri="{FF2B5EF4-FFF2-40B4-BE49-F238E27FC236}">
                <a16:creationId xmlns:a16="http://schemas.microsoft.com/office/drawing/2014/main" xmlns="" id="{78B94E9F-BF8E-26B8-128A-07EBD409B187}"/>
              </a:ext>
            </a:extLst>
          </p:cNvPr>
          <p:cNvPicPr>
            <a:picLocks noChangeAspect="1"/>
          </p:cNvPicPr>
          <p:nvPr/>
        </p:nvPicPr>
        <p:blipFill>
          <a:blip r:embed="rId10"/>
          <a:stretch>
            <a:fillRect/>
          </a:stretch>
        </p:blipFill>
        <p:spPr>
          <a:xfrm>
            <a:off x="1553599" y="3885195"/>
            <a:ext cx="936178" cy="566928"/>
          </a:xfrm>
          <a:prstGeom prst="rect">
            <a:avLst/>
          </a:prstGeom>
        </p:spPr>
      </p:pic>
      <p:pic>
        <p:nvPicPr>
          <p:cNvPr id="27" name="Picture 26">
            <a:extLst>
              <a:ext uri="{FF2B5EF4-FFF2-40B4-BE49-F238E27FC236}">
                <a16:creationId xmlns:a16="http://schemas.microsoft.com/office/drawing/2014/main" xmlns="" id="{B7022F6A-C075-7A62-B1FA-77E362436B65}"/>
              </a:ext>
            </a:extLst>
          </p:cNvPr>
          <p:cNvPicPr>
            <a:picLocks noChangeAspect="1"/>
          </p:cNvPicPr>
          <p:nvPr/>
        </p:nvPicPr>
        <p:blipFill>
          <a:blip r:embed="rId11"/>
          <a:stretch>
            <a:fillRect/>
          </a:stretch>
        </p:blipFill>
        <p:spPr>
          <a:xfrm>
            <a:off x="3595374" y="3910020"/>
            <a:ext cx="1175237" cy="566928"/>
          </a:xfrm>
          <a:prstGeom prst="rect">
            <a:avLst/>
          </a:prstGeom>
        </p:spPr>
      </p:pic>
      <p:pic>
        <p:nvPicPr>
          <p:cNvPr id="33" name="Picture 32">
            <a:extLst>
              <a:ext uri="{FF2B5EF4-FFF2-40B4-BE49-F238E27FC236}">
                <a16:creationId xmlns:a16="http://schemas.microsoft.com/office/drawing/2014/main" xmlns="" id="{C9D00A80-70CA-D140-254A-DF2238721CD1}"/>
              </a:ext>
            </a:extLst>
          </p:cNvPr>
          <p:cNvPicPr>
            <a:picLocks noChangeAspect="1"/>
          </p:cNvPicPr>
          <p:nvPr/>
        </p:nvPicPr>
        <p:blipFill>
          <a:blip r:embed="rId12"/>
          <a:stretch>
            <a:fillRect/>
          </a:stretch>
        </p:blipFill>
        <p:spPr>
          <a:xfrm>
            <a:off x="2497559" y="3885195"/>
            <a:ext cx="990545" cy="624179"/>
          </a:xfrm>
          <a:prstGeom prst="rect">
            <a:avLst/>
          </a:prstGeom>
        </p:spPr>
      </p:pic>
      <p:pic>
        <p:nvPicPr>
          <p:cNvPr id="36" name="Picture 35">
            <a:extLst>
              <a:ext uri="{FF2B5EF4-FFF2-40B4-BE49-F238E27FC236}">
                <a16:creationId xmlns:a16="http://schemas.microsoft.com/office/drawing/2014/main" xmlns="" id="{5A12A472-581D-CD08-3F2E-D152EE918A2D}"/>
              </a:ext>
            </a:extLst>
          </p:cNvPr>
          <p:cNvPicPr>
            <a:picLocks noChangeAspect="1"/>
          </p:cNvPicPr>
          <p:nvPr/>
        </p:nvPicPr>
        <p:blipFill>
          <a:blip r:embed="rId13"/>
          <a:stretch>
            <a:fillRect/>
          </a:stretch>
        </p:blipFill>
        <p:spPr>
          <a:xfrm>
            <a:off x="3410817" y="4761746"/>
            <a:ext cx="566928" cy="566928"/>
          </a:xfrm>
          <a:prstGeom prst="rect">
            <a:avLst/>
          </a:prstGeom>
        </p:spPr>
      </p:pic>
      <p:pic>
        <p:nvPicPr>
          <p:cNvPr id="39" name="Picture 38">
            <a:extLst>
              <a:ext uri="{FF2B5EF4-FFF2-40B4-BE49-F238E27FC236}">
                <a16:creationId xmlns:a16="http://schemas.microsoft.com/office/drawing/2014/main" xmlns="" id="{5043ACA8-3836-8C73-97A8-DDB56D61D1A5}"/>
              </a:ext>
            </a:extLst>
          </p:cNvPr>
          <p:cNvPicPr>
            <a:picLocks noChangeAspect="1"/>
          </p:cNvPicPr>
          <p:nvPr/>
        </p:nvPicPr>
        <p:blipFill>
          <a:blip r:embed="rId14"/>
          <a:stretch>
            <a:fillRect/>
          </a:stretch>
        </p:blipFill>
        <p:spPr>
          <a:xfrm>
            <a:off x="2402026" y="4761746"/>
            <a:ext cx="612162" cy="566928"/>
          </a:xfrm>
          <a:prstGeom prst="rect">
            <a:avLst/>
          </a:prstGeom>
        </p:spPr>
      </p:pic>
      <p:sp>
        <p:nvSpPr>
          <p:cNvPr id="42" name="TextBox 41">
            <a:extLst>
              <a:ext uri="{FF2B5EF4-FFF2-40B4-BE49-F238E27FC236}">
                <a16:creationId xmlns:a16="http://schemas.microsoft.com/office/drawing/2014/main" xmlns="" id="{A75F793E-4235-FCFF-AE66-8FDFD3770530}"/>
              </a:ext>
            </a:extLst>
          </p:cNvPr>
          <p:cNvSpPr txBox="1"/>
          <p:nvPr/>
        </p:nvSpPr>
        <p:spPr>
          <a:xfrm>
            <a:off x="3167349" y="5391636"/>
            <a:ext cx="1080694" cy="264175"/>
          </a:xfrm>
          <a:prstGeom prst="rect">
            <a:avLst/>
          </a:prstGeom>
          <a:noFill/>
        </p:spPr>
        <p:txBody>
          <a:bodyPr wrap="square">
            <a:spAutoFit/>
          </a:bodyPr>
          <a:lstStyle/>
          <a:p>
            <a:pPr algn="ctr">
              <a:lnSpc>
                <a:spcPct val="106000"/>
              </a:lnSpc>
              <a:buFont typeface="Wingdings 2" pitchFamily="18" charset="2"/>
              <a:buNone/>
            </a:pPr>
            <a:r>
              <a:rPr lang="es-BO" sz="1100" noProof="0" dirty="0">
                <a:latin typeface="Calibri Light" panose="020F0302020204030204" pitchFamily="34" charset="0"/>
                <a:cs typeface="Calibri Light" panose="020F0302020204030204" pitchFamily="34" charset="0"/>
              </a:rPr>
              <a:t>Sector privado</a:t>
            </a:r>
          </a:p>
        </p:txBody>
      </p:sp>
      <p:sp>
        <p:nvSpPr>
          <p:cNvPr id="43" name="TextBox 42">
            <a:extLst>
              <a:ext uri="{FF2B5EF4-FFF2-40B4-BE49-F238E27FC236}">
                <a16:creationId xmlns:a16="http://schemas.microsoft.com/office/drawing/2014/main" xmlns="" id="{248B034E-192A-2D47-820F-1F690CECBDF0}"/>
              </a:ext>
            </a:extLst>
          </p:cNvPr>
          <p:cNvSpPr txBox="1"/>
          <p:nvPr/>
        </p:nvSpPr>
        <p:spPr>
          <a:xfrm>
            <a:off x="2159228" y="5391636"/>
            <a:ext cx="1080694" cy="622991"/>
          </a:xfrm>
          <a:prstGeom prst="rect">
            <a:avLst/>
          </a:prstGeom>
          <a:noFill/>
        </p:spPr>
        <p:txBody>
          <a:bodyPr wrap="square">
            <a:spAutoFit/>
          </a:bodyPr>
          <a:lstStyle/>
          <a:p>
            <a:pPr algn="ctr">
              <a:lnSpc>
                <a:spcPct val="106000"/>
              </a:lnSpc>
              <a:buFont typeface="Wingdings 2" pitchFamily="18" charset="2"/>
              <a:buNone/>
            </a:pPr>
            <a:r>
              <a:rPr lang="es-BO" sz="1100" noProof="0" dirty="0">
                <a:latin typeface="Calibri Light" panose="020F0302020204030204" pitchFamily="34" charset="0"/>
                <a:cs typeface="Calibri Light" panose="020F0302020204030204" pitchFamily="34" charset="0"/>
              </a:rPr>
              <a:t>Entidades</a:t>
            </a:r>
            <a:br>
              <a:rPr lang="es-BO" sz="1100" noProof="0" dirty="0">
                <a:latin typeface="Calibri Light" panose="020F0302020204030204" pitchFamily="34" charset="0"/>
                <a:cs typeface="Calibri Light" panose="020F0302020204030204" pitchFamily="34" charset="0"/>
              </a:rPr>
            </a:br>
            <a:r>
              <a:rPr lang="es-BO" sz="1100" noProof="0" dirty="0">
                <a:latin typeface="Calibri Light" panose="020F0302020204030204" pitchFamily="34" charset="0"/>
                <a:cs typeface="Calibri Light" panose="020F0302020204030204" pitchFamily="34" charset="0"/>
              </a:rPr>
              <a:t>Territoriales</a:t>
            </a:r>
            <a:br>
              <a:rPr lang="es-BO" sz="1100" noProof="0" dirty="0">
                <a:latin typeface="Calibri Light" panose="020F0302020204030204" pitchFamily="34" charset="0"/>
                <a:cs typeface="Calibri Light" panose="020F0302020204030204" pitchFamily="34" charset="0"/>
              </a:rPr>
            </a:br>
            <a:r>
              <a:rPr lang="es-BO" sz="1100" noProof="0" dirty="0">
                <a:latin typeface="Calibri Light" panose="020F0302020204030204" pitchFamily="34" charset="0"/>
                <a:cs typeface="Calibri Light" panose="020F0302020204030204" pitchFamily="34" charset="0"/>
              </a:rPr>
              <a:t>Autónomas</a:t>
            </a:r>
          </a:p>
        </p:txBody>
      </p:sp>
      <p:sp>
        <p:nvSpPr>
          <p:cNvPr id="44" name="Rectangle 43">
            <a:extLst>
              <a:ext uri="{FF2B5EF4-FFF2-40B4-BE49-F238E27FC236}">
                <a16:creationId xmlns:a16="http://schemas.microsoft.com/office/drawing/2014/main" xmlns="" id="{8CFF7C18-4912-4948-433D-E321981C800D}"/>
              </a:ext>
            </a:extLst>
          </p:cNvPr>
          <p:cNvSpPr/>
          <p:nvPr/>
        </p:nvSpPr>
        <p:spPr bwMode="gray">
          <a:xfrm>
            <a:off x="1343365" y="2180427"/>
            <a:ext cx="3627625" cy="1030106"/>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noProof="0" dirty="0">
              <a:latin typeface="Calibri Light" panose="020F0302020204030204" pitchFamily="34" charset="0"/>
              <a:cs typeface="Calibri Light" panose="020F0302020204030204" pitchFamily="34" charset="0"/>
            </a:endParaRPr>
          </a:p>
        </p:txBody>
      </p:sp>
      <p:sp>
        <p:nvSpPr>
          <p:cNvPr id="47" name="Rectangle 46">
            <a:extLst>
              <a:ext uri="{FF2B5EF4-FFF2-40B4-BE49-F238E27FC236}">
                <a16:creationId xmlns:a16="http://schemas.microsoft.com/office/drawing/2014/main" xmlns="" id="{02E488A6-B853-A8D0-6A1C-E4C368A16109}"/>
              </a:ext>
            </a:extLst>
          </p:cNvPr>
          <p:cNvSpPr/>
          <p:nvPr/>
        </p:nvSpPr>
        <p:spPr bwMode="gray">
          <a:xfrm>
            <a:off x="1343365" y="3415260"/>
            <a:ext cx="3627625" cy="2599366"/>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noProof="0" dirty="0">
              <a:latin typeface="Calibri Light" panose="020F0302020204030204" pitchFamily="34" charset="0"/>
              <a:cs typeface="Calibri Light" panose="020F0302020204030204" pitchFamily="34" charset="0"/>
            </a:endParaRPr>
          </a:p>
        </p:txBody>
      </p:sp>
      <p:sp>
        <p:nvSpPr>
          <p:cNvPr id="50" name="Rectangle 49">
            <a:extLst>
              <a:ext uri="{FF2B5EF4-FFF2-40B4-BE49-F238E27FC236}">
                <a16:creationId xmlns:a16="http://schemas.microsoft.com/office/drawing/2014/main" xmlns="" id="{0317CC20-117F-B34E-AC0E-3849BD79930F}"/>
              </a:ext>
            </a:extLst>
          </p:cNvPr>
          <p:cNvSpPr/>
          <p:nvPr/>
        </p:nvSpPr>
        <p:spPr bwMode="gray">
          <a:xfrm>
            <a:off x="1343365" y="1528480"/>
            <a:ext cx="3627625" cy="513374"/>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BO" sz="1200" noProof="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16198019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2.28742048900000050082E+00&quot;&gt;&lt;m_msothmcolidx val=&quot;0&quot;/&gt;&lt;m_rgb r=&quot;80&quot; g=&quot;C3&quot; b=&quot;42&quot;/&gt;&lt;/elem&gt;&lt;elem m_fUsage=&quot;1.62568144104742984268E+00&quot;&gt;&lt;m_msothmcolidx val=&quot;0&quot;/&gt;&lt;m_rgb r=&quot;CB&quot; g=&quot;05&quot; b=&quot;7C&quot;/&gt;&lt;/elem&gt;&lt;elem m_fUsage=&quot;1.15867844010000031751E+00&quot;&gt;&lt;m_msothmcolidx val=&quot;0&quot;/&gt;&lt;m_rgb r=&quot;CC&quot; g=&quot;CC&quot; b=&quot;CC&quot;/&gt;&lt;/elem&gt;&lt;elem m_fUsage=&quot;8.46314708382338465320E-01&quot;&gt;&lt;m_msothmcolidx val=&quot;0&quot;/&gt;&lt;m_rgb r=&quot;A3&quot; g=&quot;D7&quot; b=&quot;D2&quot;/&gt;&lt;/elem&gt;&lt;elem m_fUsage=&quot;7.58949829603935532951E-01&quot;&gt;&lt;m_msothmcolidx val=&quot;0&quot;/&gt;&lt;m_rgb r=&quot;9B&quot; g=&quot;68&quot; b=&quot;36&quot;/&gt;&lt;/elem&gt;&lt;elem m_fUsage=&quot;4.78296900000000135833E-01&quot;&gt;&lt;m_msothmcolidx val=&quot;0&quot;/&gt;&lt;m_rgb r=&quot;DD&quot; g=&quot;5F&quot; b=&quot;60&quot;/&gt;&lt;/elem&gt;&lt;elem m_fUsage=&quot;4.30467210000000155556E-01&quot;&gt;&lt;m_msothmcolidx val=&quot;0&quot;/&gt;&lt;m_rgb r=&quot;87&quot; g=&quot;87&quot; b=&quot;87&quot;/&gt;&lt;/elem&gt;&lt;elem m_fUsage=&quot;3.13810596090000171188E-01&quot;&gt;&lt;m_msothmcolidx val=&quot;0&quot;/&gt;&lt;m_rgb r=&quot;A6&quot; g=&quot;EB&quot; b=&quot;9A&quot;/&gt;&lt;/elem&gt;&lt;elem m_fUsage=&quot;3.00557723318795377843E-01&quot;&gt;&lt;m_msothmcolidx val=&quot;0&quot;/&gt;&lt;m_rgb r=&quot;5B&quot; g=&quot;BA&quot; b=&quot;45&quot;/&gt;&lt;/elem&gt;&lt;elem m_fUsage=&quot;2.85657575171521627144E-01&quot;&gt;&lt;m_msothmcolidx val=&quot;0&quot;/&gt;&lt;m_rgb r=&quot;C2&quot; g=&quot;ED&quot; b=&quot;FF&quot;/&gt;&lt;/elem&gt;&lt;elem m_fUsage=&quot;2.82429536481000165171E-01&quot;&gt;&lt;m_msothmcolidx val=&quot;0&quot;/&gt;&lt;m_rgb r=&quot;5D&quot; g=&quot;FF&quot; b=&quot;FF&quot;/&gt;&lt;/elem&gt;&lt;elem m_fUsage=&quot;2.73931400081709242045E-01&quot;&gt;&lt;m_msothmcolidx val=&quot;0&quot;/&gt;&lt;m_rgb r=&quot;E8&quot; g=&quot;F6&quot; b=&quot;CF&quot;/&gt;&lt;/elem&gt;&lt;elem m_fUsage=&quot;2.54186582832900132001E-01&quot;&gt;&lt;m_msothmcolidx val=&quot;0&quot;/&gt;&lt;m_rgb r=&quot;66&quot; g=&quot;FF&quot; b=&quot;FF&quot;/&gt;&lt;/elem&gt;&lt;elem m_fUsage=&quot;2.20053744808930501486E-01&quot;&gt;&lt;m_msothmcolidx val=&quot;0&quot;/&gt;&lt;m_rgb r=&quot;D7&quot; g=&quot;F4&quot; b=&quot;D0&quot;/&gt;&lt;/elem&gt;&lt;elem m_fUsage=&quot;1.23829283450603871986E-01&quot;&gt;&lt;m_msothmcolidx val=&quot;0&quot;/&gt;&lt;m_rgb r=&quot;ED&quot; g=&quot;F4&quot; b=&quot;E8&quot;/&gt;&lt;/elem&gt;&lt;elem m_fUsage=&quot;1.09418989131512434110E-01&quot;&gt;&lt;m_msothmcolidx val=&quot;0&quot;/&gt;&lt;m_rgb r=&quot;A3&quot; g=&quot;A7&quot; b=&quot;A9&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ey0GbizbuK.9Zi1qw0X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egaGB4PmqU7idYxN3Qgt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Lo8wcaCurva5P3gYMdI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Xs3Ru3UreCk.IZDOsgmm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TNpI5wIlR5oMkuwbikW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vq1vXp9Zo2EcXKInjbHv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s4tVT.tAW3fdTAuCXXG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zGK6FgoXuSn_bqncx5l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uijeRPXsz2R167t0lA_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pbsHErbmHQPztWl6m5lZ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36gEFh4LMBNWsPIPa24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BhEuQPMnoyunDRC164ZL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afwqW5Wyoiws9qM87oQ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572A6MnFwPCXROb1cyj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x9ThOnp6p9.g4pK_Bcf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HWl8r_gYNANYZyhjA1kI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8mZOgNKsSfCNGudYN83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mE1EwJwxq7zLpuP7asV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Ae1TTKo.tIgO1soDUE2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x66LCXR9x.8mMKJKRLF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TsiqdZRicMTViIIuweo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eSskh.W.JtdAs1X2RiA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wzg1743LxHHbfRRw5.YA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3oqjYqsd7f6Xp79qQkIi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rqUs0EJ0NvrteVCLi04O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eH_08ZLO_s.FCLamV25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eQ414PxMbKn8lD57q5cP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Vkx1MQVoYM2vjkNnJmT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Qe4WQVO7sldZUGGltYM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Tha2PotOvId8gIxt5P2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vOEb.kYCPX2UUUdWb4hX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yqEMks8vDT3I828n_j1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K_8d3jtHC.Zp5bfjPR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nysBqvLHaR9Y6mIPGkMW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3hMltC0UK03sk8P4YlfT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K9WZMOaKCvSGej4nYAB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4LMGl_R7gH.dtg8uYpz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H1nzVuG3xjGs86wu_hJ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X0uRYx3LAwO1YN6Yfaz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daoS6y3wFj2F6vfwB0N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xw_r82CiZ8IUiWYpdbN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ffczNdA69WNTjPrcKXgT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1CQLrYsq65hrT_Cg3hQ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EBFIdLObuD7T69o7m2j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eYDgqwjietNVXnzYsGH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0EiTKtioizSsQXm80cK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wVQoX97b3WwYFqdzBI3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uUS_B5Ad5WXWNAoQSyR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uuDrAnX1cSKZnb9oXSB4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8ClRbTtvYAtbbryp4QSe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1EnEc7Y4hSoH_8Q1cXM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r3QBkQb9_2TSxLoyhPZy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AEarGn4Y_2zEbjTYYL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dxlxYz53O2UoXYZE.K84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XcGoS0KjnbSNQ15S4VT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TuRIttdV3I4wxyoXjV1_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s7beHe6rykMYBcphJJ5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O2DnJlJwiSxcrFc8cbnS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fILIh8eGs89GWEt_GgL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UAG72LLu35fZ0xSp96F7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VOmTRqvXpSzHaHBuxhAH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jJo1VCg_lonAn9yBihT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ggu959_kkRPs8ZZ9Xev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epfkBxnH9WvKS7550xd9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jSNNymOvYxujTKjt03i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2ZtWHVgLQ1hCKML1133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Z3B9wklkwODWuXYr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vn3ICywNpvr6vl5GbGB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sJP2ZQEEGc.m.em0Bpm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kngYBbhQ3uYSxYgDPYzI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_6kF.R9h_2rn15ewa1O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cB2R0U6Fca4i3P2h5zt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jbdpSLbCBYJKrQrTReW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QEwlrgOrWTpFivLAyYK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Gopzkt4ZZ3_yg74t0qC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R1WhrjN1CJKcua2cBT7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mk0OyhM8no3AUNVCq8C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xhMU_7hUuggScPO6y62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ZZkU5sM4sVj64Acn1YE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_dtH7725t9cGUL6z1LJ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iLHoixYYfLq_iAv6ntu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4sN0zalbSbI7Y9cEiMw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MByjYNIO0YFcHuNYroo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BBG5zJb5MPRIhCmA1kY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7aq32YMNY3yI2zlcE4Z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oHt3o2vt8BbxBUPIQfa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N0wQeco0YD0RRcbQWkF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6giNfrA58yosxmiAZ9z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Y_yG86kia022mLVVPSW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Z2d2oNYiqswBFEXRN0J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4BG8qTDXBnBQSQWHZFk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PBvXANM6VsxEcNK1G3g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9LAxI9E_.SZwMbFVOtR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SVJ62kM2.A8zZMmIQWi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2dC68R26Ke6Mepw3k0z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6gFNkbqcj4EkixqGORJ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cjsSuelXxzE1WTTdRro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4LkWCKzbFfDe6ESf8Hj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IyaFl.hltV7S1uN_n0a0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pvv26J9yFzGZH.5hYH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SwmDmoAse99z.zTrhBZ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hXb880auFHqlYKYmvP5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PBqFLajfA9y41s147x1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w02qWLCjINxYJRad5gj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9MKQWtV4yysikq8bp.nO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p9i3izSVNzMlzKEuiYPI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MikFxYi4U.S7B1AMTF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ijqBEEz928EVnhhpyqz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bm.HTB1tVXaNS1pZZB8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2SH5vVhNG6UU1xyyYlz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x0xnBOivETiMiQHaLL9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NS.nlomo9h6WGIpiFwj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8_HfRDERUmQtCoIgAxj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vu4ZhHs2heYXUXqVCl.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8rVhh52aPxpw7VwV6t_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lrqX4Wx6bmS45KHrf9x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1mr4XVlDKwd1CMBgNxB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KwXIpFE9144zI9aK2q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x9wJZcr0rK0NlTy3c2U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X3uOuE2m3kBR1Q_bl1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2aU8X8DnsMBPvI9Avte7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_IUxKpqM.aA6PZmRDpH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eoo5Fx4eZfA6Uve1YG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1Sf7bXBIfcRhllr8Mhg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g6H19Z17uuawhre6FtoV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XdTaAFiFwIn6RMPSX5Y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lg7y0_YFTHZ8uo7RzrD7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V0t6URJXz1.KikpPYtr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WTZ3jTdMD9WYRER6Xu6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vYX70wwgJXPOryCalCe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qANbhIEiM8t5k4wyE6M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ZDvbz9d5z7oqnPyoa7f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8eyUGhuxJG7UhkB1Y7Su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IRAh_mQwOKRHYcymfma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AvHs0I7tTpgn0TURvH47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IkqOv2FIdXM7xq7MXKY7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zRySSKud.PAhjTDfyPhe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j9e52AFACziQ8gEraWs5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0QEGdnHLDb8BokW5Jh9N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OTMhwtn3KZvBixJrzya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J9A8zN8h85LldhzRyC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VScA9SDUPVpad95YW19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Tt0zPpTgPV9iGr9nJ.h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pZtSKIO5OagHyyCZYNUU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zodQobiE3pKo4op6zYeA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W0myJtSQTvjB7enDC17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2TQsgB3Hg51i7yHL713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37W3S0vgMncwmRQhZm3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BtdIVI87Y9lewi62i3Mvg"/>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9050" algn="ctr">
          <a:solidFill>
            <a:schemeClr val="accent1"/>
          </a:solidFill>
          <a:miter lim="800000"/>
          <a:headEnd/>
          <a:tailEnd/>
        </a:ln>
      </a:spPr>
      <a:bodyPr wrap="square" lIns="88900" tIns="88900" rIns="88900" bIns="88900" rtlCol="0" anchor="ctr"/>
      <a:lstStyle>
        <a:defPPr algn="ctr">
          <a:lnSpc>
            <a:spcPct val="106000"/>
          </a:lnSpc>
          <a:buFont typeface="Wingdings 2" pitchFamily="18" charset="2"/>
          <a:buNone/>
          <a:defRPr sz="1200" b="1" dirty="0" err="1" smtClean="0">
            <a:latin typeface="Calibri Light" panose="020F0302020204030204" pitchFamily="34" charset="0"/>
            <a:cs typeface="Calibri Light" panose="020F0302020204030204" pitchFamily="34" charset="0"/>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600"/>
          </a:spcBef>
          <a:buSzPct val="100000"/>
          <a:defRPr sz="1200" dirty="0" smtClean="0">
            <a:solidFill>
              <a:srgbClr val="313131"/>
            </a:solidFill>
            <a:latin typeface="Calibri Light" panose="020F0302020204030204" pitchFamily="34" charset="0"/>
            <a:cs typeface="Calibri Light" panose="020F0302020204030204" pitchFamily="34" charset="0"/>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E70ECEE050ED41B8FBF0BFAEB8DBD4" ma:contentTypeVersion="4" ma:contentTypeDescription="Create a new document." ma:contentTypeScope="" ma:versionID="251b216bf1b8d0fb3e2d16d19ed014d1">
  <xsd:schema xmlns:xsd="http://www.w3.org/2001/XMLSchema" xmlns:xs="http://www.w3.org/2001/XMLSchema" xmlns:p="http://schemas.microsoft.com/office/2006/metadata/properties" xmlns:ns2="d4945265-483b-43b4-9f70-c21d7a548dd8" targetNamespace="http://schemas.microsoft.com/office/2006/metadata/properties" ma:root="true" ma:fieldsID="720ee83bdb62d0c972b23b335dc9a34a" ns2:_="">
    <xsd:import namespace="d4945265-483b-43b4-9f70-c21d7a548dd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945265-483b-43b4-9f70-c21d7a548d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80584CA-86E1-4674-8734-370086956FDC}">
  <ds:schemaRefs>
    <ds:schemaRef ds:uri="http://schemas.microsoft.com/sharepoint/v3/contenttype/forms"/>
  </ds:schemaRefs>
</ds:datastoreItem>
</file>

<file path=customXml/itemProps2.xml><?xml version="1.0" encoding="utf-8"?>
<ds:datastoreItem xmlns:ds="http://schemas.openxmlformats.org/officeDocument/2006/customXml" ds:itemID="{4E0EAE51-4DCF-4783-809E-F4167E836AE4}">
  <ds:schemaRefs>
    <ds:schemaRef ds:uri="d4945265-483b-43b4-9f70-c21d7a548d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BAF3D38-65FF-4BFC-A2A3-A027C5B6CD68}">
  <ds:schemaRefs>
    <ds:schemaRef ds:uri="http://purl.org/dc/dcmitype/"/>
    <ds:schemaRef ds:uri="d4945265-483b-43b4-9f70-c21d7a548dd8"/>
    <ds:schemaRef ds:uri="http://schemas.microsoft.com/office/2006/documentManagement/types"/>
    <ds:schemaRef ds:uri="http://schemas.microsoft.com/office/infopath/2007/PartnerControls"/>
    <ds:schemaRef ds:uri="http://purl.org/dc/terms/"/>
    <ds:schemaRef ds:uri="http://schemas.microsoft.com/office/2006/metadata/properties"/>
    <ds:schemaRef ds:uri="http://schemas.openxmlformats.org/package/2006/metadata/core-propertie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12</TotalTime>
  <Words>1650</Words>
  <Application>Microsoft Office PowerPoint</Application>
  <PresentationFormat>Personalizado</PresentationFormat>
  <Paragraphs>464</Paragraphs>
  <Slides>16</Slides>
  <Notes>9</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18" baseType="lpstr">
      <vt:lpstr>1_Deloitte Brand Theme</vt:lpstr>
      <vt:lpstr>think-cell Slide</vt:lpstr>
      <vt:lpstr>Presentación de PowerPoint</vt:lpstr>
      <vt:lpstr>Hoja de Ruta y estrategia Nacional| Oportunidades</vt:lpstr>
      <vt:lpstr>Hoja de Ruta y estrategia Nacional| Competitividad de Bolivia</vt:lpstr>
      <vt:lpstr>Hoja de Ruta y estrategia Nacional| Competitividad de Bolivia</vt:lpstr>
      <vt:lpstr>Presentación de PowerPoint</vt:lpstr>
      <vt:lpstr>Hoja de Ruta y estrategia Nacional| Reducción de emisiones de GEI </vt:lpstr>
      <vt:lpstr>Hoja de Ruta y estrategia Nacional| Estimación de la demanda a 2050</vt:lpstr>
      <vt:lpstr>Hoja de Ruta y estrategia Nacional| cartera de proyectos</vt:lpstr>
      <vt:lpstr>Presentación de PowerPoint</vt:lpstr>
      <vt:lpstr>Presentación de PowerPoint</vt:lpstr>
      <vt:lpstr>Hoja de Ruta y estrategia Nacional| Resultados</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jluf, Abraham Haim</dc:creator>
  <cp:lastModifiedBy>Viceministerio de Altas Tecnologias</cp:lastModifiedBy>
  <cp:revision>177</cp:revision>
  <cp:lastPrinted>2025-09-30T18:24:15Z</cp:lastPrinted>
  <dcterms:created xsi:type="dcterms:W3CDTF">2021-07-12T22:25:48Z</dcterms:created>
  <dcterms:modified xsi:type="dcterms:W3CDTF">2025-10-02T13:4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21T15:42:5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8722afa1-8151-4fc9-9fc9-eb7e386e4f3d</vt:lpwstr>
  </property>
  <property fmtid="{D5CDD505-2E9C-101B-9397-08002B2CF9AE}" pid="8" name="MSIP_Label_ea60d57e-af5b-4752-ac57-3e4f28ca11dc_ContentBits">
    <vt:lpwstr>0</vt:lpwstr>
  </property>
  <property fmtid="{D5CDD505-2E9C-101B-9397-08002B2CF9AE}" pid="9" name="ContentTypeId">
    <vt:lpwstr>0x0101001FE70ECEE050ED41B8FBF0BFAEB8DBD4</vt:lpwstr>
  </property>
</Properties>
</file>